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6.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7.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heme/theme8.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40.xml" ContentType="application/vnd.openxmlformats-officedocument.presentationml.tags+xml"/>
  <Override PartName="/ppt/tags/tag141.xml" ContentType="application/vnd.openxmlformats-officedocument.presentationml.tags+xml"/>
  <Override PartName="/ppt/notesSlides/notesSlide2.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notesSlides/notesSlide3.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notesSlides/notesSlide4.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notesSlides/notesSlide5.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notesSlides/notesSlide6.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notesSlides/notesSlide7.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notesSlides/notesSlide8.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56.xml" ContentType="application/vnd.openxmlformats-officedocument.presentationml.tags+xml"/>
  <Override PartName="/ppt/tags/tag157.xml" ContentType="application/vnd.openxmlformats-officedocument.presentationml.tags+xml"/>
  <Override PartName="/ppt/notesSlides/notesSlide10.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notesSlides/notesSlide11.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notesSlides/notesSlide12.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notesSlides/notesSlide13.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notesSlides/notesSlide14.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notesSlides/notesSlide15.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8" r:id="rId5"/>
    <p:sldMasterId id="2147483701" r:id="rId6"/>
    <p:sldMasterId id="2147483718" r:id="rId7"/>
    <p:sldMasterId id="2147483723" r:id="rId8"/>
    <p:sldMasterId id="2147483729" r:id="rId9"/>
    <p:sldMasterId id="2147483736" r:id="rId10"/>
  </p:sldMasterIdLst>
  <p:notesMasterIdLst>
    <p:notesMasterId r:id="rId54"/>
  </p:notesMasterIdLst>
  <p:sldIdLst>
    <p:sldId id="2134804442" r:id="rId11"/>
    <p:sldId id="291" r:id="rId12"/>
    <p:sldId id="2134804439" r:id="rId13"/>
    <p:sldId id="2134804429" r:id="rId14"/>
    <p:sldId id="2134804430" r:id="rId15"/>
    <p:sldId id="2134804243" r:id="rId16"/>
    <p:sldId id="2134804244" r:id="rId17"/>
    <p:sldId id="2134804441" r:id="rId18"/>
    <p:sldId id="2134804209" r:id="rId19"/>
    <p:sldId id="2134803909" r:id="rId20"/>
    <p:sldId id="288" r:id="rId21"/>
    <p:sldId id="2134803693" r:id="rId22"/>
    <p:sldId id="2134803697" r:id="rId23"/>
    <p:sldId id="2134804416" r:id="rId24"/>
    <p:sldId id="2134804415" r:id="rId25"/>
    <p:sldId id="2134804414" r:id="rId26"/>
    <p:sldId id="2134804443" r:id="rId27"/>
    <p:sldId id="2134804420" r:id="rId28"/>
    <p:sldId id="2134804436" r:id="rId29"/>
    <p:sldId id="2134804435" r:id="rId30"/>
    <p:sldId id="2134803695" r:id="rId31"/>
    <p:sldId id="2134804367" r:id="rId32"/>
    <p:sldId id="2134804368" r:id="rId33"/>
    <p:sldId id="2134804369" r:id="rId34"/>
    <p:sldId id="2134804370" r:id="rId35"/>
    <p:sldId id="2134804371" r:id="rId36"/>
    <p:sldId id="2134804372" r:id="rId37"/>
    <p:sldId id="2134804373" r:id="rId38"/>
    <p:sldId id="2134804374" r:id="rId39"/>
    <p:sldId id="2134804375" r:id="rId40"/>
    <p:sldId id="2134804445" r:id="rId41"/>
    <p:sldId id="2134804446" r:id="rId42"/>
    <p:sldId id="2134804447" r:id="rId43"/>
    <p:sldId id="2134804448" r:id="rId44"/>
    <p:sldId id="2134804449" r:id="rId45"/>
    <p:sldId id="2134804376" r:id="rId46"/>
    <p:sldId id="2134804377" r:id="rId47"/>
    <p:sldId id="2134804433" r:id="rId48"/>
    <p:sldId id="2134803696" r:id="rId49"/>
    <p:sldId id="2134804324" r:id="rId50"/>
    <p:sldId id="2134804434" r:id="rId51"/>
    <p:sldId id="2134804440" r:id="rId52"/>
    <p:sldId id="2134804438" r:id="rId53"/>
  </p:sldIdLst>
  <p:sldSz cx="12192000" cy="6858000"/>
  <p:notesSz cx="7010400" cy="9296400"/>
  <p:custDataLst>
    <p:tags r:id="rId55"/>
  </p:custDataLst>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uly Andrea Castaneda Ramirez (CENIT)" initials="YACR(" lastIdx="2" clrIdx="0">
    <p:extLst>
      <p:ext uri="{19B8F6BF-5375-455C-9EA6-DF929625EA0E}">
        <p15:presenceInfo xmlns:p15="http://schemas.microsoft.com/office/powerpoint/2012/main" userId="S::yuly.castaneda@cenit-transporte.com::9d6b9224-b289-47c8-b6d4-3bf1381012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EBF4"/>
    <a:srgbClr val="7030A0"/>
    <a:srgbClr val="D5DA41"/>
    <a:srgbClr val="07212E"/>
    <a:srgbClr val="E53D12"/>
    <a:srgbClr val="FF9933"/>
    <a:srgbClr val="F2F2F2"/>
    <a:srgbClr val="FEE382"/>
    <a:srgbClr val="CC6600"/>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01839F0-E371-4486-9677-8C9E89A9824D}" v="62" dt="2021-02-07T16:14:27.652"/>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12C8C85-51F0-491E-9774-3900AFEF0FD7}" styleName="Estilo claro 2 - Acento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482" autoAdjust="0"/>
  </p:normalViewPr>
  <p:slideViewPr>
    <p:cSldViewPr snapToGrid="0">
      <p:cViewPr varScale="1">
        <p:scale>
          <a:sx n="106" d="100"/>
          <a:sy n="106" d="100"/>
        </p:scale>
        <p:origin x="756"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tags" Target="tags/tag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presProps" Target="presProps.xml"/><Relationship Id="rId61"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suario invitado" userId="S::urn:spo:anon#ef30890cd3063e1632fa7c5913d7b57600e39ccb056aedca277405e94abf2825::" providerId="AD" clId="Web-{60FD4AAA-184C-125D-6A4F-F87E8379A751}"/>
    <pc:docChg chg="modSld">
      <pc:chgData name="Usuario invitado" userId="S::urn:spo:anon#ef30890cd3063e1632fa7c5913d7b57600e39ccb056aedca277405e94abf2825::" providerId="AD" clId="Web-{60FD4AAA-184C-125D-6A4F-F87E8379A751}" dt="2020-06-26T00:27:39.344" v="79" actId="1076"/>
      <pc:docMkLst>
        <pc:docMk/>
      </pc:docMkLst>
      <pc:sldChg chg="delSp modSp">
        <pc:chgData name="Usuario invitado" userId="S::urn:spo:anon#ef30890cd3063e1632fa7c5913d7b57600e39ccb056aedca277405e94abf2825::" providerId="AD" clId="Web-{60FD4AAA-184C-125D-6A4F-F87E8379A751}" dt="2020-06-26T00:27:39.344" v="79" actId="1076"/>
        <pc:sldMkLst>
          <pc:docMk/>
          <pc:sldMk cId="838099151" sldId="2134804292"/>
        </pc:sldMkLst>
        <pc:spChg chg="mod">
          <ac:chgData name="Usuario invitado" userId="S::urn:spo:anon#ef30890cd3063e1632fa7c5913d7b57600e39ccb056aedca277405e94abf2825::" providerId="AD" clId="Web-{60FD4AAA-184C-125D-6A4F-F87E8379A751}" dt="2020-06-26T00:26:37.528" v="67" actId="20577"/>
          <ac:spMkLst>
            <pc:docMk/>
            <pc:sldMk cId="838099151" sldId="2134804292"/>
            <ac:spMk id="9" creationId="{6F922DD3-801F-4B3D-9B4D-DBEC1EC37D57}"/>
          </ac:spMkLst>
        </pc:spChg>
        <pc:spChg chg="mod">
          <ac:chgData name="Usuario invitado" userId="S::urn:spo:anon#ef30890cd3063e1632fa7c5913d7b57600e39ccb056aedca277405e94abf2825::" providerId="AD" clId="Web-{60FD4AAA-184C-125D-6A4F-F87E8379A751}" dt="2020-06-26T00:27:03.139" v="76" actId="20577"/>
          <ac:spMkLst>
            <pc:docMk/>
            <pc:sldMk cId="838099151" sldId="2134804292"/>
            <ac:spMk id="44" creationId="{E239B605-6964-49EB-B22A-9FCE640E48BE}"/>
          </ac:spMkLst>
        </pc:spChg>
        <pc:spChg chg="mod">
          <ac:chgData name="Usuario invitado" userId="S::urn:spo:anon#ef30890cd3063e1632fa7c5913d7b57600e39ccb056aedca277405e94abf2825::" providerId="AD" clId="Web-{60FD4AAA-184C-125D-6A4F-F87E8379A751}" dt="2020-06-26T00:21:05.649" v="21" actId="1076"/>
          <ac:spMkLst>
            <pc:docMk/>
            <pc:sldMk cId="838099151" sldId="2134804292"/>
            <ac:spMk id="45" creationId="{FE8ED9F7-3608-4810-95FA-CCA357FF8DD5}"/>
          </ac:spMkLst>
        </pc:spChg>
        <pc:spChg chg="mod">
          <ac:chgData name="Usuario invitado" userId="S::urn:spo:anon#ef30890cd3063e1632fa7c5913d7b57600e39ccb056aedca277405e94abf2825::" providerId="AD" clId="Web-{60FD4AAA-184C-125D-6A4F-F87E8379A751}" dt="2020-06-26T00:23:28.735" v="48" actId="20577"/>
          <ac:spMkLst>
            <pc:docMk/>
            <pc:sldMk cId="838099151" sldId="2134804292"/>
            <ac:spMk id="50" creationId="{5AEE6479-611C-4B25-9D86-68C74F4E6840}"/>
          </ac:spMkLst>
        </pc:spChg>
        <pc:spChg chg="mod">
          <ac:chgData name="Usuario invitado" userId="S::urn:spo:anon#ef30890cd3063e1632fa7c5913d7b57600e39ccb056aedca277405e94abf2825::" providerId="AD" clId="Web-{60FD4AAA-184C-125D-6A4F-F87E8379A751}" dt="2020-06-26T00:26:29.590" v="64" actId="1076"/>
          <ac:spMkLst>
            <pc:docMk/>
            <pc:sldMk cId="838099151" sldId="2134804292"/>
            <ac:spMk id="56" creationId="{4F0BB8E1-0E03-4A52-9BB1-7AC2ED86FFBE}"/>
          </ac:spMkLst>
        </pc:spChg>
        <pc:spChg chg="mod">
          <ac:chgData name="Usuario invitado" userId="S::urn:spo:anon#ef30890cd3063e1632fa7c5913d7b57600e39ccb056aedca277405e94abf2825::" providerId="AD" clId="Web-{60FD4AAA-184C-125D-6A4F-F87E8379A751}" dt="2020-06-26T00:26:45.372" v="69" actId="20577"/>
          <ac:spMkLst>
            <pc:docMk/>
            <pc:sldMk cId="838099151" sldId="2134804292"/>
            <ac:spMk id="60" creationId="{E78B2A6C-DEF5-4176-9EC8-F1C34E8F7D53}"/>
          </ac:spMkLst>
        </pc:spChg>
        <pc:spChg chg="mod">
          <ac:chgData name="Usuario invitado" userId="S::urn:spo:anon#ef30890cd3063e1632fa7c5913d7b57600e39ccb056aedca277405e94abf2825::" providerId="AD" clId="Web-{60FD4AAA-184C-125D-6A4F-F87E8379A751}" dt="2020-06-26T00:21:05.711" v="22" actId="1076"/>
          <ac:spMkLst>
            <pc:docMk/>
            <pc:sldMk cId="838099151" sldId="2134804292"/>
            <ac:spMk id="73" creationId="{504BE693-A6BF-4CAB-971A-BC7D1287E952}"/>
          </ac:spMkLst>
        </pc:spChg>
        <pc:spChg chg="mod">
          <ac:chgData name="Usuario invitado" userId="S::urn:spo:anon#ef30890cd3063e1632fa7c5913d7b57600e39ccb056aedca277405e94abf2825::" providerId="AD" clId="Web-{60FD4AAA-184C-125D-6A4F-F87E8379A751}" dt="2020-06-26T00:22:06.731" v="40" actId="1076"/>
          <ac:spMkLst>
            <pc:docMk/>
            <pc:sldMk cId="838099151" sldId="2134804292"/>
            <ac:spMk id="77" creationId="{FE57AFEB-C555-4E4A-8CCA-35D95283E0B0}"/>
          </ac:spMkLst>
        </pc:spChg>
        <pc:spChg chg="mod">
          <ac:chgData name="Usuario invitado" userId="S::urn:spo:anon#ef30890cd3063e1632fa7c5913d7b57600e39ccb056aedca277405e94abf2825::" providerId="AD" clId="Web-{60FD4AAA-184C-125D-6A4F-F87E8379A751}" dt="2020-06-26T00:21:31.135" v="26" actId="1076"/>
          <ac:spMkLst>
            <pc:docMk/>
            <pc:sldMk cId="838099151" sldId="2134804292"/>
            <ac:spMk id="82" creationId="{9F1674CE-F25C-4C2A-AA04-EC08592CA6BF}"/>
          </ac:spMkLst>
        </pc:spChg>
        <pc:spChg chg="mod">
          <ac:chgData name="Usuario invitado" userId="S::urn:spo:anon#ef30890cd3063e1632fa7c5913d7b57600e39ccb056aedca277405e94abf2825::" providerId="AD" clId="Web-{60FD4AAA-184C-125D-6A4F-F87E8379A751}" dt="2020-06-26T00:27:39.281" v="78" actId="1076"/>
          <ac:spMkLst>
            <pc:docMk/>
            <pc:sldMk cId="838099151" sldId="2134804292"/>
            <ac:spMk id="96" creationId="{7B02AB4C-AF68-4F54-A894-07E00267D5F8}"/>
          </ac:spMkLst>
        </pc:spChg>
        <pc:spChg chg="mod">
          <ac:chgData name="Usuario invitado" userId="S::urn:spo:anon#ef30890cd3063e1632fa7c5913d7b57600e39ccb056aedca277405e94abf2825::" providerId="AD" clId="Web-{60FD4AAA-184C-125D-6A4F-F87E8379A751}" dt="2020-06-26T00:20:56.508" v="16" actId="1076"/>
          <ac:spMkLst>
            <pc:docMk/>
            <pc:sldMk cId="838099151" sldId="2134804292"/>
            <ac:spMk id="98" creationId="{E063C35E-5F1D-47CE-B7FD-7A60EAA52B74}"/>
          </ac:spMkLst>
        </pc:spChg>
        <pc:spChg chg="mod">
          <ac:chgData name="Usuario invitado" userId="S::urn:spo:anon#ef30890cd3063e1632fa7c5913d7b57600e39ccb056aedca277405e94abf2825::" providerId="AD" clId="Web-{60FD4AAA-184C-125D-6A4F-F87E8379A751}" dt="2020-06-26T00:21:31.244" v="28" actId="1076"/>
          <ac:spMkLst>
            <pc:docMk/>
            <pc:sldMk cId="838099151" sldId="2134804292"/>
            <ac:spMk id="99" creationId="{90CC82AC-D82E-4F89-AC67-093894759099}"/>
          </ac:spMkLst>
        </pc:spChg>
        <pc:spChg chg="mod">
          <ac:chgData name="Usuario invitado" userId="S::urn:spo:anon#ef30890cd3063e1632fa7c5913d7b57600e39ccb056aedca277405e94abf2825::" providerId="AD" clId="Web-{60FD4AAA-184C-125D-6A4F-F87E8379A751}" dt="2020-06-26T00:22:06.606" v="38" actId="1076"/>
          <ac:spMkLst>
            <pc:docMk/>
            <pc:sldMk cId="838099151" sldId="2134804292"/>
            <ac:spMk id="100" creationId="{1835F856-5B59-4AFF-86DE-2F0968B76CF7}"/>
          </ac:spMkLst>
        </pc:spChg>
        <pc:spChg chg="mod">
          <ac:chgData name="Usuario invitado" userId="S::urn:spo:anon#ef30890cd3063e1632fa7c5913d7b57600e39ccb056aedca277405e94abf2825::" providerId="AD" clId="Web-{60FD4AAA-184C-125D-6A4F-F87E8379A751}" dt="2020-06-26T00:21:48.620" v="29" actId="1076"/>
          <ac:spMkLst>
            <pc:docMk/>
            <pc:sldMk cId="838099151" sldId="2134804292"/>
            <ac:spMk id="101" creationId="{50D1281F-8266-4D64-9227-2DC0FCFC26CB}"/>
          </ac:spMkLst>
        </pc:spChg>
        <pc:spChg chg="mod">
          <ac:chgData name="Usuario invitado" userId="S::urn:spo:anon#ef30890cd3063e1632fa7c5913d7b57600e39ccb056aedca277405e94abf2825::" providerId="AD" clId="Web-{60FD4AAA-184C-125D-6A4F-F87E8379A751}" dt="2020-06-26T00:22:06.778" v="41" actId="1076"/>
          <ac:spMkLst>
            <pc:docMk/>
            <pc:sldMk cId="838099151" sldId="2134804292"/>
            <ac:spMk id="104" creationId="{0326A105-08B6-409E-9596-07BD7645DEAE}"/>
          </ac:spMkLst>
        </pc:spChg>
        <pc:spChg chg="mod">
          <ac:chgData name="Usuario invitado" userId="S::urn:spo:anon#ef30890cd3063e1632fa7c5913d7b57600e39ccb056aedca277405e94abf2825::" providerId="AD" clId="Web-{60FD4AAA-184C-125D-6A4F-F87E8379A751}" dt="2020-06-26T00:21:48.667" v="30" actId="1076"/>
          <ac:spMkLst>
            <pc:docMk/>
            <pc:sldMk cId="838099151" sldId="2134804292"/>
            <ac:spMk id="108" creationId="{E7417F2C-4445-4433-AA31-1B1D9A1C89B3}"/>
          </ac:spMkLst>
        </pc:spChg>
        <pc:spChg chg="mod">
          <ac:chgData name="Usuario invitado" userId="S::urn:spo:anon#ef30890cd3063e1632fa7c5913d7b57600e39ccb056aedca277405e94abf2825::" providerId="AD" clId="Web-{60FD4AAA-184C-125D-6A4F-F87E8379A751}" dt="2020-06-26T00:21:48.730" v="31" actId="1076"/>
          <ac:spMkLst>
            <pc:docMk/>
            <pc:sldMk cId="838099151" sldId="2134804292"/>
            <ac:spMk id="109" creationId="{71C13042-3BAB-49AE-B302-BF1FC184D1C0}"/>
          </ac:spMkLst>
        </pc:spChg>
        <pc:spChg chg="mod">
          <ac:chgData name="Usuario invitado" userId="S::urn:spo:anon#ef30890cd3063e1632fa7c5913d7b57600e39ccb056aedca277405e94abf2825::" providerId="AD" clId="Web-{60FD4AAA-184C-125D-6A4F-F87E8379A751}" dt="2020-06-26T00:21:48.776" v="32" actId="1076"/>
          <ac:spMkLst>
            <pc:docMk/>
            <pc:sldMk cId="838099151" sldId="2134804292"/>
            <ac:spMk id="110" creationId="{016FFF86-9DDE-4B71-B999-66D87A5DF4D8}"/>
          </ac:spMkLst>
        </pc:spChg>
        <pc:spChg chg="mod">
          <ac:chgData name="Usuario invitado" userId="S::urn:spo:anon#ef30890cd3063e1632fa7c5913d7b57600e39ccb056aedca277405e94abf2825::" providerId="AD" clId="Web-{60FD4AAA-184C-125D-6A4F-F87E8379A751}" dt="2020-06-26T00:21:48.839" v="33" actId="1076"/>
          <ac:spMkLst>
            <pc:docMk/>
            <pc:sldMk cId="838099151" sldId="2134804292"/>
            <ac:spMk id="111" creationId="{6C1EF8A6-0FB5-47E0-9CD3-2DB37B170394}"/>
          </ac:spMkLst>
        </pc:spChg>
        <pc:spChg chg="mod">
          <ac:chgData name="Usuario invitado" userId="S::urn:spo:anon#ef30890cd3063e1632fa7c5913d7b57600e39ccb056aedca277405e94abf2825::" providerId="AD" clId="Web-{60FD4AAA-184C-125D-6A4F-F87E8379A751}" dt="2020-06-26T00:21:48.886" v="34" actId="1076"/>
          <ac:spMkLst>
            <pc:docMk/>
            <pc:sldMk cId="838099151" sldId="2134804292"/>
            <ac:spMk id="112" creationId="{F172C649-196A-458A-9FD2-06A9617C5DA1}"/>
          </ac:spMkLst>
        </pc:spChg>
        <pc:spChg chg="mod">
          <ac:chgData name="Usuario invitado" userId="S::urn:spo:anon#ef30890cd3063e1632fa7c5913d7b57600e39ccb056aedca277405e94abf2825::" providerId="AD" clId="Web-{60FD4AAA-184C-125D-6A4F-F87E8379A751}" dt="2020-06-26T00:21:53.886" v="37" actId="1076"/>
          <ac:spMkLst>
            <pc:docMk/>
            <pc:sldMk cId="838099151" sldId="2134804292"/>
            <ac:spMk id="113" creationId="{22C84C52-FFF2-4B1D-A23E-B10150D390CA}"/>
          </ac:spMkLst>
        </pc:spChg>
        <pc:spChg chg="mod">
          <ac:chgData name="Usuario invitado" userId="S::urn:spo:anon#ef30890cd3063e1632fa7c5913d7b57600e39ccb056aedca277405e94abf2825::" providerId="AD" clId="Web-{60FD4AAA-184C-125D-6A4F-F87E8379A751}" dt="2020-06-26T00:21:48.948" v="35" actId="1076"/>
          <ac:spMkLst>
            <pc:docMk/>
            <pc:sldMk cId="838099151" sldId="2134804292"/>
            <ac:spMk id="114" creationId="{AE25D562-47A5-4429-8752-D107F6B610B2}"/>
          </ac:spMkLst>
        </pc:spChg>
        <pc:spChg chg="mod">
          <ac:chgData name="Usuario invitado" userId="S::urn:spo:anon#ef30890cd3063e1632fa7c5913d7b57600e39ccb056aedca277405e94abf2825::" providerId="AD" clId="Web-{60FD4AAA-184C-125D-6A4F-F87E8379A751}" dt="2020-06-26T00:20:56.445" v="15" actId="1076"/>
          <ac:spMkLst>
            <pc:docMk/>
            <pc:sldMk cId="838099151" sldId="2134804292"/>
            <ac:spMk id="115" creationId="{A59199E4-369E-4696-83DF-966F47A0CEA9}"/>
          </ac:spMkLst>
        </pc:spChg>
        <pc:spChg chg="mod">
          <ac:chgData name="Usuario invitado" userId="S::urn:spo:anon#ef30890cd3063e1632fa7c5913d7b57600e39ccb056aedca277405e94abf2825::" providerId="AD" clId="Web-{60FD4AAA-184C-125D-6A4F-F87E8379A751}" dt="2020-06-26T00:21:05.758" v="23" actId="1076"/>
          <ac:spMkLst>
            <pc:docMk/>
            <pc:sldMk cId="838099151" sldId="2134804292"/>
            <ac:spMk id="117" creationId="{814287F0-FD88-4F23-8E9B-B8E6D32189B3}"/>
          </ac:spMkLst>
        </pc:spChg>
        <pc:spChg chg="mod">
          <ac:chgData name="Usuario invitado" userId="S::urn:spo:anon#ef30890cd3063e1632fa7c5913d7b57600e39ccb056aedca277405e94abf2825::" providerId="AD" clId="Web-{60FD4AAA-184C-125D-6A4F-F87E8379A751}" dt="2020-06-26T00:20:56.633" v="18" actId="1076"/>
          <ac:spMkLst>
            <pc:docMk/>
            <pc:sldMk cId="838099151" sldId="2134804292"/>
            <ac:spMk id="118" creationId="{64EFC33F-DCB8-4E12-BB79-FF971CD49817}"/>
          </ac:spMkLst>
        </pc:spChg>
        <pc:spChg chg="mod">
          <ac:chgData name="Usuario invitado" userId="S::urn:spo:anon#ef30890cd3063e1632fa7c5913d7b57600e39ccb056aedca277405e94abf2825::" providerId="AD" clId="Web-{60FD4AAA-184C-125D-6A4F-F87E8379A751}" dt="2020-06-26T00:27:39.344" v="79" actId="1076"/>
          <ac:spMkLst>
            <pc:docMk/>
            <pc:sldMk cId="838099151" sldId="2134804292"/>
            <ac:spMk id="119" creationId="{40F388FF-A98F-46DD-AEF0-8BF6E1D359D0}"/>
          </ac:spMkLst>
        </pc:spChg>
        <pc:spChg chg="mod">
          <ac:chgData name="Usuario invitado" userId="S::urn:spo:anon#ef30890cd3063e1632fa7c5913d7b57600e39ccb056aedca277405e94abf2825::" providerId="AD" clId="Web-{60FD4AAA-184C-125D-6A4F-F87E8379A751}" dt="2020-06-26T00:20:56.695" v="19" actId="1076"/>
          <ac:spMkLst>
            <pc:docMk/>
            <pc:sldMk cId="838099151" sldId="2134804292"/>
            <ac:spMk id="120" creationId="{C7385631-F46B-4467-A200-320CE070B85F}"/>
          </ac:spMkLst>
        </pc:spChg>
        <pc:spChg chg="del">
          <ac:chgData name="Usuario invitado" userId="S::urn:spo:anon#ef30890cd3063e1632fa7c5913d7b57600e39ccb056aedca277405e94abf2825::" providerId="AD" clId="Web-{60FD4AAA-184C-125D-6A4F-F87E8379A751}" dt="2020-06-26T00:18:43.844" v="0"/>
          <ac:spMkLst>
            <pc:docMk/>
            <pc:sldMk cId="838099151" sldId="2134804292"/>
            <ac:spMk id="124" creationId="{469E1CBD-D055-4DF7-8849-6D6B97B58CA6}"/>
          </ac:spMkLst>
        </pc:spChg>
        <pc:spChg chg="del">
          <ac:chgData name="Usuario invitado" userId="S::urn:spo:anon#ef30890cd3063e1632fa7c5913d7b57600e39ccb056aedca277405e94abf2825::" providerId="AD" clId="Web-{60FD4AAA-184C-125D-6A4F-F87E8379A751}" dt="2020-06-26T00:19:25.831" v="3"/>
          <ac:spMkLst>
            <pc:docMk/>
            <pc:sldMk cId="838099151" sldId="2134804292"/>
            <ac:spMk id="132" creationId="{10805ED7-B6A2-44FC-9278-C06AE813E172}"/>
          </ac:spMkLst>
        </pc:spChg>
        <pc:spChg chg="del">
          <ac:chgData name="Usuario invitado" userId="S::urn:spo:anon#ef30890cd3063e1632fa7c5913d7b57600e39ccb056aedca277405e94abf2825::" providerId="AD" clId="Web-{60FD4AAA-184C-125D-6A4F-F87E8379A751}" dt="2020-06-26T00:18:51.204" v="1"/>
          <ac:spMkLst>
            <pc:docMk/>
            <pc:sldMk cId="838099151" sldId="2134804292"/>
            <ac:spMk id="133" creationId="{26F8700F-BA62-4BDC-93D4-1CE85427A5F4}"/>
          </ac:spMkLst>
        </pc:spChg>
        <pc:spChg chg="del">
          <ac:chgData name="Usuario invitado" userId="S::urn:spo:anon#ef30890cd3063e1632fa7c5913d7b57600e39ccb056aedca277405e94abf2825::" providerId="AD" clId="Web-{60FD4AAA-184C-125D-6A4F-F87E8379A751}" dt="2020-06-26T00:19:22.815" v="2"/>
          <ac:spMkLst>
            <pc:docMk/>
            <pc:sldMk cId="838099151" sldId="2134804292"/>
            <ac:spMk id="134" creationId="{CE3B8BB4-2BB8-4948-B3D0-C683B7559C56}"/>
          </ac:spMkLst>
        </pc:spChg>
        <pc:spChg chg="mod">
          <ac:chgData name="Usuario invitado" userId="S::urn:spo:anon#ef30890cd3063e1632fa7c5913d7b57600e39ccb056aedca277405e94abf2825::" providerId="AD" clId="Web-{60FD4AAA-184C-125D-6A4F-F87E8379A751}" dt="2020-06-26T00:22:06.668" v="39" actId="1076"/>
          <ac:spMkLst>
            <pc:docMk/>
            <pc:sldMk cId="838099151" sldId="2134804292"/>
            <ac:spMk id="142" creationId="{9660C67C-C249-4C29-87B1-2E22B67DE74F}"/>
          </ac:spMkLst>
        </pc:spChg>
      </pc:sldChg>
    </pc:docChg>
  </pc:docChgLst>
  <pc:docChgLst>
    <pc:chgData name="Yuly Andrea Castaneda Ramirez (CENIT)" userId="S::yuly.castaneda@cenit-transporte.com::9d6b9224-b289-47c8-b6d4-3bf138101243" providerId="AD" clId="Web-{05A4EE2C-1306-2B54-34D5-73A5B0538B40}"/>
    <pc:docChg chg="modSld">
      <pc:chgData name="Yuly Andrea Castaneda Ramirez (CENIT)" userId="S::yuly.castaneda@cenit-transporte.com::9d6b9224-b289-47c8-b6d4-3bf138101243" providerId="AD" clId="Web-{05A4EE2C-1306-2B54-34D5-73A5B0538B40}" dt="2020-06-24T19:50:00.613" v="49" actId="20577"/>
      <pc:docMkLst>
        <pc:docMk/>
      </pc:docMkLst>
      <pc:sldChg chg="modSp">
        <pc:chgData name="Yuly Andrea Castaneda Ramirez (CENIT)" userId="S::yuly.castaneda@cenit-transporte.com::9d6b9224-b289-47c8-b6d4-3bf138101243" providerId="AD" clId="Web-{05A4EE2C-1306-2B54-34D5-73A5B0538B40}" dt="2020-06-24T19:49:59.895" v="47" actId="20577"/>
        <pc:sldMkLst>
          <pc:docMk/>
          <pc:sldMk cId="3972105642" sldId="2134804288"/>
        </pc:sldMkLst>
        <pc:spChg chg="mod">
          <ac:chgData name="Yuly Andrea Castaneda Ramirez (CENIT)" userId="S::yuly.castaneda@cenit-transporte.com::9d6b9224-b289-47c8-b6d4-3bf138101243" providerId="AD" clId="Web-{05A4EE2C-1306-2B54-34D5-73A5B0538B40}" dt="2020-06-24T19:49:59.895" v="47" actId="20577"/>
          <ac:spMkLst>
            <pc:docMk/>
            <pc:sldMk cId="3972105642" sldId="2134804288"/>
            <ac:spMk id="213" creationId="{CA66B9D5-BBCC-4B05-8D95-45191426A332}"/>
          </ac:spMkLst>
        </pc:spChg>
      </pc:sldChg>
      <pc:sldChg chg="addSp modSp">
        <pc:chgData name="Yuly Andrea Castaneda Ramirez (CENIT)" userId="S::yuly.castaneda@cenit-transporte.com::9d6b9224-b289-47c8-b6d4-3bf138101243" providerId="AD" clId="Web-{05A4EE2C-1306-2B54-34D5-73A5B0538B40}" dt="2020-06-24T19:49:51.598" v="44" actId="20577"/>
        <pc:sldMkLst>
          <pc:docMk/>
          <pc:sldMk cId="1881171097" sldId="2134804309"/>
        </pc:sldMkLst>
        <pc:spChg chg="mod">
          <ac:chgData name="Yuly Andrea Castaneda Ramirez (CENIT)" userId="S::yuly.castaneda@cenit-transporte.com::9d6b9224-b289-47c8-b6d4-3bf138101243" providerId="AD" clId="Web-{05A4EE2C-1306-2B54-34D5-73A5B0538B40}" dt="2020-06-24T19:49:13.238" v="17" actId="1076"/>
          <ac:spMkLst>
            <pc:docMk/>
            <pc:sldMk cId="1881171097" sldId="2134804309"/>
            <ac:spMk id="5" creationId="{6E9A1754-20A7-4B35-82A8-CAADFE6AA79E}"/>
          </ac:spMkLst>
        </pc:spChg>
        <pc:spChg chg="mod">
          <ac:chgData name="Yuly Andrea Castaneda Ramirez (CENIT)" userId="S::yuly.castaneda@cenit-transporte.com::9d6b9224-b289-47c8-b6d4-3bf138101243" providerId="AD" clId="Web-{05A4EE2C-1306-2B54-34D5-73A5B0538B40}" dt="2020-06-24T19:49:13.300" v="18" actId="1076"/>
          <ac:spMkLst>
            <pc:docMk/>
            <pc:sldMk cId="1881171097" sldId="2134804309"/>
            <ac:spMk id="23" creationId="{19DB4BE3-5133-4C05-9DFC-C8E8F930E13A}"/>
          </ac:spMkLst>
        </pc:spChg>
        <pc:spChg chg="mod">
          <ac:chgData name="Yuly Andrea Castaneda Ramirez (CENIT)" userId="S::yuly.castaneda@cenit-transporte.com::9d6b9224-b289-47c8-b6d4-3bf138101243" providerId="AD" clId="Web-{05A4EE2C-1306-2B54-34D5-73A5B0538B40}" dt="2020-06-24T19:49:13.347" v="19" actId="1076"/>
          <ac:spMkLst>
            <pc:docMk/>
            <pc:sldMk cId="1881171097" sldId="2134804309"/>
            <ac:spMk id="24" creationId="{389B18D5-C39A-47EE-B3A9-7DEE4189E676}"/>
          </ac:spMkLst>
        </pc:spChg>
        <pc:spChg chg="mod">
          <ac:chgData name="Yuly Andrea Castaneda Ramirez (CENIT)" userId="S::yuly.castaneda@cenit-transporte.com::9d6b9224-b289-47c8-b6d4-3bf138101243" providerId="AD" clId="Web-{05A4EE2C-1306-2B54-34D5-73A5B0538B40}" dt="2020-06-24T19:49:13.410" v="20" actId="1076"/>
          <ac:spMkLst>
            <pc:docMk/>
            <pc:sldMk cId="1881171097" sldId="2134804309"/>
            <ac:spMk id="25" creationId="{52048D91-45AA-408F-9D1F-D2E9F2D37210}"/>
          </ac:spMkLst>
        </pc:spChg>
        <pc:spChg chg="mod">
          <ac:chgData name="Yuly Andrea Castaneda Ramirez (CENIT)" userId="S::yuly.castaneda@cenit-transporte.com::9d6b9224-b289-47c8-b6d4-3bf138101243" providerId="AD" clId="Web-{05A4EE2C-1306-2B54-34D5-73A5B0538B40}" dt="2020-06-24T19:49:13.504" v="21" actId="1076"/>
          <ac:spMkLst>
            <pc:docMk/>
            <pc:sldMk cId="1881171097" sldId="2134804309"/>
            <ac:spMk id="27" creationId="{626ADC92-4AB0-48C8-94D3-787A8F6B3965}"/>
          </ac:spMkLst>
        </pc:spChg>
        <pc:spChg chg="mod">
          <ac:chgData name="Yuly Andrea Castaneda Ramirez (CENIT)" userId="S::yuly.castaneda@cenit-transporte.com::9d6b9224-b289-47c8-b6d4-3bf138101243" providerId="AD" clId="Web-{05A4EE2C-1306-2B54-34D5-73A5B0538B40}" dt="2020-06-24T19:49:13.754" v="25" actId="1076"/>
          <ac:spMkLst>
            <pc:docMk/>
            <pc:sldMk cId="1881171097" sldId="2134804309"/>
            <ac:spMk id="58" creationId="{9E214831-F319-484B-878F-CC814AD0E45E}"/>
          </ac:spMkLst>
        </pc:spChg>
        <pc:spChg chg="mod">
          <ac:chgData name="Yuly Andrea Castaneda Ramirez (CENIT)" userId="S::yuly.castaneda@cenit-transporte.com::9d6b9224-b289-47c8-b6d4-3bf138101243" providerId="AD" clId="Web-{05A4EE2C-1306-2B54-34D5-73A5B0538B40}" dt="2020-06-24T19:49:13.800" v="26" actId="1076"/>
          <ac:spMkLst>
            <pc:docMk/>
            <pc:sldMk cId="1881171097" sldId="2134804309"/>
            <ac:spMk id="63" creationId="{374BF4F6-A8B2-4663-84A5-7564A6B6BE76}"/>
          </ac:spMkLst>
        </pc:spChg>
        <pc:spChg chg="mod">
          <ac:chgData name="Yuly Andrea Castaneda Ramirez (CENIT)" userId="S::yuly.castaneda@cenit-transporte.com::9d6b9224-b289-47c8-b6d4-3bf138101243" providerId="AD" clId="Web-{05A4EE2C-1306-2B54-34D5-73A5B0538B40}" dt="2020-06-24T19:49:13.847" v="27" actId="1076"/>
          <ac:spMkLst>
            <pc:docMk/>
            <pc:sldMk cId="1881171097" sldId="2134804309"/>
            <ac:spMk id="65" creationId="{3AB53F82-6278-4D35-87FA-B760C5ACA7CC}"/>
          </ac:spMkLst>
        </pc:spChg>
        <pc:spChg chg="mod">
          <ac:chgData name="Yuly Andrea Castaneda Ramirez (CENIT)" userId="S::yuly.castaneda@cenit-transporte.com::9d6b9224-b289-47c8-b6d4-3bf138101243" providerId="AD" clId="Web-{05A4EE2C-1306-2B54-34D5-73A5B0538B40}" dt="2020-06-24T19:49:13.566" v="22" actId="1076"/>
          <ac:spMkLst>
            <pc:docMk/>
            <pc:sldMk cId="1881171097" sldId="2134804309"/>
            <ac:spMk id="67" creationId="{0B609A71-0C9E-44AA-A60D-A49754DFA355}"/>
          </ac:spMkLst>
        </pc:spChg>
        <pc:spChg chg="mod">
          <ac:chgData name="Yuly Andrea Castaneda Ramirez (CENIT)" userId="S::yuly.castaneda@cenit-transporte.com::9d6b9224-b289-47c8-b6d4-3bf138101243" providerId="AD" clId="Web-{05A4EE2C-1306-2B54-34D5-73A5B0538B40}" dt="2020-06-24T19:49:13.910" v="28" actId="1076"/>
          <ac:spMkLst>
            <pc:docMk/>
            <pc:sldMk cId="1881171097" sldId="2134804309"/>
            <ac:spMk id="73" creationId="{AF0C32C2-C6CF-4F2E-8207-CBC53BB5AFCC}"/>
          </ac:spMkLst>
        </pc:spChg>
        <pc:spChg chg="add mod">
          <ac:chgData name="Yuly Andrea Castaneda Ramirez (CENIT)" userId="S::yuly.castaneda@cenit-transporte.com::9d6b9224-b289-47c8-b6d4-3bf138101243" providerId="AD" clId="Web-{05A4EE2C-1306-2B54-34D5-73A5B0538B40}" dt="2020-06-24T19:49:41.644" v="43" actId="14100"/>
          <ac:spMkLst>
            <pc:docMk/>
            <pc:sldMk cId="1881171097" sldId="2134804309"/>
            <ac:spMk id="90" creationId="{8E3DD3AF-C233-44FB-B4AE-0ABE52D2B14E}"/>
          </ac:spMkLst>
        </pc:spChg>
        <pc:spChg chg="add mod">
          <ac:chgData name="Yuly Andrea Castaneda Ramirez (CENIT)" userId="S::yuly.castaneda@cenit-transporte.com::9d6b9224-b289-47c8-b6d4-3bf138101243" providerId="AD" clId="Web-{05A4EE2C-1306-2B54-34D5-73A5B0538B40}" dt="2020-06-24T19:49:29.394" v="37" actId="1076"/>
          <ac:spMkLst>
            <pc:docMk/>
            <pc:sldMk cId="1881171097" sldId="2134804309"/>
            <ac:spMk id="91" creationId="{C024675F-132A-483D-9F7F-A033FBDF3C67}"/>
          </ac:spMkLst>
        </pc:spChg>
        <pc:spChg chg="mod">
          <ac:chgData name="Yuly Andrea Castaneda Ramirez (CENIT)" userId="S::yuly.castaneda@cenit-transporte.com::9d6b9224-b289-47c8-b6d4-3bf138101243" providerId="AD" clId="Web-{05A4EE2C-1306-2B54-34D5-73A5B0538B40}" dt="2020-06-24T19:49:51.598" v="44" actId="20577"/>
          <ac:spMkLst>
            <pc:docMk/>
            <pc:sldMk cId="1881171097" sldId="2134804309"/>
            <ac:spMk id="117" creationId="{CD823FF2-16E5-48CF-8D46-A0FA3D6C7F89}"/>
          </ac:spMkLst>
        </pc:spChg>
        <pc:spChg chg="mod">
          <ac:chgData name="Yuly Andrea Castaneda Ramirez (CENIT)" userId="S::yuly.castaneda@cenit-transporte.com::9d6b9224-b289-47c8-b6d4-3bf138101243" providerId="AD" clId="Web-{05A4EE2C-1306-2B54-34D5-73A5B0538B40}" dt="2020-06-24T19:49:13.644" v="23" actId="1076"/>
          <ac:spMkLst>
            <pc:docMk/>
            <pc:sldMk cId="1881171097" sldId="2134804309"/>
            <ac:spMk id="118" creationId="{4595D805-A213-43C8-B637-A714BE5381A5}"/>
          </ac:spMkLst>
        </pc:spChg>
        <pc:spChg chg="mod">
          <ac:chgData name="Yuly Andrea Castaneda Ramirez (CENIT)" userId="S::yuly.castaneda@cenit-transporte.com::9d6b9224-b289-47c8-b6d4-3bf138101243" providerId="AD" clId="Web-{05A4EE2C-1306-2B54-34D5-73A5B0538B40}" dt="2020-06-24T19:49:13.691" v="24" actId="1076"/>
          <ac:spMkLst>
            <pc:docMk/>
            <pc:sldMk cId="1881171097" sldId="2134804309"/>
            <ac:spMk id="132" creationId="{6A90B078-206F-4E1D-89A1-298F78E33B76}"/>
          </ac:spMkLst>
        </pc:spChg>
        <pc:spChg chg="mod">
          <ac:chgData name="Yuly Andrea Castaneda Ramirez (CENIT)" userId="S::yuly.castaneda@cenit-transporte.com::9d6b9224-b289-47c8-b6d4-3bf138101243" providerId="AD" clId="Web-{05A4EE2C-1306-2B54-34D5-73A5B0538B40}" dt="2020-06-24T19:49:13.957" v="29" actId="1076"/>
          <ac:spMkLst>
            <pc:docMk/>
            <pc:sldMk cId="1881171097" sldId="2134804309"/>
            <ac:spMk id="159" creationId="{B93976E5-27D0-4BF6-A212-0E310DF88389}"/>
          </ac:spMkLst>
        </pc:spChg>
        <pc:spChg chg="mod">
          <ac:chgData name="Yuly Andrea Castaneda Ramirez (CENIT)" userId="S::yuly.castaneda@cenit-transporte.com::9d6b9224-b289-47c8-b6d4-3bf138101243" providerId="AD" clId="Web-{05A4EE2C-1306-2B54-34D5-73A5B0538B40}" dt="2020-06-24T19:49:14.004" v="30" actId="1076"/>
          <ac:spMkLst>
            <pc:docMk/>
            <pc:sldMk cId="1881171097" sldId="2134804309"/>
            <ac:spMk id="160" creationId="{2901AD0B-4413-40F5-ACFA-AFC448843BD0}"/>
          </ac:spMkLst>
        </pc:spChg>
        <pc:spChg chg="mod">
          <ac:chgData name="Yuly Andrea Castaneda Ramirez (CENIT)" userId="S::yuly.castaneda@cenit-transporte.com::9d6b9224-b289-47c8-b6d4-3bf138101243" providerId="AD" clId="Web-{05A4EE2C-1306-2B54-34D5-73A5B0538B40}" dt="2020-06-24T19:49:14.066" v="31" actId="1076"/>
          <ac:spMkLst>
            <pc:docMk/>
            <pc:sldMk cId="1881171097" sldId="2134804309"/>
            <ac:spMk id="170" creationId="{54D05389-E3E9-4168-AFFF-27D476CAFCA2}"/>
          </ac:spMkLst>
        </pc:spChg>
        <pc:spChg chg="mod">
          <ac:chgData name="Yuly Andrea Castaneda Ramirez (CENIT)" userId="S::yuly.castaneda@cenit-transporte.com::9d6b9224-b289-47c8-b6d4-3bf138101243" providerId="AD" clId="Web-{05A4EE2C-1306-2B54-34D5-73A5B0538B40}" dt="2020-06-24T19:49:14.113" v="32" actId="1076"/>
          <ac:spMkLst>
            <pc:docMk/>
            <pc:sldMk cId="1881171097" sldId="2134804309"/>
            <ac:spMk id="171" creationId="{497FA596-462E-412E-B356-7FBE349705A0}"/>
          </ac:spMkLst>
        </pc:spChg>
        <pc:spChg chg="mod">
          <ac:chgData name="Yuly Andrea Castaneda Ramirez (CENIT)" userId="S::yuly.castaneda@cenit-transporte.com::9d6b9224-b289-47c8-b6d4-3bf138101243" providerId="AD" clId="Web-{05A4EE2C-1306-2B54-34D5-73A5B0538B40}" dt="2020-06-24T19:49:14.175" v="33" actId="1076"/>
          <ac:spMkLst>
            <pc:docMk/>
            <pc:sldMk cId="1881171097" sldId="2134804309"/>
            <ac:spMk id="181" creationId="{37080A62-F27F-4A20-A3F0-2EE06B877BC2}"/>
          </ac:spMkLst>
        </pc:spChg>
      </pc:sldChg>
    </pc:docChg>
  </pc:docChgLst>
  <pc:docChgLst>
    <pc:chgData name="Usuario invitado" userId="S::urn:spo:anon#6de606f2d18a836dd641fa4e7e10836e2511cc4d613c730fd3a33a3cc7de2012::" providerId="AD" clId="Web-{7341368A-C531-5AC5-7B7E-8DD3FCF9D1DE}"/>
    <pc:docChg chg="modSld">
      <pc:chgData name="Usuario invitado" userId="S::urn:spo:anon#6de606f2d18a836dd641fa4e7e10836e2511cc4d613c730fd3a33a3cc7de2012::" providerId="AD" clId="Web-{7341368A-C531-5AC5-7B7E-8DD3FCF9D1DE}" dt="2020-10-14T15:31:17.073" v="2" actId="20577"/>
      <pc:docMkLst>
        <pc:docMk/>
      </pc:docMkLst>
      <pc:sldChg chg="modSp">
        <pc:chgData name="Usuario invitado" userId="S::urn:spo:anon#6de606f2d18a836dd641fa4e7e10836e2511cc4d613c730fd3a33a3cc7de2012::" providerId="AD" clId="Web-{7341368A-C531-5AC5-7B7E-8DD3FCF9D1DE}" dt="2020-10-14T15:31:15.026" v="1" actId="20577"/>
        <pc:sldMkLst>
          <pc:docMk/>
          <pc:sldMk cId="1473259662" sldId="3418"/>
        </pc:sldMkLst>
        <pc:spChg chg="mod">
          <ac:chgData name="Usuario invitado" userId="S::urn:spo:anon#6de606f2d18a836dd641fa4e7e10836e2511cc4d613c730fd3a33a3cc7de2012::" providerId="AD" clId="Web-{7341368A-C531-5AC5-7B7E-8DD3FCF9D1DE}" dt="2020-10-14T15:31:15.026" v="1" actId="20577"/>
          <ac:spMkLst>
            <pc:docMk/>
            <pc:sldMk cId="1473259662" sldId="3418"/>
            <ac:spMk id="77" creationId="{F70C1A25-6771-5E41-B95D-AA209690DD7D}"/>
          </ac:spMkLst>
        </pc:spChg>
      </pc:sldChg>
    </pc:docChg>
  </pc:docChgLst>
  <pc:docChgLst>
    <pc:chgData name="Mariam Daniela Tristancho Pineda (MISION TEMPORAL LTDA)" userId="a45a17f7-7950-4cb5-bfab-f5c894f959a9" providerId="ADAL" clId="{15586BA0-617D-4D92-8B61-04A1723CD33C}"/>
    <pc:docChg chg="undo redo custSel addSld delSld modSld sldOrd">
      <pc:chgData name="Mariam Daniela Tristancho Pineda (MISION TEMPORAL LTDA)" userId="a45a17f7-7950-4cb5-bfab-f5c894f959a9" providerId="ADAL" clId="{15586BA0-617D-4D92-8B61-04A1723CD33C}" dt="2020-07-31T21:46:27.844" v="1074" actId="20577"/>
      <pc:docMkLst>
        <pc:docMk/>
      </pc:docMkLst>
      <pc:sldChg chg="add mod modShow">
        <pc:chgData name="Mariam Daniela Tristancho Pineda (MISION TEMPORAL LTDA)" userId="a45a17f7-7950-4cb5-bfab-f5c894f959a9" providerId="ADAL" clId="{15586BA0-617D-4D92-8B61-04A1723CD33C}" dt="2020-07-31T21:02:38.941" v="694" actId="729"/>
        <pc:sldMkLst>
          <pc:docMk/>
          <pc:sldMk cId="2985823996" sldId="1013"/>
        </pc:sldMkLst>
      </pc:sldChg>
      <pc:sldChg chg="add del">
        <pc:chgData name="Mariam Daniela Tristancho Pineda (MISION TEMPORAL LTDA)" userId="a45a17f7-7950-4cb5-bfab-f5c894f959a9" providerId="ADAL" clId="{15586BA0-617D-4D92-8B61-04A1723CD33C}" dt="2020-07-31T16:11:43.794" v="661" actId="47"/>
        <pc:sldMkLst>
          <pc:docMk/>
          <pc:sldMk cId="3462599326" sldId="2134803909"/>
        </pc:sldMkLst>
      </pc:sldChg>
      <pc:sldChg chg="addSp delSp modSp add del mod">
        <pc:chgData name="Mariam Daniela Tristancho Pineda (MISION TEMPORAL LTDA)" userId="a45a17f7-7950-4cb5-bfab-f5c894f959a9" providerId="ADAL" clId="{15586BA0-617D-4D92-8B61-04A1723CD33C}" dt="2020-07-31T16:10:43.124" v="602" actId="47"/>
        <pc:sldMkLst>
          <pc:docMk/>
          <pc:sldMk cId="3315692426" sldId="2134803910"/>
        </pc:sldMkLst>
        <pc:spChg chg="add del mod">
          <ac:chgData name="Mariam Daniela Tristancho Pineda (MISION TEMPORAL LTDA)" userId="a45a17f7-7950-4cb5-bfab-f5c894f959a9" providerId="ADAL" clId="{15586BA0-617D-4D92-8B61-04A1723CD33C}" dt="2020-07-31T16:10:16.422" v="563" actId="478"/>
          <ac:spMkLst>
            <pc:docMk/>
            <pc:sldMk cId="3315692426" sldId="2134803910"/>
            <ac:spMk id="2" creationId="{D75ABA76-67BE-4FD0-AA04-CB136CB52600}"/>
          </ac:spMkLst>
        </pc:spChg>
        <pc:spChg chg="mod">
          <ac:chgData name="Mariam Daniela Tristancho Pineda (MISION TEMPORAL LTDA)" userId="a45a17f7-7950-4cb5-bfab-f5c894f959a9" providerId="ADAL" clId="{15586BA0-617D-4D92-8B61-04A1723CD33C}" dt="2020-07-31T16:10:27.875" v="599" actId="1038"/>
          <ac:spMkLst>
            <pc:docMk/>
            <pc:sldMk cId="3315692426" sldId="2134803910"/>
            <ac:spMk id="14" creationId="{F8D15426-29DE-4884-815F-5CC281E0DDFC}"/>
          </ac:spMkLst>
        </pc:spChg>
        <pc:spChg chg="mod">
          <ac:chgData name="Mariam Daniela Tristancho Pineda (MISION TEMPORAL LTDA)" userId="a45a17f7-7950-4cb5-bfab-f5c894f959a9" providerId="ADAL" clId="{15586BA0-617D-4D92-8B61-04A1723CD33C}" dt="2020-07-31T16:10:27.875" v="599" actId="1038"/>
          <ac:spMkLst>
            <pc:docMk/>
            <pc:sldMk cId="3315692426" sldId="2134803910"/>
            <ac:spMk id="16" creationId="{0E7296DF-2278-45D1-A5BC-4CCB6A124224}"/>
          </ac:spMkLst>
        </pc:spChg>
        <pc:spChg chg="mod">
          <ac:chgData name="Mariam Daniela Tristancho Pineda (MISION TEMPORAL LTDA)" userId="a45a17f7-7950-4cb5-bfab-f5c894f959a9" providerId="ADAL" clId="{15586BA0-617D-4D92-8B61-04A1723CD33C}" dt="2020-07-31T16:10:27.875" v="599" actId="1038"/>
          <ac:spMkLst>
            <pc:docMk/>
            <pc:sldMk cId="3315692426" sldId="2134803910"/>
            <ac:spMk id="30" creationId="{F463DD21-BEDC-4535-A01C-5D48EBE9BFC8}"/>
          </ac:spMkLst>
        </pc:spChg>
        <pc:spChg chg="mod">
          <ac:chgData name="Mariam Daniela Tristancho Pineda (MISION TEMPORAL LTDA)" userId="a45a17f7-7950-4cb5-bfab-f5c894f959a9" providerId="ADAL" clId="{15586BA0-617D-4D92-8B61-04A1723CD33C}" dt="2020-07-31T16:10:27.875" v="599" actId="1038"/>
          <ac:spMkLst>
            <pc:docMk/>
            <pc:sldMk cId="3315692426" sldId="2134803910"/>
            <ac:spMk id="46" creationId="{FD727DAF-E119-46A8-9047-855EBB3190F4}"/>
          </ac:spMkLst>
        </pc:spChg>
        <pc:spChg chg="mod">
          <ac:chgData name="Mariam Daniela Tristancho Pineda (MISION TEMPORAL LTDA)" userId="a45a17f7-7950-4cb5-bfab-f5c894f959a9" providerId="ADAL" clId="{15586BA0-617D-4D92-8B61-04A1723CD33C}" dt="2020-07-31T16:10:27.875" v="599" actId="1038"/>
          <ac:spMkLst>
            <pc:docMk/>
            <pc:sldMk cId="3315692426" sldId="2134803910"/>
            <ac:spMk id="48" creationId="{3BACDA33-7D1B-4CD3-8E0C-72EEF4764094}"/>
          </ac:spMkLst>
        </pc:spChg>
        <pc:spChg chg="mod">
          <ac:chgData name="Mariam Daniela Tristancho Pineda (MISION TEMPORAL LTDA)" userId="a45a17f7-7950-4cb5-bfab-f5c894f959a9" providerId="ADAL" clId="{15586BA0-617D-4D92-8B61-04A1723CD33C}" dt="2020-07-31T16:10:27.875" v="599" actId="1038"/>
          <ac:spMkLst>
            <pc:docMk/>
            <pc:sldMk cId="3315692426" sldId="2134803910"/>
            <ac:spMk id="49" creationId="{C7A018C4-EAF0-4DD6-93E4-B345CA621969}"/>
          </ac:spMkLst>
        </pc:spChg>
        <pc:spChg chg="mod">
          <ac:chgData name="Mariam Daniela Tristancho Pineda (MISION TEMPORAL LTDA)" userId="a45a17f7-7950-4cb5-bfab-f5c894f959a9" providerId="ADAL" clId="{15586BA0-617D-4D92-8B61-04A1723CD33C}" dt="2020-07-31T16:10:27.875" v="599" actId="1038"/>
          <ac:spMkLst>
            <pc:docMk/>
            <pc:sldMk cId="3315692426" sldId="2134803910"/>
            <ac:spMk id="52" creationId="{0D61439D-F4F7-439F-874D-6BC9F75CDB48}"/>
          </ac:spMkLst>
        </pc:spChg>
        <pc:graphicFrameChg chg="mod">
          <ac:chgData name="Mariam Daniela Tristancho Pineda (MISION TEMPORAL LTDA)" userId="a45a17f7-7950-4cb5-bfab-f5c894f959a9" providerId="ADAL" clId="{15586BA0-617D-4D92-8B61-04A1723CD33C}" dt="2020-07-31T16:10:27.875" v="599" actId="1038"/>
          <ac:graphicFrameMkLst>
            <pc:docMk/>
            <pc:sldMk cId="3315692426" sldId="2134803910"/>
            <ac:graphicFrameMk id="7" creationId="{C6F21275-9EE6-4A4B-A157-C50FC5B75F82}"/>
          </ac:graphicFrameMkLst>
        </pc:graphicFrameChg>
        <pc:graphicFrameChg chg="mod">
          <ac:chgData name="Mariam Daniela Tristancho Pineda (MISION TEMPORAL LTDA)" userId="a45a17f7-7950-4cb5-bfab-f5c894f959a9" providerId="ADAL" clId="{15586BA0-617D-4D92-8B61-04A1723CD33C}" dt="2020-07-31T16:10:27.875" v="599" actId="1038"/>
          <ac:graphicFrameMkLst>
            <pc:docMk/>
            <pc:sldMk cId="3315692426" sldId="2134803910"/>
            <ac:graphicFrameMk id="19" creationId="{CEA21B80-4DCD-4314-8EF4-BD3D1CAFE2A2}"/>
          </ac:graphicFrameMkLst>
        </pc:graphicFrameChg>
        <pc:graphicFrameChg chg="mod">
          <ac:chgData name="Mariam Daniela Tristancho Pineda (MISION TEMPORAL LTDA)" userId="a45a17f7-7950-4cb5-bfab-f5c894f959a9" providerId="ADAL" clId="{15586BA0-617D-4D92-8B61-04A1723CD33C}" dt="2020-07-31T16:10:27.875" v="599" actId="1038"/>
          <ac:graphicFrameMkLst>
            <pc:docMk/>
            <pc:sldMk cId="3315692426" sldId="2134803910"/>
            <ac:graphicFrameMk id="32" creationId="{DCA44B8C-50B5-485F-809C-4361E59B3802}"/>
          </ac:graphicFrameMkLst>
        </pc:graphicFrameChg>
        <pc:graphicFrameChg chg="mod">
          <ac:chgData name="Mariam Daniela Tristancho Pineda (MISION TEMPORAL LTDA)" userId="a45a17f7-7950-4cb5-bfab-f5c894f959a9" providerId="ADAL" clId="{15586BA0-617D-4D92-8B61-04A1723CD33C}" dt="2020-07-31T16:10:27.875" v="599" actId="1038"/>
          <ac:graphicFrameMkLst>
            <pc:docMk/>
            <pc:sldMk cId="3315692426" sldId="2134803910"/>
            <ac:graphicFrameMk id="33" creationId="{9A365877-2D7F-454C-AB52-29BB309627C8}"/>
          </ac:graphicFrameMkLst>
        </pc:graphicFrameChg>
        <pc:graphicFrameChg chg="mod">
          <ac:chgData name="Mariam Daniela Tristancho Pineda (MISION TEMPORAL LTDA)" userId="a45a17f7-7950-4cb5-bfab-f5c894f959a9" providerId="ADAL" clId="{15586BA0-617D-4D92-8B61-04A1723CD33C}" dt="2020-07-31T16:10:27.875" v="599" actId="1038"/>
          <ac:graphicFrameMkLst>
            <pc:docMk/>
            <pc:sldMk cId="3315692426" sldId="2134803910"/>
            <ac:graphicFrameMk id="34" creationId="{55D728B3-5037-47B4-AC7A-DBD73CB87333}"/>
          </ac:graphicFrameMkLst>
        </pc:graphicFrameChg>
      </pc:sldChg>
      <pc:sldChg chg="modSp mod">
        <pc:chgData name="Mariam Daniela Tristancho Pineda (MISION TEMPORAL LTDA)" userId="a45a17f7-7950-4cb5-bfab-f5c894f959a9" providerId="ADAL" clId="{15586BA0-617D-4D92-8B61-04A1723CD33C}" dt="2020-07-29T20:21:25.537" v="78"/>
        <pc:sldMkLst>
          <pc:docMk/>
          <pc:sldMk cId="692789810" sldId="2134804140"/>
        </pc:sldMkLst>
        <pc:spChg chg="mod">
          <ac:chgData name="Mariam Daniela Tristancho Pineda (MISION TEMPORAL LTDA)" userId="a45a17f7-7950-4cb5-bfab-f5c894f959a9" providerId="ADAL" clId="{15586BA0-617D-4D92-8B61-04A1723CD33C}" dt="2020-07-29T20:21:25.537" v="78"/>
          <ac:spMkLst>
            <pc:docMk/>
            <pc:sldMk cId="692789810" sldId="2134804140"/>
            <ac:spMk id="2" creationId="{6431BBCF-96E5-45A7-B7E5-D44090D06329}"/>
          </ac:spMkLst>
        </pc:spChg>
        <pc:spChg chg="mod">
          <ac:chgData name="Mariam Daniela Tristancho Pineda (MISION TEMPORAL LTDA)" userId="a45a17f7-7950-4cb5-bfab-f5c894f959a9" providerId="ADAL" clId="{15586BA0-617D-4D92-8B61-04A1723CD33C}" dt="2020-07-29T14:01:21.294" v="6" actId="14100"/>
          <ac:spMkLst>
            <pc:docMk/>
            <pc:sldMk cId="692789810" sldId="2134804140"/>
            <ac:spMk id="3" creationId="{30F9CFD9-5990-468D-9B1E-2AB69F9844AA}"/>
          </ac:spMkLst>
        </pc:spChg>
      </pc:sldChg>
      <pc:sldChg chg="add">
        <pc:chgData name="Mariam Daniela Tristancho Pineda (MISION TEMPORAL LTDA)" userId="a45a17f7-7950-4cb5-bfab-f5c894f959a9" providerId="ADAL" clId="{15586BA0-617D-4D92-8B61-04A1723CD33C}" dt="2020-07-29T20:23:04.521" v="89"/>
        <pc:sldMkLst>
          <pc:docMk/>
          <pc:sldMk cId="1366824925" sldId="2134804227"/>
        </pc:sldMkLst>
      </pc:sldChg>
      <pc:sldChg chg="add">
        <pc:chgData name="Mariam Daniela Tristancho Pineda (MISION TEMPORAL LTDA)" userId="a45a17f7-7950-4cb5-bfab-f5c894f959a9" providerId="ADAL" clId="{15586BA0-617D-4D92-8B61-04A1723CD33C}" dt="2020-07-29T20:23:04.521" v="89"/>
        <pc:sldMkLst>
          <pc:docMk/>
          <pc:sldMk cId="3813439113" sldId="2134804231"/>
        </pc:sldMkLst>
      </pc:sldChg>
      <pc:sldChg chg="add">
        <pc:chgData name="Mariam Daniela Tristancho Pineda (MISION TEMPORAL LTDA)" userId="a45a17f7-7950-4cb5-bfab-f5c894f959a9" providerId="ADAL" clId="{15586BA0-617D-4D92-8B61-04A1723CD33C}" dt="2020-07-29T20:23:04.521" v="89"/>
        <pc:sldMkLst>
          <pc:docMk/>
          <pc:sldMk cId="3905861625" sldId="2134804233"/>
        </pc:sldMkLst>
      </pc:sldChg>
      <pc:sldChg chg="add">
        <pc:chgData name="Mariam Daniela Tristancho Pineda (MISION TEMPORAL LTDA)" userId="a45a17f7-7950-4cb5-bfab-f5c894f959a9" providerId="ADAL" clId="{15586BA0-617D-4D92-8B61-04A1723CD33C}" dt="2020-07-29T20:23:04.521" v="89"/>
        <pc:sldMkLst>
          <pc:docMk/>
          <pc:sldMk cId="1092498720" sldId="2134804234"/>
        </pc:sldMkLst>
      </pc:sldChg>
      <pc:sldChg chg="modSp add mod">
        <pc:chgData name="Mariam Daniela Tristancho Pineda (MISION TEMPORAL LTDA)" userId="a45a17f7-7950-4cb5-bfab-f5c894f959a9" providerId="ADAL" clId="{15586BA0-617D-4D92-8B61-04A1723CD33C}" dt="2020-07-29T20:23:17.198" v="99" actId="1035"/>
        <pc:sldMkLst>
          <pc:docMk/>
          <pc:sldMk cId="4219972769" sldId="2134804235"/>
        </pc:sldMkLst>
        <pc:spChg chg="mod">
          <ac:chgData name="Mariam Daniela Tristancho Pineda (MISION TEMPORAL LTDA)" userId="a45a17f7-7950-4cb5-bfab-f5c894f959a9" providerId="ADAL" clId="{15586BA0-617D-4D92-8B61-04A1723CD33C}" dt="2020-07-29T20:23:17.198" v="99" actId="1035"/>
          <ac:spMkLst>
            <pc:docMk/>
            <pc:sldMk cId="4219972769" sldId="2134804235"/>
            <ac:spMk id="61" creationId="{AFDFDC4A-70DA-4348-90ED-F3A50433B123}"/>
          </ac:spMkLst>
        </pc:spChg>
        <pc:grpChg chg="mod">
          <ac:chgData name="Mariam Daniela Tristancho Pineda (MISION TEMPORAL LTDA)" userId="a45a17f7-7950-4cb5-bfab-f5c894f959a9" providerId="ADAL" clId="{15586BA0-617D-4D92-8B61-04A1723CD33C}" dt="2020-07-29T20:23:17.198" v="99" actId="1035"/>
          <ac:grpSpMkLst>
            <pc:docMk/>
            <pc:sldMk cId="4219972769" sldId="2134804235"/>
            <ac:grpSpMk id="72" creationId="{DA6B941A-7FEA-429F-A8B1-E606AFB8D4A2}"/>
          </ac:grpSpMkLst>
        </pc:grpChg>
      </pc:sldChg>
      <pc:sldChg chg="addSp delSp modSp add del mod ord">
        <pc:chgData name="Mariam Daniela Tristancho Pineda (MISION TEMPORAL LTDA)" userId="a45a17f7-7950-4cb5-bfab-f5c894f959a9" providerId="ADAL" clId="{15586BA0-617D-4D92-8B61-04A1723CD33C}" dt="2020-07-31T21:46:01.195" v="1064" actId="20577"/>
        <pc:sldMkLst>
          <pc:docMk/>
          <pc:sldMk cId="1245803374" sldId="2134804241"/>
        </pc:sldMkLst>
        <pc:spChg chg="mod">
          <ac:chgData name="Mariam Daniela Tristancho Pineda (MISION TEMPORAL LTDA)" userId="a45a17f7-7950-4cb5-bfab-f5c894f959a9" providerId="ADAL" clId="{15586BA0-617D-4D92-8B61-04A1723CD33C}" dt="2020-07-31T21:46:01.195" v="1064" actId="20577"/>
          <ac:spMkLst>
            <pc:docMk/>
            <pc:sldMk cId="1245803374" sldId="2134804241"/>
            <ac:spMk id="2" creationId="{6431BBCF-96E5-45A7-B7E5-D44090D06329}"/>
          </ac:spMkLst>
        </pc:spChg>
        <pc:spChg chg="del">
          <ac:chgData name="Mariam Daniela Tristancho Pineda (MISION TEMPORAL LTDA)" userId="a45a17f7-7950-4cb5-bfab-f5c894f959a9" providerId="ADAL" clId="{15586BA0-617D-4D92-8B61-04A1723CD33C}" dt="2020-07-29T21:10:59.565" v="180" actId="478"/>
          <ac:spMkLst>
            <pc:docMk/>
            <pc:sldMk cId="1245803374" sldId="2134804241"/>
            <ac:spMk id="3" creationId="{30F9CFD9-5990-468D-9B1E-2AB69F9844AA}"/>
          </ac:spMkLst>
        </pc:spChg>
        <pc:spChg chg="add del mod">
          <ac:chgData name="Mariam Daniela Tristancho Pineda (MISION TEMPORAL LTDA)" userId="a45a17f7-7950-4cb5-bfab-f5c894f959a9" providerId="ADAL" clId="{15586BA0-617D-4D92-8B61-04A1723CD33C}" dt="2020-07-29T21:11:01.007" v="181" actId="478"/>
          <ac:spMkLst>
            <pc:docMk/>
            <pc:sldMk cId="1245803374" sldId="2134804241"/>
            <ac:spMk id="5" creationId="{ECBE3066-8EFF-463C-B46F-A65BB9D7AF88}"/>
          </ac:spMkLst>
        </pc:spChg>
        <pc:spChg chg="add mod">
          <ac:chgData name="Mariam Daniela Tristancho Pineda (MISION TEMPORAL LTDA)" userId="a45a17f7-7950-4cb5-bfab-f5c894f959a9" providerId="ADAL" clId="{15586BA0-617D-4D92-8B61-04A1723CD33C}" dt="2020-07-29T21:11:01.727" v="182"/>
          <ac:spMkLst>
            <pc:docMk/>
            <pc:sldMk cId="1245803374" sldId="2134804241"/>
            <ac:spMk id="6" creationId="{59FF34B5-5AC0-4230-AB43-816C2566D49D}"/>
          </ac:spMkLst>
        </pc:spChg>
      </pc:sldChg>
      <pc:sldChg chg="add del ord">
        <pc:chgData name="Mariam Daniela Tristancho Pineda (MISION TEMPORAL LTDA)" userId="a45a17f7-7950-4cb5-bfab-f5c894f959a9" providerId="ADAL" clId="{15586BA0-617D-4D92-8B61-04A1723CD33C}" dt="2020-07-31T21:45:49.794" v="1058"/>
        <pc:sldMkLst>
          <pc:docMk/>
          <pc:sldMk cId="4180204205" sldId="2134804244"/>
        </pc:sldMkLst>
      </pc:sldChg>
      <pc:sldChg chg="addSp delSp modSp add del mod ord">
        <pc:chgData name="Mariam Daniela Tristancho Pineda (MISION TEMPORAL LTDA)" userId="a45a17f7-7950-4cb5-bfab-f5c894f959a9" providerId="ADAL" clId="{15586BA0-617D-4D92-8B61-04A1723CD33C}" dt="2020-07-31T21:46:27.844" v="1074" actId="20577"/>
        <pc:sldMkLst>
          <pc:docMk/>
          <pc:sldMk cId="1980531121" sldId="2134804273"/>
        </pc:sldMkLst>
        <pc:spChg chg="mod">
          <ac:chgData name="Mariam Daniela Tristancho Pineda (MISION TEMPORAL LTDA)" userId="a45a17f7-7950-4cb5-bfab-f5c894f959a9" providerId="ADAL" clId="{15586BA0-617D-4D92-8B61-04A1723CD33C}" dt="2020-07-31T21:46:27.844" v="1074" actId="20577"/>
          <ac:spMkLst>
            <pc:docMk/>
            <pc:sldMk cId="1980531121" sldId="2134804273"/>
            <ac:spMk id="2" creationId="{6431BBCF-96E5-45A7-B7E5-D44090D06329}"/>
          </ac:spMkLst>
        </pc:spChg>
        <pc:spChg chg="del">
          <ac:chgData name="Mariam Daniela Tristancho Pineda (MISION TEMPORAL LTDA)" userId="a45a17f7-7950-4cb5-bfab-f5c894f959a9" providerId="ADAL" clId="{15586BA0-617D-4D92-8B61-04A1723CD33C}" dt="2020-07-29T21:11:11.995" v="187" actId="478"/>
          <ac:spMkLst>
            <pc:docMk/>
            <pc:sldMk cId="1980531121" sldId="2134804273"/>
            <ac:spMk id="3" creationId="{30F9CFD9-5990-468D-9B1E-2AB69F9844AA}"/>
          </ac:spMkLst>
        </pc:spChg>
        <pc:spChg chg="add mod">
          <ac:chgData name="Mariam Daniela Tristancho Pineda (MISION TEMPORAL LTDA)" userId="a45a17f7-7950-4cb5-bfab-f5c894f959a9" providerId="ADAL" clId="{15586BA0-617D-4D92-8B61-04A1723CD33C}" dt="2020-07-29T21:11:10.659" v="186"/>
          <ac:spMkLst>
            <pc:docMk/>
            <pc:sldMk cId="1980531121" sldId="2134804273"/>
            <ac:spMk id="4" creationId="{E6E021D8-A542-413B-9FE4-DE0D70989372}"/>
          </ac:spMkLst>
        </pc:spChg>
        <pc:spChg chg="add del mod">
          <ac:chgData name="Mariam Daniela Tristancho Pineda (MISION TEMPORAL LTDA)" userId="a45a17f7-7950-4cb5-bfab-f5c894f959a9" providerId="ADAL" clId="{15586BA0-617D-4D92-8B61-04A1723CD33C}" dt="2020-07-29T21:11:12.829" v="188" actId="478"/>
          <ac:spMkLst>
            <pc:docMk/>
            <pc:sldMk cId="1980531121" sldId="2134804273"/>
            <ac:spMk id="6" creationId="{735145E8-078B-4834-9611-C7BC051B7B38}"/>
          </ac:spMkLst>
        </pc:spChg>
      </pc:sldChg>
      <pc:sldChg chg="addSp delSp modSp add del mod">
        <pc:chgData name="Mariam Daniela Tristancho Pineda (MISION TEMPORAL LTDA)" userId="a45a17f7-7950-4cb5-bfab-f5c894f959a9" providerId="ADAL" clId="{15586BA0-617D-4D92-8B61-04A1723CD33C}" dt="2020-07-31T21:46:24.408" v="1072" actId="20577"/>
        <pc:sldMkLst>
          <pc:docMk/>
          <pc:sldMk cId="2406967117" sldId="2134804274"/>
        </pc:sldMkLst>
        <pc:spChg chg="mod">
          <ac:chgData name="Mariam Daniela Tristancho Pineda (MISION TEMPORAL LTDA)" userId="a45a17f7-7950-4cb5-bfab-f5c894f959a9" providerId="ADAL" clId="{15586BA0-617D-4D92-8B61-04A1723CD33C}" dt="2020-07-31T21:46:24.408" v="1072" actId="20577"/>
          <ac:spMkLst>
            <pc:docMk/>
            <pc:sldMk cId="2406967117" sldId="2134804274"/>
            <ac:spMk id="2" creationId="{6431BBCF-96E5-45A7-B7E5-D44090D06329}"/>
          </ac:spMkLst>
        </pc:spChg>
        <pc:spChg chg="del">
          <ac:chgData name="Mariam Daniela Tristancho Pineda (MISION TEMPORAL LTDA)" userId="a45a17f7-7950-4cb5-bfab-f5c894f959a9" providerId="ADAL" clId="{15586BA0-617D-4D92-8B61-04A1723CD33C}" dt="2020-07-29T21:11:06.601" v="184" actId="478"/>
          <ac:spMkLst>
            <pc:docMk/>
            <pc:sldMk cId="2406967117" sldId="2134804274"/>
            <ac:spMk id="3" creationId="{30F9CFD9-5990-468D-9B1E-2AB69F9844AA}"/>
          </ac:spMkLst>
        </pc:spChg>
        <pc:spChg chg="del">
          <ac:chgData name="Mariam Daniela Tristancho Pineda (MISION TEMPORAL LTDA)" userId="a45a17f7-7950-4cb5-bfab-f5c894f959a9" providerId="ADAL" clId="{15586BA0-617D-4D92-8B61-04A1723CD33C}" dt="2020-07-29T20:28:31.122" v="153" actId="478"/>
          <ac:spMkLst>
            <pc:docMk/>
            <pc:sldMk cId="2406967117" sldId="2134804274"/>
            <ac:spMk id="5" creationId="{7F709B4B-3EDD-41FF-AEC5-E3B140C091B3}"/>
          </ac:spMkLst>
        </pc:spChg>
        <pc:spChg chg="add mod">
          <ac:chgData name="Mariam Daniela Tristancho Pineda (MISION TEMPORAL LTDA)" userId="a45a17f7-7950-4cb5-bfab-f5c894f959a9" providerId="ADAL" clId="{15586BA0-617D-4D92-8B61-04A1723CD33C}" dt="2020-07-29T21:11:04.228" v="183"/>
          <ac:spMkLst>
            <pc:docMk/>
            <pc:sldMk cId="2406967117" sldId="2134804274"/>
            <ac:spMk id="6" creationId="{0A34A61E-F181-43D2-A1DF-B5AAE9974B02}"/>
          </ac:spMkLst>
        </pc:spChg>
        <pc:spChg chg="add del mod">
          <ac:chgData name="Mariam Daniela Tristancho Pineda (MISION TEMPORAL LTDA)" userId="a45a17f7-7950-4cb5-bfab-f5c894f959a9" providerId="ADAL" clId="{15586BA0-617D-4D92-8B61-04A1723CD33C}" dt="2020-07-29T21:11:07.930" v="185" actId="478"/>
          <ac:spMkLst>
            <pc:docMk/>
            <pc:sldMk cId="2406967117" sldId="2134804274"/>
            <ac:spMk id="7" creationId="{3E7B464E-8758-4A82-9CC7-6D4AD0892AD6}"/>
          </ac:spMkLst>
        </pc:spChg>
      </pc:sldChg>
      <pc:sldChg chg="add del ord">
        <pc:chgData name="Mariam Daniela Tristancho Pineda (MISION TEMPORAL LTDA)" userId="a45a17f7-7950-4cb5-bfab-f5c894f959a9" providerId="ADAL" clId="{15586BA0-617D-4D92-8B61-04A1723CD33C}" dt="2020-07-31T21:46:05.783" v="1066"/>
        <pc:sldMkLst>
          <pc:docMk/>
          <pc:sldMk cId="383958496" sldId="2134804281"/>
        </pc:sldMkLst>
      </pc:sldChg>
      <pc:sldChg chg="add del">
        <pc:chgData name="Mariam Daniela Tristancho Pineda (MISION TEMPORAL LTDA)" userId="a45a17f7-7950-4cb5-bfab-f5c894f959a9" providerId="ADAL" clId="{15586BA0-617D-4D92-8B61-04A1723CD33C}" dt="2020-07-31T21:45:05.261" v="1054" actId="47"/>
        <pc:sldMkLst>
          <pc:docMk/>
          <pc:sldMk cId="2275827461" sldId="2134804285"/>
        </pc:sldMkLst>
      </pc:sldChg>
      <pc:sldChg chg="modSp add del mod">
        <pc:chgData name="Mariam Daniela Tristancho Pineda (MISION TEMPORAL LTDA)" userId="a45a17f7-7950-4cb5-bfab-f5c894f959a9" providerId="ADAL" clId="{15586BA0-617D-4D92-8B61-04A1723CD33C}" dt="2020-07-31T15:59:48.552" v="552" actId="14100"/>
        <pc:sldMkLst>
          <pc:docMk/>
          <pc:sldMk cId="838099151" sldId="2134804292"/>
        </pc:sldMkLst>
        <pc:cxnChg chg="mod">
          <ac:chgData name="Mariam Daniela Tristancho Pineda (MISION TEMPORAL LTDA)" userId="a45a17f7-7950-4cb5-bfab-f5c894f959a9" providerId="ADAL" clId="{15586BA0-617D-4D92-8B61-04A1723CD33C}" dt="2020-07-31T15:59:48.552" v="552" actId="14100"/>
          <ac:cxnSpMkLst>
            <pc:docMk/>
            <pc:sldMk cId="838099151" sldId="2134804292"/>
            <ac:cxnSpMk id="95" creationId="{992CCE25-00CE-4C15-881A-068C6B1A3F0E}"/>
          </ac:cxnSpMkLst>
        </pc:cxnChg>
      </pc:sldChg>
      <pc:sldChg chg="add del">
        <pc:chgData name="Mariam Daniela Tristancho Pineda (MISION TEMPORAL LTDA)" userId="a45a17f7-7950-4cb5-bfab-f5c894f959a9" providerId="ADAL" clId="{15586BA0-617D-4D92-8B61-04A1723CD33C}" dt="2020-07-31T21:45:03.556" v="1052" actId="47"/>
        <pc:sldMkLst>
          <pc:docMk/>
          <pc:sldMk cId="1822149763" sldId="2134804293"/>
        </pc:sldMkLst>
      </pc:sldChg>
      <pc:sldChg chg="add">
        <pc:chgData name="Mariam Daniela Tristancho Pineda (MISION TEMPORAL LTDA)" userId="a45a17f7-7950-4cb5-bfab-f5c894f959a9" providerId="ADAL" clId="{15586BA0-617D-4D92-8B61-04A1723CD33C}" dt="2020-07-29T20:23:04.521" v="89"/>
        <pc:sldMkLst>
          <pc:docMk/>
          <pc:sldMk cId="1480181934" sldId="2134804298"/>
        </pc:sldMkLst>
      </pc:sldChg>
      <pc:sldChg chg="del ord">
        <pc:chgData name="Mariam Daniela Tristancho Pineda (MISION TEMPORAL LTDA)" userId="a45a17f7-7950-4cb5-bfab-f5c894f959a9" providerId="ADAL" clId="{15586BA0-617D-4D92-8B61-04A1723CD33C}" dt="2020-07-31T21:44:02.902" v="1051" actId="47"/>
        <pc:sldMkLst>
          <pc:docMk/>
          <pc:sldMk cId="2197550008" sldId="2134804299"/>
        </pc:sldMkLst>
      </pc:sldChg>
      <pc:sldChg chg="mod modShow">
        <pc:chgData name="Mariam Daniela Tristancho Pineda (MISION TEMPORAL LTDA)" userId="a45a17f7-7950-4cb5-bfab-f5c894f959a9" providerId="ADAL" clId="{15586BA0-617D-4D92-8B61-04A1723CD33C}" dt="2020-07-31T21:02:55.039" v="697" actId="729"/>
        <pc:sldMkLst>
          <pc:docMk/>
          <pc:sldMk cId="441470096" sldId="2134804303"/>
        </pc:sldMkLst>
      </pc:sldChg>
      <pc:sldChg chg="mod modShow">
        <pc:chgData name="Mariam Daniela Tristancho Pineda (MISION TEMPORAL LTDA)" userId="a45a17f7-7950-4cb5-bfab-f5c894f959a9" providerId="ADAL" clId="{15586BA0-617D-4D92-8B61-04A1723CD33C}" dt="2020-07-31T21:02:52.613" v="696" actId="729"/>
        <pc:sldMkLst>
          <pc:docMk/>
          <pc:sldMk cId="376084906" sldId="2134804304"/>
        </pc:sldMkLst>
      </pc:sldChg>
      <pc:sldChg chg="addSp delSp modSp add del mod ord">
        <pc:chgData name="Mariam Daniela Tristancho Pineda (MISION TEMPORAL LTDA)" userId="a45a17f7-7950-4cb5-bfab-f5c894f959a9" providerId="ADAL" clId="{15586BA0-617D-4D92-8B61-04A1723CD33C}" dt="2020-07-29T21:10:56.790" v="179" actId="478"/>
        <pc:sldMkLst>
          <pc:docMk/>
          <pc:sldMk cId="1505401777" sldId="2134804310"/>
        </pc:sldMkLst>
        <pc:spChg chg="mod">
          <ac:chgData name="Mariam Daniela Tristancho Pineda (MISION TEMPORAL LTDA)" userId="a45a17f7-7950-4cb5-bfab-f5c894f959a9" providerId="ADAL" clId="{15586BA0-617D-4D92-8B61-04A1723CD33C}" dt="2020-07-29T21:09:31.075" v="170" actId="20577"/>
          <ac:spMkLst>
            <pc:docMk/>
            <pc:sldMk cId="1505401777" sldId="2134804310"/>
            <ac:spMk id="2" creationId="{6431BBCF-96E5-45A7-B7E5-D44090D06329}"/>
          </ac:spMkLst>
        </pc:spChg>
        <pc:spChg chg="del">
          <ac:chgData name="Mariam Daniela Tristancho Pineda (MISION TEMPORAL LTDA)" userId="a45a17f7-7950-4cb5-bfab-f5c894f959a9" providerId="ADAL" clId="{15586BA0-617D-4D92-8B61-04A1723CD33C}" dt="2020-07-29T21:10:53.260" v="177" actId="478"/>
          <ac:spMkLst>
            <pc:docMk/>
            <pc:sldMk cId="1505401777" sldId="2134804310"/>
            <ac:spMk id="3" creationId="{30F9CFD9-5990-468D-9B1E-2AB69F9844AA}"/>
          </ac:spMkLst>
        </pc:spChg>
        <pc:spChg chg="add del mod">
          <ac:chgData name="Mariam Daniela Tristancho Pineda (MISION TEMPORAL LTDA)" userId="a45a17f7-7950-4cb5-bfab-f5c894f959a9" providerId="ADAL" clId="{15586BA0-617D-4D92-8B61-04A1723CD33C}" dt="2020-07-29T21:10:56.790" v="179" actId="478"/>
          <ac:spMkLst>
            <pc:docMk/>
            <pc:sldMk cId="1505401777" sldId="2134804310"/>
            <ac:spMk id="5" creationId="{DF79E9DE-B0CB-4ACF-9DF9-C2D61A1543FE}"/>
          </ac:spMkLst>
        </pc:spChg>
        <pc:spChg chg="add mod">
          <ac:chgData name="Mariam Daniela Tristancho Pineda (MISION TEMPORAL LTDA)" userId="a45a17f7-7950-4cb5-bfab-f5c894f959a9" providerId="ADAL" clId="{15586BA0-617D-4D92-8B61-04A1723CD33C}" dt="2020-07-29T21:10:54.383" v="178"/>
          <ac:spMkLst>
            <pc:docMk/>
            <pc:sldMk cId="1505401777" sldId="2134804310"/>
            <ac:spMk id="6" creationId="{08D64255-0812-4ABC-96F2-AA341908EF49}"/>
          </ac:spMkLst>
        </pc:spChg>
      </pc:sldChg>
      <pc:sldChg chg="add del ord">
        <pc:chgData name="Mariam Daniela Tristancho Pineda (MISION TEMPORAL LTDA)" userId="a45a17f7-7950-4cb5-bfab-f5c894f959a9" providerId="ADAL" clId="{15586BA0-617D-4D92-8B61-04A1723CD33C}" dt="2020-07-31T21:46:05.783" v="1066"/>
        <pc:sldMkLst>
          <pc:docMk/>
          <pc:sldMk cId="2857089145" sldId="2134804311"/>
        </pc:sldMkLst>
      </pc:sldChg>
      <pc:sldChg chg="add del">
        <pc:chgData name="Mariam Daniela Tristancho Pineda (MISION TEMPORAL LTDA)" userId="a45a17f7-7950-4cb5-bfab-f5c894f959a9" providerId="ADAL" clId="{15586BA0-617D-4D92-8B61-04A1723CD33C}" dt="2020-07-31T21:45:06.907" v="1055" actId="47"/>
        <pc:sldMkLst>
          <pc:docMk/>
          <pc:sldMk cId="1359201595" sldId="2134804313"/>
        </pc:sldMkLst>
      </pc:sldChg>
      <pc:sldChg chg="modSp mod">
        <pc:chgData name="Mariam Daniela Tristancho Pineda (MISION TEMPORAL LTDA)" userId="a45a17f7-7950-4cb5-bfab-f5c894f959a9" providerId="ADAL" clId="{15586BA0-617D-4D92-8B61-04A1723CD33C}" dt="2020-07-29T20:24:44.108" v="129" actId="14100"/>
        <pc:sldMkLst>
          <pc:docMk/>
          <pc:sldMk cId="0" sldId="2134804320"/>
        </pc:sldMkLst>
        <pc:spChg chg="mod">
          <ac:chgData name="Mariam Daniela Tristancho Pineda (MISION TEMPORAL LTDA)" userId="a45a17f7-7950-4cb5-bfab-f5c894f959a9" providerId="ADAL" clId="{15586BA0-617D-4D92-8B61-04A1723CD33C}" dt="2020-07-29T20:24:44.108" v="129" actId="14100"/>
          <ac:spMkLst>
            <pc:docMk/>
            <pc:sldMk cId="0" sldId="2134804320"/>
            <ac:spMk id="17" creationId="{0A6626A3-9098-4058-94D4-CDC309A6EA08}"/>
          </ac:spMkLst>
        </pc:spChg>
        <pc:spChg chg="mod">
          <ac:chgData name="Mariam Daniela Tristancho Pineda (MISION TEMPORAL LTDA)" userId="a45a17f7-7950-4cb5-bfab-f5c894f959a9" providerId="ADAL" clId="{15586BA0-617D-4D92-8B61-04A1723CD33C}" dt="2020-07-29T20:24:27.051" v="124" actId="14100"/>
          <ac:spMkLst>
            <pc:docMk/>
            <pc:sldMk cId="0" sldId="2134804320"/>
            <ac:spMk id="18" creationId="{E9C7AABE-F2DC-4492-B19F-B7D1033380BF}"/>
          </ac:spMkLst>
        </pc:spChg>
        <pc:spChg chg="mod">
          <ac:chgData name="Mariam Daniela Tristancho Pineda (MISION TEMPORAL LTDA)" userId="a45a17f7-7950-4cb5-bfab-f5c894f959a9" providerId="ADAL" clId="{15586BA0-617D-4D92-8B61-04A1723CD33C}" dt="2020-07-29T20:24:36.331" v="127" actId="14100"/>
          <ac:spMkLst>
            <pc:docMk/>
            <pc:sldMk cId="0" sldId="2134804320"/>
            <ac:spMk id="20" creationId="{8EDCB9EC-5CC6-4C88-ABEF-5A221B8F5238}"/>
          </ac:spMkLst>
        </pc:spChg>
        <pc:spChg chg="mod">
          <ac:chgData name="Mariam Daniela Tristancho Pineda (MISION TEMPORAL LTDA)" userId="a45a17f7-7950-4cb5-bfab-f5c894f959a9" providerId="ADAL" clId="{15586BA0-617D-4D92-8B61-04A1723CD33C}" dt="2020-07-29T20:24:07.690" v="103" actId="20577"/>
          <ac:spMkLst>
            <pc:docMk/>
            <pc:sldMk cId="0" sldId="2134804320"/>
            <ac:spMk id="24" creationId="{C94A8B38-94CE-428D-8226-8CA003757F5F}"/>
          </ac:spMkLst>
        </pc:spChg>
        <pc:spChg chg="mod">
          <ac:chgData name="Mariam Daniela Tristancho Pineda (MISION TEMPORAL LTDA)" userId="a45a17f7-7950-4cb5-bfab-f5c894f959a9" providerId="ADAL" clId="{15586BA0-617D-4D92-8B61-04A1723CD33C}" dt="2020-07-29T20:24:23.699" v="123" actId="14100"/>
          <ac:spMkLst>
            <pc:docMk/>
            <pc:sldMk cId="0" sldId="2134804320"/>
            <ac:spMk id="31" creationId="{0B7C0A75-5BE4-4EA8-9AFC-EBEFF4F8307C}"/>
          </ac:spMkLst>
        </pc:spChg>
        <pc:cxnChg chg="mod">
          <ac:chgData name="Mariam Daniela Tristancho Pineda (MISION TEMPORAL LTDA)" userId="a45a17f7-7950-4cb5-bfab-f5c894f959a9" providerId="ADAL" clId="{15586BA0-617D-4D92-8B61-04A1723CD33C}" dt="2020-07-29T20:24:12.774" v="122" actId="1038"/>
          <ac:cxnSpMkLst>
            <pc:docMk/>
            <pc:sldMk cId="0" sldId="2134804320"/>
            <ac:cxnSpMk id="22" creationId="{26EBC158-E975-4168-AC5B-B4628843C99A}"/>
          </ac:cxnSpMkLst>
        </pc:cxnChg>
      </pc:sldChg>
      <pc:sldChg chg="add del">
        <pc:chgData name="Mariam Daniela Tristancho Pineda (MISION TEMPORAL LTDA)" userId="a45a17f7-7950-4cb5-bfab-f5c894f959a9" providerId="ADAL" clId="{15586BA0-617D-4D92-8B61-04A1723CD33C}" dt="2020-07-31T21:45:08.122" v="1056" actId="47"/>
        <pc:sldMkLst>
          <pc:docMk/>
          <pc:sldMk cId="1900142549" sldId="2134804321"/>
        </pc:sldMkLst>
      </pc:sldChg>
      <pc:sldChg chg="modSp mod">
        <pc:chgData name="Mariam Daniela Tristancho Pineda (MISION TEMPORAL LTDA)" userId="a45a17f7-7950-4cb5-bfab-f5c894f959a9" providerId="ADAL" clId="{15586BA0-617D-4D92-8B61-04A1723CD33C}" dt="2020-07-29T21:07:52.932" v="161" actId="20577"/>
        <pc:sldMkLst>
          <pc:docMk/>
          <pc:sldMk cId="2351433242" sldId="2134804322"/>
        </pc:sldMkLst>
        <pc:spChg chg="mod">
          <ac:chgData name="Mariam Daniela Tristancho Pineda (MISION TEMPORAL LTDA)" userId="a45a17f7-7950-4cb5-bfab-f5c894f959a9" providerId="ADAL" clId="{15586BA0-617D-4D92-8B61-04A1723CD33C}" dt="2020-07-29T21:07:52.932" v="161" actId="20577"/>
          <ac:spMkLst>
            <pc:docMk/>
            <pc:sldMk cId="2351433242" sldId="2134804322"/>
            <ac:spMk id="2" creationId="{6431BBCF-96E5-45A7-B7E5-D44090D06329}"/>
          </ac:spMkLst>
        </pc:spChg>
        <pc:spChg chg="mod">
          <ac:chgData name="Mariam Daniela Tristancho Pineda (MISION TEMPORAL LTDA)" userId="a45a17f7-7950-4cb5-bfab-f5c894f959a9" providerId="ADAL" clId="{15586BA0-617D-4D92-8B61-04A1723CD33C}" dt="2020-07-29T14:03:22.548" v="77" actId="20577"/>
          <ac:spMkLst>
            <pc:docMk/>
            <pc:sldMk cId="2351433242" sldId="2134804322"/>
            <ac:spMk id="3" creationId="{30F9CFD9-5990-468D-9B1E-2AB69F9844AA}"/>
          </ac:spMkLst>
        </pc:spChg>
      </pc:sldChg>
      <pc:sldChg chg="modSp add del mod ord">
        <pc:chgData name="Mariam Daniela Tristancho Pineda (MISION TEMPORAL LTDA)" userId="a45a17f7-7950-4cb5-bfab-f5c894f959a9" providerId="ADAL" clId="{15586BA0-617D-4D92-8B61-04A1723CD33C}" dt="2020-07-31T21:43:29.873" v="1050" actId="1076"/>
        <pc:sldMkLst>
          <pc:docMk/>
          <pc:sldMk cId="237599856" sldId="2134804323"/>
        </pc:sldMkLst>
        <pc:spChg chg="mod">
          <ac:chgData name="Mariam Daniela Tristancho Pineda (MISION TEMPORAL LTDA)" userId="a45a17f7-7950-4cb5-bfab-f5c894f959a9" providerId="ADAL" clId="{15586BA0-617D-4D92-8B61-04A1723CD33C}" dt="2020-07-31T21:43:29.873" v="1050" actId="1076"/>
          <ac:spMkLst>
            <pc:docMk/>
            <pc:sldMk cId="237599856" sldId="2134804323"/>
            <ac:spMk id="84" creationId="{293DBAF3-3942-4C58-8A63-D4484E215E20}"/>
          </ac:spMkLst>
        </pc:spChg>
        <pc:spChg chg="mod">
          <ac:chgData name="Mariam Daniela Tristancho Pineda (MISION TEMPORAL LTDA)" userId="a45a17f7-7950-4cb5-bfab-f5c894f959a9" providerId="ADAL" clId="{15586BA0-617D-4D92-8B61-04A1723CD33C}" dt="2020-07-31T21:43:29.873" v="1050" actId="1076"/>
          <ac:spMkLst>
            <pc:docMk/>
            <pc:sldMk cId="237599856" sldId="2134804323"/>
            <ac:spMk id="85" creationId="{63D8D3CF-6945-47A8-9893-D38BC41C621B}"/>
          </ac:spMkLst>
        </pc:spChg>
        <pc:spChg chg="mod">
          <ac:chgData name="Mariam Daniela Tristancho Pineda (MISION TEMPORAL LTDA)" userId="a45a17f7-7950-4cb5-bfab-f5c894f959a9" providerId="ADAL" clId="{15586BA0-617D-4D92-8B61-04A1723CD33C}" dt="2020-07-31T21:43:29.873" v="1050" actId="1076"/>
          <ac:spMkLst>
            <pc:docMk/>
            <pc:sldMk cId="237599856" sldId="2134804323"/>
            <ac:spMk id="86" creationId="{7696A978-4362-4DE3-8C58-0F58608C4AA6}"/>
          </ac:spMkLst>
        </pc:spChg>
        <pc:spChg chg="mod">
          <ac:chgData name="Mariam Daniela Tristancho Pineda (MISION TEMPORAL LTDA)" userId="a45a17f7-7950-4cb5-bfab-f5c894f959a9" providerId="ADAL" clId="{15586BA0-617D-4D92-8B61-04A1723CD33C}" dt="2020-07-31T21:43:29.873" v="1050" actId="1076"/>
          <ac:spMkLst>
            <pc:docMk/>
            <pc:sldMk cId="237599856" sldId="2134804323"/>
            <ac:spMk id="88" creationId="{4D68A9B0-25D8-4EF1-8A57-0A2AD1C1D741}"/>
          </ac:spMkLst>
        </pc:spChg>
        <pc:spChg chg="mod">
          <ac:chgData name="Mariam Daniela Tristancho Pineda (MISION TEMPORAL LTDA)" userId="a45a17f7-7950-4cb5-bfab-f5c894f959a9" providerId="ADAL" clId="{15586BA0-617D-4D92-8B61-04A1723CD33C}" dt="2020-07-31T21:43:29.873" v="1050" actId="1076"/>
          <ac:spMkLst>
            <pc:docMk/>
            <pc:sldMk cId="237599856" sldId="2134804323"/>
            <ac:spMk id="91" creationId="{232CC050-3BFF-4FBB-A326-2B3CF9176A99}"/>
          </ac:spMkLst>
        </pc:spChg>
        <pc:spChg chg="mod">
          <ac:chgData name="Mariam Daniela Tristancho Pineda (MISION TEMPORAL LTDA)" userId="a45a17f7-7950-4cb5-bfab-f5c894f959a9" providerId="ADAL" clId="{15586BA0-617D-4D92-8B61-04A1723CD33C}" dt="2020-07-31T21:43:29.873" v="1050" actId="1076"/>
          <ac:spMkLst>
            <pc:docMk/>
            <pc:sldMk cId="237599856" sldId="2134804323"/>
            <ac:spMk id="92" creationId="{34C98F8E-3ADE-42ED-8EB5-8A3C0E1BF7B0}"/>
          </ac:spMkLst>
        </pc:spChg>
        <pc:spChg chg="mod">
          <ac:chgData name="Mariam Daniela Tristancho Pineda (MISION TEMPORAL LTDA)" userId="a45a17f7-7950-4cb5-bfab-f5c894f959a9" providerId="ADAL" clId="{15586BA0-617D-4D92-8B61-04A1723CD33C}" dt="2020-07-31T21:43:29.873" v="1050" actId="1076"/>
          <ac:spMkLst>
            <pc:docMk/>
            <pc:sldMk cId="237599856" sldId="2134804323"/>
            <ac:spMk id="94" creationId="{03C660BC-2A9C-4D5D-9487-318B90C03E97}"/>
          </ac:spMkLst>
        </pc:spChg>
        <pc:spChg chg="mod">
          <ac:chgData name="Mariam Daniela Tristancho Pineda (MISION TEMPORAL LTDA)" userId="a45a17f7-7950-4cb5-bfab-f5c894f959a9" providerId="ADAL" clId="{15586BA0-617D-4D92-8B61-04A1723CD33C}" dt="2020-07-31T21:43:29.873" v="1050" actId="1076"/>
          <ac:spMkLst>
            <pc:docMk/>
            <pc:sldMk cId="237599856" sldId="2134804323"/>
            <ac:spMk id="117" creationId="{8960734A-1053-42D2-BD72-6674DCCE6A97}"/>
          </ac:spMkLst>
        </pc:spChg>
        <pc:spChg chg="mod">
          <ac:chgData name="Mariam Daniela Tristancho Pineda (MISION TEMPORAL LTDA)" userId="a45a17f7-7950-4cb5-bfab-f5c894f959a9" providerId="ADAL" clId="{15586BA0-617D-4D92-8B61-04A1723CD33C}" dt="2020-07-31T21:43:29.873" v="1050" actId="1076"/>
          <ac:spMkLst>
            <pc:docMk/>
            <pc:sldMk cId="237599856" sldId="2134804323"/>
            <ac:spMk id="118" creationId="{C77431EE-A761-4323-B75F-692D4CAEC462}"/>
          </ac:spMkLst>
        </pc:spChg>
        <pc:spChg chg="mod">
          <ac:chgData name="Mariam Daniela Tristancho Pineda (MISION TEMPORAL LTDA)" userId="a45a17f7-7950-4cb5-bfab-f5c894f959a9" providerId="ADAL" clId="{15586BA0-617D-4D92-8B61-04A1723CD33C}" dt="2020-07-31T21:43:29.873" v="1050" actId="1076"/>
          <ac:spMkLst>
            <pc:docMk/>
            <pc:sldMk cId="237599856" sldId="2134804323"/>
            <ac:spMk id="119" creationId="{A66DDFF6-8990-4632-9B16-3852035C81BA}"/>
          </ac:spMkLst>
        </pc:spChg>
        <pc:spChg chg="mod">
          <ac:chgData name="Mariam Daniela Tristancho Pineda (MISION TEMPORAL LTDA)" userId="a45a17f7-7950-4cb5-bfab-f5c894f959a9" providerId="ADAL" clId="{15586BA0-617D-4D92-8B61-04A1723CD33C}" dt="2020-07-31T21:43:29.873" v="1050" actId="1076"/>
          <ac:spMkLst>
            <pc:docMk/>
            <pc:sldMk cId="237599856" sldId="2134804323"/>
            <ac:spMk id="122" creationId="{F92D7973-FA2F-45B1-8D65-1BB666EE24DD}"/>
          </ac:spMkLst>
        </pc:spChg>
        <pc:spChg chg="mod">
          <ac:chgData name="Mariam Daniela Tristancho Pineda (MISION TEMPORAL LTDA)" userId="a45a17f7-7950-4cb5-bfab-f5c894f959a9" providerId="ADAL" clId="{15586BA0-617D-4D92-8B61-04A1723CD33C}" dt="2020-07-31T21:43:29.873" v="1050" actId="1076"/>
          <ac:spMkLst>
            <pc:docMk/>
            <pc:sldMk cId="237599856" sldId="2134804323"/>
            <ac:spMk id="123" creationId="{7DBB833A-DFE0-4BC0-96CD-50EEB2A468C0}"/>
          </ac:spMkLst>
        </pc:spChg>
        <pc:spChg chg="mod">
          <ac:chgData name="Mariam Daniela Tristancho Pineda (MISION TEMPORAL LTDA)" userId="a45a17f7-7950-4cb5-bfab-f5c894f959a9" providerId="ADAL" clId="{15586BA0-617D-4D92-8B61-04A1723CD33C}" dt="2020-07-31T21:43:29.873" v="1050" actId="1076"/>
          <ac:spMkLst>
            <pc:docMk/>
            <pc:sldMk cId="237599856" sldId="2134804323"/>
            <ac:spMk id="124" creationId="{70AA3071-CACE-4F35-8B87-AC8A0604DE78}"/>
          </ac:spMkLst>
        </pc:spChg>
        <pc:spChg chg="mod">
          <ac:chgData name="Mariam Daniela Tristancho Pineda (MISION TEMPORAL LTDA)" userId="a45a17f7-7950-4cb5-bfab-f5c894f959a9" providerId="ADAL" clId="{15586BA0-617D-4D92-8B61-04A1723CD33C}" dt="2020-07-31T21:43:29.873" v="1050" actId="1076"/>
          <ac:spMkLst>
            <pc:docMk/>
            <pc:sldMk cId="237599856" sldId="2134804323"/>
            <ac:spMk id="125" creationId="{A228DE91-C702-4290-AF8E-D7ED7818436F}"/>
          </ac:spMkLst>
        </pc:spChg>
        <pc:spChg chg="mod">
          <ac:chgData name="Mariam Daniela Tristancho Pineda (MISION TEMPORAL LTDA)" userId="a45a17f7-7950-4cb5-bfab-f5c894f959a9" providerId="ADAL" clId="{15586BA0-617D-4D92-8B61-04A1723CD33C}" dt="2020-07-31T21:43:29.873" v="1050" actId="1076"/>
          <ac:spMkLst>
            <pc:docMk/>
            <pc:sldMk cId="237599856" sldId="2134804323"/>
            <ac:spMk id="126" creationId="{01563260-A3C9-427B-975A-EFC567A75841}"/>
          </ac:spMkLst>
        </pc:spChg>
      </pc:sldChg>
      <pc:sldChg chg="addSp delSp modSp add del mod ord">
        <pc:chgData name="Mariam Daniela Tristancho Pineda (MISION TEMPORAL LTDA)" userId="a45a17f7-7950-4cb5-bfab-f5c894f959a9" providerId="ADAL" clId="{15586BA0-617D-4D92-8B61-04A1723CD33C}" dt="2020-07-31T15:58:58.836" v="551" actId="1037"/>
        <pc:sldMkLst>
          <pc:docMk/>
          <pc:sldMk cId="2408337444" sldId="2134804326"/>
        </pc:sldMkLst>
        <pc:spChg chg="add mod ord">
          <ac:chgData name="Mariam Daniela Tristancho Pineda (MISION TEMPORAL LTDA)" userId="a45a17f7-7950-4cb5-bfab-f5c894f959a9" providerId="ADAL" clId="{15586BA0-617D-4D92-8B61-04A1723CD33C}" dt="2020-07-31T15:56:19.834" v="492" actId="164"/>
          <ac:spMkLst>
            <pc:docMk/>
            <pc:sldMk cId="2408337444" sldId="2134804326"/>
            <ac:spMk id="4" creationId="{F9BFC96B-0408-4BCF-8AB8-AA82B6B173E1}"/>
          </ac:spMkLst>
        </pc:spChg>
        <pc:spChg chg="add mod ord">
          <ac:chgData name="Mariam Daniela Tristancho Pineda (MISION TEMPORAL LTDA)" userId="a45a17f7-7950-4cb5-bfab-f5c894f959a9" providerId="ADAL" clId="{15586BA0-617D-4D92-8B61-04A1723CD33C}" dt="2020-07-31T15:56:19.834" v="492" actId="164"/>
          <ac:spMkLst>
            <pc:docMk/>
            <pc:sldMk cId="2408337444" sldId="2134804326"/>
            <ac:spMk id="6" creationId="{88BCD7D7-50D9-4A37-AFF3-2758984E5DFA}"/>
          </ac:spMkLst>
        </pc:spChg>
        <pc:spChg chg="add mod">
          <ac:chgData name="Mariam Daniela Tristancho Pineda (MISION TEMPORAL LTDA)" userId="a45a17f7-7950-4cb5-bfab-f5c894f959a9" providerId="ADAL" clId="{15586BA0-617D-4D92-8B61-04A1723CD33C}" dt="2020-07-31T15:56:23.059" v="493" actId="164"/>
          <ac:spMkLst>
            <pc:docMk/>
            <pc:sldMk cId="2408337444" sldId="2134804326"/>
            <ac:spMk id="8" creationId="{6EF29C1C-1BC6-4466-AA3D-246194B7F0A7}"/>
          </ac:spMkLst>
        </pc:spChg>
        <pc:spChg chg="add mod">
          <ac:chgData name="Mariam Daniela Tristancho Pineda (MISION TEMPORAL LTDA)" userId="a45a17f7-7950-4cb5-bfab-f5c894f959a9" providerId="ADAL" clId="{15586BA0-617D-4D92-8B61-04A1723CD33C}" dt="2020-07-31T15:56:23.059" v="493" actId="164"/>
          <ac:spMkLst>
            <pc:docMk/>
            <pc:sldMk cId="2408337444" sldId="2134804326"/>
            <ac:spMk id="9" creationId="{A827C203-9C24-41D5-A39A-E7D43F504E92}"/>
          </ac:spMkLst>
        </pc:spChg>
        <pc:spChg chg="add del mod">
          <ac:chgData name="Mariam Daniela Tristancho Pineda (MISION TEMPORAL LTDA)" userId="a45a17f7-7950-4cb5-bfab-f5c894f959a9" providerId="ADAL" clId="{15586BA0-617D-4D92-8B61-04A1723CD33C}" dt="2020-07-31T15:58:58.836" v="551" actId="1037"/>
          <ac:spMkLst>
            <pc:docMk/>
            <pc:sldMk cId="2408337444" sldId="2134804326"/>
            <ac:spMk id="10" creationId="{810E18BD-2955-4DB2-AEDB-386E84418C6C}"/>
          </ac:spMkLst>
        </pc:spChg>
        <pc:spChg chg="add mod">
          <ac:chgData name="Mariam Daniela Tristancho Pineda (MISION TEMPORAL LTDA)" userId="a45a17f7-7950-4cb5-bfab-f5c894f959a9" providerId="ADAL" clId="{15586BA0-617D-4D92-8B61-04A1723CD33C}" dt="2020-07-31T15:56:25.694" v="494" actId="164"/>
          <ac:spMkLst>
            <pc:docMk/>
            <pc:sldMk cId="2408337444" sldId="2134804326"/>
            <ac:spMk id="11" creationId="{7D4B0C92-3925-4F49-8644-F81D04610C41}"/>
          </ac:spMkLst>
        </pc:spChg>
        <pc:spChg chg="add mod">
          <ac:chgData name="Mariam Daniela Tristancho Pineda (MISION TEMPORAL LTDA)" userId="a45a17f7-7950-4cb5-bfab-f5c894f959a9" providerId="ADAL" clId="{15586BA0-617D-4D92-8B61-04A1723CD33C}" dt="2020-07-31T15:56:25.694" v="494" actId="164"/>
          <ac:spMkLst>
            <pc:docMk/>
            <pc:sldMk cId="2408337444" sldId="2134804326"/>
            <ac:spMk id="13" creationId="{0E4A4DB6-2B98-484D-9FB5-FDEFE3E16EC9}"/>
          </ac:spMkLst>
        </pc:spChg>
        <pc:spChg chg="del">
          <ac:chgData name="Mariam Daniela Tristancho Pineda (MISION TEMPORAL LTDA)" userId="a45a17f7-7950-4cb5-bfab-f5c894f959a9" providerId="ADAL" clId="{15586BA0-617D-4D92-8B61-04A1723CD33C}" dt="2020-07-31T15:54:33.146" v="458" actId="478"/>
          <ac:spMkLst>
            <pc:docMk/>
            <pc:sldMk cId="2408337444" sldId="2134804326"/>
            <ac:spMk id="14" creationId="{EF03CAF6-DF53-4F57-8A93-EC5A4AD2CF09}"/>
          </ac:spMkLst>
        </pc:spChg>
        <pc:spChg chg="mod">
          <ac:chgData name="Mariam Daniela Tristancho Pineda (MISION TEMPORAL LTDA)" userId="a45a17f7-7950-4cb5-bfab-f5c894f959a9" providerId="ADAL" clId="{15586BA0-617D-4D92-8B61-04A1723CD33C}" dt="2020-07-31T15:58:58.836" v="551" actId="1037"/>
          <ac:spMkLst>
            <pc:docMk/>
            <pc:sldMk cId="2408337444" sldId="2134804326"/>
            <ac:spMk id="19" creationId="{CE9667FC-2EDF-4F30-B9FB-41AC4BCA57C5}"/>
          </ac:spMkLst>
        </pc:spChg>
        <pc:spChg chg="mod">
          <ac:chgData name="Mariam Daniela Tristancho Pineda (MISION TEMPORAL LTDA)" userId="a45a17f7-7950-4cb5-bfab-f5c894f959a9" providerId="ADAL" clId="{15586BA0-617D-4D92-8B61-04A1723CD33C}" dt="2020-07-31T15:58:58.836" v="551" actId="1037"/>
          <ac:spMkLst>
            <pc:docMk/>
            <pc:sldMk cId="2408337444" sldId="2134804326"/>
            <ac:spMk id="38" creationId="{3552541D-17C8-4822-9A1D-90A0C0B5AD8E}"/>
          </ac:spMkLst>
        </pc:spChg>
        <pc:spChg chg="mod ord">
          <ac:chgData name="Mariam Daniela Tristancho Pineda (MISION TEMPORAL LTDA)" userId="a45a17f7-7950-4cb5-bfab-f5c894f959a9" providerId="ADAL" clId="{15586BA0-617D-4D92-8B61-04A1723CD33C}" dt="2020-07-31T15:58:58.836" v="551" actId="1037"/>
          <ac:spMkLst>
            <pc:docMk/>
            <pc:sldMk cId="2408337444" sldId="2134804326"/>
            <ac:spMk id="40" creationId="{25EFF114-9C03-4A67-908C-727B85061D72}"/>
          </ac:spMkLst>
        </pc:spChg>
        <pc:spChg chg="add del mod">
          <ac:chgData name="Mariam Daniela Tristancho Pineda (MISION TEMPORAL LTDA)" userId="a45a17f7-7950-4cb5-bfab-f5c894f959a9" providerId="ADAL" clId="{15586BA0-617D-4D92-8B61-04A1723CD33C}" dt="2020-07-31T15:58:58.836" v="551" actId="1037"/>
          <ac:spMkLst>
            <pc:docMk/>
            <pc:sldMk cId="2408337444" sldId="2134804326"/>
            <ac:spMk id="44" creationId="{4B1A9C8A-FFC0-483B-B825-ED5EF0C388A9}"/>
          </ac:spMkLst>
        </pc:spChg>
        <pc:spChg chg="add del mod">
          <ac:chgData name="Mariam Daniela Tristancho Pineda (MISION TEMPORAL LTDA)" userId="a45a17f7-7950-4cb5-bfab-f5c894f959a9" providerId="ADAL" clId="{15586BA0-617D-4D92-8B61-04A1723CD33C}" dt="2020-07-31T15:58:58.836" v="551" actId="1037"/>
          <ac:spMkLst>
            <pc:docMk/>
            <pc:sldMk cId="2408337444" sldId="2134804326"/>
            <ac:spMk id="45" creationId="{8E8CD834-7B34-47C9-9BE7-09ECA14BFCEB}"/>
          </ac:spMkLst>
        </pc:spChg>
        <pc:spChg chg="add del mod">
          <ac:chgData name="Mariam Daniela Tristancho Pineda (MISION TEMPORAL LTDA)" userId="a45a17f7-7950-4cb5-bfab-f5c894f959a9" providerId="ADAL" clId="{15586BA0-617D-4D92-8B61-04A1723CD33C}" dt="2020-07-31T15:58:58.836" v="551" actId="1037"/>
          <ac:spMkLst>
            <pc:docMk/>
            <pc:sldMk cId="2408337444" sldId="2134804326"/>
            <ac:spMk id="46" creationId="{E743D3A5-E06C-4DB9-B76D-A067CACA830E}"/>
          </ac:spMkLst>
        </pc:spChg>
        <pc:spChg chg="mod">
          <ac:chgData name="Mariam Daniela Tristancho Pineda (MISION TEMPORAL LTDA)" userId="a45a17f7-7950-4cb5-bfab-f5c894f959a9" providerId="ADAL" clId="{15586BA0-617D-4D92-8B61-04A1723CD33C}" dt="2020-07-31T15:58:58.836" v="551" actId="1037"/>
          <ac:spMkLst>
            <pc:docMk/>
            <pc:sldMk cId="2408337444" sldId="2134804326"/>
            <ac:spMk id="47" creationId="{137B0C4F-8471-4337-954D-6AECA53DF9C2}"/>
          </ac:spMkLst>
        </pc:spChg>
        <pc:spChg chg="mod">
          <ac:chgData name="Mariam Daniela Tristancho Pineda (MISION TEMPORAL LTDA)" userId="a45a17f7-7950-4cb5-bfab-f5c894f959a9" providerId="ADAL" clId="{15586BA0-617D-4D92-8B61-04A1723CD33C}" dt="2020-07-31T15:58:58.836" v="551" actId="1037"/>
          <ac:spMkLst>
            <pc:docMk/>
            <pc:sldMk cId="2408337444" sldId="2134804326"/>
            <ac:spMk id="48" creationId="{960C4BFA-3B0A-4EEB-96F6-3783C5EECDB6}"/>
          </ac:spMkLst>
        </pc:spChg>
        <pc:spChg chg="add del mod">
          <ac:chgData name="Mariam Daniela Tristancho Pineda (MISION TEMPORAL LTDA)" userId="a45a17f7-7950-4cb5-bfab-f5c894f959a9" providerId="ADAL" clId="{15586BA0-617D-4D92-8B61-04A1723CD33C}" dt="2020-07-31T15:58:58.836" v="551" actId="1037"/>
          <ac:spMkLst>
            <pc:docMk/>
            <pc:sldMk cId="2408337444" sldId="2134804326"/>
            <ac:spMk id="49" creationId="{83CBE9D2-66F2-41DF-974D-21CB4E41129D}"/>
          </ac:spMkLst>
        </pc:spChg>
        <pc:spChg chg="add del mod">
          <ac:chgData name="Mariam Daniela Tristancho Pineda (MISION TEMPORAL LTDA)" userId="a45a17f7-7950-4cb5-bfab-f5c894f959a9" providerId="ADAL" clId="{15586BA0-617D-4D92-8B61-04A1723CD33C}" dt="2020-07-31T15:58:58.836" v="551" actId="1037"/>
          <ac:spMkLst>
            <pc:docMk/>
            <pc:sldMk cId="2408337444" sldId="2134804326"/>
            <ac:spMk id="50" creationId="{43B7DA1A-E620-4FEE-BD9A-7EAF88C0AAB8}"/>
          </ac:spMkLst>
        </pc:spChg>
        <pc:spChg chg="mod">
          <ac:chgData name="Mariam Daniela Tristancho Pineda (MISION TEMPORAL LTDA)" userId="a45a17f7-7950-4cb5-bfab-f5c894f959a9" providerId="ADAL" clId="{15586BA0-617D-4D92-8B61-04A1723CD33C}" dt="2020-07-31T15:58:58.836" v="551" actId="1037"/>
          <ac:spMkLst>
            <pc:docMk/>
            <pc:sldMk cId="2408337444" sldId="2134804326"/>
            <ac:spMk id="51" creationId="{C0A2318E-3E25-4819-8017-0D802266D8BE}"/>
          </ac:spMkLst>
        </pc:spChg>
        <pc:spChg chg="mod">
          <ac:chgData name="Mariam Daniela Tristancho Pineda (MISION TEMPORAL LTDA)" userId="a45a17f7-7950-4cb5-bfab-f5c894f959a9" providerId="ADAL" clId="{15586BA0-617D-4D92-8B61-04A1723CD33C}" dt="2020-07-31T15:58:58.836" v="551" actId="1037"/>
          <ac:spMkLst>
            <pc:docMk/>
            <pc:sldMk cId="2408337444" sldId="2134804326"/>
            <ac:spMk id="52" creationId="{FC3592D3-9AB1-446B-A099-2A5C49525B49}"/>
          </ac:spMkLst>
        </pc:spChg>
        <pc:spChg chg="mod">
          <ac:chgData name="Mariam Daniela Tristancho Pineda (MISION TEMPORAL LTDA)" userId="a45a17f7-7950-4cb5-bfab-f5c894f959a9" providerId="ADAL" clId="{15586BA0-617D-4D92-8B61-04A1723CD33C}" dt="2020-07-31T15:58:58.836" v="551" actId="1037"/>
          <ac:spMkLst>
            <pc:docMk/>
            <pc:sldMk cId="2408337444" sldId="2134804326"/>
            <ac:spMk id="53" creationId="{DD1A17DA-C747-405E-8B0E-2619695AC430}"/>
          </ac:spMkLst>
        </pc:spChg>
        <pc:spChg chg="mod">
          <ac:chgData name="Mariam Daniela Tristancho Pineda (MISION TEMPORAL LTDA)" userId="a45a17f7-7950-4cb5-bfab-f5c894f959a9" providerId="ADAL" clId="{15586BA0-617D-4D92-8B61-04A1723CD33C}" dt="2020-07-31T15:58:58.836" v="551" actId="1037"/>
          <ac:spMkLst>
            <pc:docMk/>
            <pc:sldMk cId="2408337444" sldId="2134804326"/>
            <ac:spMk id="54" creationId="{18FCD16F-84E8-4671-A091-C0264D480522}"/>
          </ac:spMkLst>
        </pc:spChg>
        <pc:spChg chg="mod">
          <ac:chgData name="Mariam Daniela Tristancho Pineda (MISION TEMPORAL LTDA)" userId="a45a17f7-7950-4cb5-bfab-f5c894f959a9" providerId="ADAL" clId="{15586BA0-617D-4D92-8B61-04A1723CD33C}" dt="2020-07-31T15:58:58.836" v="551" actId="1037"/>
          <ac:spMkLst>
            <pc:docMk/>
            <pc:sldMk cId="2408337444" sldId="2134804326"/>
            <ac:spMk id="57" creationId="{90CE75B7-C905-44BC-86F7-95C74176DDFC}"/>
          </ac:spMkLst>
        </pc:spChg>
        <pc:spChg chg="mod">
          <ac:chgData name="Mariam Daniela Tristancho Pineda (MISION TEMPORAL LTDA)" userId="a45a17f7-7950-4cb5-bfab-f5c894f959a9" providerId="ADAL" clId="{15586BA0-617D-4D92-8B61-04A1723CD33C}" dt="2020-07-31T15:58:58.836" v="551" actId="1037"/>
          <ac:spMkLst>
            <pc:docMk/>
            <pc:sldMk cId="2408337444" sldId="2134804326"/>
            <ac:spMk id="58" creationId="{87C0C219-147A-4233-AEBD-D8B263DF2912}"/>
          </ac:spMkLst>
        </pc:spChg>
        <pc:spChg chg="del">
          <ac:chgData name="Mariam Daniela Tristancho Pineda (MISION TEMPORAL LTDA)" userId="a45a17f7-7950-4cb5-bfab-f5c894f959a9" providerId="ADAL" clId="{15586BA0-617D-4D92-8B61-04A1723CD33C}" dt="2020-07-31T15:54:33.146" v="458" actId="478"/>
          <ac:spMkLst>
            <pc:docMk/>
            <pc:sldMk cId="2408337444" sldId="2134804326"/>
            <ac:spMk id="59" creationId="{190FDEE7-BF46-4887-BCFB-836592D690D8}"/>
          </ac:spMkLst>
        </pc:spChg>
        <pc:spChg chg="mod ord">
          <ac:chgData name="Mariam Daniela Tristancho Pineda (MISION TEMPORAL LTDA)" userId="a45a17f7-7950-4cb5-bfab-f5c894f959a9" providerId="ADAL" clId="{15586BA0-617D-4D92-8B61-04A1723CD33C}" dt="2020-07-31T15:58:58.836" v="551" actId="1037"/>
          <ac:spMkLst>
            <pc:docMk/>
            <pc:sldMk cId="2408337444" sldId="2134804326"/>
            <ac:spMk id="60" creationId="{416DD046-D9EC-437D-B3C4-49AE6F9E8B1B}"/>
          </ac:spMkLst>
        </pc:spChg>
        <pc:spChg chg="mod">
          <ac:chgData name="Mariam Daniela Tristancho Pineda (MISION TEMPORAL LTDA)" userId="a45a17f7-7950-4cb5-bfab-f5c894f959a9" providerId="ADAL" clId="{15586BA0-617D-4D92-8B61-04A1723CD33C}" dt="2020-07-31T15:58:58.836" v="551" actId="1037"/>
          <ac:spMkLst>
            <pc:docMk/>
            <pc:sldMk cId="2408337444" sldId="2134804326"/>
            <ac:spMk id="61" creationId="{7C69D657-65A5-4E1B-8464-4A04E7AFC334}"/>
          </ac:spMkLst>
        </pc:spChg>
        <pc:spChg chg="mod ord">
          <ac:chgData name="Mariam Daniela Tristancho Pineda (MISION TEMPORAL LTDA)" userId="a45a17f7-7950-4cb5-bfab-f5c894f959a9" providerId="ADAL" clId="{15586BA0-617D-4D92-8B61-04A1723CD33C}" dt="2020-07-31T15:58:58.836" v="551" actId="1037"/>
          <ac:spMkLst>
            <pc:docMk/>
            <pc:sldMk cId="2408337444" sldId="2134804326"/>
            <ac:spMk id="62" creationId="{CAD53C17-134A-4DBD-B578-EF435A01FB3F}"/>
          </ac:spMkLst>
        </pc:spChg>
        <pc:spChg chg="mod">
          <ac:chgData name="Mariam Daniela Tristancho Pineda (MISION TEMPORAL LTDA)" userId="a45a17f7-7950-4cb5-bfab-f5c894f959a9" providerId="ADAL" clId="{15586BA0-617D-4D92-8B61-04A1723CD33C}" dt="2020-07-31T15:58:58.836" v="551" actId="1037"/>
          <ac:spMkLst>
            <pc:docMk/>
            <pc:sldMk cId="2408337444" sldId="2134804326"/>
            <ac:spMk id="63" creationId="{FDF3B75C-EF94-43C4-8C4C-4ECAB5FEA69C}"/>
          </ac:spMkLst>
        </pc:spChg>
        <pc:spChg chg="mod">
          <ac:chgData name="Mariam Daniela Tristancho Pineda (MISION TEMPORAL LTDA)" userId="a45a17f7-7950-4cb5-bfab-f5c894f959a9" providerId="ADAL" clId="{15586BA0-617D-4D92-8B61-04A1723CD33C}" dt="2020-07-31T15:58:58.836" v="551" actId="1037"/>
          <ac:spMkLst>
            <pc:docMk/>
            <pc:sldMk cId="2408337444" sldId="2134804326"/>
            <ac:spMk id="67" creationId="{4CC8DF42-E8CE-4AEA-AF20-116C630E45ED}"/>
          </ac:spMkLst>
        </pc:spChg>
        <pc:spChg chg="mod">
          <ac:chgData name="Mariam Daniela Tristancho Pineda (MISION TEMPORAL LTDA)" userId="a45a17f7-7950-4cb5-bfab-f5c894f959a9" providerId="ADAL" clId="{15586BA0-617D-4D92-8B61-04A1723CD33C}" dt="2020-07-31T15:55:59.236" v="488" actId="1035"/>
          <ac:spMkLst>
            <pc:docMk/>
            <pc:sldMk cId="2408337444" sldId="2134804326"/>
            <ac:spMk id="70" creationId="{A549087F-0234-4CF2-AA9A-E2B491A99CF5}"/>
          </ac:spMkLst>
        </pc:spChg>
        <pc:spChg chg="del">
          <ac:chgData name="Mariam Daniela Tristancho Pineda (MISION TEMPORAL LTDA)" userId="a45a17f7-7950-4cb5-bfab-f5c894f959a9" providerId="ADAL" clId="{15586BA0-617D-4D92-8B61-04A1723CD33C}" dt="2020-07-31T15:54:46.277" v="460" actId="478"/>
          <ac:spMkLst>
            <pc:docMk/>
            <pc:sldMk cId="2408337444" sldId="2134804326"/>
            <ac:spMk id="71" creationId="{64C13836-E14D-4BA4-B54B-A071A9CA6001}"/>
          </ac:spMkLst>
        </pc:spChg>
        <pc:spChg chg="del">
          <ac:chgData name="Mariam Daniela Tristancho Pineda (MISION TEMPORAL LTDA)" userId="a45a17f7-7950-4cb5-bfab-f5c894f959a9" providerId="ADAL" clId="{15586BA0-617D-4D92-8B61-04A1723CD33C}" dt="2020-07-31T15:54:46.277" v="460" actId="478"/>
          <ac:spMkLst>
            <pc:docMk/>
            <pc:sldMk cId="2408337444" sldId="2134804326"/>
            <ac:spMk id="72" creationId="{F3FA6477-4D78-4979-B84F-B87C3D225BA4}"/>
          </ac:spMkLst>
        </pc:spChg>
        <pc:spChg chg="del">
          <ac:chgData name="Mariam Daniela Tristancho Pineda (MISION TEMPORAL LTDA)" userId="a45a17f7-7950-4cb5-bfab-f5c894f959a9" providerId="ADAL" clId="{15586BA0-617D-4D92-8B61-04A1723CD33C}" dt="2020-07-31T15:54:46.277" v="460" actId="478"/>
          <ac:spMkLst>
            <pc:docMk/>
            <pc:sldMk cId="2408337444" sldId="2134804326"/>
            <ac:spMk id="73" creationId="{FA34F8DA-B07B-49BE-9F9A-F56FC34185A7}"/>
          </ac:spMkLst>
        </pc:spChg>
        <pc:spChg chg="del">
          <ac:chgData name="Mariam Daniela Tristancho Pineda (MISION TEMPORAL LTDA)" userId="a45a17f7-7950-4cb5-bfab-f5c894f959a9" providerId="ADAL" clId="{15586BA0-617D-4D92-8B61-04A1723CD33C}" dt="2020-07-31T15:54:46.277" v="460" actId="478"/>
          <ac:spMkLst>
            <pc:docMk/>
            <pc:sldMk cId="2408337444" sldId="2134804326"/>
            <ac:spMk id="74" creationId="{06C1CA62-F6CB-4C98-A7DB-85BCACE31AC4}"/>
          </ac:spMkLst>
        </pc:spChg>
        <pc:spChg chg="mod">
          <ac:chgData name="Mariam Daniela Tristancho Pineda (MISION TEMPORAL LTDA)" userId="a45a17f7-7950-4cb5-bfab-f5c894f959a9" providerId="ADAL" clId="{15586BA0-617D-4D92-8B61-04A1723CD33C}" dt="2020-07-31T15:58:58.836" v="551" actId="1037"/>
          <ac:spMkLst>
            <pc:docMk/>
            <pc:sldMk cId="2408337444" sldId="2134804326"/>
            <ac:spMk id="75" creationId="{36553A3D-071E-453A-8D1D-42F8A3354A78}"/>
          </ac:spMkLst>
        </pc:spChg>
        <pc:spChg chg="mod">
          <ac:chgData name="Mariam Daniela Tristancho Pineda (MISION TEMPORAL LTDA)" userId="a45a17f7-7950-4cb5-bfab-f5c894f959a9" providerId="ADAL" clId="{15586BA0-617D-4D92-8B61-04A1723CD33C}" dt="2020-07-31T15:58:58.836" v="551" actId="1037"/>
          <ac:spMkLst>
            <pc:docMk/>
            <pc:sldMk cId="2408337444" sldId="2134804326"/>
            <ac:spMk id="76" creationId="{4E44296C-92AB-40F9-97A6-55EEDAF76892}"/>
          </ac:spMkLst>
        </pc:spChg>
        <pc:spChg chg="mod">
          <ac:chgData name="Mariam Daniela Tristancho Pineda (MISION TEMPORAL LTDA)" userId="a45a17f7-7950-4cb5-bfab-f5c894f959a9" providerId="ADAL" clId="{15586BA0-617D-4D92-8B61-04A1723CD33C}" dt="2020-07-31T15:58:58.836" v="551" actId="1037"/>
          <ac:spMkLst>
            <pc:docMk/>
            <pc:sldMk cId="2408337444" sldId="2134804326"/>
            <ac:spMk id="79" creationId="{7A485175-A5E8-48E7-8A26-808AC78F05FA}"/>
          </ac:spMkLst>
        </pc:spChg>
        <pc:grpChg chg="add mod">
          <ac:chgData name="Mariam Daniela Tristancho Pineda (MISION TEMPORAL LTDA)" userId="a45a17f7-7950-4cb5-bfab-f5c894f959a9" providerId="ADAL" clId="{15586BA0-617D-4D92-8B61-04A1723CD33C}" dt="2020-07-31T15:58:58.836" v="551" actId="1037"/>
          <ac:grpSpMkLst>
            <pc:docMk/>
            <pc:sldMk cId="2408337444" sldId="2134804326"/>
            <ac:grpSpMk id="15" creationId="{4EF30AFA-5980-4C83-BEA2-3413B55722EC}"/>
          </ac:grpSpMkLst>
        </pc:grpChg>
        <pc:grpChg chg="add mod">
          <ac:chgData name="Mariam Daniela Tristancho Pineda (MISION TEMPORAL LTDA)" userId="a45a17f7-7950-4cb5-bfab-f5c894f959a9" providerId="ADAL" clId="{15586BA0-617D-4D92-8B61-04A1723CD33C}" dt="2020-07-31T15:58:58.836" v="551" actId="1037"/>
          <ac:grpSpMkLst>
            <pc:docMk/>
            <pc:sldMk cId="2408337444" sldId="2134804326"/>
            <ac:grpSpMk id="16" creationId="{D9AA717C-62C8-43B0-AF4E-DE0CA8208199}"/>
          </ac:grpSpMkLst>
        </pc:grpChg>
        <pc:grpChg chg="add mod">
          <ac:chgData name="Mariam Daniela Tristancho Pineda (MISION TEMPORAL LTDA)" userId="a45a17f7-7950-4cb5-bfab-f5c894f959a9" providerId="ADAL" clId="{15586BA0-617D-4D92-8B61-04A1723CD33C}" dt="2020-07-31T15:58:58.836" v="551" actId="1037"/>
          <ac:grpSpMkLst>
            <pc:docMk/>
            <pc:sldMk cId="2408337444" sldId="2134804326"/>
            <ac:grpSpMk id="17" creationId="{87793331-3A01-42C2-B3AC-967CE8A84DF3}"/>
          </ac:grpSpMkLst>
        </pc:grpChg>
        <pc:cxnChg chg="mod">
          <ac:chgData name="Mariam Daniela Tristancho Pineda (MISION TEMPORAL LTDA)" userId="a45a17f7-7950-4cb5-bfab-f5c894f959a9" providerId="ADAL" clId="{15586BA0-617D-4D92-8B61-04A1723CD33C}" dt="2020-07-31T15:58:58.836" v="551" actId="1037"/>
          <ac:cxnSpMkLst>
            <pc:docMk/>
            <pc:sldMk cId="2408337444" sldId="2134804326"/>
            <ac:cxnSpMk id="5" creationId="{017DAD00-B855-4E39-8DE1-7636A3DDFC9D}"/>
          </ac:cxnSpMkLst>
        </pc:cxnChg>
      </pc:sldChg>
      <pc:sldChg chg="modSp mod">
        <pc:chgData name="Mariam Daniela Tristancho Pineda (MISION TEMPORAL LTDA)" userId="a45a17f7-7950-4cb5-bfab-f5c894f959a9" providerId="ADAL" clId="{15586BA0-617D-4D92-8B61-04A1723CD33C}" dt="2020-07-29T14:03:08.230" v="59" actId="20577"/>
        <pc:sldMkLst>
          <pc:docMk/>
          <pc:sldMk cId="2042427796" sldId="2134804327"/>
        </pc:sldMkLst>
        <pc:spChg chg="mod">
          <ac:chgData name="Mariam Daniela Tristancho Pineda (MISION TEMPORAL LTDA)" userId="a45a17f7-7950-4cb5-bfab-f5c894f959a9" providerId="ADAL" clId="{15586BA0-617D-4D92-8B61-04A1723CD33C}" dt="2020-07-29T14:03:03.834" v="53" actId="20577"/>
          <ac:spMkLst>
            <pc:docMk/>
            <pc:sldMk cId="2042427796" sldId="2134804327"/>
            <ac:spMk id="2" creationId="{6431BBCF-96E5-45A7-B7E5-D44090D06329}"/>
          </ac:spMkLst>
        </pc:spChg>
        <pc:spChg chg="mod">
          <ac:chgData name="Mariam Daniela Tristancho Pineda (MISION TEMPORAL LTDA)" userId="a45a17f7-7950-4cb5-bfab-f5c894f959a9" providerId="ADAL" clId="{15586BA0-617D-4D92-8B61-04A1723CD33C}" dt="2020-07-29T14:03:08.230" v="59" actId="20577"/>
          <ac:spMkLst>
            <pc:docMk/>
            <pc:sldMk cId="2042427796" sldId="2134804327"/>
            <ac:spMk id="3" creationId="{30F9CFD9-5990-468D-9B1E-2AB69F9844AA}"/>
          </ac:spMkLst>
        </pc:spChg>
      </pc:sldChg>
      <pc:sldChg chg="delSp del mod">
        <pc:chgData name="Mariam Daniela Tristancho Pineda (MISION TEMPORAL LTDA)" userId="a45a17f7-7950-4cb5-bfab-f5c894f959a9" providerId="ADAL" clId="{15586BA0-617D-4D92-8B61-04A1723CD33C}" dt="2020-07-31T21:01:52.025" v="679" actId="47"/>
        <pc:sldMkLst>
          <pc:docMk/>
          <pc:sldMk cId="240968699" sldId="2134804330"/>
        </pc:sldMkLst>
        <pc:spChg chg="del">
          <ac:chgData name="Mariam Daniela Tristancho Pineda (MISION TEMPORAL LTDA)" userId="a45a17f7-7950-4cb5-bfab-f5c894f959a9" providerId="ADAL" clId="{15586BA0-617D-4D92-8B61-04A1723CD33C}" dt="2020-07-31T21:01:34.834" v="677" actId="478"/>
          <ac:spMkLst>
            <pc:docMk/>
            <pc:sldMk cId="240968699" sldId="2134804330"/>
            <ac:spMk id="6" creationId="{B29880F2-B7E7-4F8E-A212-3649A13E5172}"/>
          </ac:spMkLst>
        </pc:spChg>
      </pc:sldChg>
      <pc:sldChg chg="del">
        <pc:chgData name="Mariam Daniela Tristancho Pineda (MISION TEMPORAL LTDA)" userId="a45a17f7-7950-4cb5-bfab-f5c894f959a9" providerId="ADAL" clId="{15586BA0-617D-4D92-8B61-04A1723CD33C}" dt="2020-07-31T21:01:52.889" v="681" actId="47"/>
        <pc:sldMkLst>
          <pc:docMk/>
          <pc:sldMk cId="1202002608" sldId="2134804331"/>
        </pc:sldMkLst>
      </pc:sldChg>
      <pc:sldChg chg="modSp del mod">
        <pc:chgData name="Mariam Daniela Tristancho Pineda (MISION TEMPORAL LTDA)" userId="a45a17f7-7950-4cb5-bfab-f5c894f959a9" providerId="ADAL" clId="{15586BA0-617D-4D92-8B61-04A1723CD33C}" dt="2020-07-31T21:01:53.353" v="682" actId="47"/>
        <pc:sldMkLst>
          <pc:docMk/>
          <pc:sldMk cId="4044430387" sldId="2134804332"/>
        </pc:sldMkLst>
        <pc:spChg chg="mod">
          <ac:chgData name="Mariam Daniela Tristancho Pineda (MISION TEMPORAL LTDA)" userId="a45a17f7-7950-4cb5-bfab-f5c894f959a9" providerId="ADAL" clId="{15586BA0-617D-4D92-8B61-04A1723CD33C}" dt="2020-07-31T15:28:08.555" v="198" actId="1036"/>
          <ac:spMkLst>
            <pc:docMk/>
            <pc:sldMk cId="4044430387" sldId="2134804332"/>
            <ac:spMk id="103" creationId="{47CDDAFF-8DCC-4B35-9FE7-57D6B6DB23D4}"/>
          </ac:spMkLst>
        </pc:spChg>
        <pc:spChg chg="mod">
          <ac:chgData name="Mariam Daniela Tristancho Pineda (MISION TEMPORAL LTDA)" userId="a45a17f7-7950-4cb5-bfab-f5c894f959a9" providerId="ADAL" clId="{15586BA0-617D-4D92-8B61-04A1723CD33C}" dt="2020-07-31T15:28:08.555" v="198" actId="1036"/>
          <ac:spMkLst>
            <pc:docMk/>
            <pc:sldMk cId="4044430387" sldId="2134804332"/>
            <ac:spMk id="108" creationId="{CED671D3-DFA6-4098-9182-1C85FA4E2480}"/>
          </ac:spMkLst>
        </pc:spChg>
      </pc:sldChg>
      <pc:sldChg chg="del">
        <pc:chgData name="Mariam Daniela Tristancho Pineda (MISION TEMPORAL LTDA)" userId="a45a17f7-7950-4cb5-bfab-f5c894f959a9" providerId="ADAL" clId="{15586BA0-617D-4D92-8B61-04A1723CD33C}" dt="2020-07-31T21:01:53.855" v="683" actId="47"/>
        <pc:sldMkLst>
          <pc:docMk/>
          <pc:sldMk cId="1832843023" sldId="2134804333"/>
        </pc:sldMkLst>
      </pc:sldChg>
      <pc:sldChg chg="del">
        <pc:chgData name="Mariam Daniela Tristancho Pineda (MISION TEMPORAL LTDA)" userId="a45a17f7-7950-4cb5-bfab-f5c894f959a9" providerId="ADAL" clId="{15586BA0-617D-4D92-8B61-04A1723CD33C}" dt="2020-07-31T21:01:54.353" v="684" actId="47"/>
        <pc:sldMkLst>
          <pc:docMk/>
          <pc:sldMk cId="2329099191" sldId="2134804334"/>
        </pc:sldMkLst>
      </pc:sldChg>
      <pc:sldChg chg="modSp del mod ord">
        <pc:chgData name="Mariam Daniela Tristancho Pineda (MISION TEMPORAL LTDA)" userId="a45a17f7-7950-4cb5-bfab-f5c894f959a9" providerId="ADAL" clId="{15586BA0-617D-4D92-8B61-04A1723CD33C}" dt="2020-07-31T21:01:52.484" v="680" actId="47"/>
        <pc:sldMkLst>
          <pc:docMk/>
          <pc:sldMk cId="997806465" sldId="2134804335"/>
        </pc:sldMkLst>
        <pc:spChg chg="mod">
          <ac:chgData name="Mariam Daniela Tristancho Pineda (MISION TEMPORAL LTDA)" userId="a45a17f7-7950-4cb5-bfab-f5c894f959a9" providerId="ADAL" clId="{15586BA0-617D-4D92-8B61-04A1723CD33C}" dt="2020-07-31T15:26:56.632" v="195" actId="554"/>
          <ac:spMkLst>
            <pc:docMk/>
            <pc:sldMk cId="997806465" sldId="2134804335"/>
            <ac:spMk id="6" creationId="{0CD98A5D-4754-4786-990D-B12D06A1270A}"/>
          </ac:spMkLst>
        </pc:spChg>
        <pc:spChg chg="mod">
          <ac:chgData name="Mariam Daniela Tristancho Pineda (MISION TEMPORAL LTDA)" userId="a45a17f7-7950-4cb5-bfab-f5c894f959a9" providerId="ADAL" clId="{15586BA0-617D-4D92-8B61-04A1723CD33C}" dt="2020-07-31T15:27:02.158" v="196" actId="554"/>
          <ac:spMkLst>
            <pc:docMk/>
            <pc:sldMk cId="997806465" sldId="2134804335"/>
            <ac:spMk id="13" creationId="{AEA9A67C-1F4B-4E19-9DBD-B1E12EB37465}"/>
          </ac:spMkLst>
        </pc:spChg>
        <pc:spChg chg="mod">
          <ac:chgData name="Mariam Daniela Tristancho Pineda (MISION TEMPORAL LTDA)" userId="a45a17f7-7950-4cb5-bfab-f5c894f959a9" providerId="ADAL" clId="{15586BA0-617D-4D92-8B61-04A1723CD33C}" dt="2020-07-31T15:26:56.632" v="195" actId="554"/>
          <ac:spMkLst>
            <pc:docMk/>
            <pc:sldMk cId="997806465" sldId="2134804335"/>
            <ac:spMk id="15" creationId="{3C746AF5-F53B-4C8F-8FE1-9515D2C222F3}"/>
          </ac:spMkLst>
        </pc:spChg>
        <pc:spChg chg="mod">
          <ac:chgData name="Mariam Daniela Tristancho Pineda (MISION TEMPORAL LTDA)" userId="a45a17f7-7950-4cb5-bfab-f5c894f959a9" providerId="ADAL" clId="{15586BA0-617D-4D92-8B61-04A1723CD33C}" dt="2020-07-31T15:27:02.158" v="196" actId="554"/>
          <ac:spMkLst>
            <pc:docMk/>
            <pc:sldMk cId="997806465" sldId="2134804335"/>
            <ac:spMk id="17" creationId="{E28CF9EE-7057-4671-8471-F5AAB489FC3D}"/>
          </ac:spMkLst>
        </pc:spChg>
      </pc:sldChg>
      <pc:sldChg chg="del">
        <pc:chgData name="Mariam Daniela Tristancho Pineda (MISION TEMPORAL LTDA)" userId="a45a17f7-7950-4cb5-bfab-f5c894f959a9" providerId="ADAL" clId="{15586BA0-617D-4D92-8B61-04A1723CD33C}" dt="2020-07-31T21:01:55.965" v="687" actId="47"/>
        <pc:sldMkLst>
          <pc:docMk/>
          <pc:sldMk cId="827790441" sldId="2134804336"/>
        </pc:sldMkLst>
      </pc:sldChg>
      <pc:sldChg chg="del ord">
        <pc:chgData name="Mariam Daniela Tristancho Pineda (MISION TEMPORAL LTDA)" userId="a45a17f7-7950-4cb5-bfab-f5c894f959a9" providerId="ADAL" clId="{15586BA0-617D-4D92-8B61-04A1723CD33C}" dt="2020-07-31T21:01:55.546" v="686" actId="47"/>
        <pc:sldMkLst>
          <pc:docMk/>
          <pc:sldMk cId="3396100439" sldId="2134804337"/>
        </pc:sldMkLst>
      </pc:sldChg>
      <pc:sldChg chg="modSp mod ord">
        <pc:chgData name="Mariam Daniela Tristancho Pineda (MISION TEMPORAL LTDA)" userId="a45a17f7-7950-4cb5-bfab-f5c894f959a9" providerId="ADAL" clId="{15586BA0-617D-4D92-8B61-04A1723CD33C}" dt="2020-07-29T21:07:34.579" v="157" actId="20577"/>
        <pc:sldMkLst>
          <pc:docMk/>
          <pc:sldMk cId="1847407210" sldId="2134804338"/>
        </pc:sldMkLst>
        <pc:spChg chg="mod">
          <ac:chgData name="Mariam Daniela Tristancho Pineda (MISION TEMPORAL LTDA)" userId="a45a17f7-7950-4cb5-bfab-f5c894f959a9" providerId="ADAL" clId="{15586BA0-617D-4D92-8B61-04A1723CD33C}" dt="2020-07-29T21:07:34.579" v="157" actId="20577"/>
          <ac:spMkLst>
            <pc:docMk/>
            <pc:sldMk cId="1847407210" sldId="2134804338"/>
            <ac:spMk id="2" creationId="{6431BBCF-96E5-45A7-B7E5-D44090D06329}"/>
          </ac:spMkLst>
        </pc:spChg>
        <pc:spChg chg="mod">
          <ac:chgData name="Mariam Daniela Tristancho Pineda (MISION TEMPORAL LTDA)" userId="a45a17f7-7950-4cb5-bfab-f5c894f959a9" providerId="ADAL" clId="{15586BA0-617D-4D92-8B61-04A1723CD33C}" dt="2020-07-29T14:03:12.225" v="65" actId="20577"/>
          <ac:spMkLst>
            <pc:docMk/>
            <pc:sldMk cId="1847407210" sldId="2134804338"/>
            <ac:spMk id="3" creationId="{30F9CFD9-5990-468D-9B1E-2AB69F9844AA}"/>
          </ac:spMkLst>
        </pc:spChg>
      </pc:sldChg>
      <pc:sldChg chg="ord">
        <pc:chgData name="Mariam Daniela Tristancho Pineda (MISION TEMPORAL LTDA)" userId="a45a17f7-7950-4cb5-bfab-f5c894f959a9" providerId="ADAL" clId="{15586BA0-617D-4D92-8B61-04A1723CD33C}" dt="2020-07-29T21:07:29.883" v="155"/>
        <pc:sldMkLst>
          <pc:docMk/>
          <pc:sldMk cId="1922339588" sldId="2134804339"/>
        </pc:sldMkLst>
      </pc:sldChg>
      <pc:sldChg chg="del">
        <pc:chgData name="Mariam Daniela Tristancho Pineda (MISION TEMPORAL LTDA)" userId="a45a17f7-7950-4cb5-bfab-f5c894f959a9" providerId="ADAL" clId="{15586BA0-617D-4D92-8B61-04A1723CD33C}" dt="2020-07-31T21:01:59.689" v="692" actId="47"/>
        <pc:sldMkLst>
          <pc:docMk/>
          <pc:sldMk cId="3318311001" sldId="2134804340"/>
        </pc:sldMkLst>
      </pc:sldChg>
      <pc:sldChg chg="del ord">
        <pc:chgData name="Mariam Daniela Tristancho Pineda (MISION TEMPORAL LTDA)" userId="a45a17f7-7950-4cb5-bfab-f5c894f959a9" providerId="ADAL" clId="{15586BA0-617D-4D92-8B61-04A1723CD33C}" dt="2020-07-31T21:01:56.460" v="688" actId="47"/>
        <pc:sldMkLst>
          <pc:docMk/>
          <pc:sldMk cId="2532921639" sldId="2134804341"/>
        </pc:sldMkLst>
      </pc:sldChg>
      <pc:sldChg chg="del ord">
        <pc:chgData name="Mariam Daniela Tristancho Pineda (MISION TEMPORAL LTDA)" userId="a45a17f7-7950-4cb5-bfab-f5c894f959a9" providerId="ADAL" clId="{15586BA0-617D-4D92-8B61-04A1723CD33C}" dt="2020-07-31T21:01:56.971" v="689" actId="47"/>
        <pc:sldMkLst>
          <pc:docMk/>
          <pc:sldMk cId="2183210988" sldId="2134804342"/>
        </pc:sldMkLst>
      </pc:sldChg>
      <pc:sldChg chg="addSp delSp modSp mod ord">
        <pc:chgData name="Mariam Daniela Tristancho Pineda (MISION TEMPORAL LTDA)" userId="a45a17f7-7950-4cb5-bfab-f5c894f959a9" providerId="ADAL" clId="{15586BA0-617D-4D92-8B61-04A1723CD33C}" dt="2020-07-31T21:04:53.997" v="703" actId="13926"/>
        <pc:sldMkLst>
          <pc:docMk/>
          <pc:sldMk cId="1108072925" sldId="2134804343"/>
        </pc:sldMkLst>
        <pc:spChg chg="mod">
          <ac:chgData name="Mariam Daniela Tristancho Pineda (MISION TEMPORAL LTDA)" userId="a45a17f7-7950-4cb5-bfab-f5c894f959a9" providerId="ADAL" clId="{15586BA0-617D-4D92-8B61-04A1723CD33C}" dt="2020-07-31T21:04:53.997" v="703" actId="13926"/>
          <ac:spMkLst>
            <pc:docMk/>
            <pc:sldMk cId="1108072925" sldId="2134804343"/>
            <ac:spMk id="3" creationId="{164DF9F9-0719-4943-934C-41A1DA9BF0D5}"/>
          </ac:spMkLst>
        </pc:spChg>
        <pc:spChg chg="mod">
          <ac:chgData name="Mariam Daniela Tristancho Pineda (MISION TEMPORAL LTDA)" userId="a45a17f7-7950-4cb5-bfab-f5c894f959a9" providerId="ADAL" clId="{15586BA0-617D-4D92-8B61-04A1723CD33C}" dt="2020-07-31T15:48:51.423" v="390" actId="20577"/>
          <ac:spMkLst>
            <pc:docMk/>
            <pc:sldMk cId="1108072925" sldId="2134804343"/>
            <ac:spMk id="9" creationId="{4B2629AB-0194-4429-B721-D46F1AE1DD27}"/>
          </ac:spMkLst>
        </pc:spChg>
        <pc:spChg chg="mod">
          <ac:chgData name="Mariam Daniela Tristancho Pineda (MISION TEMPORAL LTDA)" userId="a45a17f7-7950-4cb5-bfab-f5c894f959a9" providerId="ADAL" clId="{15586BA0-617D-4D92-8B61-04A1723CD33C}" dt="2020-07-31T15:44:45.397" v="377" actId="20577"/>
          <ac:spMkLst>
            <pc:docMk/>
            <pc:sldMk cId="1108072925" sldId="2134804343"/>
            <ac:spMk id="69" creationId="{88B127F6-0C7D-4DA3-92C5-BCE40D1560F3}"/>
          </ac:spMkLst>
        </pc:spChg>
        <pc:spChg chg="mod topLvl">
          <ac:chgData name="Mariam Daniela Tristancho Pineda (MISION TEMPORAL LTDA)" userId="a45a17f7-7950-4cb5-bfab-f5c894f959a9" providerId="ADAL" clId="{15586BA0-617D-4D92-8B61-04A1723CD33C}" dt="2020-07-31T15:36:12.396" v="332" actId="164"/>
          <ac:spMkLst>
            <pc:docMk/>
            <pc:sldMk cId="1108072925" sldId="2134804343"/>
            <ac:spMk id="113" creationId="{65426CA7-DF13-4166-B929-391A6B479EF2}"/>
          </ac:spMkLst>
        </pc:spChg>
        <pc:spChg chg="mod topLvl">
          <ac:chgData name="Mariam Daniela Tristancho Pineda (MISION TEMPORAL LTDA)" userId="a45a17f7-7950-4cb5-bfab-f5c894f959a9" providerId="ADAL" clId="{15586BA0-617D-4D92-8B61-04A1723CD33C}" dt="2020-07-31T15:36:12.396" v="332" actId="164"/>
          <ac:spMkLst>
            <pc:docMk/>
            <pc:sldMk cId="1108072925" sldId="2134804343"/>
            <ac:spMk id="114" creationId="{34834366-0759-4E89-9A3A-288B6DA6C8C5}"/>
          </ac:spMkLst>
        </pc:spChg>
        <pc:spChg chg="mod topLvl">
          <ac:chgData name="Mariam Daniela Tristancho Pineda (MISION TEMPORAL LTDA)" userId="a45a17f7-7950-4cb5-bfab-f5c894f959a9" providerId="ADAL" clId="{15586BA0-617D-4D92-8B61-04A1723CD33C}" dt="2020-07-31T15:36:17.279" v="333" actId="164"/>
          <ac:spMkLst>
            <pc:docMk/>
            <pc:sldMk cId="1108072925" sldId="2134804343"/>
            <ac:spMk id="116" creationId="{C6DD9ECD-C92D-4704-97B3-B4C3AEE18640}"/>
          </ac:spMkLst>
        </pc:spChg>
        <pc:spChg chg="mod topLvl">
          <ac:chgData name="Mariam Daniela Tristancho Pineda (MISION TEMPORAL LTDA)" userId="a45a17f7-7950-4cb5-bfab-f5c894f959a9" providerId="ADAL" clId="{15586BA0-617D-4D92-8B61-04A1723CD33C}" dt="2020-07-31T15:36:17.279" v="333" actId="164"/>
          <ac:spMkLst>
            <pc:docMk/>
            <pc:sldMk cId="1108072925" sldId="2134804343"/>
            <ac:spMk id="117" creationId="{7F6BC1DB-4E40-4A47-850A-79B462E1AE26}"/>
          </ac:spMkLst>
        </pc:spChg>
        <pc:spChg chg="mod topLvl">
          <ac:chgData name="Mariam Daniela Tristancho Pineda (MISION TEMPORAL LTDA)" userId="a45a17f7-7950-4cb5-bfab-f5c894f959a9" providerId="ADAL" clId="{15586BA0-617D-4D92-8B61-04A1723CD33C}" dt="2020-07-31T15:36:23.899" v="334" actId="164"/>
          <ac:spMkLst>
            <pc:docMk/>
            <pc:sldMk cId="1108072925" sldId="2134804343"/>
            <ac:spMk id="119" creationId="{E44EFD7C-986C-4068-96FF-2799E98C60BE}"/>
          </ac:spMkLst>
        </pc:spChg>
        <pc:spChg chg="mod topLvl">
          <ac:chgData name="Mariam Daniela Tristancho Pineda (MISION TEMPORAL LTDA)" userId="a45a17f7-7950-4cb5-bfab-f5c894f959a9" providerId="ADAL" clId="{15586BA0-617D-4D92-8B61-04A1723CD33C}" dt="2020-07-31T15:36:23.899" v="334" actId="164"/>
          <ac:spMkLst>
            <pc:docMk/>
            <pc:sldMk cId="1108072925" sldId="2134804343"/>
            <ac:spMk id="120" creationId="{E73BF53D-5C4E-4100-BC6B-1DFC8B8FC737}"/>
          </ac:spMkLst>
        </pc:spChg>
        <pc:spChg chg="mod topLvl">
          <ac:chgData name="Mariam Daniela Tristancho Pineda (MISION TEMPORAL LTDA)" userId="a45a17f7-7950-4cb5-bfab-f5c894f959a9" providerId="ADAL" clId="{15586BA0-617D-4D92-8B61-04A1723CD33C}" dt="2020-07-31T15:36:30.508" v="336" actId="164"/>
          <ac:spMkLst>
            <pc:docMk/>
            <pc:sldMk cId="1108072925" sldId="2134804343"/>
            <ac:spMk id="122" creationId="{4BB3CAC2-15FB-4F1D-B702-9BD7ADC8A691}"/>
          </ac:spMkLst>
        </pc:spChg>
        <pc:spChg chg="mod topLvl">
          <ac:chgData name="Mariam Daniela Tristancho Pineda (MISION TEMPORAL LTDA)" userId="a45a17f7-7950-4cb5-bfab-f5c894f959a9" providerId="ADAL" clId="{15586BA0-617D-4D92-8B61-04A1723CD33C}" dt="2020-07-31T15:36:51.035" v="348" actId="1076"/>
          <ac:spMkLst>
            <pc:docMk/>
            <pc:sldMk cId="1108072925" sldId="2134804343"/>
            <ac:spMk id="123" creationId="{AF32E794-4F50-4939-826B-17544165148C}"/>
          </ac:spMkLst>
        </pc:spChg>
        <pc:spChg chg="mod topLvl">
          <ac:chgData name="Mariam Daniela Tristancho Pineda (MISION TEMPORAL LTDA)" userId="a45a17f7-7950-4cb5-bfab-f5c894f959a9" providerId="ADAL" clId="{15586BA0-617D-4D92-8B61-04A1723CD33C}" dt="2020-07-31T15:36:27.498" v="335" actId="164"/>
          <ac:spMkLst>
            <pc:docMk/>
            <pc:sldMk cId="1108072925" sldId="2134804343"/>
            <ac:spMk id="125" creationId="{B6A9FC5B-4C07-4FED-BEA6-F63B467108DA}"/>
          </ac:spMkLst>
        </pc:spChg>
        <pc:spChg chg="mod topLvl">
          <ac:chgData name="Mariam Daniela Tristancho Pineda (MISION TEMPORAL LTDA)" userId="a45a17f7-7950-4cb5-bfab-f5c894f959a9" providerId="ADAL" clId="{15586BA0-617D-4D92-8B61-04A1723CD33C}" dt="2020-07-31T15:36:27.498" v="335" actId="164"/>
          <ac:spMkLst>
            <pc:docMk/>
            <pc:sldMk cId="1108072925" sldId="2134804343"/>
            <ac:spMk id="126" creationId="{8F1ADAC7-4725-4A8E-8E01-07F422E0CE8D}"/>
          </ac:spMkLst>
        </pc:spChg>
        <pc:spChg chg="mod topLvl">
          <ac:chgData name="Mariam Daniela Tristancho Pineda (MISION TEMPORAL LTDA)" userId="a45a17f7-7950-4cb5-bfab-f5c894f959a9" providerId="ADAL" clId="{15586BA0-617D-4D92-8B61-04A1723CD33C}" dt="2020-07-31T15:36:33.172" v="337" actId="164"/>
          <ac:spMkLst>
            <pc:docMk/>
            <pc:sldMk cId="1108072925" sldId="2134804343"/>
            <ac:spMk id="128" creationId="{3F91303F-DB37-48BC-85A3-C5D1573343A4}"/>
          </ac:spMkLst>
        </pc:spChg>
        <pc:spChg chg="mod topLvl">
          <ac:chgData name="Mariam Daniela Tristancho Pineda (MISION TEMPORAL LTDA)" userId="a45a17f7-7950-4cb5-bfab-f5c894f959a9" providerId="ADAL" clId="{15586BA0-617D-4D92-8B61-04A1723CD33C}" dt="2020-07-31T15:36:33.172" v="337" actId="164"/>
          <ac:spMkLst>
            <pc:docMk/>
            <pc:sldMk cId="1108072925" sldId="2134804343"/>
            <ac:spMk id="129" creationId="{547FDFA9-DFAE-49C9-8DB6-12CF8AF865B2}"/>
          </ac:spMkLst>
        </pc:spChg>
        <pc:spChg chg="mod topLvl">
          <ac:chgData name="Mariam Daniela Tristancho Pineda (MISION TEMPORAL LTDA)" userId="a45a17f7-7950-4cb5-bfab-f5c894f959a9" providerId="ADAL" clId="{15586BA0-617D-4D92-8B61-04A1723CD33C}" dt="2020-07-31T15:36:03.601" v="331" actId="164"/>
          <ac:spMkLst>
            <pc:docMk/>
            <pc:sldMk cId="1108072925" sldId="2134804343"/>
            <ac:spMk id="133" creationId="{5825428C-4A68-4645-82E8-CDD413126FCC}"/>
          </ac:spMkLst>
        </pc:spChg>
        <pc:spChg chg="mod topLvl">
          <ac:chgData name="Mariam Daniela Tristancho Pineda (MISION TEMPORAL LTDA)" userId="a45a17f7-7950-4cb5-bfab-f5c894f959a9" providerId="ADAL" clId="{15586BA0-617D-4D92-8B61-04A1723CD33C}" dt="2020-07-31T15:36:03.601" v="331" actId="164"/>
          <ac:spMkLst>
            <pc:docMk/>
            <pc:sldMk cId="1108072925" sldId="2134804343"/>
            <ac:spMk id="134" creationId="{9DA84409-E78D-4C09-BD7D-3213865A7325}"/>
          </ac:spMkLst>
        </pc:spChg>
        <pc:grpChg chg="add mod">
          <ac:chgData name="Mariam Daniela Tristancho Pineda (MISION TEMPORAL LTDA)" userId="a45a17f7-7950-4cb5-bfab-f5c894f959a9" providerId="ADAL" clId="{15586BA0-617D-4D92-8B61-04A1723CD33C}" dt="2020-07-31T15:36:47.196" v="346" actId="554"/>
          <ac:grpSpMkLst>
            <pc:docMk/>
            <pc:sldMk cId="1108072925" sldId="2134804343"/>
            <ac:grpSpMk id="10" creationId="{3E85E4E0-A272-4AD3-AB4F-46D80F837C6B}"/>
          </ac:grpSpMkLst>
        </pc:grpChg>
        <pc:grpChg chg="add mod">
          <ac:chgData name="Mariam Daniela Tristancho Pineda (MISION TEMPORAL LTDA)" userId="a45a17f7-7950-4cb5-bfab-f5c894f959a9" providerId="ADAL" clId="{15586BA0-617D-4D92-8B61-04A1723CD33C}" dt="2020-07-31T15:36:47.196" v="346" actId="554"/>
          <ac:grpSpMkLst>
            <pc:docMk/>
            <pc:sldMk cId="1108072925" sldId="2134804343"/>
            <ac:grpSpMk id="11" creationId="{6AAB0F72-777F-46AC-8C69-A56E43D7CA62}"/>
          </ac:grpSpMkLst>
        </pc:grpChg>
        <pc:grpChg chg="add mod">
          <ac:chgData name="Mariam Daniela Tristancho Pineda (MISION TEMPORAL LTDA)" userId="a45a17f7-7950-4cb5-bfab-f5c894f959a9" providerId="ADAL" clId="{15586BA0-617D-4D92-8B61-04A1723CD33C}" dt="2020-07-31T15:36:47.196" v="346" actId="554"/>
          <ac:grpSpMkLst>
            <pc:docMk/>
            <pc:sldMk cId="1108072925" sldId="2134804343"/>
            <ac:grpSpMk id="12" creationId="{57FDF4D1-180A-499E-8058-86BFAF032B67}"/>
          </ac:grpSpMkLst>
        </pc:grpChg>
        <pc:grpChg chg="add mod">
          <ac:chgData name="Mariam Daniela Tristancho Pineda (MISION TEMPORAL LTDA)" userId="a45a17f7-7950-4cb5-bfab-f5c894f959a9" providerId="ADAL" clId="{15586BA0-617D-4D92-8B61-04A1723CD33C}" dt="2020-07-31T15:36:47.196" v="346" actId="554"/>
          <ac:grpSpMkLst>
            <pc:docMk/>
            <pc:sldMk cId="1108072925" sldId="2134804343"/>
            <ac:grpSpMk id="13" creationId="{1102E1D4-2CA7-42DB-810F-C72F70AAD49F}"/>
          </ac:grpSpMkLst>
        </pc:grpChg>
        <pc:grpChg chg="add mod">
          <ac:chgData name="Mariam Daniela Tristancho Pineda (MISION TEMPORAL LTDA)" userId="a45a17f7-7950-4cb5-bfab-f5c894f959a9" providerId="ADAL" clId="{15586BA0-617D-4D92-8B61-04A1723CD33C}" dt="2020-07-31T15:37:08.384" v="362" actId="1037"/>
          <ac:grpSpMkLst>
            <pc:docMk/>
            <pc:sldMk cId="1108072925" sldId="2134804343"/>
            <ac:grpSpMk id="14" creationId="{9F509707-312A-4963-8A7F-894569D8086A}"/>
          </ac:grpSpMkLst>
        </pc:grpChg>
        <pc:grpChg chg="add mod">
          <ac:chgData name="Mariam Daniela Tristancho Pineda (MISION TEMPORAL LTDA)" userId="a45a17f7-7950-4cb5-bfab-f5c894f959a9" providerId="ADAL" clId="{15586BA0-617D-4D92-8B61-04A1723CD33C}" dt="2020-07-31T15:37:05.103" v="358" actId="1036"/>
          <ac:grpSpMkLst>
            <pc:docMk/>
            <pc:sldMk cId="1108072925" sldId="2134804343"/>
            <ac:grpSpMk id="15" creationId="{AFFB213F-AB0F-4EB6-A517-791285FA4DF7}"/>
          </ac:grpSpMkLst>
        </pc:grpChg>
        <pc:grpChg chg="add mod">
          <ac:chgData name="Mariam Daniela Tristancho Pineda (MISION TEMPORAL LTDA)" userId="a45a17f7-7950-4cb5-bfab-f5c894f959a9" providerId="ADAL" clId="{15586BA0-617D-4D92-8B61-04A1723CD33C}" dt="2020-07-31T15:37:12.929" v="366" actId="1037"/>
          <ac:grpSpMkLst>
            <pc:docMk/>
            <pc:sldMk cId="1108072925" sldId="2134804343"/>
            <ac:grpSpMk id="16" creationId="{E0D1C9B4-2671-49F3-B573-B7CB2BFC6B98}"/>
          </ac:grpSpMkLst>
        </pc:grpChg>
        <pc:grpChg chg="del">
          <ac:chgData name="Mariam Daniela Tristancho Pineda (MISION TEMPORAL LTDA)" userId="a45a17f7-7950-4cb5-bfab-f5c894f959a9" providerId="ADAL" clId="{15586BA0-617D-4D92-8B61-04A1723CD33C}" dt="2020-07-31T15:34:22.295" v="304" actId="165"/>
          <ac:grpSpMkLst>
            <pc:docMk/>
            <pc:sldMk cId="1108072925" sldId="2134804343"/>
            <ac:grpSpMk id="112" creationId="{972FCF2A-FD03-49D3-8C0B-1BBE38305C46}"/>
          </ac:grpSpMkLst>
        </pc:grpChg>
        <pc:grpChg chg="del">
          <ac:chgData name="Mariam Daniela Tristancho Pineda (MISION TEMPORAL LTDA)" userId="a45a17f7-7950-4cb5-bfab-f5c894f959a9" providerId="ADAL" clId="{15586BA0-617D-4D92-8B61-04A1723CD33C}" dt="2020-07-31T15:34:22.295" v="304" actId="165"/>
          <ac:grpSpMkLst>
            <pc:docMk/>
            <pc:sldMk cId="1108072925" sldId="2134804343"/>
            <ac:grpSpMk id="115" creationId="{3701B5F0-81AD-443A-81EB-5C556EAFA1F3}"/>
          </ac:grpSpMkLst>
        </pc:grpChg>
        <pc:grpChg chg="del">
          <ac:chgData name="Mariam Daniela Tristancho Pineda (MISION TEMPORAL LTDA)" userId="a45a17f7-7950-4cb5-bfab-f5c894f959a9" providerId="ADAL" clId="{15586BA0-617D-4D92-8B61-04A1723CD33C}" dt="2020-07-31T15:34:22.295" v="304" actId="165"/>
          <ac:grpSpMkLst>
            <pc:docMk/>
            <pc:sldMk cId="1108072925" sldId="2134804343"/>
            <ac:grpSpMk id="118" creationId="{D377B78F-D375-47B1-8568-E06662B6DAAD}"/>
          </ac:grpSpMkLst>
        </pc:grpChg>
        <pc:grpChg chg="del mod">
          <ac:chgData name="Mariam Daniela Tristancho Pineda (MISION TEMPORAL LTDA)" userId="a45a17f7-7950-4cb5-bfab-f5c894f959a9" providerId="ADAL" clId="{15586BA0-617D-4D92-8B61-04A1723CD33C}" dt="2020-07-31T15:35:23.114" v="321" actId="165"/>
          <ac:grpSpMkLst>
            <pc:docMk/>
            <pc:sldMk cId="1108072925" sldId="2134804343"/>
            <ac:grpSpMk id="121" creationId="{86C4B84B-4233-4B9E-8F90-D5FC97FAAF7A}"/>
          </ac:grpSpMkLst>
        </pc:grpChg>
        <pc:grpChg chg="del">
          <ac:chgData name="Mariam Daniela Tristancho Pineda (MISION TEMPORAL LTDA)" userId="a45a17f7-7950-4cb5-bfab-f5c894f959a9" providerId="ADAL" clId="{15586BA0-617D-4D92-8B61-04A1723CD33C}" dt="2020-07-31T15:35:42.484" v="324" actId="165"/>
          <ac:grpSpMkLst>
            <pc:docMk/>
            <pc:sldMk cId="1108072925" sldId="2134804343"/>
            <ac:grpSpMk id="124" creationId="{4656D884-6034-4D33-BF43-DC4E22A753AE}"/>
          </ac:grpSpMkLst>
        </pc:grpChg>
        <pc:grpChg chg="del">
          <ac:chgData name="Mariam Daniela Tristancho Pineda (MISION TEMPORAL LTDA)" userId="a45a17f7-7950-4cb5-bfab-f5c894f959a9" providerId="ADAL" clId="{15586BA0-617D-4D92-8B61-04A1723CD33C}" dt="2020-07-31T15:35:53.529" v="328" actId="165"/>
          <ac:grpSpMkLst>
            <pc:docMk/>
            <pc:sldMk cId="1108072925" sldId="2134804343"/>
            <ac:grpSpMk id="127" creationId="{DB97B9B3-2FDB-4409-9069-0039CCBD4185}"/>
          </ac:grpSpMkLst>
        </pc:grpChg>
        <pc:grpChg chg="del mod">
          <ac:chgData name="Mariam Daniela Tristancho Pineda (MISION TEMPORAL LTDA)" userId="a45a17f7-7950-4cb5-bfab-f5c894f959a9" providerId="ADAL" clId="{15586BA0-617D-4D92-8B61-04A1723CD33C}" dt="2020-07-31T15:34:22.295" v="304" actId="165"/>
          <ac:grpSpMkLst>
            <pc:docMk/>
            <pc:sldMk cId="1108072925" sldId="2134804343"/>
            <ac:grpSpMk id="132" creationId="{3E3138A7-24EC-46A8-B30C-B2D100D4FD78}"/>
          </ac:grpSpMkLst>
        </pc:grpChg>
      </pc:sldChg>
      <pc:sldChg chg="modSp mod ord">
        <pc:chgData name="Mariam Daniela Tristancho Pineda (MISION TEMPORAL LTDA)" userId="a45a17f7-7950-4cb5-bfab-f5c894f959a9" providerId="ADAL" clId="{15586BA0-617D-4D92-8B61-04A1723CD33C}" dt="2020-07-31T15:44:48.948" v="379" actId="20577"/>
        <pc:sldMkLst>
          <pc:docMk/>
          <pc:sldMk cId="1734415321" sldId="2134804344"/>
        </pc:sldMkLst>
        <pc:spChg chg="mod">
          <ac:chgData name="Mariam Daniela Tristancho Pineda (MISION TEMPORAL LTDA)" userId="a45a17f7-7950-4cb5-bfab-f5c894f959a9" providerId="ADAL" clId="{15586BA0-617D-4D92-8B61-04A1723CD33C}" dt="2020-07-31T15:44:15.923" v="375" actId="12788"/>
          <ac:spMkLst>
            <pc:docMk/>
            <pc:sldMk cId="1734415321" sldId="2134804344"/>
            <ac:spMk id="11" creationId="{772CA61D-742C-45F0-BAFA-0F3B90176E98}"/>
          </ac:spMkLst>
        </pc:spChg>
        <pc:spChg chg="mod">
          <ac:chgData name="Mariam Daniela Tristancho Pineda (MISION TEMPORAL LTDA)" userId="a45a17f7-7950-4cb5-bfab-f5c894f959a9" providerId="ADAL" clId="{15586BA0-617D-4D92-8B61-04A1723CD33C}" dt="2020-07-31T15:31:26.882" v="219" actId="12788"/>
          <ac:spMkLst>
            <pc:docMk/>
            <pc:sldMk cId="1734415321" sldId="2134804344"/>
            <ac:spMk id="22" creationId="{53E538FE-3283-40FB-A5F0-3E57246B6EFA}"/>
          </ac:spMkLst>
        </pc:spChg>
        <pc:spChg chg="mod">
          <ac:chgData name="Mariam Daniela Tristancho Pineda (MISION TEMPORAL LTDA)" userId="a45a17f7-7950-4cb5-bfab-f5c894f959a9" providerId="ADAL" clId="{15586BA0-617D-4D92-8B61-04A1723CD33C}" dt="2020-07-31T15:44:15.923" v="375" actId="12788"/>
          <ac:spMkLst>
            <pc:docMk/>
            <pc:sldMk cId="1734415321" sldId="2134804344"/>
            <ac:spMk id="29" creationId="{46F67329-EAA2-4B09-AD5B-91FE70391A81}"/>
          </ac:spMkLst>
        </pc:spChg>
        <pc:spChg chg="mod">
          <ac:chgData name="Mariam Daniela Tristancho Pineda (MISION TEMPORAL LTDA)" userId="a45a17f7-7950-4cb5-bfab-f5c894f959a9" providerId="ADAL" clId="{15586BA0-617D-4D92-8B61-04A1723CD33C}" dt="2020-07-31T15:31:30.836" v="220" actId="12788"/>
          <ac:spMkLst>
            <pc:docMk/>
            <pc:sldMk cId="1734415321" sldId="2134804344"/>
            <ac:spMk id="30" creationId="{5BF08848-45AE-451C-A99D-7322CF796742}"/>
          </ac:spMkLst>
        </pc:spChg>
        <pc:spChg chg="mod">
          <ac:chgData name="Mariam Daniela Tristancho Pineda (MISION TEMPORAL LTDA)" userId="a45a17f7-7950-4cb5-bfab-f5c894f959a9" providerId="ADAL" clId="{15586BA0-617D-4D92-8B61-04A1723CD33C}" dt="2020-07-31T15:31:30.836" v="220" actId="12788"/>
          <ac:spMkLst>
            <pc:docMk/>
            <pc:sldMk cId="1734415321" sldId="2134804344"/>
            <ac:spMk id="35" creationId="{5F2982C9-1317-4114-BC67-9EA6763899B8}"/>
          </ac:spMkLst>
        </pc:spChg>
        <pc:spChg chg="mod">
          <ac:chgData name="Mariam Daniela Tristancho Pineda (MISION TEMPORAL LTDA)" userId="a45a17f7-7950-4cb5-bfab-f5c894f959a9" providerId="ADAL" clId="{15586BA0-617D-4D92-8B61-04A1723CD33C}" dt="2020-07-31T15:44:15.923" v="375" actId="12788"/>
          <ac:spMkLst>
            <pc:docMk/>
            <pc:sldMk cId="1734415321" sldId="2134804344"/>
            <ac:spMk id="36" creationId="{80930BAD-CC8E-47DD-9473-5B8864A2680A}"/>
          </ac:spMkLst>
        </pc:spChg>
        <pc:spChg chg="mod">
          <ac:chgData name="Mariam Daniela Tristancho Pineda (MISION TEMPORAL LTDA)" userId="a45a17f7-7950-4cb5-bfab-f5c894f959a9" providerId="ADAL" clId="{15586BA0-617D-4D92-8B61-04A1723CD33C}" dt="2020-07-31T15:32:33.749" v="232" actId="14100"/>
          <ac:spMkLst>
            <pc:docMk/>
            <pc:sldMk cId="1734415321" sldId="2134804344"/>
            <ac:spMk id="41" creationId="{A6323A01-8860-4B1B-BDAF-6B75ABC06BEC}"/>
          </ac:spMkLst>
        </pc:spChg>
        <pc:spChg chg="mod">
          <ac:chgData name="Mariam Daniela Tristancho Pineda (MISION TEMPORAL LTDA)" userId="a45a17f7-7950-4cb5-bfab-f5c894f959a9" providerId="ADAL" clId="{15586BA0-617D-4D92-8B61-04A1723CD33C}" dt="2020-07-31T15:33:24.142" v="269" actId="14100"/>
          <ac:spMkLst>
            <pc:docMk/>
            <pc:sldMk cId="1734415321" sldId="2134804344"/>
            <ac:spMk id="42" creationId="{4101169F-B3FD-425D-90F0-D9CCBE1BF3D2}"/>
          </ac:spMkLst>
        </pc:spChg>
        <pc:spChg chg="mod">
          <ac:chgData name="Mariam Daniela Tristancho Pineda (MISION TEMPORAL LTDA)" userId="a45a17f7-7950-4cb5-bfab-f5c894f959a9" providerId="ADAL" clId="{15586BA0-617D-4D92-8B61-04A1723CD33C}" dt="2020-07-31T15:43:49.401" v="370" actId="1035"/>
          <ac:spMkLst>
            <pc:docMk/>
            <pc:sldMk cId="1734415321" sldId="2134804344"/>
            <ac:spMk id="43" creationId="{34452114-CA9E-44D1-9755-DF275F1BF2A9}"/>
          </ac:spMkLst>
        </pc:spChg>
        <pc:spChg chg="mod">
          <ac:chgData name="Mariam Daniela Tristancho Pineda (MISION TEMPORAL LTDA)" userId="a45a17f7-7950-4cb5-bfab-f5c894f959a9" providerId="ADAL" clId="{15586BA0-617D-4D92-8B61-04A1723CD33C}" dt="2020-07-31T15:44:15.923" v="375" actId="12788"/>
          <ac:spMkLst>
            <pc:docMk/>
            <pc:sldMk cId="1734415321" sldId="2134804344"/>
            <ac:spMk id="48" creationId="{F926AC88-2103-4B74-A485-8F98AF37FABE}"/>
          </ac:spMkLst>
        </pc:spChg>
        <pc:spChg chg="mod">
          <ac:chgData name="Mariam Daniela Tristancho Pineda (MISION TEMPORAL LTDA)" userId="a45a17f7-7950-4cb5-bfab-f5c894f959a9" providerId="ADAL" clId="{15586BA0-617D-4D92-8B61-04A1723CD33C}" dt="2020-07-31T15:37:28.495" v="367" actId="12788"/>
          <ac:spMkLst>
            <pc:docMk/>
            <pc:sldMk cId="1734415321" sldId="2134804344"/>
            <ac:spMk id="55" creationId="{1546B975-3205-4120-A98D-4F899F2673F9}"/>
          </ac:spMkLst>
        </pc:spChg>
        <pc:spChg chg="mod">
          <ac:chgData name="Mariam Daniela Tristancho Pineda (MISION TEMPORAL LTDA)" userId="a45a17f7-7950-4cb5-bfab-f5c894f959a9" providerId="ADAL" clId="{15586BA0-617D-4D92-8B61-04A1723CD33C}" dt="2020-07-31T15:37:28.495" v="367" actId="12788"/>
          <ac:spMkLst>
            <pc:docMk/>
            <pc:sldMk cId="1734415321" sldId="2134804344"/>
            <ac:spMk id="56" creationId="{82D32ECE-5CE8-4D30-8F1A-35940B0E5DDC}"/>
          </ac:spMkLst>
        </pc:spChg>
        <pc:spChg chg="mod">
          <ac:chgData name="Mariam Daniela Tristancho Pineda (MISION TEMPORAL LTDA)" userId="a45a17f7-7950-4cb5-bfab-f5c894f959a9" providerId="ADAL" clId="{15586BA0-617D-4D92-8B61-04A1723CD33C}" dt="2020-07-31T15:33:07.765" v="253" actId="14100"/>
          <ac:spMkLst>
            <pc:docMk/>
            <pc:sldMk cId="1734415321" sldId="2134804344"/>
            <ac:spMk id="59" creationId="{B329FB9A-BB66-4CA1-9AB8-4B6B45E56072}"/>
          </ac:spMkLst>
        </pc:spChg>
        <pc:spChg chg="mod">
          <ac:chgData name="Mariam Daniela Tristancho Pineda (MISION TEMPORAL LTDA)" userId="a45a17f7-7950-4cb5-bfab-f5c894f959a9" providerId="ADAL" clId="{15586BA0-617D-4D92-8B61-04A1723CD33C}" dt="2020-07-31T15:33:56.512" v="299" actId="12788"/>
          <ac:spMkLst>
            <pc:docMk/>
            <pc:sldMk cId="1734415321" sldId="2134804344"/>
            <ac:spMk id="60" creationId="{FC98CCA7-DE6B-4116-84B8-A8982F08BE33}"/>
          </ac:spMkLst>
        </pc:spChg>
        <pc:spChg chg="mod">
          <ac:chgData name="Mariam Daniela Tristancho Pineda (MISION TEMPORAL LTDA)" userId="a45a17f7-7950-4cb5-bfab-f5c894f959a9" providerId="ADAL" clId="{15586BA0-617D-4D92-8B61-04A1723CD33C}" dt="2020-07-31T15:33:56.512" v="299" actId="12788"/>
          <ac:spMkLst>
            <pc:docMk/>
            <pc:sldMk cId="1734415321" sldId="2134804344"/>
            <ac:spMk id="65" creationId="{E9C72F17-5D8F-41F6-8661-3E5DE2A9E040}"/>
          </ac:spMkLst>
        </pc:spChg>
        <pc:spChg chg="mod">
          <ac:chgData name="Mariam Daniela Tristancho Pineda (MISION TEMPORAL LTDA)" userId="a45a17f7-7950-4cb5-bfab-f5c894f959a9" providerId="ADAL" clId="{15586BA0-617D-4D92-8B61-04A1723CD33C}" dt="2020-07-31T15:33:56.512" v="299" actId="12788"/>
          <ac:spMkLst>
            <pc:docMk/>
            <pc:sldMk cId="1734415321" sldId="2134804344"/>
            <ac:spMk id="66" creationId="{DB75697E-BD6D-4004-8F4B-2171046FC128}"/>
          </ac:spMkLst>
        </pc:spChg>
        <pc:spChg chg="mod">
          <ac:chgData name="Mariam Daniela Tristancho Pineda (MISION TEMPORAL LTDA)" userId="a45a17f7-7950-4cb5-bfab-f5c894f959a9" providerId="ADAL" clId="{15586BA0-617D-4D92-8B61-04A1723CD33C}" dt="2020-07-31T15:33:56.512" v="299" actId="12788"/>
          <ac:spMkLst>
            <pc:docMk/>
            <pc:sldMk cId="1734415321" sldId="2134804344"/>
            <ac:spMk id="69" creationId="{42876D3F-F05B-4B3C-9DCB-629A3FE41134}"/>
          </ac:spMkLst>
        </pc:spChg>
        <pc:spChg chg="mod">
          <ac:chgData name="Mariam Daniela Tristancho Pineda (MISION TEMPORAL LTDA)" userId="a45a17f7-7950-4cb5-bfab-f5c894f959a9" providerId="ADAL" clId="{15586BA0-617D-4D92-8B61-04A1723CD33C}" dt="2020-07-31T15:33:56.512" v="299" actId="12788"/>
          <ac:spMkLst>
            <pc:docMk/>
            <pc:sldMk cId="1734415321" sldId="2134804344"/>
            <ac:spMk id="70" creationId="{F9D75CA7-6C16-4058-92CF-BCCF9664CBC8}"/>
          </ac:spMkLst>
        </pc:spChg>
        <pc:spChg chg="mod">
          <ac:chgData name="Mariam Daniela Tristancho Pineda (MISION TEMPORAL LTDA)" userId="a45a17f7-7950-4cb5-bfab-f5c894f959a9" providerId="ADAL" clId="{15586BA0-617D-4D92-8B61-04A1723CD33C}" dt="2020-07-31T15:33:56.512" v="299" actId="12788"/>
          <ac:spMkLst>
            <pc:docMk/>
            <pc:sldMk cId="1734415321" sldId="2134804344"/>
            <ac:spMk id="71" creationId="{63CA118B-4517-4A8E-85F9-65AF0995F5E4}"/>
          </ac:spMkLst>
        </pc:spChg>
        <pc:spChg chg="mod">
          <ac:chgData name="Mariam Daniela Tristancho Pineda (MISION TEMPORAL LTDA)" userId="a45a17f7-7950-4cb5-bfab-f5c894f959a9" providerId="ADAL" clId="{15586BA0-617D-4D92-8B61-04A1723CD33C}" dt="2020-07-31T15:32:54.343" v="248" actId="1038"/>
          <ac:spMkLst>
            <pc:docMk/>
            <pc:sldMk cId="1734415321" sldId="2134804344"/>
            <ac:spMk id="72" creationId="{F0A9C2F1-1FA1-4C6D-980F-C42B048458E9}"/>
          </ac:spMkLst>
        </pc:spChg>
        <pc:spChg chg="mod">
          <ac:chgData name="Mariam Daniela Tristancho Pineda (MISION TEMPORAL LTDA)" userId="a45a17f7-7950-4cb5-bfab-f5c894f959a9" providerId="ADAL" clId="{15586BA0-617D-4D92-8B61-04A1723CD33C}" dt="2020-07-31T15:32:54.343" v="248" actId="1038"/>
          <ac:spMkLst>
            <pc:docMk/>
            <pc:sldMk cId="1734415321" sldId="2134804344"/>
            <ac:spMk id="73" creationId="{504B0AB9-46DB-479D-A0DE-430E1C84357C}"/>
          </ac:spMkLst>
        </pc:spChg>
        <pc:spChg chg="mod">
          <ac:chgData name="Mariam Daniela Tristancho Pineda (MISION TEMPORAL LTDA)" userId="a45a17f7-7950-4cb5-bfab-f5c894f959a9" providerId="ADAL" clId="{15586BA0-617D-4D92-8B61-04A1723CD33C}" dt="2020-07-31T15:31:35.403" v="221" actId="12788"/>
          <ac:spMkLst>
            <pc:docMk/>
            <pc:sldMk cId="1734415321" sldId="2134804344"/>
            <ac:spMk id="75" creationId="{4C690042-2141-41E0-801C-740270A72EAA}"/>
          </ac:spMkLst>
        </pc:spChg>
        <pc:spChg chg="mod">
          <ac:chgData name="Mariam Daniela Tristancho Pineda (MISION TEMPORAL LTDA)" userId="a45a17f7-7950-4cb5-bfab-f5c894f959a9" providerId="ADAL" clId="{15586BA0-617D-4D92-8B61-04A1723CD33C}" dt="2020-07-31T15:31:35.403" v="221" actId="12788"/>
          <ac:spMkLst>
            <pc:docMk/>
            <pc:sldMk cId="1734415321" sldId="2134804344"/>
            <ac:spMk id="76" creationId="{0E53751B-1475-4A4B-BBEC-13FCD3CB2F50}"/>
          </ac:spMkLst>
        </pc:spChg>
        <pc:spChg chg="mod">
          <ac:chgData name="Mariam Daniela Tristancho Pineda (MISION TEMPORAL LTDA)" userId="a45a17f7-7950-4cb5-bfab-f5c894f959a9" providerId="ADAL" clId="{15586BA0-617D-4D92-8B61-04A1723CD33C}" dt="2020-07-31T15:33:46.338" v="296" actId="1036"/>
          <ac:spMkLst>
            <pc:docMk/>
            <pc:sldMk cId="1734415321" sldId="2134804344"/>
            <ac:spMk id="80" creationId="{E193066D-B18A-4EF1-AF0B-EF5BC81EBB54}"/>
          </ac:spMkLst>
        </pc:spChg>
        <pc:spChg chg="mod">
          <ac:chgData name="Mariam Daniela Tristancho Pineda (MISION TEMPORAL LTDA)" userId="a45a17f7-7950-4cb5-bfab-f5c894f959a9" providerId="ADAL" clId="{15586BA0-617D-4D92-8B61-04A1723CD33C}" dt="2020-07-31T15:33:30.216" v="293" actId="1037"/>
          <ac:spMkLst>
            <pc:docMk/>
            <pc:sldMk cId="1734415321" sldId="2134804344"/>
            <ac:spMk id="81" creationId="{9EAEECC0-C607-4346-A4F1-115AAD4C7633}"/>
          </ac:spMkLst>
        </pc:spChg>
        <pc:spChg chg="mod">
          <ac:chgData name="Mariam Daniela Tristancho Pineda (MISION TEMPORAL LTDA)" userId="a45a17f7-7950-4cb5-bfab-f5c894f959a9" providerId="ADAL" clId="{15586BA0-617D-4D92-8B61-04A1723CD33C}" dt="2020-07-31T15:33:49.623" v="298" actId="1036"/>
          <ac:spMkLst>
            <pc:docMk/>
            <pc:sldMk cId="1734415321" sldId="2134804344"/>
            <ac:spMk id="94" creationId="{0010AD8B-A5B4-4F43-81B9-230ED3132988}"/>
          </ac:spMkLst>
        </pc:spChg>
        <pc:spChg chg="mod">
          <ac:chgData name="Mariam Daniela Tristancho Pineda (MISION TEMPORAL LTDA)" userId="a45a17f7-7950-4cb5-bfab-f5c894f959a9" providerId="ADAL" clId="{15586BA0-617D-4D92-8B61-04A1723CD33C}" dt="2020-07-31T15:31:26.882" v="219" actId="12788"/>
          <ac:spMkLst>
            <pc:docMk/>
            <pc:sldMk cId="1734415321" sldId="2134804344"/>
            <ac:spMk id="97" creationId="{99300021-C267-43BD-A0F5-B3ECE622345E}"/>
          </ac:spMkLst>
        </pc:spChg>
        <pc:spChg chg="mod">
          <ac:chgData name="Mariam Daniela Tristancho Pineda (MISION TEMPORAL LTDA)" userId="a45a17f7-7950-4cb5-bfab-f5c894f959a9" providerId="ADAL" clId="{15586BA0-617D-4D92-8B61-04A1723CD33C}" dt="2020-07-31T15:44:48.948" v="379" actId="20577"/>
          <ac:spMkLst>
            <pc:docMk/>
            <pc:sldMk cId="1734415321" sldId="2134804344"/>
            <ac:spMk id="100" creationId="{35A556C0-08BB-4065-827F-E54CA0A57E33}"/>
          </ac:spMkLst>
        </pc:spChg>
        <pc:grpChg chg="mod">
          <ac:chgData name="Mariam Daniela Tristancho Pineda (MISION TEMPORAL LTDA)" userId="a45a17f7-7950-4cb5-bfab-f5c894f959a9" providerId="ADAL" clId="{15586BA0-617D-4D92-8B61-04A1723CD33C}" dt="2020-07-31T15:32:41.476" v="234" actId="1076"/>
          <ac:grpSpMkLst>
            <pc:docMk/>
            <pc:sldMk cId="1734415321" sldId="2134804344"/>
            <ac:grpSpMk id="78" creationId="{12A3AACD-5508-4F4A-9036-A17C038CD4B5}"/>
          </ac:grpSpMkLst>
        </pc:grpChg>
        <pc:grpChg chg="mod">
          <ac:chgData name="Mariam Daniela Tristancho Pineda (MISION TEMPORAL LTDA)" userId="a45a17f7-7950-4cb5-bfab-f5c894f959a9" providerId="ADAL" clId="{15586BA0-617D-4D92-8B61-04A1723CD33C}" dt="2020-07-31T15:32:54.343" v="248" actId="1038"/>
          <ac:grpSpMkLst>
            <pc:docMk/>
            <pc:sldMk cId="1734415321" sldId="2134804344"/>
            <ac:grpSpMk id="88" creationId="{F7EF4CD1-C03D-4025-9F1B-068CA3577EE5}"/>
          </ac:grpSpMkLst>
        </pc:grpChg>
      </pc:sldChg>
      <pc:sldChg chg="modSp mod">
        <pc:chgData name="Mariam Daniela Tristancho Pineda (MISION TEMPORAL LTDA)" userId="a45a17f7-7950-4cb5-bfab-f5c894f959a9" providerId="ADAL" clId="{15586BA0-617D-4D92-8B61-04A1723CD33C}" dt="2020-07-31T15:45:13.558" v="382" actId="20577"/>
        <pc:sldMkLst>
          <pc:docMk/>
          <pc:sldMk cId="3642796184" sldId="2134804345"/>
        </pc:sldMkLst>
        <pc:spChg chg="mod">
          <ac:chgData name="Mariam Daniela Tristancho Pineda (MISION TEMPORAL LTDA)" userId="a45a17f7-7950-4cb5-bfab-f5c894f959a9" providerId="ADAL" clId="{15586BA0-617D-4D92-8B61-04A1723CD33C}" dt="2020-07-31T15:45:13.558" v="382" actId="20577"/>
          <ac:spMkLst>
            <pc:docMk/>
            <pc:sldMk cId="3642796184" sldId="2134804345"/>
            <ac:spMk id="2" creationId="{6431BBCF-96E5-45A7-B7E5-D44090D06329}"/>
          </ac:spMkLst>
        </pc:spChg>
        <pc:spChg chg="mod">
          <ac:chgData name="Mariam Daniela Tristancho Pineda (MISION TEMPORAL LTDA)" userId="a45a17f7-7950-4cb5-bfab-f5c894f959a9" providerId="ADAL" clId="{15586BA0-617D-4D92-8B61-04A1723CD33C}" dt="2020-07-29T14:03:16.427" v="71" actId="20577"/>
          <ac:spMkLst>
            <pc:docMk/>
            <pc:sldMk cId="3642796184" sldId="2134804345"/>
            <ac:spMk id="3" creationId="{30F9CFD9-5990-468D-9B1E-2AB69F9844AA}"/>
          </ac:spMkLst>
        </pc:spChg>
      </pc:sldChg>
      <pc:sldChg chg="modSp mod">
        <pc:chgData name="Mariam Daniela Tristancho Pineda (MISION TEMPORAL LTDA)" userId="a45a17f7-7950-4cb5-bfab-f5c894f959a9" providerId="ADAL" clId="{15586BA0-617D-4D92-8B61-04A1723CD33C}" dt="2020-07-31T15:49:09.860" v="392" actId="12788"/>
        <pc:sldMkLst>
          <pc:docMk/>
          <pc:sldMk cId="330914068" sldId="2134804346"/>
        </pc:sldMkLst>
        <pc:spChg chg="mod">
          <ac:chgData name="Mariam Daniela Tristancho Pineda (MISION TEMPORAL LTDA)" userId="a45a17f7-7950-4cb5-bfab-f5c894f959a9" providerId="ADAL" clId="{15586BA0-617D-4D92-8B61-04A1723CD33C}" dt="2020-07-31T15:49:06.010" v="391" actId="12788"/>
          <ac:spMkLst>
            <pc:docMk/>
            <pc:sldMk cId="330914068" sldId="2134804346"/>
            <ac:spMk id="14" creationId="{CB6E902A-3037-4424-8244-1140BA286815}"/>
          </ac:spMkLst>
        </pc:spChg>
        <pc:spChg chg="mod">
          <ac:chgData name="Mariam Daniela Tristancho Pineda (MISION TEMPORAL LTDA)" userId="a45a17f7-7950-4cb5-bfab-f5c894f959a9" providerId="ADAL" clId="{15586BA0-617D-4D92-8B61-04A1723CD33C}" dt="2020-07-31T15:49:09.860" v="392" actId="12788"/>
          <ac:spMkLst>
            <pc:docMk/>
            <pc:sldMk cId="330914068" sldId="2134804346"/>
            <ac:spMk id="34" creationId="{8563ABA6-CB73-498B-A032-07417EFEC241}"/>
          </ac:spMkLst>
        </pc:spChg>
        <pc:spChg chg="mod">
          <ac:chgData name="Mariam Daniela Tristancho Pineda (MISION TEMPORAL LTDA)" userId="a45a17f7-7950-4cb5-bfab-f5c894f959a9" providerId="ADAL" clId="{15586BA0-617D-4D92-8B61-04A1723CD33C}" dt="2020-07-31T15:49:06.010" v="391" actId="12788"/>
          <ac:spMkLst>
            <pc:docMk/>
            <pc:sldMk cId="330914068" sldId="2134804346"/>
            <ac:spMk id="35" creationId="{261FE420-0646-42FB-B587-DEC51AE767F3}"/>
          </ac:spMkLst>
        </pc:spChg>
        <pc:spChg chg="mod">
          <ac:chgData name="Mariam Daniela Tristancho Pineda (MISION TEMPORAL LTDA)" userId="a45a17f7-7950-4cb5-bfab-f5c894f959a9" providerId="ADAL" clId="{15586BA0-617D-4D92-8B61-04A1723CD33C}" dt="2020-07-31T15:49:09.860" v="392" actId="12788"/>
          <ac:spMkLst>
            <pc:docMk/>
            <pc:sldMk cId="330914068" sldId="2134804346"/>
            <ac:spMk id="45" creationId="{8E8CD834-7B34-47C9-9BE7-09ECA14BFCEB}"/>
          </ac:spMkLst>
        </pc:spChg>
        <pc:spChg chg="mod">
          <ac:chgData name="Mariam Daniela Tristancho Pineda (MISION TEMPORAL LTDA)" userId="a45a17f7-7950-4cb5-bfab-f5c894f959a9" providerId="ADAL" clId="{15586BA0-617D-4D92-8B61-04A1723CD33C}" dt="2020-07-31T15:49:09.860" v="392" actId="12788"/>
          <ac:spMkLst>
            <pc:docMk/>
            <pc:sldMk cId="330914068" sldId="2134804346"/>
            <ac:spMk id="47" creationId="{137B0C4F-8471-4337-954D-6AECA53DF9C2}"/>
          </ac:spMkLst>
        </pc:spChg>
        <pc:spChg chg="mod">
          <ac:chgData name="Mariam Daniela Tristancho Pineda (MISION TEMPORAL LTDA)" userId="a45a17f7-7950-4cb5-bfab-f5c894f959a9" providerId="ADAL" clId="{15586BA0-617D-4D92-8B61-04A1723CD33C}" dt="2020-07-31T15:49:06.010" v="391" actId="12788"/>
          <ac:spMkLst>
            <pc:docMk/>
            <pc:sldMk cId="330914068" sldId="2134804346"/>
            <ac:spMk id="58" creationId="{87C0C219-147A-4233-AEBD-D8B263DF2912}"/>
          </ac:spMkLst>
        </pc:spChg>
      </pc:sldChg>
      <pc:sldChg chg="addSp delSp modSp mod">
        <pc:chgData name="Mariam Daniela Tristancho Pineda (MISION TEMPORAL LTDA)" userId="a45a17f7-7950-4cb5-bfab-f5c894f959a9" providerId="ADAL" clId="{15586BA0-617D-4D92-8B61-04A1723CD33C}" dt="2020-07-31T21:42:53.168" v="1042" actId="1076"/>
        <pc:sldMkLst>
          <pc:docMk/>
          <pc:sldMk cId="3225245280" sldId="2134804347"/>
        </pc:sldMkLst>
        <pc:spChg chg="mod">
          <ac:chgData name="Mariam Daniela Tristancho Pineda (MISION TEMPORAL LTDA)" userId="a45a17f7-7950-4cb5-bfab-f5c894f959a9" providerId="ADAL" clId="{15586BA0-617D-4D92-8B61-04A1723CD33C}" dt="2020-07-31T21:37:41.737" v="950" actId="1037"/>
          <ac:spMkLst>
            <pc:docMk/>
            <pc:sldMk cId="3225245280" sldId="2134804347"/>
            <ac:spMk id="3" creationId="{815B10B7-60B3-4C63-8431-70CC556387C9}"/>
          </ac:spMkLst>
        </pc:spChg>
        <pc:spChg chg="mod">
          <ac:chgData name="Mariam Daniela Tristancho Pineda (MISION TEMPORAL LTDA)" userId="a45a17f7-7950-4cb5-bfab-f5c894f959a9" providerId="ADAL" clId="{15586BA0-617D-4D92-8B61-04A1723CD33C}" dt="2020-07-31T15:52:06.487" v="451" actId="1038"/>
          <ac:spMkLst>
            <pc:docMk/>
            <pc:sldMk cId="3225245280" sldId="2134804347"/>
            <ac:spMk id="6" creationId="{D96F8713-29A5-4310-8564-F011CFCB1066}"/>
          </ac:spMkLst>
        </pc:spChg>
        <pc:spChg chg="mod">
          <ac:chgData name="Mariam Daniela Tristancho Pineda (MISION TEMPORAL LTDA)" userId="a45a17f7-7950-4cb5-bfab-f5c894f959a9" providerId="ADAL" clId="{15586BA0-617D-4D92-8B61-04A1723CD33C}" dt="2020-07-31T21:37:41.737" v="950" actId="1037"/>
          <ac:spMkLst>
            <pc:docMk/>
            <pc:sldMk cId="3225245280" sldId="2134804347"/>
            <ac:spMk id="7" creationId="{6E720954-0AD5-4F0E-9897-4BDFCFA126CC}"/>
          </ac:spMkLst>
        </pc:spChg>
        <pc:spChg chg="mod">
          <ac:chgData name="Mariam Daniela Tristancho Pineda (MISION TEMPORAL LTDA)" userId="a45a17f7-7950-4cb5-bfab-f5c894f959a9" providerId="ADAL" clId="{15586BA0-617D-4D92-8B61-04A1723CD33C}" dt="2020-07-31T21:37:41.737" v="950" actId="1037"/>
          <ac:spMkLst>
            <pc:docMk/>
            <pc:sldMk cId="3225245280" sldId="2134804347"/>
            <ac:spMk id="8" creationId="{2E27193E-8A49-44E9-91B8-50C765DA6DDA}"/>
          </ac:spMkLst>
        </pc:spChg>
        <pc:spChg chg="mod">
          <ac:chgData name="Mariam Daniela Tristancho Pineda (MISION TEMPORAL LTDA)" userId="a45a17f7-7950-4cb5-bfab-f5c894f959a9" providerId="ADAL" clId="{15586BA0-617D-4D92-8B61-04A1723CD33C}" dt="2020-07-31T15:50:50.935" v="423" actId="554"/>
          <ac:spMkLst>
            <pc:docMk/>
            <pc:sldMk cId="3225245280" sldId="2134804347"/>
            <ac:spMk id="9" creationId="{044EA7DA-DC7D-4022-9DEC-F3B676A62032}"/>
          </ac:spMkLst>
        </pc:spChg>
        <pc:spChg chg="mod">
          <ac:chgData name="Mariam Daniela Tristancho Pineda (MISION TEMPORAL LTDA)" userId="a45a17f7-7950-4cb5-bfab-f5c894f959a9" providerId="ADAL" clId="{15586BA0-617D-4D92-8B61-04A1723CD33C}" dt="2020-07-31T21:37:56.430" v="955" actId="20577"/>
          <ac:spMkLst>
            <pc:docMk/>
            <pc:sldMk cId="3225245280" sldId="2134804347"/>
            <ac:spMk id="10" creationId="{1C27DADA-AD5A-4DFF-A22B-78E230D3896D}"/>
          </ac:spMkLst>
        </pc:spChg>
        <pc:spChg chg="add del mod">
          <ac:chgData name="Mariam Daniela Tristancho Pineda (MISION TEMPORAL LTDA)" userId="a45a17f7-7950-4cb5-bfab-f5c894f959a9" providerId="ADAL" clId="{15586BA0-617D-4D92-8B61-04A1723CD33C}" dt="2020-07-31T21:36:54.678" v="848" actId="478"/>
          <ac:spMkLst>
            <pc:docMk/>
            <pc:sldMk cId="3225245280" sldId="2134804347"/>
            <ac:spMk id="11" creationId="{772CA61D-742C-45F0-BAFA-0F3B90176E98}"/>
          </ac:spMkLst>
        </pc:spChg>
        <pc:spChg chg="add del">
          <ac:chgData name="Mariam Daniela Tristancho Pineda (MISION TEMPORAL LTDA)" userId="a45a17f7-7950-4cb5-bfab-f5c894f959a9" providerId="ADAL" clId="{15586BA0-617D-4D92-8B61-04A1723CD33C}" dt="2020-07-31T21:36:54.678" v="848" actId="478"/>
          <ac:spMkLst>
            <pc:docMk/>
            <pc:sldMk cId="3225245280" sldId="2134804347"/>
            <ac:spMk id="12" creationId="{7F3CEC4C-7588-4B74-823D-9CF22E2DAD79}"/>
          </ac:spMkLst>
        </pc:spChg>
        <pc:spChg chg="mod">
          <ac:chgData name="Mariam Daniela Tristancho Pineda (MISION TEMPORAL LTDA)" userId="a45a17f7-7950-4cb5-bfab-f5c894f959a9" providerId="ADAL" clId="{15586BA0-617D-4D92-8B61-04A1723CD33C}" dt="2020-07-31T21:37:41.737" v="950" actId="1037"/>
          <ac:spMkLst>
            <pc:docMk/>
            <pc:sldMk cId="3225245280" sldId="2134804347"/>
            <ac:spMk id="13" creationId="{8ED9F3B3-88F5-4631-8341-C7E55E174742}"/>
          </ac:spMkLst>
        </pc:spChg>
        <pc:spChg chg="mod">
          <ac:chgData name="Mariam Daniela Tristancho Pineda (MISION TEMPORAL LTDA)" userId="a45a17f7-7950-4cb5-bfab-f5c894f959a9" providerId="ADAL" clId="{15586BA0-617D-4D92-8B61-04A1723CD33C}" dt="2020-07-31T21:19:51.905" v="713"/>
          <ac:spMkLst>
            <pc:docMk/>
            <pc:sldMk cId="3225245280" sldId="2134804347"/>
            <ac:spMk id="14" creationId="{6FCAE7F4-D309-4A31-A5D2-C6A035E0EF82}"/>
          </ac:spMkLst>
        </pc:spChg>
        <pc:spChg chg="mod">
          <ac:chgData name="Mariam Daniela Tristancho Pineda (MISION TEMPORAL LTDA)" userId="a45a17f7-7950-4cb5-bfab-f5c894f959a9" providerId="ADAL" clId="{15586BA0-617D-4D92-8B61-04A1723CD33C}" dt="2020-07-31T21:20:34.835" v="715" actId="14100"/>
          <ac:spMkLst>
            <pc:docMk/>
            <pc:sldMk cId="3225245280" sldId="2134804347"/>
            <ac:spMk id="15" creationId="{EC155108-24C9-41BB-AFB7-1D8B4E0A3839}"/>
          </ac:spMkLst>
        </pc:spChg>
        <pc:spChg chg="del mod">
          <ac:chgData name="Mariam Daniela Tristancho Pineda (MISION TEMPORAL LTDA)" userId="a45a17f7-7950-4cb5-bfab-f5c894f959a9" providerId="ADAL" clId="{15586BA0-617D-4D92-8B61-04A1723CD33C}" dt="2020-07-31T21:42:08.469" v="1034" actId="478"/>
          <ac:spMkLst>
            <pc:docMk/>
            <pc:sldMk cId="3225245280" sldId="2134804347"/>
            <ac:spMk id="17" creationId="{5EAC5110-AE72-47ED-96D9-528A91DC5957}"/>
          </ac:spMkLst>
        </pc:spChg>
        <pc:spChg chg="mod">
          <ac:chgData name="Mariam Daniela Tristancho Pineda (MISION TEMPORAL LTDA)" userId="a45a17f7-7950-4cb5-bfab-f5c894f959a9" providerId="ADAL" clId="{15586BA0-617D-4D92-8B61-04A1723CD33C}" dt="2020-07-31T21:37:41.737" v="950" actId="1037"/>
          <ac:spMkLst>
            <pc:docMk/>
            <pc:sldMk cId="3225245280" sldId="2134804347"/>
            <ac:spMk id="18" creationId="{B9A102DE-B6E2-4A96-917C-4764462F2DDA}"/>
          </ac:spMkLst>
        </pc:spChg>
        <pc:spChg chg="mod">
          <ac:chgData name="Mariam Daniela Tristancho Pineda (MISION TEMPORAL LTDA)" userId="a45a17f7-7950-4cb5-bfab-f5c894f959a9" providerId="ADAL" clId="{15586BA0-617D-4D92-8B61-04A1723CD33C}" dt="2020-07-31T21:37:53.710" v="954" actId="20577"/>
          <ac:spMkLst>
            <pc:docMk/>
            <pc:sldMk cId="3225245280" sldId="2134804347"/>
            <ac:spMk id="19" creationId="{70675E72-95A3-4317-B24A-EF51AC8AE239}"/>
          </ac:spMkLst>
        </pc:spChg>
        <pc:spChg chg="add del mod">
          <ac:chgData name="Mariam Daniela Tristancho Pineda (MISION TEMPORAL LTDA)" userId="a45a17f7-7950-4cb5-bfab-f5c894f959a9" providerId="ADAL" clId="{15586BA0-617D-4D92-8B61-04A1723CD33C}" dt="2020-07-31T21:42:18.211" v="1040" actId="478"/>
          <ac:spMkLst>
            <pc:docMk/>
            <pc:sldMk cId="3225245280" sldId="2134804347"/>
            <ac:spMk id="20" creationId="{3AE5DE1B-3E9E-479E-9E2D-5D06591CE120}"/>
          </ac:spMkLst>
        </pc:spChg>
        <pc:spChg chg="add del mod">
          <ac:chgData name="Mariam Daniela Tristancho Pineda (MISION TEMPORAL LTDA)" userId="a45a17f7-7950-4cb5-bfab-f5c894f959a9" providerId="ADAL" clId="{15586BA0-617D-4D92-8B61-04A1723CD33C}" dt="2020-07-31T21:42:16.887" v="1039" actId="478"/>
          <ac:spMkLst>
            <pc:docMk/>
            <pc:sldMk cId="3225245280" sldId="2134804347"/>
            <ac:spMk id="21" creationId="{0860F37B-BF0F-4ACC-9312-55A0EC69FE44}"/>
          </ac:spMkLst>
        </pc:spChg>
        <pc:spChg chg="mod">
          <ac:chgData name="Mariam Daniela Tristancho Pineda (MISION TEMPORAL LTDA)" userId="a45a17f7-7950-4cb5-bfab-f5c894f959a9" providerId="ADAL" clId="{15586BA0-617D-4D92-8B61-04A1723CD33C}" dt="2020-07-31T21:37:41.737" v="950" actId="1037"/>
          <ac:spMkLst>
            <pc:docMk/>
            <pc:sldMk cId="3225245280" sldId="2134804347"/>
            <ac:spMk id="22" creationId="{53E538FE-3283-40FB-A5F0-3E57246B6EFA}"/>
          </ac:spMkLst>
        </pc:spChg>
        <pc:spChg chg="add mod">
          <ac:chgData name="Mariam Daniela Tristancho Pineda (MISION TEMPORAL LTDA)" userId="a45a17f7-7950-4cb5-bfab-f5c894f959a9" providerId="ADAL" clId="{15586BA0-617D-4D92-8B61-04A1723CD33C}" dt="2020-07-31T21:42:11.568" v="1036" actId="1076"/>
          <ac:spMkLst>
            <pc:docMk/>
            <pc:sldMk cId="3225245280" sldId="2134804347"/>
            <ac:spMk id="23" creationId="{B688465D-E234-4F28-A156-DEC31C1309B2}"/>
          </ac:spMkLst>
        </pc:spChg>
        <pc:spChg chg="mod">
          <ac:chgData name="Mariam Daniela Tristancho Pineda (MISION TEMPORAL LTDA)" userId="a45a17f7-7950-4cb5-bfab-f5c894f959a9" providerId="ADAL" clId="{15586BA0-617D-4D92-8B61-04A1723CD33C}" dt="2020-07-31T15:51:25.022" v="440" actId="12789"/>
          <ac:spMkLst>
            <pc:docMk/>
            <pc:sldMk cId="3225245280" sldId="2134804347"/>
            <ac:spMk id="24" creationId="{0C96DED9-D235-406E-A2A1-79478F1C3877}"/>
          </ac:spMkLst>
        </pc:spChg>
        <pc:spChg chg="mod">
          <ac:chgData name="Mariam Daniela Tristancho Pineda (MISION TEMPORAL LTDA)" userId="a45a17f7-7950-4cb5-bfab-f5c894f959a9" providerId="ADAL" clId="{15586BA0-617D-4D92-8B61-04A1723CD33C}" dt="2020-07-31T21:37:41.737" v="950" actId="1037"/>
          <ac:spMkLst>
            <pc:docMk/>
            <pc:sldMk cId="3225245280" sldId="2134804347"/>
            <ac:spMk id="26" creationId="{75A6E1CB-F9BA-4F62-A008-32BA52F24F62}"/>
          </ac:spMkLst>
        </pc:spChg>
        <pc:spChg chg="add del mod">
          <ac:chgData name="Mariam Daniela Tristancho Pineda (MISION TEMPORAL LTDA)" userId="a45a17f7-7950-4cb5-bfab-f5c894f959a9" providerId="ADAL" clId="{15586BA0-617D-4D92-8B61-04A1723CD33C}" dt="2020-07-31T21:36:54.678" v="848" actId="478"/>
          <ac:spMkLst>
            <pc:docMk/>
            <pc:sldMk cId="3225245280" sldId="2134804347"/>
            <ac:spMk id="29" creationId="{46F67329-EAA2-4B09-AD5B-91FE70391A81}"/>
          </ac:spMkLst>
        </pc:spChg>
        <pc:spChg chg="mod">
          <ac:chgData name="Mariam Daniela Tristancho Pineda (MISION TEMPORAL LTDA)" userId="a45a17f7-7950-4cb5-bfab-f5c894f959a9" providerId="ADAL" clId="{15586BA0-617D-4D92-8B61-04A1723CD33C}" dt="2020-07-31T21:37:41.737" v="950" actId="1037"/>
          <ac:spMkLst>
            <pc:docMk/>
            <pc:sldMk cId="3225245280" sldId="2134804347"/>
            <ac:spMk id="30" creationId="{5BF08848-45AE-451C-A99D-7322CF796742}"/>
          </ac:spMkLst>
        </pc:spChg>
        <pc:spChg chg="mod">
          <ac:chgData name="Mariam Daniela Tristancho Pineda (MISION TEMPORAL LTDA)" userId="a45a17f7-7950-4cb5-bfab-f5c894f959a9" providerId="ADAL" clId="{15586BA0-617D-4D92-8B61-04A1723CD33C}" dt="2020-07-31T21:37:41.737" v="950" actId="1037"/>
          <ac:spMkLst>
            <pc:docMk/>
            <pc:sldMk cId="3225245280" sldId="2134804347"/>
            <ac:spMk id="34" creationId="{2858742F-5FD0-4B7E-9334-0D1DB2CF525E}"/>
          </ac:spMkLst>
        </pc:spChg>
        <pc:spChg chg="mod">
          <ac:chgData name="Mariam Daniela Tristancho Pineda (MISION TEMPORAL LTDA)" userId="a45a17f7-7950-4cb5-bfab-f5c894f959a9" providerId="ADAL" clId="{15586BA0-617D-4D92-8B61-04A1723CD33C}" dt="2020-07-31T21:37:41.737" v="950" actId="1037"/>
          <ac:spMkLst>
            <pc:docMk/>
            <pc:sldMk cId="3225245280" sldId="2134804347"/>
            <ac:spMk id="35" creationId="{5F2982C9-1317-4114-BC67-9EA6763899B8}"/>
          </ac:spMkLst>
        </pc:spChg>
        <pc:spChg chg="mod">
          <ac:chgData name="Mariam Daniela Tristancho Pineda (MISION TEMPORAL LTDA)" userId="a45a17f7-7950-4cb5-bfab-f5c894f959a9" providerId="ADAL" clId="{15586BA0-617D-4D92-8B61-04A1723CD33C}" dt="2020-07-31T15:52:06.952" v="452" actId="12788"/>
          <ac:spMkLst>
            <pc:docMk/>
            <pc:sldMk cId="3225245280" sldId="2134804347"/>
            <ac:spMk id="36" creationId="{80930BAD-CC8E-47DD-9473-5B8864A2680A}"/>
          </ac:spMkLst>
        </pc:spChg>
        <pc:spChg chg="mod">
          <ac:chgData name="Mariam Daniela Tristancho Pineda (MISION TEMPORAL LTDA)" userId="a45a17f7-7950-4cb5-bfab-f5c894f959a9" providerId="ADAL" clId="{15586BA0-617D-4D92-8B61-04A1723CD33C}" dt="2020-07-31T21:37:58.205" v="956" actId="20577"/>
          <ac:spMkLst>
            <pc:docMk/>
            <pc:sldMk cId="3225245280" sldId="2134804347"/>
            <ac:spMk id="40" creationId="{F9005A44-E530-4972-BBE0-B3ED015A6ED4}"/>
          </ac:spMkLst>
        </pc:spChg>
        <pc:spChg chg="mod">
          <ac:chgData name="Mariam Daniela Tristancho Pineda (MISION TEMPORAL LTDA)" userId="a45a17f7-7950-4cb5-bfab-f5c894f959a9" providerId="ADAL" clId="{15586BA0-617D-4D92-8B61-04A1723CD33C}" dt="2020-07-31T21:37:41.737" v="950" actId="1037"/>
          <ac:spMkLst>
            <pc:docMk/>
            <pc:sldMk cId="3225245280" sldId="2134804347"/>
            <ac:spMk id="41" creationId="{A6323A01-8860-4B1B-BDAF-6B75ABC06BEC}"/>
          </ac:spMkLst>
        </pc:spChg>
        <pc:spChg chg="mod">
          <ac:chgData name="Mariam Daniela Tristancho Pineda (MISION TEMPORAL LTDA)" userId="a45a17f7-7950-4cb5-bfab-f5c894f959a9" providerId="ADAL" clId="{15586BA0-617D-4D92-8B61-04A1723CD33C}" dt="2020-07-31T21:37:41.737" v="950" actId="1037"/>
          <ac:spMkLst>
            <pc:docMk/>
            <pc:sldMk cId="3225245280" sldId="2134804347"/>
            <ac:spMk id="42" creationId="{4101169F-B3FD-425D-90F0-D9CCBE1BF3D2}"/>
          </ac:spMkLst>
        </pc:spChg>
        <pc:spChg chg="mod">
          <ac:chgData name="Mariam Daniela Tristancho Pineda (MISION TEMPORAL LTDA)" userId="a45a17f7-7950-4cb5-bfab-f5c894f959a9" providerId="ADAL" clId="{15586BA0-617D-4D92-8B61-04A1723CD33C}" dt="2020-07-31T21:37:50.889" v="953" actId="1076"/>
          <ac:spMkLst>
            <pc:docMk/>
            <pc:sldMk cId="3225245280" sldId="2134804347"/>
            <ac:spMk id="43" creationId="{34452114-CA9E-44D1-9755-DF275F1BF2A9}"/>
          </ac:spMkLst>
        </pc:spChg>
        <pc:spChg chg="mod">
          <ac:chgData name="Mariam Daniela Tristancho Pineda (MISION TEMPORAL LTDA)" userId="a45a17f7-7950-4cb5-bfab-f5c894f959a9" providerId="ADAL" clId="{15586BA0-617D-4D92-8B61-04A1723CD33C}" dt="2020-07-31T21:16:19.940" v="709"/>
          <ac:spMkLst>
            <pc:docMk/>
            <pc:sldMk cId="3225245280" sldId="2134804347"/>
            <ac:spMk id="45" creationId="{9ACB673E-4A63-4F00-B5CB-5E9908EDEBDB}"/>
          </ac:spMkLst>
        </pc:spChg>
        <pc:spChg chg="mod">
          <ac:chgData name="Mariam Daniela Tristancho Pineda (MISION TEMPORAL LTDA)" userId="a45a17f7-7950-4cb5-bfab-f5c894f959a9" providerId="ADAL" clId="{15586BA0-617D-4D92-8B61-04A1723CD33C}" dt="2020-07-31T21:16:27.893" v="710"/>
          <ac:spMkLst>
            <pc:docMk/>
            <pc:sldMk cId="3225245280" sldId="2134804347"/>
            <ac:spMk id="46" creationId="{E0149A14-BFC3-44E2-87D8-379AA9113E44}"/>
          </ac:spMkLst>
        </pc:spChg>
        <pc:spChg chg="mod">
          <ac:chgData name="Mariam Daniela Tristancho Pineda (MISION TEMPORAL LTDA)" userId="a45a17f7-7950-4cb5-bfab-f5c894f959a9" providerId="ADAL" clId="{15586BA0-617D-4D92-8B61-04A1723CD33C}" dt="2020-07-31T15:52:06.487" v="451" actId="1038"/>
          <ac:spMkLst>
            <pc:docMk/>
            <pc:sldMk cId="3225245280" sldId="2134804347"/>
            <ac:spMk id="48" creationId="{20CF924E-D349-40FC-ABAF-4BBC6F96F0AC}"/>
          </ac:spMkLst>
        </pc:spChg>
        <pc:spChg chg="add del mod">
          <ac:chgData name="Mariam Daniela Tristancho Pineda (MISION TEMPORAL LTDA)" userId="a45a17f7-7950-4cb5-bfab-f5c894f959a9" providerId="ADAL" clId="{15586BA0-617D-4D92-8B61-04A1723CD33C}" dt="2020-07-31T21:25:49.462" v="731" actId="478"/>
          <ac:spMkLst>
            <pc:docMk/>
            <pc:sldMk cId="3225245280" sldId="2134804347"/>
            <ac:spMk id="72" creationId="{B6A1CD0A-A7AD-404D-B321-3C81898027FE}"/>
          </ac:spMkLst>
        </pc:spChg>
        <pc:spChg chg="mod">
          <ac:chgData name="Mariam Daniela Tristancho Pineda (MISION TEMPORAL LTDA)" userId="a45a17f7-7950-4cb5-bfab-f5c894f959a9" providerId="ADAL" clId="{15586BA0-617D-4D92-8B61-04A1723CD33C}" dt="2020-07-31T21:37:41.737" v="950" actId="1037"/>
          <ac:spMkLst>
            <pc:docMk/>
            <pc:sldMk cId="3225245280" sldId="2134804347"/>
            <ac:spMk id="97" creationId="{99300021-C267-43BD-A0F5-B3ECE622345E}"/>
          </ac:spMkLst>
        </pc:spChg>
        <pc:spChg chg="mod">
          <ac:chgData name="Mariam Daniela Tristancho Pineda (MISION TEMPORAL LTDA)" userId="a45a17f7-7950-4cb5-bfab-f5c894f959a9" providerId="ADAL" clId="{15586BA0-617D-4D92-8B61-04A1723CD33C}" dt="2020-07-31T15:52:17.492" v="453" actId="1076"/>
          <ac:spMkLst>
            <pc:docMk/>
            <pc:sldMk cId="3225245280" sldId="2134804347"/>
            <ac:spMk id="134" creationId="{4442C9A5-A733-471D-8F13-08ADD413B9D3}"/>
          </ac:spMkLst>
        </pc:spChg>
        <pc:spChg chg="mod">
          <ac:chgData name="Mariam Daniela Tristancho Pineda (MISION TEMPORAL LTDA)" userId="a45a17f7-7950-4cb5-bfab-f5c894f959a9" providerId="ADAL" clId="{15586BA0-617D-4D92-8B61-04A1723CD33C}" dt="2020-07-31T21:37:45.088" v="951" actId="1076"/>
          <ac:spMkLst>
            <pc:docMk/>
            <pc:sldMk cId="3225245280" sldId="2134804347"/>
            <ac:spMk id="135" creationId="{C1823568-A421-4254-9106-BAEB76F16B72}"/>
          </ac:spMkLst>
        </pc:spChg>
        <pc:spChg chg="mod">
          <ac:chgData name="Mariam Daniela Tristancho Pineda (MISION TEMPORAL LTDA)" userId="a45a17f7-7950-4cb5-bfab-f5c894f959a9" providerId="ADAL" clId="{15586BA0-617D-4D92-8B61-04A1723CD33C}" dt="2020-07-31T21:39:07.856" v="983" actId="20577"/>
          <ac:spMkLst>
            <pc:docMk/>
            <pc:sldMk cId="3225245280" sldId="2134804347"/>
            <ac:spMk id="136" creationId="{3E679F1B-F264-4A53-9627-51AF9A58E0A3}"/>
          </ac:spMkLst>
        </pc:spChg>
        <pc:spChg chg="mod">
          <ac:chgData name="Mariam Daniela Tristancho Pineda (MISION TEMPORAL LTDA)" userId="a45a17f7-7950-4cb5-bfab-f5c894f959a9" providerId="ADAL" clId="{15586BA0-617D-4D92-8B61-04A1723CD33C}" dt="2020-07-31T15:52:17.492" v="453" actId="1076"/>
          <ac:spMkLst>
            <pc:docMk/>
            <pc:sldMk cId="3225245280" sldId="2134804347"/>
            <ac:spMk id="137" creationId="{730474FC-E2F9-4F74-B68F-DF4ADA249AB1}"/>
          </ac:spMkLst>
        </pc:spChg>
        <pc:spChg chg="mod">
          <ac:chgData name="Mariam Daniela Tristancho Pineda (MISION TEMPORAL LTDA)" userId="a45a17f7-7950-4cb5-bfab-f5c894f959a9" providerId="ADAL" clId="{15586BA0-617D-4D92-8B61-04A1723CD33C}" dt="2020-07-31T15:52:17.492" v="453" actId="1076"/>
          <ac:spMkLst>
            <pc:docMk/>
            <pc:sldMk cId="3225245280" sldId="2134804347"/>
            <ac:spMk id="138" creationId="{14ECB9F5-C6EC-49AA-93E6-081670E9DB8B}"/>
          </ac:spMkLst>
        </pc:spChg>
        <pc:spChg chg="mod">
          <ac:chgData name="Mariam Daniela Tristancho Pineda (MISION TEMPORAL LTDA)" userId="a45a17f7-7950-4cb5-bfab-f5c894f959a9" providerId="ADAL" clId="{15586BA0-617D-4D92-8B61-04A1723CD33C}" dt="2020-07-31T15:52:17.492" v="453" actId="1076"/>
          <ac:spMkLst>
            <pc:docMk/>
            <pc:sldMk cId="3225245280" sldId="2134804347"/>
            <ac:spMk id="139" creationId="{E6FA0830-AEFB-4202-9F4F-DDC9DDCEAA0F}"/>
          </ac:spMkLst>
        </pc:spChg>
        <pc:spChg chg="mod">
          <ac:chgData name="Mariam Daniela Tristancho Pineda (MISION TEMPORAL LTDA)" userId="a45a17f7-7950-4cb5-bfab-f5c894f959a9" providerId="ADAL" clId="{15586BA0-617D-4D92-8B61-04A1723CD33C}" dt="2020-07-31T21:41:09.845" v="991" actId="20577"/>
          <ac:spMkLst>
            <pc:docMk/>
            <pc:sldMk cId="3225245280" sldId="2134804347"/>
            <ac:spMk id="154" creationId="{91AE69E5-1CE5-463E-A734-440EB07C71E7}"/>
          </ac:spMkLst>
        </pc:spChg>
        <pc:spChg chg="mod">
          <ac:chgData name="Mariam Daniela Tristancho Pineda (MISION TEMPORAL LTDA)" userId="a45a17f7-7950-4cb5-bfab-f5c894f959a9" providerId="ADAL" clId="{15586BA0-617D-4D92-8B61-04A1723CD33C}" dt="2020-07-31T21:42:13.709" v="1038" actId="20577"/>
          <ac:spMkLst>
            <pc:docMk/>
            <pc:sldMk cId="3225245280" sldId="2134804347"/>
            <ac:spMk id="166" creationId="{9FDE8763-1403-4DA7-9E51-39BBD4CD3A59}"/>
          </ac:spMkLst>
        </pc:spChg>
        <pc:grpChg chg="mod">
          <ac:chgData name="Mariam Daniela Tristancho Pineda (MISION TEMPORAL LTDA)" userId="a45a17f7-7950-4cb5-bfab-f5c894f959a9" providerId="ADAL" clId="{15586BA0-617D-4D92-8B61-04A1723CD33C}" dt="2020-07-31T15:52:17.492" v="453" actId="1076"/>
          <ac:grpSpMkLst>
            <pc:docMk/>
            <pc:sldMk cId="3225245280" sldId="2134804347"/>
            <ac:grpSpMk id="140" creationId="{1778203D-1CDF-4BBC-B19C-6A9DA9D69BEA}"/>
          </ac:grpSpMkLst>
        </pc:grpChg>
        <pc:grpChg chg="mod">
          <ac:chgData name="Mariam Daniela Tristancho Pineda (MISION TEMPORAL LTDA)" userId="a45a17f7-7950-4cb5-bfab-f5c894f959a9" providerId="ADAL" clId="{15586BA0-617D-4D92-8B61-04A1723CD33C}" dt="2020-07-31T21:42:53.168" v="1042" actId="1076"/>
          <ac:grpSpMkLst>
            <pc:docMk/>
            <pc:sldMk cId="3225245280" sldId="2134804347"/>
            <ac:grpSpMk id="143" creationId="{B27E5097-D998-4BDE-89CA-161A527A87C0}"/>
          </ac:grpSpMkLst>
        </pc:grpChg>
        <pc:grpChg chg="del mod">
          <ac:chgData name="Mariam Daniela Tristancho Pineda (MISION TEMPORAL LTDA)" userId="a45a17f7-7950-4cb5-bfab-f5c894f959a9" providerId="ADAL" clId="{15586BA0-617D-4D92-8B61-04A1723CD33C}" dt="2020-07-31T21:39:47.248" v="984" actId="478"/>
          <ac:grpSpMkLst>
            <pc:docMk/>
            <pc:sldMk cId="3225245280" sldId="2134804347"/>
            <ac:grpSpMk id="146" creationId="{2CA2D048-1963-4AF1-A71E-9C7566E1243D}"/>
          </ac:grpSpMkLst>
        </pc:grpChg>
        <pc:grpChg chg="mod">
          <ac:chgData name="Mariam Daniela Tristancho Pineda (MISION TEMPORAL LTDA)" userId="a45a17f7-7950-4cb5-bfab-f5c894f959a9" providerId="ADAL" clId="{15586BA0-617D-4D92-8B61-04A1723CD33C}" dt="2020-07-31T21:42:50.896" v="1041" actId="1076"/>
          <ac:grpSpMkLst>
            <pc:docMk/>
            <pc:sldMk cId="3225245280" sldId="2134804347"/>
            <ac:grpSpMk id="149" creationId="{30016BC2-F5FC-41B1-8042-294B5ED710A9}"/>
          </ac:grpSpMkLst>
        </pc:grpChg>
        <pc:grpChg chg="mod">
          <ac:chgData name="Mariam Daniela Tristancho Pineda (MISION TEMPORAL LTDA)" userId="a45a17f7-7950-4cb5-bfab-f5c894f959a9" providerId="ADAL" clId="{15586BA0-617D-4D92-8B61-04A1723CD33C}" dt="2020-07-31T15:52:17.492" v="453" actId="1076"/>
          <ac:grpSpMkLst>
            <pc:docMk/>
            <pc:sldMk cId="3225245280" sldId="2134804347"/>
            <ac:grpSpMk id="152" creationId="{0C9E3AE5-4FE2-4EF4-9D3F-ECFA92247FBD}"/>
          </ac:grpSpMkLst>
        </pc:grpChg>
        <pc:grpChg chg="mod">
          <ac:chgData name="Mariam Daniela Tristancho Pineda (MISION TEMPORAL LTDA)" userId="a45a17f7-7950-4cb5-bfab-f5c894f959a9" providerId="ADAL" clId="{15586BA0-617D-4D92-8B61-04A1723CD33C}" dt="2020-07-31T15:52:17.492" v="453" actId="1076"/>
          <ac:grpSpMkLst>
            <pc:docMk/>
            <pc:sldMk cId="3225245280" sldId="2134804347"/>
            <ac:grpSpMk id="155" creationId="{AF0A7E91-D29C-4DC8-87E7-351583AC6A42}"/>
          </ac:grpSpMkLst>
        </pc:grpChg>
        <pc:grpChg chg="mod">
          <ac:chgData name="Mariam Daniela Tristancho Pineda (MISION TEMPORAL LTDA)" userId="a45a17f7-7950-4cb5-bfab-f5c894f959a9" providerId="ADAL" clId="{15586BA0-617D-4D92-8B61-04A1723CD33C}" dt="2020-07-31T15:52:17.492" v="453" actId="1076"/>
          <ac:grpSpMkLst>
            <pc:docMk/>
            <pc:sldMk cId="3225245280" sldId="2134804347"/>
            <ac:grpSpMk id="158" creationId="{18236BF5-121B-4103-92E9-4A1EA3D1F5F7}"/>
          </ac:grpSpMkLst>
        </pc:grpChg>
        <pc:grpChg chg="mod">
          <ac:chgData name="Mariam Daniela Tristancho Pineda (MISION TEMPORAL LTDA)" userId="a45a17f7-7950-4cb5-bfab-f5c894f959a9" providerId="ADAL" clId="{15586BA0-617D-4D92-8B61-04A1723CD33C}" dt="2020-07-31T15:52:17.492" v="453" actId="1076"/>
          <ac:grpSpMkLst>
            <pc:docMk/>
            <pc:sldMk cId="3225245280" sldId="2134804347"/>
            <ac:grpSpMk id="161" creationId="{7B0D0DED-F383-470F-96D9-C423BC826F33}"/>
          </ac:grpSpMkLst>
        </pc:grpChg>
        <pc:grpChg chg="mod">
          <ac:chgData name="Mariam Daniela Tristancho Pineda (MISION TEMPORAL LTDA)" userId="a45a17f7-7950-4cb5-bfab-f5c894f959a9" providerId="ADAL" clId="{15586BA0-617D-4D92-8B61-04A1723CD33C}" dt="2020-07-31T15:52:17.492" v="453" actId="1076"/>
          <ac:grpSpMkLst>
            <pc:docMk/>
            <pc:sldMk cId="3225245280" sldId="2134804347"/>
            <ac:grpSpMk id="164" creationId="{C681AC81-BC19-45C4-81AC-2BC618854FD5}"/>
          </ac:grpSpMkLst>
        </pc:grpChg>
        <pc:grpChg chg="del mod">
          <ac:chgData name="Mariam Daniela Tristancho Pineda (MISION TEMPORAL LTDA)" userId="a45a17f7-7950-4cb5-bfab-f5c894f959a9" providerId="ADAL" clId="{15586BA0-617D-4D92-8B61-04A1723CD33C}" dt="2020-07-31T21:40:07.815" v="986" actId="478"/>
          <ac:grpSpMkLst>
            <pc:docMk/>
            <pc:sldMk cId="3225245280" sldId="2134804347"/>
            <ac:grpSpMk id="167" creationId="{F3C347DC-9AE7-44D9-A9B1-B67D2D0F7C03}"/>
          </ac:grpSpMkLst>
        </pc:grpChg>
      </pc:sldChg>
      <pc:sldChg chg="addSp delSp modSp mod">
        <pc:chgData name="Mariam Daniela Tristancho Pineda (MISION TEMPORAL LTDA)" userId="a45a17f7-7950-4cb5-bfab-f5c894f959a9" providerId="ADAL" clId="{15586BA0-617D-4D92-8B61-04A1723CD33C}" dt="2020-07-31T21:43:06.716" v="1049" actId="1036"/>
        <pc:sldMkLst>
          <pc:docMk/>
          <pc:sldMk cId="335391689" sldId="2134804348"/>
        </pc:sldMkLst>
        <pc:spChg chg="add mod ord">
          <ac:chgData name="Mariam Daniela Tristancho Pineda (MISION TEMPORAL LTDA)" userId="a45a17f7-7950-4cb5-bfab-f5c894f959a9" providerId="ADAL" clId="{15586BA0-617D-4D92-8B61-04A1723CD33C}" dt="2020-07-31T21:32:25.673" v="818" actId="1076"/>
          <ac:spMkLst>
            <pc:docMk/>
            <pc:sldMk cId="335391689" sldId="2134804348"/>
            <ac:spMk id="3" creationId="{F3B9FB94-0CE9-48A1-AFD8-7BD1C3E5CDD8}"/>
          </ac:spMkLst>
        </pc:spChg>
        <pc:spChg chg="add mod ord">
          <ac:chgData name="Mariam Daniela Tristancho Pineda (MISION TEMPORAL LTDA)" userId="a45a17f7-7950-4cb5-bfab-f5c894f959a9" providerId="ADAL" clId="{15586BA0-617D-4D92-8B61-04A1723CD33C}" dt="2020-07-31T21:32:14.778" v="815" actId="14100"/>
          <ac:spMkLst>
            <pc:docMk/>
            <pc:sldMk cId="335391689" sldId="2134804348"/>
            <ac:spMk id="6" creationId="{93CBB300-71D9-4482-8F67-3EC26B4339AB}"/>
          </ac:spMkLst>
        </pc:spChg>
        <pc:spChg chg="add mod">
          <ac:chgData name="Mariam Daniela Tristancho Pineda (MISION TEMPORAL LTDA)" userId="a45a17f7-7950-4cb5-bfab-f5c894f959a9" providerId="ADAL" clId="{15586BA0-617D-4D92-8B61-04A1723CD33C}" dt="2020-07-31T21:32:11.225" v="813" actId="14100"/>
          <ac:spMkLst>
            <pc:docMk/>
            <pc:sldMk cId="335391689" sldId="2134804348"/>
            <ac:spMk id="7" creationId="{33C23AC3-23F2-4141-BAB5-384005EA1B00}"/>
          </ac:spMkLst>
        </pc:spChg>
        <pc:spChg chg="mod">
          <ac:chgData name="Mariam Daniela Tristancho Pineda (MISION TEMPORAL LTDA)" userId="a45a17f7-7950-4cb5-bfab-f5c894f959a9" providerId="ADAL" clId="{15586BA0-617D-4D92-8B61-04A1723CD33C}" dt="2020-07-31T21:31:25.982" v="767" actId="1036"/>
          <ac:spMkLst>
            <pc:docMk/>
            <pc:sldMk cId="335391689" sldId="2134804348"/>
            <ac:spMk id="9" creationId="{044EA7DA-DC7D-4022-9DEC-F3B676A62032}"/>
          </ac:spMkLst>
        </pc:spChg>
        <pc:spChg chg="mod">
          <ac:chgData name="Mariam Daniela Tristancho Pineda (MISION TEMPORAL LTDA)" userId="a45a17f7-7950-4cb5-bfab-f5c894f959a9" providerId="ADAL" clId="{15586BA0-617D-4D92-8B61-04A1723CD33C}" dt="2020-07-31T21:32:49.469" v="838" actId="1038"/>
          <ac:spMkLst>
            <pc:docMk/>
            <pc:sldMk cId="335391689" sldId="2134804348"/>
            <ac:spMk id="10" creationId="{1C27DADA-AD5A-4DFF-A22B-78E230D3896D}"/>
          </ac:spMkLst>
        </pc:spChg>
        <pc:spChg chg="add del mod">
          <ac:chgData name="Mariam Daniela Tristancho Pineda (MISION TEMPORAL LTDA)" userId="a45a17f7-7950-4cb5-bfab-f5c894f959a9" providerId="ADAL" clId="{15586BA0-617D-4D92-8B61-04A1723CD33C}" dt="2020-07-31T21:28:03.739" v="744" actId="478"/>
          <ac:spMkLst>
            <pc:docMk/>
            <pc:sldMk cId="335391689" sldId="2134804348"/>
            <ac:spMk id="11" creationId="{E2401952-46EF-4B8D-8DC3-DF85FB63337C}"/>
          </ac:spMkLst>
        </pc:spChg>
        <pc:spChg chg="add mod">
          <ac:chgData name="Mariam Daniela Tristancho Pineda (MISION TEMPORAL LTDA)" userId="a45a17f7-7950-4cb5-bfab-f5c894f959a9" providerId="ADAL" clId="{15586BA0-617D-4D92-8B61-04A1723CD33C}" dt="2020-07-31T21:32:22.801" v="817" actId="1076"/>
          <ac:spMkLst>
            <pc:docMk/>
            <pc:sldMk cId="335391689" sldId="2134804348"/>
            <ac:spMk id="12" creationId="{B017B4C1-B192-4C1C-A644-70D1262C7591}"/>
          </ac:spMkLst>
        </pc:spChg>
        <pc:spChg chg="mod">
          <ac:chgData name="Mariam Daniela Tristancho Pineda (MISION TEMPORAL LTDA)" userId="a45a17f7-7950-4cb5-bfab-f5c894f959a9" providerId="ADAL" clId="{15586BA0-617D-4D92-8B61-04A1723CD33C}" dt="2020-07-31T21:31:25.982" v="767" actId="1036"/>
          <ac:spMkLst>
            <pc:docMk/>
            <pc:sldMk cId="335391689" sldId="2134804348"/>
            <ac:spMk id="15" creationId="{EC155108-24C9-41BB-AFB7-1D8B4E0A3839}"/>
          </ac:spMkLst>
        </pc:spChg>
        <pc:spChg chg="mod">
          <ac:chgData name="Mariam Daniela Tristancho Pineda (MISION TEMPORAL LTDA)" userId="a45a17f7-7950-4cb5-bfab-f5c894f959a9" providerId="ADAL" clId="{15586BA0-617D-4D92-8B61-04A1723CD33C}" dt="2020-07-31T21:31:25.982" v="767" actId="1036"/>
          <ac:spMkLst>
            <pc:docMk/>
            <pc:sldMk cId="335391689" sldId="2134804348"/>
            <ac:spMk id="18" creationId="{B9A102DE-B6E2-4A96-917C-4764462F2DDA}"/>
          </ac:spMkLst>
        </pc:spChg>
        <pc:spChg chg="mod">
          <ac:chgData name="Mariam Daniela Tristancho Pineda (MISION TEMPORAL LTDA)" userId="a45a17f7-7950-4cb5-bfab-f5c894f959a9" providerId="ADAL" clId="{15586BA0-617D-4D92-8B61-04A1723CD33C}" dt="2020-07-31T21:31:25.982" v="767" actId="1036"/>
          <ac:spMkLst>
            <pc:docMk/>
            <pc:sldMk cId="335391689" sldId="2134804348"/>
            <ac:spMk id="19" creationId="{70675E72-95A3-4317-B24A-EF51AC8AE239}"/>
          </ac:spMkLst>
        </pc:spChg>
        <pc:spChg chg="mod">
          <ac:chgData name="Mariam Daniela Tristancho Pineda (MISION TEMPORAL LTDA)" userId="a45a17f7-7950-4cb5-bfab-f5c894f959a9" providerId="ADAL" clId="{15586BA0-617D-4D92-8B61-04A1723CD33C}" dt="2020-07-31T21:31:25.982" v="767" actId="1036"/>
          <ac:spMkLst>
            <pc:docMk/>
            <pc:sldMk cId="335391689" sldId="2134804348"/>
            <ac:spMk id="23" creationId="{5DB1FF86-7D4A-4D95-BFED-8DC3F579D0AE}"/>
          </ac:spMkLst>
        </pc:spChg>
        <pc:spChg chg="mod">
          <ac:chgData name="Mariam Daniela Tristancho Pineda (MISION TEMPORAL LTDA)" userId="a45a17f7-7950-4cb5-bfab-f5c894f959a9" providerId="ADAL" clId="{15586BA0-617D-4D92-8B61-04A1723CD33C}" dt="2020-07-31T21:32:49.469" v="838" actId="1038"/>
          <ac:spMkLst>
            <pc:docMk/>
            <pc:sldMk cId="335391689" sldId="2134804348"/>
            <ac:spMk id="27" creationId="{7F32EAE5-7D23-41BF-B948-664D0797EFC2}"/>
          </ac:spMkLst>
        </pc:spChg>
        <pc:spChg chg="mod">
          <ac:chgData name="Mariam Daniela Tristancho Pineda (MISION TEMPORAL LTDA)" userId="a45a17f7-7950-4cb5-bfab-f5c894f959a9" providerId="ADAL" clId="{15586BA0-617D-4D92-8B61-04A1723CD33C}" dt="2020-07-31T21:38:33.553" v="979" actId="1076"/>
          <ac:spMkLst>
            <pc:docMk/>
            <pc:sldMk cId="335391689" sldId="2134804348"/>
            <ac:spMk id="28" creationId="{0A0468CC-6255-4B2C-9972-B59508A81602}"/>
          </ac:spMkLst>
        </pc:spChg>
        <pc:spChg chg="mod">
          <ac:chgData name="Mariam Daniela Tristancho Pineda (MISION TEMPORAL LTDA)" userId="a45a17f7-7950-4cb5-bfab-f5c894f959a9" providerId="ADAL" clId="{15586BA0-617D-4D92-8B61-04A1723CD33C}" dt="2020-07-31T21:32:53.917" v="840" actId="115"/>
          <ac:spMkLst>
            <pc:docMk/>
            <pc:sldMk cId="335391689" sldId="2134804348"/>
            <ac:spMk id="33" creationId="{930E8CEC-501E-450A-8333-EE9FBB1D92FE}"/>
          </ac:spMkLst>
        </pc:spChg>
        <pc:spChg chg="mod">
          <ac:chgData name="Mariam Daniela Tristancho Pineda (MISION TEMPORAL LTDA)" userId="a45a17f7-7950-4cb5-bfab-f5c894f959a9" providerId="ADAL" clId="{15586BA0-617D-4D92-8B61-04A1723CD33C}" dt="2020-07-31T21:32:46.159" v="835" actId="1038"/>
          <ac:spMkLst>
            <pc:docMk/>
            <pc:sldMk cId="335391689" sldId="2134804348"/>
            <ac:spMk id="35" creationId="{370A0884-B0D9-4B7C-828E-66DA080283A1}"/>
          </ac:spMkLst>
        </pc:spChg>
        <pc:spChg chg="mod">
          <ac:chgData name="Mariam Daniela Tristancho Pineda (MISION TEMPORAL LTDA)" userId="a45a17f7-7950-4cb5-bfab-f5c894f959a9" providerId="ADAL" clId="{15586BA0-617D-4D92-8B61-04A1723CD33C}" dt="2020-07-31T21:32:04.641" v="811" actId="1037"/>
          <ac:spMkLst>
            <pc:docMk/>
            <pc:sldMk cId="335391689" sldId="2134804348"/>
            <ac:spMk id="36" creationId="{80930BAD-CC8E-47DD-9473-5B8864A2680A}"/>
          </ac:spMkLst>
        </pc:spChg>
        <pc:spChg chg="mod">
          <ac:chgData name="Mariam Daniela Tristancho Pineda (MISION TEMPORAL LTDA)" userId="a45a17f7-7950-4cb5-bfab-f5c894f959a9" providerId="ADAL" clId="{15586BA0-617D-4D92-8B61-04A1723CD33C}" dt="2020-07-31T21:33:07.218" v="841" actId="1076"/>
          <ac:spMkLst>
            <pc:docMk/>
            <pc:sldMk cId="335391689" sldId="2134804348"/>
            <ac:spMk id="37" creationId="{B42AA6ED-55EB-4C68-AB89-1C98B4667EEE}"/>
          </ac:spMkLst>
        </pc:spChg>
        <pc:spChg chg="mod">
          <ac:chgData name="Mariam Daniela Tristancho Pineda (MISION TEMPORAL LTDA)" userId="a45a17f7-7950-4cb5-bfab-f5c894f959a9" providerId="ADAL" clId="{15586BA0-617D-4D92-8B61-04A1723CD33C}" dt="2020-07-31T21:38:08.873" v="964" actId="20577"/>
          <ac:spMkLst>
            <pc:docMk/>
            <pc:sldMk cId="335391689" sldId="2134804348"/>
            <ac:spMk id="38" creationId="{6F153D85-C1B3-4812-B661-65B2B287C920}"/>
          </ac:spMkLst>
        </pc:spChg>
        <pc:spChg chg="mod">
          <ac:chgData name="Mariam Daniela Tristancho Pineda (MISION TEMPORAL LTDA)" userId="a45a17f7-7950-4cb5-bfab-f5c894f959a9" providerId="ADAL" clId="{15586BA0-617D-4D92-8B61-04A1723CD33C}" dt="2020-07-31T21:32:40.756" v="825" actId="1037"/>
          <ac:spMkLst>
            <pc:docMk/>
            <pc:sldMk cId="335391689" sldId="2134804348"/>
            <ac:spMk id="40" creationId="{F9005A44-E530-4972-BBE0-B3ED015A6ED4}"/>
          </ac:spMkLst>
        </pc:spChg>
        <pc:spChg chg="mod">
          <ac:chgData name="Mariam Daniela Tristancho Pineda (MISION TEMPORAL LTDA)" userId="a45a17f7-7950-4cb5-bfab-f5c894f959a9" providerId="ADAL" clId="{15586BA0-617D-4D92-8B61-04A1723CD33C}" dt="2020-07-31T21:31:25.982" v="767" actId="1036"/>
          <ac:spMkLst>
            <pc:docMk/>
            <pc:sldMk cId="335391689" sldId="2134804348"/>
            <ac:spMk id="45" creationId="{FDAC7417-BED0-4FA7-A135-61AE3C3597AE}"/>
          </ac:spMkLst>
        </pc:spChg>
        <pc:spChg chg="mod">
          <ac:chgData name="Mariam Daniela Tristancho Pineda (MISION TEMPORAL LTDA)" userId="a45a17f7-7950-4cb5-bfab-f5c894f959a9" providerId="ADAL" clId="{15586BA0-617D-4D92-8B61-04A1723CD33C}" dt="2020-07-31T21:31:25.982" v="767" actId="1036"/>
          <ac:spMkLst>
            <pc:docMk/>
            <pc:sldMk cId="335391689" sldId="2134804348"/>
            <ac:spMk id="49" creationId="{BC0989A0-F438-469C-B078-7A0539BAE3C2}"/>
          </ac:spMkLst>
        </pc:spChg>
        <pc:spChg chg="mod">
          <ac:chgData name="Mariam Daniela Tristancho Pineda (MISION TEMPORAL LTDA)" userId="a45a17f7-7950-4cb5-bfab-f5c894f959a9" providerId="ADAL" clId="{15586BA0-617D-4D92-8B61-04A1723CD33C}" dt="2020-07-31T21:38:10.637" v="966" actId="20577"/>
          <ac:spMkLst>
            <pc:docMk/>
            <pc:sldMk cId="335391689" sldId="2134804348"/>
            <ac:spMk id="50" creationId="{06921F70-A23A-4234-AEF0-735C4590F318}"/>
          </ac:spMkLst>
        </pc:spChg>
        <pc:spChg chg="del">
          <ac:chgData name="Mariam Daniela Tristancho Pineda (MISION TEMPORAL LTDA)" userId="a45a17f7-7950-4cb5-bfab-f5c894f959a9" providerId="ADAL" clId="{15586BA0-617D-4D92-8B61-04A1723CD33C}" dt="2020-07-31T21:22:08.586" v="724" actId="478"/>
          <ac:spMkLst>
            <pc:docMk/>
            <pc:sldMk cId="335391689" sldId="2134804348"/>
            <ac:spMk id="51" creationId="{A5998CEB-AC3A-43B3-8AFE-FC1F90E2C6A6}"/>
          </ac:spMkLst>
        </pc:spChg>
        <pc:spChg chg="mod">
          <ac:chgData name="Mariam Daniela Tristancho Pineda (MISION TEMPORAL LTDA)" userId="a45a17f7-7950-4cb5-bfab-f5c894f959a9" providerId="ADAL" clId="{15586BA0-617D-4D92-8B61-04A1723CD33C}" dt="2020-07-31T21:21:38.352" v="719"/>
          <ac:spMkLst>
            <pc:docMk/>
            <pc:sldMk cId="335391689" sldId="2134804348"/>
            <ac:spMk id="52" creationId="{D9D4C4FD-C516-42D8-9705-F75D5FE24DFE}"/>
          </ac:spMkLst>
        </pc:spChg>
        <pc:spChg chg="mod">
          <ac:chgData name="Mariam Daniela Tristancho Pineda (MISION TEMPORAL LTDA)" userId="a45a17f7-7950-4cb5-bfab-f5c894f959a9" providerId="ADAL" clId="{15586BA0-617D-4D92-8B61-04A1723CD33C}" dt="2020-07-31T21:21:48.831" v="720"/>
          <ac:spMkLst>
            <pc:docMk/>
            <pc:sldMk cId="335391689" sldId="2134804348"/>
            <ac:spMk id="53" creationId="{8593FFF2-44E4-496E-BE2E-AF43086D7402}"/>
          </ac:spMkLst>
        </pc:spChg>
        <pc:spChg chg="mod">
          <ac:chgData name="Mariam Daniela Tristancho Pineda (MISION TEMPORAL LTDA)" userId="a45a17f7-7950-4cb5-bfab-f5c894f959a9" providerId="ADAL" clId="{15586BA0-617D-4D92-8B61-04A1723CD33C}" dt="2020-07-31T21:38:01.792" v="957" actId="20577"/>
          <ac:spMkLst>
            <pc:docMk/>
            <pc:sldMk cId="335391689" sldId="2134804348"/>
            <ac:spMk id="66" creationId="{85A29B39-6312-442A-AFE1-79138F45D053}"/>
          </ac:spMkLst>
        </pc:spChg>
        <pc:spChg chg="mod">
          <ac:chgData name="Mariam Daniela Tristancho Pineda (MISION TEMPORAL LTDA)" userId="a45a17f7-7950-4cb5-bfab-f5c894f959a9" providerId="ADAL" clId="{15586BA0-617D-4D92-8B61-04A1723CD33C}" dt="2020-07-31T21:38:03.610" v="958" actId="20577"/>
          <ac:spMkLst>
            <pc:docMk/>
            <pc:sldMk cId="335391689" sldId="2134804348"/>
            <ac:spMk id="68" creationId="{4EF4C980-19F2-4264-BE5C-AA28E61C7265}"/>
          </ac:spMkLst>
        </pc:spChg>
        <pc:spChg chg="mod">
          <ac:chgData name="Mariam Daniela Tristancho Pineda (MISION TEMPORAL LTDA)" userId="a45a17f7-7950-4cb5-bfab-f5c894f959a9" providerId="ADAL" clId="{15586BA0-617D-4D92-8B61-04A1723CD33C}" dt="2020-07-31T21:31:25.982" v="767" actId="1036"/>
          <ac:spMkLst>
            <pc:docMk/>
            <pc:sldMk cId="335391689" sldId="2134804348"/>
            <ac:spMk id="69" creationId="{38D18292-C467-4CD3-890E-670905EDE7F1}"/>
          </ac:spMkLst>
        </pc:spChg>
        <pc:spChg chg="mod">
          <ac:chgData name="Mariam Daniela Tristancho Pineda (MISION TEMPORAL LTDA)" userId="a45a17f7-7950-4cb5-bfab-f5c894f959a9" providerId="ADAL" clId="{15586BA0-617D-4D92-8B61-04A1723CD33C}" dt="2020-07-31T21:38:05.582" v="960" actId="20577"/>
          <ac:spMkLst>
            <pc:docMk/>
            <pc:sldMk cId="335391689" sldId="2134804348"/>
            <ac:spMk id="70" creationId="{228128D6-7178-4610-A82E-598F630C4F9A}"/>
          </ac:spMkLst>
        </pc:spChg>
        <pc:spChg chg="mod">
          <ac:chgData name="Mariam Daniela Tristancho Pineda (MISION TEMPORAL LTDA)" userId="a45a17f7-7950-4cb5-bfab-f5c894f959a9" providerId="ADAL" clId="{15586BA0-617D-4D92-8B61-04A1723CD33C}" dt="2020-07-31T21:31:25.982" v="767" actId="1036"/>
          <ac:spMkLst>
            <pc:docMk/>
            <pc:sldMk cId="335391689" sldId="2134804348"/>
            <ac:spMk id="73" creationId="{FD23D240-7BB7-4D74-9842-9A4BFE5CAB08}"/>
          </ac:spMkLst>
        </pc:spChg>
        <pc:spChg chg="mod">
          <ac:chgData name="Mariam Daniela Tristancho Pineda (MISION TEMPORAL LTDA)" userId="a45a17f7-7950-4cb5-bfab-f5c894f959a9" providerId="ADAL" clId="{15586BA0-617D-4D92-8B61-04A1723CD33C}" dt="2020-07-31T21:31:25.982" v="767" actId="1036"/>
          <ac:spMkLst>
            <pc:docMk/>
            <pc:sldMk cId="335391689" sldId="2134804348"/>
            <ac:spMk id="74" creationId="{D5140A26-6B24-4EF8-BA11-E02E558E1609}"/>
          </ac:spMkLst>
        </pc:spChg>
        <pc:spChg chg="mod">
          <ac:chgData name="Mariam Daniela Tristancho Pineda (MISION TEMPORAL LTDA)" userId="a45a17f7-7950-4cb5-bfab-f5c894f959a9" providerId="ADAL" clId="{15586BA0-617D-4D92-8B61-04A1723CD33C}" dt="2020-07-31T21:38:14.473" v="972" actId="20577"/>
          <ac:spMkLst>
            <pc:docMk/>
            <pc:sldMk cId="335391689" sldId="2134804348"/>
            <ac:spMk id="75" creationId="{EC5A3F27-F09F-406D-862F-A6BF15171850}"/>
          </ac:spMkLst>
        </pc:spChg>
        <pc:spChg chg="mod">
          <ac:chgData name="Mariam Daniela Tristancho Pineda (MISION TEMPORAL LTDA)" userId="a45a17f7-7950-4cb5-bfab-f5c894f959a9" providerId="ADAL" clId="{15586BA0-617D-4D92-8B61-04A1723CD33C}" dt="2020-07-31T21:38:07.267" v="962" actId="20577"/>
          <ac:spMkLst>
            <pc:docMk/>
            <pc:sldMk cId="335391689" sldId="2134804348"/>
            <ac:spMk id="80" creationId="{18FBBB80-789C-4617-A528-93CC43F5E853}"/>
          </ac:spMkLst>
        </pc:spChg>
        <pc:spChg chg="mod">
          <ac:chgData name="Mariam Daniela Tristancho Pineda (MISION TEMPORAL LTDA)" userId="a45a17f7-7950-4cb5-bfab-f5c894f959a9" providerId="ADAL" clId="{15586BA0-617D-4D92-8B61-04A1723CD33C}" dt="2020-07-31T21:38:12.841" v="970" actId="20577"/>
          <ac:spMkLst>
            <pc:docMk/>
            <pc:sldMk cId="335391689" sldId="2134804348"/>
            <ac:spMk id="82" creationId="{3732F2E4-0A29-43A4-B01E-2185E8950783}"/>
          </ac:spMkLst>
        </pc:spChg>
        <pc:spChg chg="mod">
          <ac:chgData name="Mariam Daniela Tristancho Pineda (MISION TEMPORAL LTDA)" userId="a45a17f7-7950-4cb5-bfab-f5c894f959a9" providerId="ADAL" clId="{15586BA0-617D-4D92-8B61-04A1723CD33C}" dt="2020-07-31T21:31:25.982" v="767" actId="1036"/>
          <ac:spMkLst>
            <pc:docMk/>
            <pc:sldMk cId="335391689" sldId="2134804348"/>
            <ac:spMk id="88" creationId="{7973398C-2C52-4B8D-8FCE-88F4A0575383}"/>
          </ac:spMkLst>
        </pc:spChg>
        <pc:spChg chg="add mod">
          <ac:chgData name="Mariam Daniela Tristancho Pineda (MISION TEMPORAL LTDA)" userId="a45a17f7-7950-4cb5-bfab-f5c894f959a9" providerId="ADAL" clId="{15586BA0-617D-4D92-8B61-04A1723CD33C}" dt="2020-07-31T21:43:06.716" v="1049" actId="1036"/>
          <ac:spMkLst>
            <pc:docMk/>
            <pc:sldMk cId="335391689" sldId="2134804348"/>
            <ac:spMk id="90" creationId="{2A388E4C-F183-4EF9-BC3F-9238288AED59}"/>
          </ac:spMkLst>
        </pc:spChg>
        <pc:spChg chg="add mod">
          <ac:chgData name="Mariam Daniela Tristancho Pineda (MISION TEMPORAL LTDA)" userId="a45a17f7-7950-4cb5-bfab-f5c894f959a9" providerId="ADAL" clId="{15586BA0-617D-4D92-8B61-04A1723CD33C}" dt="2020-07-31T21:43:06.716" v="1049" actId="1036"/>
          <ac:spMkLst>
            <pc:docMk/>
            <pc:sldMk cId="335391689" sldId="2134804348"/>
            <ac:spMk id="91" creationId="{1C0B81CC-7EC3-4D9B-9221-99241308FEA2}"/>
          </ac:spMkLst>
        </pc:spChg>
        <pc:spChg chg="mod">
          <ac:chgData name="Mariam Daniela Tristancho Pineda (MISION TEMPORAL LTDA)" userId="a45a17f7-7950-4cb5-bfab-f5c894f959a9" providerId="ADAL" clId="{15586BA0-617D-4D92-8B61-04A1723CD33C}" dt="2020-07-31T21:31:25.982" v="767" actId="1036"/>
          <ac:spMkLst>
            <pc:docMk/>
            <pc:sldMk cId="335391689" sldId="2134804348"/>
            <ac:spMk id="92" creationId="{FFD441DF-7C6A-48D7-996D-F60C3B04B450}"/>
          </ac:spMkLst>
        </pc:spChg>
        <pc:spChg chg="add mod">
          <ac:chgData name="Mariam Daniela Tristancho Pineda (MISION TEMPORAL LTDA)" userId="a45a17f7-7950-4cb5-bfab-f5c894f959a9" providerId="ADAL" clId="{15586BA0-617D-4D92-8B61-04A1723CD33C}" dt="2020-07-31T21:43:06.716" v="1049" actId="1036"/>
          <ac:spMkLst>
            <pc:docMk/>
            <pc:sldMk cId="335391689" sldId="2134804348"/>
            <ac:spMk id="93" creationId="{2DD79816-F943-403F-9D3C-2508DC63485D}"/>
          </ac:spMkLst>
        </pc:spChg>
        <pc:spChg chg="mod">
          <ac:chgData name="Mariam Daniela Tristancho Pineda (MISION TEMPORAL LTDA)" userId="a45a17f7-7950-4cb5-bfab-f5c894f959a9" providerId="ADAL" clId="{15586BA0-617D-4D92-8B61-04A1723CD33C}" dt="2020-07-31T21:31:25.982" v="767" actId="1036"/>
          <ac:spMkLst>
            <pc:docMk/>
            <pc:sldMk cId="335391689" sldId="2134804348"/>
            <ac:spMk id="94" creationId="{4DE4A526-D337-4C45-B9BF-7953B17E4C8C}"/>
          </ac:spMkLst>
        </pc:spChg>
        <pc:spChg chg="add mod">
          <ac:chgData name="Mariam Daniela Tristancho Pineda (MISION TEMPORAL LTDA)" userId="a45a17f7-7950-4cb5-bfab-f5c894f959a9" providerId="ADAL" clId="{15586BA0-617D-4D92-8B61-04A1723CD33C}" dt="2020-07-31T21:43:06.716" v="1049" actId="1036"/>
          <ac:spMkLst>
            <pc:docMk/>
            <pc:sldMk cId="335391689" sldId="2134804348"/>
            <ac:spMk id="95" creationId="{A29591F6-FDF5-4B38-865C-B5CB4C1BFE44}"/>
          </ac:spMkLst>
        </pc:spChg>
        <pc:spChg chg="add mod">
          <ac:chgData name="Mariam Daniela Tristancho Pineda (MISION TEMPORAL LTDA)" userId="a45a17f7-7950-4cb5-bfab-f5c894f959a9" providerId="ADAL" clId="{15586BA0-617D-4D92-8B61-04A1723CD33C}" dt="2020-07-31T21:43:06.716" v="1049" actId="1036"/>
          <ac:spMkLst>
            <pc:docMk/>
            <pc:sldMk cId="335391689" sldId="2134804348"/>
            <ac:spMk id="96" creationId="{2028C52F-C0A7-4921-A3A1-0737C67216C2}"/>
          </ac:spMkLst>
        </pc:spChg>
        <pc:spChg chg="mod">
          <ac:chgData name="Mariam Daniela Tristancho Pineda (MISION TEMPORAL LTDA)" userId="a45a17f7-7950-4cb5-bfab-f5c894f959a9" providerId="ADAL" clId="{15586BA0-617D-4D92-8B61-04A1723CD33C}" dt="2020-07-31T21:42:59.815" v="1044"/>
          <ac:spMkLst>
            <pc:docMk/>
            <pc:sldMk cId="335391689" sldId="2134804348"/>
            <ac:spMk id="98" creationId="{DA64958D-F670-4003-94D5-89324AEC3499}"/>
          </ac:spMkLst>
        </pc:spChg>
        <pc:spChg chg="mod">
          <ac:chgData name="Mariam Daniela Tristancho Pineda (MISION TEMPORAL LTDA)" userId="a45a17f7-7950-4cb5-bfab-f5c894f959a9" providerId="ADAL" clId="{15586BA0-617D-4D92-8B61-04A1723CD33C}" dt="2020-07-31T21:42:59.815" v="1044"/>
          <ac:spMkLst>
            <pc:docMk/>
            <pc:sldMk cId="335391689" sldId="2134804348"/>
            <ac:spMk id="99" creationId="{50AAA8E9-B28E-4078-8084-CE8FC926B363}"/>
          </ac:spMkLst>
        </pc:spChg>
        <pc:spChg chg="mod">
          <ac:chgData name="Mariam Daniela Tristancho Pineda (MISION TEMPORAL LTDA)" userId="a45a17f7-7950-4cb5-bfab-f5c894f959a9" providerId="ADAL" clId="{15586BA0-617D-4D92-8B61-04A1723CD33C}" dt="2020-07-31T21:42:59.815" v="1044"/>
          <ac:spMkLst>
            <pc:docMk/>
            <pc:sldMk cId="335391689" sldId="2134804348"/>
            <ac:spMk id="101" creationId="{534E0006-412A-4A70-8509-D48102A32AD4}"/>
          </ac:spMkLst>
        </pc:spChg>
        <pc:spChg chg="mod">
          <ac:chgData name="Mariam Daniela Tristancho Pineda (MISION TEMPORAL LTDA)" userId="a45a17f7-7950-4cb5-bfab-f5c894f959a9" providerId="ADAL" clId="{15586BA0-617D-4D92-8B61-04A1723CD33C}" dt="2020-07-31T21:42:59.815" v="1044"/>
          <ac:spMkLst>
            <pc:docMk/>
            <pc:sldMk cId="335391689" sldId="2134804348"/>
            <ac:spMk id="102" creationId="{E72C97B3-D9FF-440C-8EA1-1DA0FA3EA071}"/>
          </ac:spMkLst>
        </pc:spChg>
        <pc:spChg chg="mod">
          <ac:chgData name="Mariam Daniela Tristancho Pineda (MISION TEMPORAL LTDA)" userId="a45a17f7-7950-4cb5-bfab-f5c894f959a9" providerId="ADAL" clId="{15586BA0-617D-4D92-8B61-04A1723CD33C}" dt="2020-07-31T21:42:59.815" v="1044"/>
          <ac:spMkLst>
            <pc:docMk/>
            <pc:sldMk cId="335391689" sldId="2134804348"/>
            <ac:spMk id="104" creationId="{6562D325-B5EF-494E-B188-D8EB174595F9}"/>
          </ac:spMkLst>
        </pc:spChg>
        <pc:spChg chg="mod">
          <ac:chgData name="Mariam Daniela Tristancho Pineda (MISION TEMPORAL LTDA)" userId="a45a17f7-7950-4cb5-bfab-f5c894f959a9" providerId="ADAL" clId="{15586BA0-617D-4D92-8B61-04A1723CD33C}" dt="2020-07-31T21:42:59.815" v="1044"/>
          <ac:spMkLst>
            <pc:docMk/>
            <pc:sldMk cId="335391689" sldId="2134804348"/>
            <ac:spMk id="105" creationId="{5CFF2FFB-41EB-4627-BC5D-0BFA181AA387}"/>
          </ac:spMkLst>
        </pc:spChg>
        <pc:spChg chg="mod">
          <ac:chgData name="Mariam Daniela Tristancho Pineda (MISION TEMPORAL LTDA)" userId="a45a17f7-7950-4cb5-bfab-f5c894f959a9" providerId="ADAL" clId="{15586BA0-617D-4D92-8B61-04A1723CD33C}" dt="2020-07-31T21:42:59.815" v="1044"/>
          <ac:spMkLst>
            <pc:docMk/>
            <pc:sldMk cId="335391689" sldId="2134804348"/>
            <ac:spMk id="107" creationId="{647C0285-7B03-4882-BC8B-C5AA439DD19D}"/>
          </ac:spMkLst>
        </pc:spChg>
        <pc:spChg chg="mod">
          <ac:chgData name="Mariam Daniela Tristancho Pineda (MISION TEMPORAL LTDA)" userId="a45a17f7-7950-4cb5-bfab-f5c894f959a9" providerId="ADAL" clId="{15586BA0-617D-4D92-8B61-04A1723CD33C}" dt="2020-07-31T21:42:59.815" v="1044"/>
          <ac:spMkLst>
            <pc:docMk/>
            <pc:sldMk cId="335391689" sldId="2134804348"/>
            <ac:spMk id="108" creationId="{1CBCF47E-07A1-43E1-A050-998B7514E633}"/>
          </ac:spMkLst>
        </pc:spChg>
        <pc:spChg chg="mod">
          <ac:chgData name="Mariam Daniela Tristancho Pineda (MISION TEMPORAL LTDA)" userId="a45a17f7-7950-4cb5-bfab-f5c894f959a9" providerId="ADAL" clId="{15586BA0-617D-4D92-8B61-04A1723CD33C}" dt="2020-07-31T21:42:59.815" v="1044"/>
          <ac:spMkLst>
            <pc:docMk/>
            <pc:sldMk cId="335391689" sldId="2134804348"/>
            <ac:spMk id="110" creationId="{CEB08D07-FEB4-4B88-B0EA-870AAA13B9EF}"/>
          </ac:spMkLst>
        </pc:spChg>
        <pc:spChg chg="mod">
          <ac:chgData name="Mariam Daniela Tristancho Pineda (MISION TEMPORAL LTDA)" userId="a45a17f7-7950-4cb5-bfab-f5c894f959a9" providerId="ADAL" clId="{15586BA0-617D-4D92-8B61-04A1723CD33C}" dt="2020-07-31T21:42:59.815" v="1044"/>
          <ac:spMkLst>
            <pc:docMk/>
            <pc:sldMk cId="335391689" sldId="2134804348"/>
            <ac:spMk id="111" creationId="{AFF3050E-22D7-4E00-9EEE-7C73E1AA61A4}"/>
          </ac:spMkLst>
        </pc:spChg>
        <pc:spChg chg="mod">
          <ac:chgData name="Mariam Daniela Tristancho Pineda (MISION TEMPORAL LTDA)" userId="a45a17f7-7950-4cb5-bfab-f5c894f959a9" providerId="ADAL" clId="{15586BA0-617D-4D92-8B61-04A1723CD33C}" dt="2020-07-31T21:42:59.815" v="1044"/>
          <ac:spMkLst>
            <pc:docMk/>
            <pc:sldMk cId="335391689" sldId="2134804348"/>
            <ac:spMk id="113" creationId="{10A18850-2534-462D-8A9E-0A383E1FAFA1}"/>
          </ac:spMkLst>
        </pc:spChg>
        <pc:spChg chg="mod">
          <ac:chgData name="Mariam Daniela Tristancho Pineda (MISION TEMPORAL LTDA)" userId="a45a17f7-7950-4cb5-bfab-f5c894f959a9" providerId="ADAL" clId="{15586BA0-617D-4D92-8B61-04A1723CD33C}" dt="2020-07-31T21:42:59.815" v="1044"/>
          <ac:spMkLst>
            <pc:docMk/>
            <pc:sldMk cId="335391689" sldId="2134804348"/>
            <ac:spMk id="114" creationId="{AF254029-2B5F-4505-AE3A-B3A56D924DA3}"/>
          </ac:spMkLst>
        </pc:spChg>
        <pc:spChg chg="mod">
          <ac:chgData name="Mariam Daniela Tristancho Pineda (MISION TEMPORAL LTDA)" userId="a45a17f7-7950-4cb5-bfab-f5c894f959a9" providerId="ADAL" clId="{15586BA0-617D-4D92-8B61-04A1723CD33C}" dt="2020-07-31T21:42:59.815" v="1044"/>
          <ac:spMkLst>
            <pc:docMk/>
            <pc:sldMk cId="335391689" sldId="2134804348"/>
            <ac:spMk id="116" creationId="{E8E5765D-4DF5-49DC-8C2E-21E1DCA444C1}"/>
          </ac:spMkLst>
        </pc:spChg>
        <pc:spChg chg="mod">
          <ac:chgData name="Mariam Daniela Tristancho Pineda (MISION TEMPORAL LTDA)" userId="a45a17f7-7950-4cb5-bfab-f5c894f959a9" providerId="ADAL" clId="{15586BA0-617D-4D92-8B61-04A1723CD33C}" dt="2020-07-31T21:42:59.815" v="1044"/>
          <ac:spMkLst>
            <pc:docMk/>
            <pc:sldMk cId="335391689" sldId="2134804348"/>
            <ac:spMk id="117" creationId="{E061311C-919F-40A9-9ED1-8012721036BA}"/>
          </ac:spMkLst>
        </pc:spChg>
        <pc:spChg chg="mod">
          <ac:chgData name="Mariam Daniela Tristancho Pineda (MISION TEMPORAL LTDA)" userId="a45a17f7-7950-4cb5-bfab-f5c894f959a9" providerId="ADAL" clId="{15586BA0-617D-4D92-8B61-04A1723CD33C}" dt="2020-07-31T21:42:59.815" v="1044"/>
          <ac:spMkLst>
            <pc:docMk/>
            <pc:sldMk cId="335391689" sldId="2134804348"/>
            <ac:spMk id="119" creationId="{5F8AD254-2E5A-4931-9A5F-0FCB50E3A015}"/>
          </ac:spMkLst>
        </pc:spChg>
        <pc:spChg chg="mod">
          <ac:chgData name="Mariam Daniela Tristancho Pineda (MISION TEMPORAL LTDA)" userId="a45a17f7-7950-4cb5-bfab-f5c894f959a9" providerId="ADAL" clId="{15586BA0-617D-4D92-8B61-04A1723CD33C}" dt="2020-07-31T21:42:59.815" v="1044"/>
          <ac:spMkLst>
            <pc:docMk/>
            <pc:sldMk cId="335391689" sldId="2134804348"/>
            <ac:spMk id="120" creationId="{185DB20D-4FB1-4158-A64D-E00B529430F3}"/>
          </ac:spMkLst>
        </pc:spChg>
        <pc:spChg chg="del mod">
          <ac:chgData name="Mariam Daniela Tristancho Pineda (MISION TEMPORAL LTDA)" userId="a45a17f7-7950-4cb5-bfab-f5c894f959a9" providerId="ADAL" clId="{15586BA0-617D-4D92-8B61-04A1723CD33C}" dt="2020-07-31T21:42:59.407" v="1043" actId="478"/>
          <ac:spMkLst>
            <pc:docMk/>
            <pc:sldMk cId="335391689" sldId="2134804348"/>
            <ac:spMk id="173" creationId="{A59E9B9B-6E55-43A6-816F-4A6877135663}"/>
          </ac:spMkLst>
        </pc:spChg>
        <pc:spChg chg="del mod">
          <ac:chgData name="Mariam Daniela Tristancho Pineda (MISION TEMPORAL LTDA)" userId="a45a17f7-7950-4cb5-bfab-f5c894f959a9" providerId="ADAL" clId="{15586BA0-617D-4D92-8B61-04A1723CD33C}" dt="2020-07-31T21:42:59.407" v="1043" actId="478"/>
          <ac:spMkLst>
            <pc:docMk/>
            <pc:sldMk cId="335391689" sldId="2134804348"/>
            <ac:spMk id="174" creationId="{B6E88447-75F0-4EE2-B00C-59DD503751AD}"/>
          </ac:spMkLst>
        </pc:spChg>
        <pc:spChg chg="del mod">
          <ac:chgData name="Mariam Daniela Tristancho Pineda (MISION TEMPORAL LTDA)" userId="a45a17f7-7950-4cb5-bfab-f5c894f959a9" providerId="ADAL" clId="{15586BA0-617D-4D92-8B61-04A1723CD33C}" dt="2020-07-31T21:42:59.407" v="1043" actId="478"/>
          <ac:spMkLst>
            <pc:docMk/>
            <pc:sldMk cId="335391689" sldId="2134804348"/>
            <ac:spMk id="175" creationId="{B392BBA3-5A1B-4056-A99C-159F53CB8496}"/>
          </ac:spMkLst>
        </pc:spChg>
        <pc:spChg chg="del mod">
          <ac:chgData name="Mariam Daniela Tristancho Pineda (MISION TEMPORAL LTDA)" userId="a45a17f7-7950-4cb5-bfab-f5c894f959a9" providerId="ADAL" clId="{15586BA0-617D-4D92-8B61-04A1723CD33C}" dt="2020-07-31T21:42:59.407" v="1043" actId="478"/>
          <ac:spMkLst>
            <pc:docMk/>
            <pc:sldMk cId="335391689" sldId="2134804348"/>
            <ac:spMk id="176" creationId="{A04628AA-53DA-4B65-A25A-80441B5234DB}"/>
          </ac:spMkLst>
        </pc:spChg>
        <pc:spChg chg="del mod">
          <ac:chgData name="Mariam Daniela Tristancho Pineda (MISION TEMPORAL LTDA)" userId="a45a17f7-7950-4cb5-bfab-f5c894f959a9" providerId="ADAL" clId="{15586BA0-617D-4D92-8B61-04A1723CD33C}" dt="2020-07-31T21:42:59.407" v="1043" actId="478"/>
          <ac:spMkLst>
            <pc:docMk/>
            <pc:sldMk cId="335391689" sldId="2134804348"/>
            <ac:spMk id="177" creationId="{2E125876-499F-4500-8332-59B11A9D359B}"/>
          </ac:spMkLst>
        </pc:spChg>
        <pc:grpChg chg="add mod">
          <ac:chgData name="Mariam Daniela Tristancho Pineda (MISION TEMPORAL LTDA)" userId="a45a17f7-7950-4cb5-bfab-f5c894f959a9" providerId="ADAL" clId="{15586BA0-617D-4D92-8B61-04A1723CD33C}" dt="2020-07-31T21:43:06.716" v="1049" actId="1036"/>
          <ac:grpSpMkLst>
            <pc:docMk/>
            <pc:sldMk cId="335391689" sldId="2134804348"/>
            <ac:grpSpMk id="97" creationId="{C2D4752E-37EA-4A7A-B835-75A082D20BB1}"/>
          </ac:grpSpMkLst>
        </pc:grpChg>
        <pc:grpChg chg="add mod">
          <ac:chgData name="Mariam Daniela Tristancho Pineda (MISION TEMPORAL LTDA)" userId="a45a17f7-7950-4cb5-bfab-f5c894f959a9" providerId="ADAL" clId="{15586BA0-617D-4D92-8B61-04A1723CD33C}" dt="2020-07-31T21:43:06.716" v="1049" actId="1036"/>
          <ac:grpSpMkLst>
            <pc:docMk/>
            <pc:sldMk cId="335391689" sldId="2134804348"/>
            <ac:grpSpMk id="100" creationId="{A682B772-5A06-4115-9428-88B59BB66700}"/>
          </ac:grpSpMkLst>
        </pc:grpChg>
        <pc:grpChg chg="add mod">
          <ac:chgData name="Mariam Daniela Tristancho Pineda (MISION TEMPORAL LTDA)" userId="a45a17f7-7950-4cb5-bfab-f5c894f959a9" providerId="ADAL" clId="{15586BA0-617D-4D92-8B61-04A1723CD33C}" dt="2020-07-31T21:43:06.716" v="1049" actId="1036"/>
          <ac:grpSpMkLst>
            <pc:docMk/>
            <pc:sldMk cId="335391689" sldId="2134804348"/>
            <ac:grpSpMk id="103" creationId="{9D33C137-21ED-4B00-8E44-FEF2478FA6D4}"/>
          </ac:grpSpMkLst>
        </pc:grpChg>
        <pc:grpChg chg="add mod">
          <ac:chgData name="Mariam Daniela Tristancho Pineda (MISION TEMPORAL LTDA)" userId="a45a17f7-7950-4cb5-bfab-f5c894f959a9" providerId="ADAL" clId="{15586BA0-617D-4D92-8B61-04A1723CD33C}" dt="2020-07-31T21:43:06.716" v="1049" actId="1036"/>
          <ac:grpSpMkLst>
            <pc:docMk/>
            <pc:sldMk cId="335391689" sldId="2134804348"/>
            <ac:grpSpMk id="106" creationId="{FA42A0BB-CD6A-48AC-BE94-8F6F2C8A39FC}"/>
          </ac:grpSpMkLst>
        </pc:grpChg>
        <pc:grpChg chg="add mod">
          <ac:chgData name="Mariam Daniela Tristancho Pineda (MISION TEMPORAL LTDA)" userId="a45a17f7-7950-4cb5-bfab-f5c894f959a9" providerId="ADAL" clId="{15586BA0-617D-4D92-8B61-04A1723CD33C}" dt="2020-07-31T21:43:06.716" v="1049" actId="1036"/>
          <ac:grpSpMkLst>
            <pc:docMk/>
            <pc:sldMk cId="335391689" sldId="2134804348"/>
            <ac:grpSpMk id="109" creationId="{FA252900-6729-4960-B5DE-9569A3ADF06C}"/>
          </ac:grpSpMkLst>
        </pc:grpChg>
        <pc:grpChg chg="add mod">
          <ac:chgData name="Mariam Daniela Tristancho Pineda (MISION TEMPORAL LTDA)" userId="a45a17f7-7950-4cb5-bfab-f5c894f959a9" providerId="ADAL" clId="{15586BA0-617D-4D92-8B61-04A1723CD33C}" dt="2020-07-31T21:43:06.716" v="1049" actId="1036"/>
          <ac:grpSpMkLst>
            <pc:docMk/>
            <pc:sldMk cId="335391689" sldId="2134804348"/>
            <ac:grpSpMk id="112" creationId="{1413260F-F0BC-4370-A1FE-1F47EA2065B8}"/>
          </ac:grpSpMkLst>
        </pc:grpChg>
        <pc:grpChg chg="add mod">
          <ac:chgData name="Mariam Daniela Tristancho Pineda (MISION TEMPORAL LTDA)" userId="a45a17f7-7950-4cb5-bfab-f5c894f959a9" providerId="ADAL" clId="{15586BA0-617D-4D92-8B61-04A1723CD33C}" dt="2020-07-31T21:43:06.716" v="1049" actId="1036"/>
          <ac:grpSpMkLst>
            <pc:docMk/>
            <pc:sldMk cId="335391689" sldId="2134804348"/>
            <ac:grpSpMk id="115" creationId="{2A2A6382-9001-4544-BAE9-F3B33757F064}"/>
          </ac:grpSpMkLst>
        </pc:grpChg>
        <pc:grpChg chg="add mod">
          <ac:chgData name="Mariam Daniela Tristancho Pineda (MISION TEMPORAL LTDA)" userId="a45a17f7-7950-4cb5-bfab-f5c894f959a9" providerId="ADAL" clId="{15586BA0-617D-4D92-8B61-04A1723CD33C}" dt="2020-07-31T21:43:06.716" v="1049" actId="1036"/>
          <ac:grpSpMkLst>
            <pc:docMk/>
            <pc:sldMk cId="335391689" sldId="2134804348"/>
            <ac:grpSpMk id="118" creationId="{65B00233-7BC8-44FB-A125-015B7CB68F46}"/>
          </ac:grpSpMkLst>
        </pc:grpChg>
        <pc:grpChg chg="del mod">
          <ac:chgData name="Mariam Daniela Tristancho Pineda (MISION TEMPORAL LTDA)" userId="a45a17f7-7950-4cb5-bfab-f5c894f959a9" providerId="ADAL" clId="{15586BA0-617D-4D92-8B61-04A1723CD33C}" dt="2020-07-31T21:42:59.407" v="1043" actId="478"/>
          <ac:grpSpMkLst>
            <pc:docMk/>
            <pc:sldMk cId="335391689" sldId="2134804348"/>
            <ac:grpSpMk id="178" creationId="{AB40EB61-E9B4-4B33-9F05-E96C6A61939D}"/>
          </ac:grpSpMkLst>
        </pc:grpChg>
        <pc:grpChg chg="del mod">
          <ac:chgData name="Mariam Daniela Tristancho Pineda (MISION TEMPORAL LTDA)" userId="a45a17f7-7950-4cb5-bfab-f5c894f959a9" providerId="ADAL" clId="{15586BA0-617D-4D92-8B61-04A1723CD33C}" dt="2020-07-31T21:42:59.407" v="1043" actId="478"/>
          <ac:grpSpMkLst>
            <pc:docMk/>
            <pc:sldMk cId="335391689" sldId="2134804348"/>
            <ac:grpSpMk id="181" creationId="{62E8C510-673D-4909-AE2E-5A0FB8872DD3}"/>
          </ac:grpSpMkLst>
        </pc:grpChg>
        <pc:grpChg chg="del mod">
          <ac:chgData name="Mariam Daniela Tristancho Pineda (MISION TEMPORAL LTDA)" userId="a45a17f7-7950-4cb5-bfab-f5c894f959a9" providerId="ADAL" clId="{15586BA0-617D-4D92-8B61-04A1723CD33C}" dt="2020-07-31T21:39:55.049" v="985" actId="478"/>
          <ac:grpSpMkLst>
            <pc:docMk/>
            <pc:sldMk cId="335391689" sldId="2134804348"/>
            <ac:grpSpMk id="184" creationId="{884E2EF6-A695-4099-A2B6-0F9547F822CE}"/>
          </ac:grpSpMkLst>
        </pc:grpChg>
        <pc:grpChg chg="del mod">
          <ac:chgData name="Mariam Daniela Tristancho Pineda (MISION TEMPORAL LTDA)" userId="a45a17f7-7950-4cb5-bfab-f5c894f959a9" providerId="ADAL" clId="{15586BA0-617D-4D92-8B61-04A1723CD33C}" dt="2020-07-31T21:42:59.407" v="1043" actId="478"/>
          <ac:grpSpMkLst>
            <pc:docMk/>
            <pc:sldMk cId="335391689" sldId="2134804348"/>
            <ac:grpSpMk id="187" creationId="{DCDAF61C-0635-4BC1-A730-863B28E19F95}"/>
          </ac:grpSpMkLst>
        </pc:grpChg>
        <pc:grpChg chg="del mod">
          <ac:chgData name="Mariam Daniela Tristancho Pineda (MISION TEMPORAL LTDA)" userId="a45a17f7-7950-4cb5-bfab-f5c894f959a9" providerId="ADAL" clId="{15586BA0-617D-4D92-8B61-04A1723CD33C}" dt="2020-07-31T21:42:59.407" v="1043" actId="478"/>
          <ac:grpSpMkLst>
            <pc:docMk/>
            <pc:sldMk cId="335391689" sldId="2134804348"/>
            <ac:grpSpMk id="190" creationId="{981B98F0-CA0A-43A1-83BA-CF10C39FD866}"/>
          </ac:grpSpMkLst>
        </pc:grpChg>
        <pc:grpChg chg="del mod">
          <ac:chgData name="Mariam Daniela Tristancho Pineda (MISION TEMPORAL LTDA)" userId="a45a17f7-7950-4cb5-bfab-f5c894f959a9" providerId="ADAL" clId="{15586BA0-617D-4D92-8B61-04A1723CD33C}" dt="2020-07-31T21:42:59.407" v="1043" actId="478"/>
          <ac:grpSpMkLst>
            <pc:docMk/>
            <pc:sldMk cId="335391689" sldId="2134804348"/>
            <ac:grpSpMk id="193" creationId="{19993FF3-042F-44D4-94B1-522465835A98}"/>
          </ac:grpSpMkLst>
        </pc:grpChg>
        <pc:grpChg chg="del mod">
          <ac:chgData name="Mariam Daniela Tristancho Pineda (MISION TEMPORAL LTDA)" userId="a45a17f7-7950-4cb5-bfab-f5c894f959a9" providerId="ADAL" clId="{15586BA0-617D-4D92-8B61-04A1723CD33C}" dt="2020-07-31T21:42:59.407" v="1043" actId="478"/>
          <ac:grpSpMkLst>
            <pc:docMk/>
            <pc:sldMk cId="335391689" sldId="2134804348"/>
            <ac:grpSpMk id="196" creationId="{6BC4BE6A-330A-4333-9513-D80FD514C415}"/>
          </ac:grpSpMkLst>
        </pc:grpChg>
        <pc:grpChg chg="del mod">
          <ac:chgData name="Mariam Daniela Tristancho Pineda (MISION TEMPORAL LTDA)" userId="a45a17f7-7950-4cb5-bfab-f5c894f959a9" providerId="ADAL" clId="{15586BA0-617D-4D92-8B61-04A1723CD33C}" dt="2020-07-31T21:42:59.407" v="1043" actId="478"/>
          <ac:grpSpMkLst>
            <pc:docMk/>
            <pc:sldMk cId="335391689" sldId="2134804348"/>
            <ac:grpSpMk id="199" creationId="{0DA33037-BC53-4E89-89A8-4E4008E6F02B}"/>
          </ac:grpSpMkLst>
        </pc:grpChg>
        <pc:grpChg chg="del mod">
          <ac:chgData name="Mariam Daniela Tristancho Pineda (MISION TEMPORAL LTDA)" userId="a45a17f7-7950-4cb5-bfab-f5c894f959a9" providerId="ADAL" clId="{15586BA0-617D-4D92-8B61-04A1723CD33C}" dt="2020-07-31T21:42:59.407" v="1043" actId="478"/>
          <ac:grpSpMkLst>
            <pc:docMk/>
            <pc:sldMk cId="335391689" sldId="2134804348"/>
            <ac:grpSpMk id="202" creationId="{0D6396ED-3E1C-4D30-927C-4166E9665353}"/>
          </ac:grpSpMkLst>
        </pc:grpChg>
        <pc:grpChg chg="del mod">
          <ac:chgData name="Mariam Daniela Tristancho Pineda (MISION TEMPORAL LTDA)" userId="a45a17f7-7950-4cb5-bfab-f5c894f959a9" providerId="ADAL" clId="{15586BA0-617D-4D92-8B61-04A1723CD33C}" dt="2020-07-31T21:42:59.407" v="1043" actId="478"/>
          <ac:grpSpMkLst>
            <pc:docMk/>
            <pc:sldMk cId="335391689" sldId="2134804348"/>
            <ac:grpSpMk id="205" creationId="{7F51F9D1-2BEA-4F61-8537-0FBC2725E248}"/>
          </ac:grpSpMkLst>
        </pc:grpChg>
      </pc:sldChg>
      <pc:sldChg chg="del ord">
        <pc:chgData name="Mariam Daniela Tristancho Pineda (MISION TEMPORAL LTDA)" userId="a45a17f7-7950-4cb5-bfab-f5c894f959a9" providerId="ADAL" clId="{15586BA0-617D-4D92-8B61-04A1723CD33C}" dt="2020-07-31T21:01:57.875" v="690" actId="47"/>
        <pc:sldMkLst>
          <pc:docMk/>
          <pc:sldMk cId="1733347535" sldId="2134804349"/>
        </pc:sldMkLst>
      </pc:sldChg>
      <pc:sldChg chg="del">
        <pc:chgData name="Mariam Daniela Tristancho Pineda (MISION TEMPORAL LTDA)" userId="a45a17f7-7950-4cb5-bfab-f5c894f959a9" providerId="ADAL" clId="{15586BA0-617D-4D92-8B61-04A1723CD33C}" dt="2020-07-31T21:02:00.430" v="693" actId="47"/>
        <pc:sldMkLst>
          <pc:docMk/>
          <pc:sldMk cId="4149911555" sldId="2134804350"/>
        </pc:sldMkLst>
      </pc:sldChg>
      <pc:sldChg chg="del ord">
        <pc:chgData name="Mariam Daniela Tristancho Pineda (MISION TEMPORAL LTDA)" userId="a45a17f7-7950-4cb5-bfab-f5c894f959a9" providerId="ADAL" clId="{15586BA0-617D-4D92-8B61-04A1723CD33C}" dt="2020-07-31T21:01:58.548" v="691" actId="47"/>
        <pc:sldMkLst>
          <pc:docMk/>
          <pc:sldMk cId="2519932516" sldId="2134804351"/>
        </pc:sldMkLst>
      </pc:sldChg>
      <pc:sldChg chg="modSp add mod">
        <pc:chgData name="Mariam Daniela Tristancho Pineda (MISION TEMPORAL LTDA)" userId="a45a17f7-7950-4cb5-bfab-f5c894f959a9" providerId="ADAL" clId="{15586BA0-617D-4D92-8B61-04A1723CD33C}" dt="2020-07-29T20:26:28.165" v="149" actId="20577"/>
        <pc:sldMkLst>
          <pc:docMk/>
          <pc:sldMk cId="4127320320" sldId="2134804352"/>
        </pc:sldMkLst>
        <pc:spChg chg="mod">
          <ac:chgData name="Mariam Daniela Tristancho Pineda (MISION TEMPORAL LTDA)" userId="a45a17f7-7950-4cb5-bfab-f5c894f959a9" providerId="ADAL" clId="{15586BA0-617D-4D92-8B61-04A1723CD33C}" dt="2020-07-29T20:26:28.165" v="149" actId="20577"/>
          <ac:spMkLst>
            <pc:docMk/>
            <pc:sldMk cId="4127320320" sldId="2134804352"/>
            <ac:spMk id="2" creationId="{6431BBCF-96E5-45A7-B7E5-D44090D06329}"/>
          </ac:spMkLst>
        </pc:spChg>
        <pc:spChg chg="mod">
          <ac:chgData name="Mariam Daniela Tristancho Pineda (MISION TEMPORAL LTDA)" userId="a45a17f7-7950-4cb5-bfab-f5c894f959a9" providerId="ADAL" clId="{15586BA0-617D-4D92-8B61-04A1723CD33C}" dt="2020-07-29T20:26:17.402" v="138" actId="1076"/>
          <ac:spMkLst>
            <pc:docMk/>
            <pc:sldMk cId="4127320320" sldId="2134804352"/>
            <ac:spMk id="3" creationId="{30F9CFD9-5990-468D-9B1E-2AB69F9844AA}"/>
          </ac:spMkLst>
        </pc:spChg>
      </pc:sldChg>
      <pc:sldChg chg="modSp mod">
        <pc:chgData name="Mariam Daniela Tristancho Pineda (MISION TEMPORAL LTDA)" userId="a45a17f7-7950-4cb5-bfab-f5c894f959a9" providerId="ADAL" clId="{15586BA0-617D-4D92-8B61-04A1723CD33C}" dt="2020-07-31T15:45:02.904" v="380" actId="6549"/>
        <pc:sldMkLst>
          <pc:docMk/>
          <pc:sldMk cId="633750259" sldId="2134804353"/>
        </pc:sldMkLst>
        <pc:spChg chg="mod">
          <ac:chgData name="Mariam Daniela Tristancho Pineda (MISION TEMPORAL LTDA)" userId="a45a17f7-7950-4cb5-bfab-f5c894f959a9" providerId="ADAL" clId="{15586BA0-617D-4D92-8B61-04A1723CD33C}" dt="2020-07-31T15:45:02.904" v="380" actId="6549"/>
          <ac:spMkLst>
            <pc:docMk/>
            <pc:sldMk cId="633750259" sldId="2134804353"/>
            <ac:spMk id="2" creationId="{6431BBCF-96E5-45A7-B7E5-D44090D06329}"/>
          </ac:spMkLst>
        </pc:spChg>
      </pc:sldChg>
      <pc:sldChg chg="mod modShow">
        <pc:chgData name="Mariam Daniela Tristancho Pineda (MISION TEMPORAL LTDA)" userId="a45a17f7-7950-4cb5-bfab-f5c894f959a9" providerId="ADAL" clId="{15586BA0-617D-4D92-8B61-04A1723CD33C}" dt="2020-07-31T21:02:51.190" v="695" actId="729"/>
        <pc:sldMkLst>
          <pc:docMk/>
          <pc:sldMk cId="2460799231" sldId="2134804354"/>
        </pc:sldMkLst>
      </pc:sldChg>
      <pc:sldChg chg="delSp modSp add del mod">
        <pc:chgData name="Mariam Daniela Tristancho Pineda (MISION TEMPORAL LTDA)" userId="a45a17f7-7950-4cb5-bfab-f5c894f959a9" providerId="ADAL" clId="{15586BA0-617D-4D92-8B61-04A1723CD33C}" dt="2020-07-31T16:09:21.788" v="557" actId="47"/>
        <pc:sldMkLst>
          <pc:docMk/>
          <pc:sldMk cId="814794875" sldId="2134804355"/>
        </pc:sldMkLst>
        <pc:spChg chg="mod">
          <ac:chgData name="Mariam Daniela Tristancho Pineda (MISION TEMPORAL LTDA)" userId="a45a17f7-7950-4cb5-bfab-f5c894f959a9" providerId="ADAL" clId="{15586BA0-617D-4D92-8B61-04A1723CD33C}" dt="2020-07-31T15:24:46.339" v="194" actId="20577"/>
          <ac:spMkLst>
            <pc:docMk/>
            <pc:sldMk cId="814794875" sldId="2134804355"/>
            <ac:spMk id="12" creationId="{48D3FC9D-D2E5-4F68-90A5-0B7F294934A1}"/>
          </ac:spMkLst>
        </pc:spChg>
        <pc:spChg chg="del">
          <ac:chgData name="Mariam Daniela Tristancho Pineda (MISION TEMPORAL LTDA)" userId="a45a17f7-7950-4cb5-bfab-f5c894f959a9" providerId="ADAL" clId="{15586BA0-617D-4D92-8B61-04A1723CD33C}" dt="2020-07-31T15:24:40.003" v="192" actId="478"/>
          <ac:spMkLst>
            <pc:docMk/>
            <pc:sldMk cId="814794875" sldId="2134804355"/>
            <ac:spMk id="18" creationId="{71E963B9-F3AB-43BB-9A67-121B81D5AAA3}"/>
          </ac:spMkLst>
        </pc:spChg>
      </pc:sldChg>
      <pc:sldChg chg="del">
        <pc:chgData name="Mariam Daniela Tristancho Pineda (MISION TEMPORAL LTDA)" userId="a45a17f7-7950-4cb5-bfab-f5c894f959a9" providerId="ADAL" clId="{15586BA0-617D-4D92-8B61-04A1723CD33C}" dt="2020-07-29T14:01:33.547" v="15" actId="47"/>
        <pc:sldMkLst>
          <pc:docMk/>
          <pc:sldMk cId="1132069796" sldId="2134804355"/>
        </pc:sldMkLst>
      </pc:sldChg>
      <pc:sldChg chg="add del ord">
        <pc:chgData name="Mariam Daniela Tristancho Pineda (MISION TEMPORAL LTDA)" userId="a45a17f7-7950-4cb5-bfab-f5c894f959a9" providerId="ADAL" clId="{15586BA0-617D-4D92-8B61-04A1723CD33C}" dt="2020-07-31T16:09:02.217" v="556" actId="47"/>
        <pc:sldMkLst>
          <pc:docMk/>
          <pc:sldMk cId="1387766737" sldId="2134804356"/>
        </pc:sldMkLst>
      </pc:sldChg>
      <pc:sldChg chg="add del">
        <pc:chgData name="Mariam Daniela Tristancho Pineda (MISION TEMPORAL LTDA)" userId="a45a17f7-7950-4cb5-bfab-f5c894f959a9" providerId="ADAL" clId="{15586BA0-617D-4D92-8B61-04A1723CD33C}" dt="2020-07-31T21:45:04.338" v="1053" actId="47"/>
        <pc:sldMkLst>
          <pc:docMk/>
          <pc:sldMk cId="733372354" sldId="2134804357"/>
        </pc:sldMkLst>
      </pc:sldChg>
      <pc:sldChg chg="addSp modSp new del mod">
        <pc:chgData name="Mariam Daniela Tristancho Pineda (MISION TEMPORAL LTDA)" userId="a45a17f7-7950-4cb5-bfab-f5c894f959a9" providerId="ADAL" clId="{15586BA0-617D-4D92-8B61-04A1723CD33C}" dt="2020-07-31T21:01:26.546" v="675" actId="47"/>
        <pc:sldMkLst>
          <pc:docMk/>
          <pc:sldMk cId="2309825519" sldId="2134804358"/>
        </pc:sldMkLst>
        <pc:spChg chg="add mod">
          <ac:chgData name="Mariam Daniela Tristancho Pineda (MISION TEMPORAL LTDA)" userId="a45a17f7-7950-4cb5-bfab-f5c894f959a9" providerId="ADAL" clId="{15586BA0-617D-4D92-8B61-04A1723CD33C}" dt="2020-07-31T16:10:58.052" v="608" actId="1036"/>
          <ac:spMkLst>
            <pc:docMk/>
            <pc:sldMk cId="2309825519" sldId="2134804358"/>
            <ac:spMk id="10" creationId="{EAFDAF03-9404-43D2-83F3-4327C5AEE02F}"/>
          </ac:spMkLst>
        </pc:spChg>
        <pc:spChg chg="add mod">
          <ac:chgData name="Mariam Daniela Tristancho Pineda (MISION TEMPORAL LTDA)" userId="a45a17f7-7950-4cb5-bfab-f5c894f959a9" providerId="ADAL" clId="{15586BA0-617D-4D92-8B61-04A1723CD33C}" dt="2020-07-31T16:11:16.592" v="628" actId="20577"/>
          <ac:spMkLst>
            <pc:docMk/>
            <pc:sldMk cId="2309825519" sldId="2134804358"/>
            <ac:spMk id="16" creationId="{6113E051-6C07-4AF8-919F-C2CF4A2B5552}"/>
          </ac:spMkLst>
        </pc:spChg>
        <pc:spChg chg="add mod">
          <ac:chgData name="Mariam Daniela Tristancho Pineda (MISION TEMPORAL LTDA)" userId="a45a17f7-7950-4cb5-bfab-f5c894f959a9" providerId="ADAL" clId="{15586BA0-617D-4D92-8B61-04A1723CD33C}" dt="2020-07-31T16:10:58.052" v="608" actId="1036"/>
          <ac:spMkLst>
            <pc:docMk/>
            <pc:sldMk cId="2309825519" sldId="2134804358"/>
            <ac:spMk id="18" creationId="{962D618F-BD7F-4703-9053-F8B63F0F9849}"/>
          </ac:spMkLst>
        </pc:spChg>
        <pc:spChg chg="add mod">
          <ac:chgData name="Mariam Daniela Tristancho Pineda (MISION TEMPORAL LTDA)" userId="a45a17f7-7950-4cb5-bfab-f5c894f959a9" providerId="ADAL" clId="{15586BA0-617D-4D92-8B61-04A1723CD33C}" dt="2020-07-31T16:10:58.052" v="608" actId="1036"/>
          <ac:spMkLst>
            <pc:docMk/>
            <pc:sldMk cId="2309825519" sldId="2134804358"/>
            <ac:spMk id="20" creationId="{0EA23B20-203F-4A2E-AD64-A1C16DE8EE84}"/>
          </ac:spMkLst>
        </pc:spChg>
        <pc:spChg chg="add mod">
          <ac:chgData name="Mariam Daniela Tristancho Pineda (MISION TEMPORAL LTDA)" userId="a45a17f7-7950-4cb5-bfab-f5c894f959a9" providerId="ADAL" clId="{15586BA0-617D-4D92-8B61-04A1723CD33C}" dt="2020-07-31T16:10:58.052" v="608" actId="1036"/>
          <ac:spMkLst>
            <pc:docMk/>
            <pc:sldMk cId="2309825519" sldId="2134804358"/>
            <ac:spMk id="22" creationId="{9222278E-97E1-459C-B1D7-C224F9D2A83E}"/>
          </ac:spMkLst>
        </pc:spChg>
        <pc:spChg chg="add mod">
          <ac:chgData name="Mariam Daniela Tristancho Pineda (MISION TEMPORAL LTDA)" userId="a45a17f7-7950-4cb5-bfab-f5c894f959a9" providerId="ADAL" clId="{15586BA0-617D-4D92-8B61-04A1723CD33C}" dt="2020-07-31T16:10:58.052" v="608" actId="1036"/>
          <ac:spMkLst>
            <pc:docMk/>
            <pc:sldMk cId="2309825519" sldId="2134804358"/>
            <ac:spMk id="24" creationId="{37B6C0FA-F81C-4901-AC8A-3505EE7A92EC}"/>
          </ac:spMkLst>
        </pc:spChg>
        <pc:graphicFrameChg chg="add mod">
          <ac:chgData name="Mariam Daniela Tristancho Pineda (MISION TEMPORAL LTDA)" userId="a45a17f7-7950-4cb5-bfab-f5c894f959a9" providerId="ADAL" clId="{15586BA0-617D-4D92-8B61-04A1723CD33C}" dt="2020-07-31T16:10:58.052" v="608" actId="1036"/>
          <ac:graphicFrameMkLst>
            <pc:docMk/>
            <pc:sldMk cId="2309825519" sldId="2134804358"/>
            <ac:graphicFrameMk id="4" creationId="{1D5CA866-2777-41D9-8B72-EF389A36D97D}"/>
          </ac:graphicFrameMkLst>
        </pc:graphicFrameChg>
        <pc:graphicFrameChg chg="add mod">
          <ac:chgData name="Mariam Daniela Tristancho Pineda (MISION TEMPORAL LTDA)" userId="a45a17f7-7950-4cb5-bfab-f5c894f959a9" providerId="ADAL" clId="{15586BA0-617D-4D92-8B61-04A1723CD33C}" dt="2020-07-31T16:10:58.052" v="608" actId="1036"/>
          <ac:graphicFrameMkLst>
            <pc:docMk/>
            <pc:sldMk cId="2309825519" sldId="2134804358"/>
            <ac:graphicFrameMk id="6" creationId="{E92D650B-3FF0-4BD7-BF18-335AF2B4A2EE}"/>
          </ac:graphicFrameMkLst>
        </pc:graphicFrameChg>
        <pc:graphicFrameChg chg="add mod">
          <ac:chgData name="Mariam Daniela Tristancho Pineda (MISION TEMPORAL LTDA)" userId="a45a17f7-7950-4cb5-bfab-f5c894f959a9" providerId="ADAL" clId="{15586BA0-617D-4D92-8B61-04A1723CD33C}" dt="2020-07-31T16:10:58.052" v="608" actId="1036"/>
          <ac:graphicFrameMkLst>
            <pc:docMk/>
            <pc:sldMk cId="2309825519" sldId="2134804358"/>
            <ac:graphicFrameMk id="8" creationId="{6D19562F-87C6-4C0C-AAD5-7957173EE09F}"/>
          </ac:graphicFrameMkLst>
        </pc:graphicFrameChg>
        <pc:graphicFrameChg chg="add mod">
          <ac:chgData name="Mariam Daniela Tristancho Pineda (MISION TEMPORAL LTDA)" userId="a45a17f7-7950-4cb5-bfab-f5c894f959a9" providerId="ADAL" clId="{15586BA0-617D-4D92-8B61-04A1723CD33C}" dt="2020-07-31T16:10:58.052" v="608" actId="1036"/>
          <ac:graphicFrameMkLst>
            <pc:docMk/>
            <pc:sldMk cId="2309825519" sldId="2134804358"/>
            <ac:graphicFrameMk id="12" creationId="{AD2EBE75-5D31-4D84-B8E6-B41BCCC25A69}"/>
          </ac:graphicFrameMkLst>
        </pc:graphicFrameChg>
        <pc:graphicFrameChg chg="add mod modGraphic">
          <ac:chgData name="Mariam Daniela Tristancho Pineda (MISION TEMPORAL LTDA)" userId="a45a17f7-7950-4cb5-bfab-f5c894f959a9" providerId="ADAL" clId="{15586BA0-617D-4D92-8B61-04A1723CD33C}" dt="2020-07-31T16:10:58.052" v="608" actId="1036"/>
          <ac:graphicFrameMkLst>
            <pc:docMk/>
            <pc:sldMk cId="2309825519" sldId="2134804358"/>
            <ac:graphicFrameMk id="14" creationId="{2D8D2423-D98A-4112-BE7B-4D5F628BA0D9}"/>
          </ac:graphicFrameMkLst>
        </pc:graphicFrameChg>
      </pc:sldChg>
      <pc:sldChg chg="addSp delSp modSp new del mod">
        <pc:chgData name="Mariam Daniela Tristancho Pineda (MISION TEMPORAL LTDA)" userId="a45a17f7-7950-4cb5-bfab-f5c894f959a9" providerId="ADAL" clId="{15586BA0-617D-4D92-8B61-04A1723CD33C}" dt="2020-07-31T21:01:54.954" v="685" actId="47"/>
        <pc:sldMkLst>
          <pc:docMk/>
          <pc:sldMk cId="3347687392" sldId="2134804359"/>
        </pc:sldMkLst>
        <pc:spChg chg="del">
          <ac:chgData name="Mariam Daniela Tristancho Pineda (MISION TEMPORAL LTDA)" userId="a45a17f7-7950-4cb5-bfab-f5c894f959a9" providerId="ADAL" clId="{15586BA0-617D-4D92-8B61-04A1723CD33C}" dt="2020-07-31T16:11:29.970" v="630" actId="478"/>
          <ac:spMkLst>
            <pc:docMk/>
            <pc:sldMk cId="3347687392" sldId="2134804359"/>
            <ac:spMk id="3" creationId="{EDAE0E46-53B5-4984-A246-341932384A41}"/>
          </ac:spMkLst>
        </pc:spChg>
        <pc:spChg chg="add mod">
          <ac:chgData name="Mariam Daniela Tristancho Pineda (MISION TEMPORAL LTDA)" userId="a45a17f7-7950-4cb5-bfab-f5c894f959a9" providerId="ADAL" clId="{15586BA0-617D-4D92-8B61-04A1723CD33C}" dt="2020-07-31T16:11:41.149" v="660" actId="1035"/>
          <ac:spMkLst>
            <pc:docMk/>
            <pc:sldMk cId="3347687392" sldId="2134804359"/>
            <ac:spMk id="11" creationId="{B76E796D-C382-4C19-B211-75BC715F2B5F}"/>
          </ac:spMkLst>
        </pc:spChg>
        <pc:spChg chg="add mod">
          <ac:chgData name="Mariam Daniela Tristancho Pineda (MISION TEMPORAL LTDA)" userId="a45a17f7-7950-4cb5-bfab-f5c894f959a9" providerId="ADAL" clId="{15586BA0-617D-4D92-8B61-04A1723CD33C}" dt="2020-07-31T16:11:41.149" v="660" actId="1035"/>
          <ac:spMkLst>
            <pc:docMk/>
            <pc:sldMk cId="3347687392" sldId="2134804359"/>
            <ac:spMk id="17" creationId="{4F09D926-706D-467C-9610-0CCF49DC44B8}"/>
          </ac:spMkLst>
        </pc:spChg>
        <pc:spChg chg="add mod">
          <ac:chgData name="Mariam Daniela Tristancho Pineda (MISION TEMPORAL LTDA)" userId="a45a17f7-7950-4cb5-bfab-f5c894f959a9" providerId="ADAL" clId="{15586BA0-617D-4D92-8B61-04A1723CD33C}" dt="2020-07-31T16:11:41.149" v="660" actId="1035"/>
          <ac:spMkLst>
            <pc:docMk/>
            <pc:sldMk cId="3347687392" sldId="2134804359"/>
            <ac:spMk id="19" creationId="{C4F7FB75-5583-4C5E-BBA9-065355B94409}"/>
          </ac:spMkLst>
        </pc:spChg>
        <pc:spChg chg="add mod">
          <ac:chgData name="Mariam Daniela Tristancho Pineda (MISION TEMPORAL LTDA)" userId="a45a17f7-7950-4cb5-bfab-f5c894f959a9" providerId="ADAL" clId="{15586BA0-617D-4D92-8B61-04A1723CD33C}" dt="2020-07-31T16:11:41.149" v="660" actId="1035"/>
          <ac:spMkLst>
            <pc:docMk/>
            <pc:sldMk cId="3347687392" sldId="2134804359"/>
            <ac:spMk id="21" creationId="{7F6176E4-1417-4A13-9B2B-1AF60EA7F2F6}"/>
          </ac:spMkLst>
        </pc:spChg>
        <pc:spChg chg="add mod">
          <ac:chgData name="Mariam Daniela Tristancho Pineda (MISION TEMPORAL LTDA)" userId="a45a17f7-7950-4cb5-bfab-f5c894f959a9" providerId="ADAL" clId="{15586BA0-617D-4D92-8B61-04A1723CD33C}" dt="2020-07-31T16:11:41.149" v="660" actId="1035"/>
          <ac:spMkLst>
            <pc:docMk/>
            <pc:sldMk cId="3347687392" sldId="2134804359"/>
            <ac:spMk id="23" creationId="{6047F71E-627B-4B2D-81F2-6ECDB67CCC05}"/>
          </ac:spMkLst>
        </pc:spChg>
        <pc:spChg chg="add mod">
          <ac:chgData name="Mariam Daniela Tristancho Pineda (MISION TEMPORAL LTDA)" userId="a45a17f7-7950-4cb5-bfab-f5c894f959a9" providerId="ADAL" clId="{15586BA0-617D-4D92-8B61-04A1723CD33C}" dt="2020-07-31T16:13:06.987" v="665" actId="14100"/>
          <ac:spMkLst>
            <pc:docMk/>
            <pc:sldMk cId="3347687392" sldId="2134804359"/>
            <ac:spMk id="25" creationId="{DE8BF431-EF4A-4AD0-BE72-9C1DBCFB8CD9}"/>
          </ac:spMkLst>
        </pc:spChg>
        <pc:graphicFrameChg chg="add mod">
          <ac:chgData name="Mariam Daniela Tristancho Pineda (MISION TEMPORAL LTDA)" userId="a45a17f7-7950-4cb5-bfab-f5c894f959a9" providerId="ADAL" clId="{15586BA0-617D-4D92-8B61-04A1723CD33C}" dt="2020-07-31T16:11:41.149" v="660" actId="1035"/>
          <ac:graphicFrameMkLst>
            <pc:docMk/>
            <pc:sldMk cId="3347687392" sldId="2134804359"/>
            <ac:graphicFrameMk id="5" creationId="{17E16BF1-F7F6-4830-94F1-3ECEAF26BA00}"/>
          </ac:graphicFrameMkLst>
        </pc:graphicFrameChg>
        <pc:graphicFrameChg chg="add mod">
          <ac:chgData name="Mariam Daniela Tristancho Pineda (MISION TEMPORAL LTDA)" userId="a45a17f7-7950-4cb5-bfab-f5c894f959a9" providerId="ADAL" clId="{15586BA0-617D-4D92-8B61-04A1723CD33C}" dt="2020-07-31T16:11:41.149" v="660" actId="1035"/>
          <ac:graphicFrameMkLst>
            <pc:docMk/>
            <pc:sldMk cId="3347687392" sldId="2134804359"/>
            <ac:graphicFrameMk id="7" creationId="{9DE8A8D7-0BF7-42B7-9D67-1F7CAC994C7D}"/>
          </ac:graphicFrameMkLst>
        </pc:graphicFrameChg>
        <pc:graphicFrameChg chg="add mod">
          <ac:chgData name="Mariam Daniela Tristancho Pineda (MISION TEMPORAL LTDA)" userId="a45a17f7-7950-4cb5-bfab-f5c894f959a9" providerId="ADAL" clId="{15586BA0-617D-4D92-8B61-04A1723CD33C}" dt="2020-07-31T16:11:41.149" v="660" actId="1035"/>
          <ac:graphicFrameMkLst>
            <pc:docMk/>
            <pc:sldMk cId="3347687392" sldId="2134804359"/>
            <ac:graphicFrameMk id="9" creationId="{DA3660D2-7C30-42E3-A228-882059195AF4}"/>
          </ac:graphicFrameMkLst>
        </pc:graphicFrameChg>
        <pc:graphicFrameChg chg="add mod">
          <ac:chgData name="Mariam Daniela Tristancho Pineda (MISION TEMPORAL LTDA)" userId="a45a17f7-7950-4cb5-bfab-f5c894f959a9" providerId="ADAL" clId="{15586BA0-617D-4D92-8B61-04A1723CD33C}" dt="2020-07-31T16:11:41.149" v="660" actId="1035"/>
          <ac:graphicFrameMkLst>
            <pc:docMk/>
            <pc:sldMk cId="3347687392" sldId="2134804359"/>
            <ac:graphicFrameMk id="13" creationId="{52460079-572B-4DE7-92F3-2FD56D53079F}"/>
          </ac:graphicFrameMkLst>
        </pc:graphicFrameChg>
        <pc:graphicFrameChg chg="add mod modGraphic">
          <ac:chgData name="Mariam Daniela Tristancho Pineda (MISION TEMPORAL LTDA)" userId="a45a17f7-7950-4cb5-bfab-f5c894f959a9" providerId="ADAL" clId="{15586BA0-617D-4D92-8B61-04A1723CD33C}" dt="2020-07-31T16:11:50.623" v="663" actId="14100"/>
          <ac:graphicFrameMkLst>
            <pc:docMk/>
            <pc:sldMk cId="3347687392" sldId="2134804359"/>
            <ac:graphicFrameMk id="15" creationId="{7B50DF96-9ED1-402F-8E08-BA1604B440D0}"/>
          </ac:graphicFrameMkLst>
        </pc:graphicFrameChg>
      </pc:sldChg>
      <pc:sldChg chg="add">
        <pc:chgData name="Mariam Daniela Tristancho Pineda (MISION TEMPORAL LTDA)" userId="a45a17f7-7950-4cb5-bfab-f5c894f959a9" providerId="ADAL" clId="{15586BA0-617D-4D92-8B61-04A1723CD33C}" dt="2020-07-31T21:01:21.490" v="674"/>
        <pc:sldMkLst>
          <pc:docMk/>
          <pc:sldMk cId="4223154574" sldId="2134804360"/>
        </pc:sldMkLst>
      </pc:sldChg>
      <pc:sldChg chg="modSp add mod">
        <pc:chgData name="Mariam Daniela Tristancho Pineda (MISION TEMPORAL LTDA)" userId="a45a17f7-7950-4cb5-bfab-f5c894f959a9" providerId="ADAL" clId="{15586BA0-617D-4D92-8B61-04A1723CD33C}" dt="2020-07-31T21:03:27.755" v="698" actId="6549"/>
        <pc:sldMkLst>
          <pc:docMk/>
          <pc:sldMk cId="4143138041" sldId="2134804361"/>
        </pc:sldMkLst>
        <pc:spChg chg="mod">
          <ac:chgData name="Mariam Daniela Tristancho Pineda (MISION TEMPORAL LTDA)" userId="a45a17f7-7950-4cb5-bfab-f5c894f959a9" providerId="ADAL" clId="{15586BA0-617D-4D92-8B61-04A1723CD33C}" dt="2020-07-31T21:03:27.755" v="698" actId="6549"/>
          <ac:spMkLst>
            <pc:docMk/>
            <pc:sldMk cId="4143138041" sldId="2134804361"/>
            <ac:spMk id="135" creationId="{C1823568-A421-4254-9106-BAEB76F16B72}"/>
          </ac:spMkLst>
        </pc:spChg>
      </pc:sldChg>
      <pc:sldChg chg="add">
        <pc:chgData name="Mariam Daniela Tristancho Pineda (MISION TEMPORAL LTDA)" userId="a45a17f7-7950-4cb5-bfab-f5c894f959a9" providerId="ADAL" clId="{15586BA0-617D-4D92-8B61-04A1723CD33C}" dt="2020-07-31T21:01:21.490" v="674"/>
        <pc:sldMkLst>
          <pc:docMk/>
          <pc:sldMk cId="2446190859" sldId="2134804362"/>
        </pc:sldMkLst>
      </pc:sldChg>
      <pc:sldChg chg="modSp add mod">
        <pc:chgData name="Mariam Daniela Tristancho Pineda (MISION TEMPORAL LTDA)" userId="a45a17f7-7950-4cb5-bfab-f5c894f959a9" providerId="ADAL" clId="{15586BA0-617D-4D92-8B61-04A1723CD33C}" dt="2020-07-31T21:03:35.475" v="699" actId="6549"/>
        <pc:sldMkLst>
          <pc:docMk/>
          <pc:sldMk cId="2429189956" sldId="2134804363"/>
        </pc:sldMkLst>
        <pc:spChg chg="mod">
          <ac:chgData name="Mariam Daniela Tristancho Pineda (MISION TEMPORAL LTDA)" userId="a45a17f7-7950-4cb5-bfab-f5c894f959a9" providerId="ADAL" clId="{15586BA0-617D-4D92-8B61-04A1723CD33C}" dt="2020-07-31T21:03:35.475" v="699" actId="6549"/>
          <ac:spMkLst>
            <pc:docMk/>
            <pc:sldMk cId="2429189956" sldId="2134804363"/>
            <ac:spMk id="135" creationId="{C1823568-A421-4254-9106-BAEB76F16B72}"/>
          </ac:spMkLst>
        </pc:spChg>
      </pc:sldChg>
      <pc:sldChg chg="modSp add mod">
        <pc:chgData name="Mariam Daniela Tristancho Pineda (MISION TEMPORAL LTDA)" userId="a45a17f7-7950-4cb5-bfab-f5c894f959a9" providerId="ADAL" clId="{15586BA0-617D-4D92-8B61-04A1723CD33C}" dt="2020-07-31T21:03:39.662" v="700" actId="6549"/>
        <pc:sldMkLst>
          <pc:docMk/>
          <pc:sldMk cId="2187455397" sldId="2134804364"/>
        </pc:sldMkLst>
        <pc:spChg chg="mod">
          <ac:chgData name="Mariam Daniela Tristancho Pineda (MISION TEMPORAL LTDA)" userId="a45a17f7-7950-4cb5-bfab-f5c894f959a9" providerId="ADAL" clId="{15586BA0-617D-4D92-8B61-04A1723CD33C}" dt="2020-07-31T21:03:39.662" v="700" actId="6549"/>
          <ac:spMkLst>
            <pc:docMk/>
            <pc:sldMk cId="2187455397" sldId="2134804364"/>
            <ac:spMk id="135" creationId="{C1823568-A421-4254-9106-BAEB76F16B72}"/>
          </ac:spMkLst>
        </pc:spChg>
      </pc:sldChg>
      <pc:sldChg chg="modSp add mod">
        <pc:chgData name="Mariam Daniela Tristancho Pineda (MISION TEMPORAL LTDA)" userId="a45a17f7-7950-4cb5-bfab-f5c894f959a9" providerId="ADAL" clId="{15586BA0-617D-4D92-8B61-04A1723CD33C}" dt="2020-07-31T21:03:43.268" v="701" actId="6549"/>
        <pc:sldMkLst>
          <pc:docMk/>
          <pc:sldMk cId="2769128965" sldId="2134804365"/>
        </pc:sldMkLst>
        <pc:spChg chg="mod">
          <ac:chgData name="Mariam Daniela Tristancho Pineda (MISION TEMPORAL LTDA)" userId="a45a17f7-7950-4cb5-bfab-f5c894f959a9" providerId="ADAL" clId="{15586BA0-617D-4D92-8B61-04A1723CD33C}" dt="2020-07-31T21:03:43.268" v="701" actId="6549"/>
          <ac:spMkLst>
            <pc:docMk/>
            <pc:sldMk cId="2769128965" sldId="2134804365"/>
            <ac:spMk id="135" creationId="{C1823568-A421-4254-9106-BAEB76F16B72}"/>
          </ac:spMkLst>
        </pc:spChg>
      </pc:sldChg>
      <pc:sldChg chg="modSp add mod">
        <pc:chgData name="Mariam Daniela Tristancho Pineda (MISION TEMPORAL LTDA)" userId="a45a17f7-7950-4cb5-bfab-f5c894f959a9" providerId="ADAL" clId="{15586BA0-617D-4D92-8B61-04A1723CD33C}" dt="2020-07-31T21:03:46.615" v="702" actId="6549"/>
        <pc:sldMkLst>
          <pc:docMk/>
          <pc:sldMk cId="2154316516" sldId="2134804366"/>
        </pc:sldMkLst>
        <pc:spChg chg="mod">
          <ac:chgData name="Mariam Daniela Tristancho Pineda (MISION TEMPORAL LTDA)" userId="a45a17f7-7950-4cb5-bfab-f5c894f959a9" providerId="ADAL" clId="{15586BA0-617D-4D92-8B61-04A1723CD33C}" dt="2020-07-31T21:03:46.615" v="702" actId="6549"/>
          <ac:spMkLst>
            <pc:docMk/>
            <pc:sldMk cId="2154316516" sldId="2134804366"/>
            <ac:spMk id="135" creationId="{C1823568-A421-4254-9106-BAEB76F16B72}"/>
          </ac:spMkLst>
        </pc:spChg>
      </pc:sldChg>
      <pc:sldChg chg="add">
        <pc:chgData name="Mariam Daniela Tristancho Pineda (MISION TEMPORAL LTDA)" userId="a45a17f7-7950-4cb5-bfab-f5c894f959a9" providerId="ADAL" clId="{15586BA0-617D-4D92-8B61-04A1723CD33C}" dt="2020-07-31T21:01:21.490" v="674"/>
        <pc:sldMkLst>
          <pc:docMk/>
          <pc:sldMk cId="1068210842" sldId="2134804367"/>
        </pc:sldMkLst>
      </pc:sldChg>
      <pc:sldChg chg="add">
        <pc:chgData name="Mariam Daniela Tristancho Pineda (MISION TEMPORAL LTDA)" userId="a45a17f7-7950-4cb5-bfab-f5c894f959a9" providerId="ADAL" clId="{15586BA0-617D-4D92-8B61-04A1723CD33C}" dt="2020-07-31T21:01:21.490" v="674"/>
        <pc:sldMkLst>
          <pc:docMk/>
          <pc:sldMk cId="587350936" sldId="2134804368"/>
        </pc:sldMkLst>
      </pc:sldChg>
      <pc:sldChg chg="add">
        <pc:chgData name="Mariam Daniela Tristancho Pineda (MISION TEMPORAL LTDA)" userId="a45a17f7-7950-4cb5-bfab-f5c894f959a9" providerId="ADAL" clId="{15586BA0-617D-4D92-8B61-04A1723CD33C}" dt="2020-07-31T21:01:21.490" v="674"/>
        <pc:sldMkLst>
          <pc:docMk/>
          <pc:sldMk cId="2963898244" sldId="2134804369"/>
        </pc:sldMkLst>
      </pc:sldChg>
      <pc:sldChg chg="add">
        <pc:chgData name="Mariam Daniela Tristancho Pineda (MISION TEMPORAL LTDA)" userId="a45a17f7-7950-4cb5-bfab-f5c894f959a9" providerId="ADAL" clId="{15586BA0-617D-4D92-8B61-04A1723CD33C}" dt="2020-07-31T21:01:21.490" v="674"/>
        <pc:sldMkLst>
          <pc:docMk/>
          <pc:sldMk cId="3226895650" sldId="2134804370"/>
        </pc:sldMkLst>
      </pc:sldChg>
      <pc:sldChg chg="add">
        <pc:chgData name="Mariam Daniela Tristancho Pineda (MISION TEMPORAL LTDA)" userId="a45a17f7-7950-4cb5-bfab-f5c894f959a9" providerId="ADAL" clId="{15586BA0-617D-4D92-8B61-04A1723CD33C}" dt="2020-07-31T21:01:21.490" v="674"/>
        <pc:sldMkLst>
          <pc:docMk/>
          <pc:sldMk cId="219746583" sldId="2134804371"/>
        </pc:sldMkLst>
      </pc:sldChg>
      <pc:sldChg chg="add">
        <pc:chgData name="Mariam Daniela Tristancho Pineda (MISION TEMPORAL LTDA)" userId="a45a17f7-7950-4cb5-bfab-f5c894f959a9" providerId="ADAL" clId="{15586BA0-617D-4D92-8B61-04A1723CD33C}" dt="2020-07-31T21:01:21.490" v="674"/>
        <pc:sldMkLst>
          <pc:docMk/>
          <pc:sldMk cId="1530950705" sldId="2134804372"/>
        </pc:sldMkLst>
      </pc:sldChg>
      <pc:sldChg chg="add">
        <pc:chgData name="Mariam Daniela Tristancho Pineda (MISION TEMPORAL LTDA)" userId="a45a17f7-7950-4cb5-bfab-f5c894f959a9" providerId="ADAL" clId="{15586BA0-617D-4D92-8B61-04A1723CD33C}" dt="2020-07-31T21:01:21.490" v="674"/>
        <pc:sldMkLst>
          <pc:docMk/>
          <pc:sldMk cId="1024743334" sldId="2134804373"/>
        </pc:sldMkLst>
      </pc:sldChg>
      <pc:sldChg chg="addSp delSp add mod">
        <pc:chgData name="Mariam Daniela Tristancho Pineda (MISION TEMPORAL LTDA)" userId="a45a17f7-7950-4cb5-bfab-f5c894f959a9" providerId="ADAL" clId="{15586BA0-617D-4D92-8B61-04A1723CD33C}" dt="2020-07-31T21:01:37.076" v="678" actId="478"/>
        <pc:sldMkLst>
          <pc:docMk/>
          <pc:sldMk cId="2751538595" sldId="2134804374"/>
        </pc:sldMkLst>
        <pc:spChg chg="add del">
          <ac:chgData name="Mariam Daniela Tristancho Pineda (MISION TEMPORAL LTDA)" userId="a45a17f7-7950-4cb5-bfab-f5c894f959a9" providerId="ADAL" clId="{15586BA0-617D-4D92-8B61-04A1723CD33C}" dt="2020-07-31T21:01:37.076" v="678" actId="478"/>
          <ac:spMkLst>
            <pc:docMk/>
            <pc:sldMk cId="2751538595" sldId="2134804374"/>
            <ac:spMk id="6" creationId="{A2121E97-F43F-4327-A7E9-C94195168362}"/>
          </ac:spMkLst>
        </pc:spChg>
      </pc:sldChg>
      <pc:sldChg chg="add">
        <pc:chgData name="Mariam Daniela Tristancho Pineda (MISION TEMPORAL LTDA)" userId="a45a17f7-7950-4cb5-bfab-f5c894f959a9" providerId="ADAL" clId="{15586BA0-617D-4D92-8B61-04A1723CD33C}" dt="2020-07-31T21:01:21.490" v="674"/>
        <pc:sldMkLst>
          <pc:docMk/>
          <pc:sldMk cId="488218476" sldId="2134804375"/>
        </pc:sldMkLst>
      </pc:sldChg>
      <pc:sldMasterChg chg="delSldLayout">
        <pc:chgData name="Mariam Daniela Tristancho Pineda (MISION TEMPORAL LTDA)" userId="a45a17f7-7950-4cb5-bfab-f5c894f959a9" providerId="ADAL" clId="{15586BA0-617D-4D92-8B61-04A1723CD33C}" dt="2020-07-31T16:11:43.794" v="661" actId="47"/>
        <pc:sldMasterMkLst>
          <pc:docMk/>
          <pc:sldMasterMk cId="2612954595" sldId="2147483660"/>
        </pc:sldMasterMkLst>
        <pc:sldLayoutChg chg="del">
          <pc:chgData name="Mariam Daniela Tristancho Pineda (MISION TEMPORAL LTDA)" userId="a45a17f7-7950-4cb5-bfab-f5c894f959a9" providerId="ADAL" clId="{15586BA0-617D-4D92-8B61-04A1723CD33C}" dt="2020-07-31T16:08:58.720" v="555" actId="47"/>
          <pc:sldLayoutMkLst>
            <pc:docMk/>
            <pc:sldMasterMk cId="2612954595" sldId="2147483660"/>
            <pc:sldLayoutMk cId="905373090" sldId="2147483669"/>
          </pc:sldLayoutMkLst>
        </pc:sldLayoutChg>
        <pc:sldLayoutChg chg="del">
          <pc:chgData name="Mariam Daniela Tristancho Pineda (MISION TEMPORAL LTDA)" userId="a45a17f7-7950-4cb5-bfab-f5c894f959a9" providerId="ADAL" clId="{15586BA0-617D-4D92-8B61-04A1723CD33C}" dt="2020-07-31T16:11:43.794" v="661" actId="47"/>
          <pc:sldLayoutMkLst>
            <pc:docMk/>
            <pc:sldMasterMk cId="2612954595" sldId="2147483660"/>
            <pc:sldLayoutMk cId="2776410257" sldId="2147483669"/>
          </pc:sldLayoutMkLst>
        </pc:sldLayoutChg>
      </pc:sldMasterChg>
    </pc:docChg>
  </pc:docChgLst>
  <pc:docChgLst>
    <pc:chgData name="Mariam Daniela Tristancho Pineda (PTA SAS)" userId="a45a17f7-7950-4cb5-bfab-f5c894f959a9" providerId="ADAL" clId="{7EBB4E1E-93A9-4035-834A-9A0B60182E9F}"/>
    <pc:docChg chg="undo custSel addSld delSld modSld sldOrd">
      <pc:chgData name="Mariam Daniela Tristancho Pineda (PTA SAS)" userId="a45a17f7-7950-4cb5-bfab-f5c894f959a9" providerId="ADAL" clId="{7EBB4E1E-93A9-4035-834A-9A0B60182E9F}" dt="2020-10-14T13:45:15.613" v="3904"/>
      <pc:docMkLst>
        <pc:docMk/>
      </pc:docMkLst>
      <pc:sldChg chg="add">
        <pc:chgData name="Mariam Daniela Tristancho Pineda (PTA SAS)" userId="a45a17f7-7950-4cb5-bfab-f5c894f959a9" providerId="ADAL" clId="{7EBB4E1E-93A9-4035-834A-9A0B60182E9F}" dt="2020-10-13T13:09:52.288" v="3694"/>
        <pc:sldMkLst>
          <pc:docMk/>
          <pc:sldMk cId="3983129115" sldId="256"/>
        </pc:sldMkLst>
      </pc:sldChg>
      <pc:sldChg chg="add ord">
        <pc:chgData name="Mariam Daniela Tristancho Pineda (PTA SAS)" userId="a45a17f7-7950-4cb5-bfab-f5c894f959a9" providerId="ADAL" clId="{7EBB4E1E-93A9-4035-834A-9A0B60182E9F}" dt="2020-10-13T21:38:27.393" v="3696"/>
        <pc:sldMkLst>
          <pc:docMk/>
          <pc:sldMk cId="2393382206" sldId="257"/>
        </pc:sldMkLst>
      </pc:sldChg>
      <pc:sldChg chg="add del setBg">
        <pc:chgData name="Mariam Daniela Tristancho Pineda (PTA SAS)" userId="a45a17f7-7950-4cb5-bfab-f5c894f959a9" providerId="ADAL" clId="{7EBB4E1E-93A9-4035-834A-9A0B60182E9F}" dt="2020-10-08T15:26:14.903" v="3580" actId="47"/>
        <pc:sldMkLst>
          <pc:docMk/>
          <pc:sldMk cId="3581186725" sldId="257"/>
        </pc:sldMkLst>
      </pc:sldChg>
      <pc:sldChg chg="modSp add">
        <pc:chgData name="Mariam Daniela Tristancho Pineda (PTA SAS)" userId="a45a17f7-7950-4cb5-bfab-f5c894f959a9" providerId="ADAL" clId="{7EBB4E1E-93A9-4035-834A-9A0B60182E9F}" dt="2020-10-13T22:04:12.619" v="3786" actId="1076"/>
        <pc:sldMkLst>
          <pc:docMk/>
          <pc:sldMk cId="79256001" sldId="258"/>
        </pc:sldMkLst>
        <pc:spChg chg="mod">
          <ac:chgData name="Mariam Daniela Tristancho Pineda (PTA SAS)" userId="a45a17f7-7950-4cb5-bfab-f5c894f959a9" providerId="ADAL" clId="{7EBB4E1E-93A9-4035-834A-9A0B60182E9F}" dt="2020-10-13T22:04:12.619" v="3786" actId="1076"/>
          <ac:spMkLst>
            <pc:docMk/>
            <pc:sldMk cId="79256001" sldId="258"/>
            <ac:spMk id="12" creationId="{090C1320-6994-484E-A891-913C54413B2C}"/>
          </ac:spMkLst>
        </pc:spChg>
        <pc:spChg chg="mod">
          <ac:chgData name="Mariam Daniela Tristancho Pineda (PTA SAS)" userId="a45a17f7-7950-4cb5-bfab-f5c894f959a9" providerId="ADAL" clId="{7EBB4E1E-93A9-4035-834A-9A0B60182E9F}" dt="2020-10-13T22:04:12.619" v="3786" actId="1076"/>
          <ac:spMkLst>
            <pc:docMk/>
            <pc:sldMk cId="79256001" sldId="258"/>
            <ac:spMk id="13" creationId="{21EC57EB-0533-4E47-AA50-282AAFAC0C2F}"/>
          </ac:spMkLst>
        </pc:spChg>
        <pc:spChg chg="mod">
          <ac:chgData name="Mariam Daniela Tristancho Pineda (PTA SAS)" userId="a45a17f7-7950-4cb5-bfab-f5c894f959a9" providerId="ADAL" clId="{7EBB4E1E-93A9-4035-834A-9A0B60182E9F}" dt="2020-10-13T22:04:12.619" v="3786" actId="1076"/>
          <ac:spMkLst>
            <pc:docMk/>
            <pc:sldMk cId="79256001" sldId="258"/>
            <ac:spMk id="14" creationId="{D442C354-3ADD-B04D-B860-90F480313E1E}"/>
          </ac:spMkLst>
        </pc:spChg>
        <pc:spChg chg="mod">
          <ac:chgData name="Mariam Daniela Tristancho Pineda (PTA SAS)" userId="a45a17f7-7950-4cb5-bfab-f5c894f959a9" providerId="ADAL" clId="{7EBB4E1E-93A9-4035-834A-9A0B60182E9F}" dt="2020-10-13T22:04:12.619" v="3786" actId="1076"/>
          <ac:spMkLst>
            <pc:docMk/>
            <pc:sldMk cId="79256001" sldId="258"/>
            <ac:spMk id="15" creationId="{4E5DD6D4-184B-6245-9D44-B9BE5232C373}"/>
          </ac:spMkLst>
        </pc:spChg>
        <pc:spChg chg="mod">
          <ac:chgData name="Mariam Daniela Tristancho Pineda (PTA SAS)" userId="a45a17f7-7950-4cb5-bfab-f5c894f959a9" providerId="ADAL" clId="{7EBB4E1E-93A9-4035-834A-9A0B60182E9F}" dt="2020-10-13T22:04:12.619" v="3786" actId="1076"/>
          <ac:spMkLst>
            <pc:docMk/>
            <pc:sldMk cId="79256001" sldId="258"/>
            <ac:spMk id="16" creationId="{2816FD52-DCF4-C642-B5C7-2374B5897316}"/>
          </ac:spMkLst>
        </pc:spChg>
        <pc:spChg chg="mod">
          <ac:chgData name="Mariam Daniela Tristancho Pineda (PTA SAS)" userId="a45a17f7-7950-4cb5-bfab-f5c894f959a9" providerId="ADAL" clId="{7EBB4E1E-93A9-4035-834A-9A0B60182E9F}" dt="2020-10-13T22:04:12.619" v="3786" actId="1076"/>
          <ac:spMkLst>
            <pc:docMk/>
            <pc:sldMk cId="79256001" sldId="258"/>
            <ac:spMk id="17" creationId="{27C50117-71E2-594B-8DE8-F95F232BBD25}"/>
          </ac:spMkLst>
        </pc:spChg>
        <pc:spChg chg="mod">
          <ac:chgData name="Mariam Daniela Tristancho Pineda (PTA SAS)" userId="a45a17f7-7950-4cb5-bfab-f5c894f959a9" providerId="ADAL" clId="{7EBB4E1E-93A9-4035-834A-9A0B60182E9F}" dt="2020-10-13T22:04:12.619" v="3786" actId="1076"/>
          <ac:spMkLst>
            <pc:docMk/>
            <pc:sldMk cId="79256001" sldId="258"/>
            <ac:spMk id="18" creationId="{E7640469-FD64-0C4F-AB4C-D64B250C9D47}"/>
          </ac:spMkLst>
        </pc:spChg>
        <pc:spChg chg="mod">
          <ac:chgData name="Mariam Daniela Tristancho Pineda (PTA SAS)" userId="a45a17f7-7950-4cb5-bfab-f5c894f959a9" providerId="ADAL" clId="{7EBB4E1E-93A9-4035-834A-9A0B60182E9F}" dt="2020-10-13T22:04:12.619" v="3786" actId="1076"/>
          <ac:spMkLst>
            <pc:docMk/>
            <pc:sldMk cId="79256001" sldId="258"/>
            <ac:spMk id="19" creationId="{3A90D63D-516E-9941-8F3C-8D95623286A9}"/>
          </ac:spMkLst>
        </pc:spChg>
        <pc:spChg chg="mod">
          <ac:chgData name="Mariam Daniela Tristancho Pineda (PTA SAS)" userId="a45a17f7-7950-4cb5-bfab-f5c894f959a9" providerId="ADAL" clId="{7EBB4E1E-93A9-4035-834A-9A0B60182E9F}" dt="2020-10-13T22:04:12.619" v="3786" actId="1076"/>
          <ac:spMkLst>
            <pc:docMk/>
            <pc:sldMk cId="79256001" sldId="258"/>
            <ac:spMk id="20" creationId="{5733140C-0370-9E4B-812B-8D8D407DB286}"/>
          </ac:spMkLst>
        </pc:spChg>
        <pc:spChg chg="mod">
          <ac:chgData name="Mariam Daniela Tristancho Pineda (PTA SAS)" userId="a45a17f7-7950-4cb5-bfab-f5c894f959a9" providerId="ADAL" clId="{7EBB4E1E-93A9-4035-834A-9A0B60182E9F}" dt="2020-10-13T22:04:12.619" v="3786" actId="1076"/>
          <ac:spMkLst>
            <pc:docMk/>
            <pc:sldMk cId="79256001" sldId="258"/>
            <ac:spMk id="21" creationId="{3DF75C4D-AE82-D544-A1F0-8847388657E7}"/>
          </ac:spMkLst>
        </pc:spChg>
        <pc:spChg chg="mod">
          <ac:chgData name="Mariam Daniela Tristancho Pineda (PTA SAS)" userId="a45a17f7-7950-4cb5-bfab-f5c894f959a9" providerId="ADAL" clId="{7EBB4E1E-93A9-4035-834A-9A0B60182E9F}" dt="2020-10-13T22:04:12.619" v="3786" actId="1076"/>
          <ac:spMkLst>
            <pc:docMk/>
            <pc:sldMk cId="79256001" sldId="258"/>
            <ac:spMk id="22" creationId="{4554435D-2047-A842-92E7-E6D20BAF879E}"/>
          </ac:spMkLst>
        </pc:spChg>
        <pc:spChg chg="mod">
          <ac:chgData name="Mariam Daniela Tristancho Pineda (PTA SAS)" userId="a45a17f7-7950-4cb5-bfab-f5c894f959a9" providerId="ADAL" clId="{7EBB4E1E-93A9-4035-834A-9A0B60182E9F}" dt="2020-10-13T22:04:12.619" v="3786" actId="1076"/>
          <ac:spMkLst>
            <pc:docMk/>
            <pc:sldMk cId="79256001" sldId="258"/>
            <ac:spMk id="23" creationId="{1516991E-988E-544B-A816-FAC52864EC83}"/>
          </ac:spMkLst>
        </pc:spChg>
        <pc:spChg chg="mod">
          <ac:chgData name="Mariam Daniela Tristancho Pineda (PTA SAS)" userId="a45a17f7-7950-4cb5-bfab-f5c894f959a9" providerId="ADAL" clId="{7EBB4E1E-93A9-4035-834A-9A0B60182E9F}" dt="2020-10-13T22:04:12.619" v="3786" actId="1076"/>
          <ac:spMkLst>
            <pc:docMk/>
            <pc:sldMk cId="79256001" sldId="258"/>
            <ac:spMk id="24" creationId="{FE142598-CDDF-684A-8BF7-41BF664676F3}"/>
          </ac:spMkLst>
        </pc:spChg>
        <pc:spChg chg="mod">
          <ac:chgData name="Mariam Daniela Tristancho Pineda (PTA SAS)" userId="a45a17f7-7950-4cb5-bfab-f5c894f959a9" providerId="ADAL" clId="{7EBB4E1E-93A9-4035-834A-9A0B60182E9F}" dt="2020-10-13T22:04:12.619" v="3786" actId="1076"/>
          <ac:spMkLst>
            <pc:docMk/>
            <pc:sldMk cId="79256001" sldId="258"/>
            <ac:spMk id="25" creationId="{3E926638-3ADF-5842-9B9B-500B655F1DFB}"/>
          </ac:spMkLst>
        </pc:spChg>
        <pc:spChg chg="mod">
          <ac:chgData name="Mariam Daniela Tristancho Pineda (PTA SAS)" userId="a45a17f7-7950-4cb5-bfab-f5c894f959a9" providerId="ADAL" clId="{7EBB4E1E-93A9-4035-834A-9A0B60182E9F}" dt="2020-10-13T22:04:12.619" v="3786" actId="1076"/>
          <ac:spMkLst>
            <pc:docMk/>
            <pc:sldMk cId="79256001" sldId="258"/>
            <ac:spMk id="26" creationId="{6C408736-E65A-1E4C-9008-E2A375F33A02}"/>
          </ac:spMkLst>
        </pc:spChg>
        <pc:spChg chg="mod">
          <ac:chgData name="Mariam Daniela Tristancho Pineda (PTA SAS)" userId="a45a17f7-7950-4cb5-bfab-f5c894f959a9" providerId="ADAL" clId="{7EBB4E1E-93A9-4035-834A-9A0B60182E9F}" dt="2020-10-13T22:04:12.619" v="3786" actId="1076"/>
          <ac:spMkLst>
            <pc:docMk/>
            <pc:sldMk cId="79256001" sldId="258"/>
            <ac:spMk id="27" creationId="{30164589-AF63-904F-A66E-C469323BD2E6}"/>
          </ac:spMkLst>
        </pc:spChg>
        <pc:spChg chg="mod">
          <ac:chgData name="Mariam Daniela Tristancho Pineda (PTA SAS)" userId="a45a17f7-7950-4cb5-bfab-f5c894f959a9" providerId="ADAL" clId="{7EBB4E1E-93A9-4035-834A-9A0B60182E9F}" dt="2020-10-13T22:04:12.619" v="3786" actId="1076"/>
          <ac:spMkLst>
            <pc:docMk/>
            <pc:sldMk cId="79256001" sldId="258"/>
            <ac:spMk id="28" creationId="{43F79088-60FD-8145-B200-1C943CAFBBED}"/>
          </ac:spMkLst>
        </pc:spChg>
        <pc:spChg chg="mod">
          <ac:chgData name="Mariam Daniela Tristancho Pineda (PTA SAS)" userId="a45a17f7-7950-4cb5-bfab-f5c894f959a9" providerId="ADAL" clId="{7EBB4E1E-93A9-4035-834A-9A0B60182E9F}" dt="2020-10-13T22:04:12.619" v="3786" actId="1076"/>
          <ac:spMkLst>
            <pc:docMk/>
            <pc:sldMk cId="79256001" sldId="258"/>
            <ac:spMk id="29" creationId="{7C7C4743-BADF-1B40-A028-0F0F37687EBA}"/>
          </ac:spMkLst>
        </pc:spChg>
        <pc:spChg chg="mod">
          <ac:chgData name="Mariam Daniela Tristancho Pineda (PTA SAS)" userId="a45a17f7-7950-4cb5-bfab-f5c894f959a9" providerId="ADAL" clId="{7EBB4E1E-93A9-4035-834A-9A0B60182E9F}" dt="2020-10-13T22:04:12.619" v="3786" actId="1076"/>
          <ac:spMkLst>
            <pc:docMk/>
            <pc:sldMk cId="79256001" sldId="258"/>
            <ac:spMk id="30" creationId="{D2E5CC20-1819-8447-8781-68B88D249932}"/>
          </ac:spMkLst>
        </pc:spChg>
        <pc:spChg chg="mod">
          <ac:chgData name="Mariam Daniela Tristancho Pineda (PTA SAS)" userId="a45a17f7-7950-4cb5-bfab-f5c894f959a9" providerId="ADAL" clId="{7EBB4E1E-93A9-4035-834A-9A0B60182E9F}" dt="2020-10-13T22:04:12.619" v="3786" actId="1076"/>
          <ac:spMkLst>
            <pc:docMk/>
            <pc:sldMk cId="79256001" sldId="258"/>
            <ac:spMk id="31" creationId="{17F87D26-F4B3-8342-BD52-97C8C66FF9B3}"/>
          </ac:spMkLst>
        </pc:spChg>
        <pc:spChg chg="mod">
          <ac:chgData name="Mariam Daniela Tristancho Pineda (PTA SAS)" userId="a45a17f7-7950-4cb5-bfab-f5c894f959a9" providerId="ADAL" clId="{7EBB4E1E-93A9-4035-834A-9A0B60182E9F}" dt="2020-10-13T22:04:12.619" v="3786" actId="1076"/>
          <ac:spMkLst>
            <pc:docMk/>
            <pc:sldMk cId="79256001" sldId="258"/>
            <ac:spMk id="32" creationId="{0214F479-3FBB-0940-9024-8BF8EB4040ED}"/>
          </ac:spMkLst>
        </pc:spChg>
        <pc:spChg chg="mod">
          <ac:chgData name="Mariam Daniela Tristancho Pineda (PTA SAS)" userId="a45a17f7-7950-4cb5-bfab-f5c894f959a9" providerId="ADAL" clId="{7EBB4E1E-93A9-4035-834A-9A0B60182E9F}" dt="2020-10-13T22:04:12.619" v="3786" actId="1076"/>
          <ac:spMkLst>
            <pc:docMk/>
            <pc:sldMk cId="79256001" sldId="258"/>
            <ac:spMk id="33" creationId="{6D4E3C27-A98A-7C4B-9432-E18DD3F6C9FF}"/>
          </ac:spMkLst>
        </pc:spChg>
        <pc:spChg chg="mod">
          <ac:chgData name="Mariam Daniela Tristancho Pineda (PTA SAS)" userId="a45a17f7-7950-4cb5-bfab-f5c894f959a9" providerId="ADAL" clId="{7EBB4E1E-93A9-4035-834A-9A0B60182E9F}" dt="2020-10-13T22:04:12.619" v="3786" actId="1076"/>
          <ac:spMkLst>
            <pc:docMk/>
            <pc:sldMk cId="79256001" sldId="258"/>
            <ac:spMk id="34" creationId="{DD45D8B4-C4E3-3E46-9EA2-EF8598F112BA}"/>
          </ac:spMkLst>
        </pc:spChg>
        <pc:spChg chg="mod">
          <ac:chgData name="Mariam Daniela Tristancho Pineda (PTA SAS)" userId="a45a17f7-7950-4cb5-bfab-f5c894f959a9" providerId="ADAL" clId="{7EBB4E1E-93A9-4035-834A-9A0B60182E9F}" dt="2020-10-13T22:04:12.619" v="3786" actId="1076"/>
          <ac:spMkLst>
            <pc:docMk/>
            <pc:sldMk cId="79256001" sldId="258"/>
            <ac:spMk id="35" creationId="{5F99D43B-CDAC-EB4B-A035-30408FE67203}"/>
          </ac:spMkLst>
        </pc:spChg>
        <pc:spChg chg="mod">
          <ac:chgData name="Mariam Daniela Tristancho Pineda (PTA SAS)" userId="a45a17f7-7950-4cb5-bfab-f5c894f959a9" providerId="ADAL" clId="{7EBB4E1E-93A9-4035-834A-9A0B60182E9F}" dt="2020-10-13T22:04:12.619" v="3786" actId="1076"/>
          <ac:spMkLst>
            <pc:docMk/>
            <pc:sldMk cId="79256001" sldId="258"/>
            <ac:spMk id="36" creationId="{A31851A8-CD2F-544B-A65E-B9E87B4EE564}"/>
          </ac:spMkLst>
        </pc:spChg>
        <pc:spChg chg="mod">
          <ac:chgData name="Mariam Daniela Tristancho Pineda (PTA SAS)" userId="a45a17f7-7950-4cb5-bfab-f5c894f959a9" providerId="ADAL" clId="{7EBB4E1E-93A9-4035-834A-9A0B60182E9F}" dt="2020-10-13T22:04:12.619" v="3786" actId="1076"/>
          <ac:spMkLst>
            <pc:docMk/>
            <pc:sldMk cId="79256001" sldId="258"/>
            <ac:spMk id="37" creationId="{37449BD8-8406-154B-8C21-A7F70DA87375}"/>
          </ac:spMkLst>
        </pc:spChg>
        <pc:spChg chg="mod">
          <ac:chgData name="Mariam Daniela Tristancho Pineda (PTA SAS)" userId="a45a17f7-7950-4cb5-bfab-f5c894f959a9" providerId="ADAL" clId="{7EBB4E1E-93A9-4035-834A-9A0B60182E9F}" dt="2020-10-13T22:04:12.619" v="3786" actId="1076"/>
          <ac:spMkLst>
            <pc:docMk/>
            <pc:sldMk cId="79256001" sldId="258"/>
            <ac:spMk id="38" creationId="{27D211E2-BCFC-654C-ABE0-6D6151689554}"/>
          </ac:spMkLst>
        </pc:spChg>
        <pc:spChg chg="mod">
          <ac:chgData name="Mariam Daniela Tristancho Pineda (PTA SAS)" userId="a45a17f7-7950-4cb5-bfab-f5c894f959a9" providerId="ADAL" clId="{7EBB4E1E-93A9-4035-834A-9A0B60182E9F}" dt="2020-10-13T22:04:12.619" v="3786" actId="1076"/>
          <ac:spMkLst>
            <pc:docMk/>
            <pc:sldMk cId="79256001" sldId="258"/>
            <ac:spMk id="39" creationId="{201393E1-987D-9745-BED3-AF761D8E9666}"/>
          </ac:spMkLst>
        </pc:spChg>
        <pc:spChg chg="mod">
          <ac:chgData name="Mariam Daniela Tristancho Pineda (PTA SAS)" userId="a45a17f7-7950-4cb5-bfab-f5c894f959a9" providerId="ADAL" clId="{7EBB4E1E-93A9-4035-834A-9A0B60182E9F}" dt="2020-10-13T22:04:12.619" v="3786" actId="1076"/>
          <ac:spMkLst>
            <pc:docMk/>
            <pc:sldMk cId="79256001" sldId="258"/>
            <ac:spMk id="46" creationId="{3A16BB13-572D-624C-98C6-AC1F4675FAC9}"/>
          </ac:spMkLst>
        </pc:spChg>
        <pc:spChg chg="mod">
          <ac:chgData name="Mariam Daniela Tristancho Pineda (PTA SAS)" userId="a45a17f7-7950-4cb5-bfab-f5c894f959a9" providerId="ADAL" clId="{7EBB4E1E-93A9-4035-834A-9A0B60182E9F}" dt="2020-10-13T22:04:12.619" v="3786" actId="1076"/>
          <ac:spMkLst>
            <pc:docMk/>
            <pc:sldMk cId="79256001" sldId="258"/>
            <ac:spMk id="47" creationId="{8C325362-5400-E547-9C5B-B8C80D083428}"/>
          </ac:spMkLst>
        </pc:spChg>
        <pc:spChg chg="mod">
          <ac:chgData name="Mariam Daniela Tristancho Pineda (PTA SAS)" userId="a45a17f7-7950-4cb5-bfab-f5c894f959a9" providerId="ADAL" clId="{7EBB4E1E-93A9-4035-834A-9A0B60182E9F}" dt="2020-10-13T22:04:12.619" v="3786" actId="1076"/>
          <ac:spMkLst>
            <pc:docMk/>
            <pc:sldMk cId="79256001" sldId="258"/>
            <ac:spMk id="48" creationId="{7AF7773A-437D-884B-9A70-0F6DB024980F}"/>
          </ac:spMkLst>
        </pc:spChg>
        <pc:spChg chg="mod">
          <ac:chgData name="Mariam Daniela Tristancho Pineda (PTA SAS)" userId="a45a17f7-7950-4cb5-bfab-f5c894f959a9" providerId="ADAL" clId="{7EBB4E1E-93A9-4035-834A-9A0B60182E9F}" dt="2020-10-13T22:04:12.619" v="3786" actId="1076"/>
          <ac:spMkLst>
            <pc:docMk/>
            <pc:sldMk cId="79256001" sldId="258"/>
            <ac:spMk id="51" creationId="{F1B8782F-24EB-684D-9550-E6CD4E7C74F0}"/>
          </ac:spMkLst>
        </pc:spChg>
        <pc:spChg chg="mod">
          <ac:chgData name="Mariam Daniela Tristancho Pineda (PTA SAS)" userId="a45a17f7-7950-4cb5-bfab-f5c894f959a9" providerId="ADAL" clId="{7EBB4E1E-93A9-4035-834A-9A0B60182E9F}" dt="2020-10-13T22:04:12.619" v="3786" actId="1076"/>
          <ac:spMkLst>
            <pc:docMk/>
            <pc:sldMk cId="79256001" sldId="258"/>
            <ac:spMk id="52" creationId="{78AB6B13-BA6A-0B41-AFE9-752B0136F818}"/>
          </ac:spMkLst>
        </pc:spChg>
        <pc:spChg chg="mod">
          <ac:chgData name="Mariam Daniela Tristancho Pineda (PTA SAS)" userId="a45a17f7-7950-4cb5-bfab-f5c894f959a9" providerId="ADAL" clId="{7EBB4E1E-93A9-4035-834A-9A0B60182E9F}" dt="2020-10-13T22:04:12.619" v="3786" actId="1076"/>
          <ac:spMkLst>
            <pc:docMk/>
            <pc:sldMk cId="79256001" sldId="258"/>
            <ac:spMk id="53" creationId="{23F15020-E526-3946-9A1A-ECE8C4611149}"/>
          </ac:spMkLst>
        </pc:spChg>
        <pc:picChg chg="mod">
          <ac:chgData name="Mariam Daniela Tristancho Pineda (PTA SAS)" userId="a45a17f7-7950-4cb5-bfab-f5c894f959a9" providerId="ADAL" clId="{7EBB4E1E-93A9-4035-834A-9A0B60182E9F}" dt="2020-10-13T22:04:12.619" v="3786" actId="1076"/>
          <ac:picMkLst>
            <pc:docMk/>
            <pc:sldMk cId="79256001" sldId="258"/>
            <ac:picMk id="40" creationId="{47479E3D-AB29-CB43-8A56-3573FF2A6027}"/>
          </ac:picMkLst>
        </pc:picChg>
        <pc:picChg chg="mod">
          <ac:chgData name="Mariam Daniela Tristancho Pineda (PTA SAS)" userId="a45a17f7-7950-4cb5-bfab-f5c894f959a9" providerId="ADAL" clId="{7EBB4E1E-93A9-4035-834A-9A0B60182E9F}" dt="2020-10-13T22:04:12.619" v="3786" actId="1076"/>
          <ac:picMkLst>
            <pc:docMk/>
            <pc:sldMk cId="79256001" sldId="258"/>
            <ac:picMk id="41" creationId="{1FEE7DF4-3FF6-474C-94DF-241B045E0351}"/>
          </ac:picMkLst>
        </pc:picChg>
        <pc:picChg chg="mod">
          <ac:chgData name="Mariam Daniela Tristancho Pineda (PTA SAS)" userId="a45a17f7-7950-4cb5-bfab-f5c894f959a9" providerId="ADAL" clId="{7EBB4E1E-93A9-4035-834A-9A0B60182E9F}" dt="2020-10-13T22:04:12.619" v="3786" actId="1076"/>
          <ac:picMkLst>
            <pc:docMk/>
            <pc:sldMk cId="79256001" sldId="258"/>
            <ac:picMk id="42" creationId="{D24E3E24-A6DF-2E40-B551-BFA4581BB5EC}"/>
          </ac:picMkLst>
        </pc:picChg>
        <pc:picChg chg="mod">
          <ac:chgData name="Mariam Daniela Tristancho Pineda (PTA SAS)" userId="a45a17f7-7950-4cb5-bfab-f5c894f959a9" providerId="ADAL" clId="{7EBB4E1E-93A9-4035-834A-9A0B60182E9F}" dt="2020-10-13T22:04:12.619" v="3786" actId="1076"/>
          <ac:picMkLst>
            <pc:docMk/>
            <pc:sldMk cId="79256001" sldId="258"/>
            <ac:picMk id="43" creationId="{66DCB0E8-2FEC-9E48-B14B-0E6ABED98DBD}"/>
          </ac:picMkLst>
        </pc:picChg>
        <pc:picChg chg="mod">
          <ac:chgData name="Mariam Daniela Tristancho Pineda (PTA SAS)" userId="a45a17f7-7950-4cb5-bfab-f5c894f959a9" providerId="ADAL" clId="{7EBB4E1E-93A9-4035-834A-9A0B60182E9F}" dt="2020-10-13T22:04:12.619" v="3786" actId="1076"/>
          <ac:picMkLst>
            <pc:docMk/>
            <pc:sldMk cId="79256001" sldId="258"/>
            <ac:picMk id="44" creationId="{86D5500F-30F1-0D43-9511-3005A9240EC8}"/>
          </ac:picMkLst>
        </pc:picChg>
        <pc:picChg chg="mod">
          <ac:chgData name="Mariam Daniela Tristancho Pineda (PTA SAS)" userId="a45a17f7-7950-4cb5-bfab-f5c894f959a9" providerId="ADAL" clId="{7EBB4E1E-93A9-4035-834A-9A0B60182E9F}" dt="2020-10-13T22:04:12.619" v="3786" actId="1076"/>
          <ac:picMkLst>
            <pc:docMk/>
            <pc:sldMk cId="79256001" sldId="258"/>
            <ac:picMk id="45" creationId="{8CDFB431-E605-E646-821C-E95A978A0189}"/>
          </ac:picMkLst>
        </pc:picChg>
      </pc:sldChg>
      <pc:sldChg chg="add">
        <pc:chgData name="Mariam Daniela Tristancho Pineda (PTA SAS)" userId="a45a17f7-7950-4cb5-bfab-f5c894f959a9" providerId="ADAL" clId="{7EBB4E1E-93A9-4035-834A-9A0B60182E9F}" dt="2020-10-13T13:09:52.288" v="3694"/>
        <pc:sldMkLst>
          <pc:docMk/>
          <pc:sldMk cId="1701447597" sldId="263"/>
        </pc:sldMkLst>
      </pc:sldChg>
      <pc:sldChg chg="add">
        <pc:chgData name="Mariam Daniela Tristancho Pineda (PTA SAS)" userId="a45a17f7-7950-4cb5-bfab-f5c894f959a9" providerId="ADAL" clId="{7EBB4E1E-93A9-4035-834A-9A0B60182E9F}" dt="2020-10-13T23:32:25.113" v="3839"/>
        <pc:sldMkLst>
          <pc:docMk/>
          <pc:sldMk cId="3844388932" sldId="264"/>
        </pc:sldMkLst>
      </pc:sldChg>
      <pc:sldChg chg="add">
        <pc:chgData name="Mariam Daniela Tristancho Pineda (PTA SAS)" userId="a45a17f7-7950-4cb5-bfab-f5c894f959a9" providerId="ADAL" clId="{7EBB4E1E-93A9-4035-834A-9A0B60182E9F}" dt="2020-10-13T13:09:52.288" v="3694"/>
        <pc:sldMkLst>
          <pc:docMk/>
          <pc:sldMk cId="573704206" sldId="279"/>
        </pc:sldMkLst>
      </pc:sldChg>
      <pc:sldChg chg="add">
        <pc:chgData name="Mariam Daniela Tristancho Pineda (PTA SAS)" userId="a45a17f7-7950-4cb5-bfab-f5c894f959a9" providerId="ADAL" clId="{7EBB4E1E-93A9-4035-834A-9A0B60182E9F}" dt="2020-10-13T21:39:46.904" v="3697"/>
        <pc:sldMkLst>
          <pc:docMk/>
          <pc:sldMk cId="1701384957" sldId="280"/>
        </pc:sldMkLst>
      </pc:sldChg>
      <pc:sldChg chg="delSp add del mod setBg">
        <pc:chgData name="Mariam Daniela Tristancho Pineda (PTA SAS)" userId="a45a17f7-7950-4cb5-bfab-f5c894f959a9" providerId="ADAL" clId="{7EBB4E1E-93A9-4035-834A-9A0B60182E9F}" dt="2020-10-08T15:27:35.064" v="3582" actId="47"/>
        <pc:sldMkLst>
          <pc:docMk/>
          <pc:sldMk cId="1900757941" sldId="282"/>
        </pc:sldMkLst>
        <pc:picChg chg="del">
          <ac:chgData name="Mariam Daniela Tristancho Pineda (PTA SAS)" userId="a45a17f7-7950-4cb5-bfab-f5c894f959a9" providerId="ADAL" clId="{7EBB4E1E-93A9-4035-834A-9A0B60182E9F}" dt="2020-10-08T15:27:13.186" v="3581" actId="478"/>
          <ac:picMkLst>
            <pc:docMk/>
            <pc:sldMk cId="1900757941" sldId="282"/>
            <ac:picMk id="10" creationId="{00000000-0000-0000-0000-000000000000}"/>
          </ac:picMkLst>
        </pc:picChg>
      </pc:sldChg>
      <pc:sldChg chg="add setBg">
        <pc:chgData name="Mariam Daniela Tristancho Pineda (PTA SAS)" userId="a45a17f7-7950-4cb5-bfab-f5c894f959a9" providerId="ADAL" clId="{7EBB4E1E-93A9-4035-834A-9A0B60182E9F}" dt="2020-10-13T13:09:52.288" v="3694"/>
        <pc:sldMkLst>
          <pc:docMk/>
          <pc:sldMk cId="2374507134" sldId="282"/>
        </pc:sldMkLst>
      </pc:sldChg>
      <pc:sldChg chg="add setBg">
        <pc:chgData name="Mariam Daniela Tristancho Pineda (PTA SAS)" userId="a45a17f7-7950-4cb5-bfab-f5c894f959a9" providerId="ADAL" clId="{7EBB4E1E-93A9-4035-834A-9A0B60182E9F}" dt="2020-10-13T13:09:52.288" v="3694"/>
        <pc:sldMkLst>
          <pc:docMk/>
          <pc:sldMk cId="1553431596" sldId="283"/>
        </pc:sldMkLst>
      </pc:sldChg>
      <pc:sldChg chg="add setBg">
        <pc:chgData name="Mariam Daniela Tristancho Pineda (PTA SAS)" userId="a45a17f7-7950-4cb5-bfab-f5c894f959a9" providerId="ADAL" clId="{7EBB4E1E-93A9-4035-834A-9A0B60182E9F}" dt="2020-10-13T13:09:52.288" v="3694"/>
        <pc:sldMkLst>
          <pc:docMk/>
          <pc:sldMk cId="1152085915" sldId="284"/>
        </pc:sldMkLst>
      </pc:sldChg>
      <pc:sldChg chg="add setBg">
        <pc:chgData name="Mariam Daniela Tristancho Pineda (PTA SAS)" userId="a45a17f7-7950-4cb5-bfab-f5c894f959a9" providerId="ADAL" clId="{7EBB4E1E-93A9-4035-834A-9A0B60182E9F}" dt="2020-10-13T13:09:52.288" v="3694"/>
        <pc:sldMkLst>
          <pc:docMk/>
          <pc:sldMk cId="3864960676" sldId="286"/>
        </pc:sldMkLst>
      </pc:sldChg>
      <pc:sldChg chg="add setBg">
        <pc:chgData name="Mariam Daniela Tristancho Pineda (PTA SAS)" userId="a45a17f7-7950-4cb5-bfab-f5c894f959a9" providerId="ADAL" clId="{7EBB4E1E-93A9-4035-834A-9A0B60182E9F}" dt="2020-10-13T13:09:52.288" v="3694"/>
        <pc:sldMkLst>
          <pc:docMk/>
          <pc:sldMk cId="3839694801" sldId="287"/>
        </pc:sldMkLst>
      </pc:sldChg>
      <pc:sldChg chg="modSp add mod">
        <pc:chgData name="Mariam Daniela Tristancho Pineda (PTA SAS)" userId="a45a17f7-7950-4cb5-bfab-f5c894f959a9" providerId="ADAL" clId="{7EBB4E1E-93A9-4035-834A-9A0B60182E9F}" dt="2020-10-06T16:20:31.188" v="893" actId="20577"/>
        <pc:sldMkLst>
          <pc:docMk/>
          <pc:sldMk cId="1046801049" sldId="288"/>
        </pc:sldMkLst>
        <pc:spChg chg="mod">
          <ac:chgData name="Mariam Daniela Tristancho Pineda (PTA SAS)" userId="a45a17f7-7950-4cb5-bfab-f5c894f959a9" providerId="ADAL" clId="{7EBB4E1E-93A9-4035-834A-9A0B60182E9F}" dt="2020-10-06T16:20:31.188" v="893" actId="20577"/>
          <ac:spMkLst>
            <pc:docMk/>
            <pc:sldMk cId="1046801049" sldId="288"/>
            <ac:spMk id="17" creationId="{D90E3A1E-2F31-41DC-B883-AFD300F30ED5}"/>
          </ac:spMkLst>
        </pc:spChg>
        <pc:spChg chg="mod">
          <ac:chgData name="Mariam Daniela Tristancho Pineda (PTA SAS)" userId="a45a17f7-7950-4cb5-bfab-f5c894f959a9" providerId="ADAL" clId="{7EBB4E1E-93A9-4035-834A-9A0B60182E9F}" dt="2020-10-06T16:18:08.819" v="868" actId="1038"/>
          <ac:spMkLst>
            <pc:docMk/>
            <pc:sldMk cId="1046801049" sldId="288"/>
            <ac:spMk id="20" creationId="{BA71CAB1-059A-4682-B7CE-73D93DC727F2}"/>
          </ac:spMkLst>
        </pc:spChg>
        <pc:spChg chg="mod">
          <ac:chgData name="Mariam Daniela Tristancho Pineda (PTA SAS)" userId="a45a17f7-7950-4cb5-bfab-f5c894f959a9" providerId="ADAL" clId="{7EBB4E1E-93A9-4035-834A-9A0B60182E9F}" dt="2020-10-06T16:18:08.819" v="868" actId="1038"/>
          <ac:spMkLst>
            <pc:docMk/>
            <pc:sldMk cId="1046801049" sldId="288"/>
            <ac:spMk id="42" creationId="{8C6C9463-38E0-44BF-A606-AD2FAE25F4EF}"/>
          </ac:spMkLst>
        </pc:spChg>
        <pc:spChg chg="mod">
          <ac:chgData name="Mariam Daniela Tristancho Pineda (PTA SAS)" userId="a45a17f7-7950-4cb5-bfab-f5c894f959a9" providerId="ADAL" clId="{7EBB4E1E-93A9-4035-834A-9A0B60182E9F}" dt="2020-10-06T16:18:08.819" v="868" actId="1038"/>
          <ac:spMkLst>
            <pc:docMk/>
            <pc:sldMk cId="1046801049" sldId="288"/>
            <ac:spMk id="48" creationId="{3D5B9A0C-A094-44A4-8CD7-BD8B7612947C}"/>
          </ac:spMkLst>
        </pc:spChg>
        <pc:spChg chg="mod">
          <ac:chgData name="Mariam Daniela Tristancho Pineda (PTA SAS)" userId="a45a17f7-7950-4cb5-bfab-f5c894f959a9" providerId="ADAL" clId="{7EBB4E1E-93A9-4035-834A-9A0B60182E9F}" dt="2020-10-06T16:18:08.819" v="868" actId="1038"/>
          <ac:spMkLst>
            <pc:docMk/>
            <pc:sldMk cId="1046801049" sldId="288"/>
            <ac:spMk id="50" creationId="{A92FB6B2-22A2-4568-A9CA-7C97419CC0A1}"/>
          </ac:spMkLst>
        </pc:spChg>
        <pc:spChg chg="mod">
          <ac:chgData name="Mariam Daniela Tristancho Pineda (PTA SAS)" userId="a45a17f7-7950-4cb5-bfab-f5c894f959a9" providerId="ADAL" clId="{7EBB4E1E-93A9-4035-834A-9A0B60182E9F}" dt="2020-10-06T16:18:08.819" v="868" actId="1038"/>
          <ac:spMkLst>
            <pc:docMk/>
            <pc:sldMk cId="1046801049" sldId="288"/>
            <ac:spMk id="54" creationId="{CD2E0FE5-7403-40BC-BD69-19937EDD1C27}"/>
          </ac:spMkLst>
        </pc:spChg>
        <pc:spChg chg="mod">
          <ac:chgData name="Mariam Daniela Tristancho Pineda (PTA SAS)" userId="a45a17f7-7950-4cb5-bfab-f5c894f959a9" providerId="ADAL" clId="{7EBB4E1E-93A9-4035-834A-9A0B60182E9F}" dt="2020-10-06T16:18:08.819" v="868" actId="1038"/>
          <ac:spMkLst>
            <pc:docMk/>
            <pc:sldMk cId="1046801049" sldId="288"/>
            <ac:spMk id="60" creationId="{63D96A83-7AC3-44B6-B68B-2AB5BFE50843}"/>
          </ac:spMkLst>
        </pc:spChg>
        <pc:spChg chg="mod">
          <ac:chgData name="Mariam Daniela Tristancho Pineda (PTA SAS)" userId="a45a17f7-7950-4cb5-bfab-f5c894f959a9" providerId="ADAL" clId="{7EBB4E1E-93A9-4035-834A-9A0B60182E9F}" dt="2020-10-06T16:18:08.819" v="868" actId="1038"/>
          <ac:spMkLst>
            <pc:docMk/>
            <pc:sldMk cId="1046801049" sldId="288"/>
            <ac:spMk id="91" creationId="{07CBC177-9FC6-C343-A97F-7D9FD1AD4A40}"/>
          </ac:spMkLst>
        </pc:spChg>
        <pc:spChg chg="mod">
          <ac:chgData name="Mariam Daniela Tristancho Pineda (PTA SAS)" userId="a45a17f7-7950-4cb5-bfab-f5c894f959a9" providerId="ADAL" clId="{7EBB4E1E-93A9-4035-834A-9A0B60182E9F}" dt="2020-10-06T16:18:08.819" v="868" actId="1038"/>
          <ac:spMkLst>
            <pc:docMk/>
            <pc:sldMk cId="1046801049" sldId="288"/>
            <ac:spMk id="93" creationId="{821B7FB2-45AC-7943-9211-8C5A56B0B1D0}"/>
          </ac:spMkLst>
        </pc:spChg>
        <pc:spChg chg="mod">
          <ac:chgData name="Mariam Daniela Tristancho Pineda (PTA SAS)" userId="a45a17f7-7950-4cb5-bfab-f5c894f959a9" providerId="ADAL" clId="{7EBB4E1E-93A9-4035-834A-9A0B60182E9F}" dt="2020-10-06T16:18:08.819" v="868" actId="1038"/>
          <ac:spMkLst>
            <pc:docMk/>
            <pc:sldMk cId="1046801049" sldId="288"/>
            <ac:spMk id="94" creationId="{4B1C927A-9904-0645-BCA2-25CA2CAF52C5}"/>
          </ac:spMkLst>
        </pc:spChg>
        <pc:spChg chg="mod">
          <ac:chgData name="Mariam Daniela Tristancho Pineda (PTA SAS)" userId="a45a17f7-7950-4cb5-bfab-f5c894f959a9" providerId="ADAL" clId="{7EBB4E1E-93A9-4035-834A-9A0B60182E9F}" dt="2020-10-06T16:18:08.819" v="868" actId="1038"/>
          <ac:spMkLst>
            <pc:docMk/>
            <pc:sldMk cId="1046801049" sldId="288"/>
            <ac:spMk id="99" creationId="{F7274B33-B192-4347-A044-6DC3E078F83D}"/>
          </ac:spMkLst>
        </pc:spChg>
        <pc:spChg chg="mod">
          <ac:chgData name="Mariam Daniela Tristancho Pineda (PTA SAS)" userId="a45a17f7-7950-4cb5-bfab-f5c894f959a9" providerId="ADAL" clId="{7EBB4E1E-93A9-4035-834A-9A0B60182E9F}" dt="2020-10-06T16:18:08.819" v="868" actId="1038"/>
          <ac:spMkLst>
            <pc:docMk/>
            <pc:sldMk cId="1046801049" sldId="288"/>
            <ac:spMk id="106" creationId="{88C01678-B2F7-1045-90CD-53A08DDEB55A}"/>
          </ac:spMkLst>
        </pc:spChg>
        <pc:spChg chg="mod">
          <ac:chgData name="Mariam Daniela Tristancho Pineda (PTA SAS)" userId="a45a17f7-7950-4cb5-bfab-f5c894f959a9" providerId="ADAL" clId="{7EBB4E1E-93A9-4035-834A-9A0B60182E9F}" dt="2020-10-06T16:18:08.819" v="868" actId="1038"/>
          <ac:spMkLst>
            <pc:docMk/>
            <pc:sldMk cId="1046801049" sldId="288"/>
            <ac:spMk id="109" creationId="{DC6FE364-503B-7946-8E38-C2A6F34B3F59}"/>
          </ac:spMkLst>
        </pc:spChg>
        <pc:spChg chg="mod">
          <ac:chgData name="Mariam Daniela Tristancho Pineda (PTA SAS)" userId="a45a17f7-7950-4cb5-bfab-f5c894f959a9" providerId="ADAL" clId="{7EBB4E1E-93A9-4035-834A-9A0B60182E9F}" dt="2020-10-06T16:18:08.819" v="868" actId="1038"/>
          <ac:spMkLst>
            <pc:docMk/>
            <pc:sldMk cId="1046801049" sldId="288"/>
            <ac:spMk id="110" creationId="{86D16295-E7AA-AD4A-BBAC-9BD05EEA09B8}"/>
          </ac:spMkLst>
        </pc:spChg>
        <pc:spChg chg="mod">
          <ac:chgData name="Mariam Daniela Tristancho Pineda (PTA SAS)" userId="a45a17f7-7950-4cb5-bfab-f5c894f959a9" providerId="ADAL" clId="{7EBB4E1E-93A9-4035-834A-9A0B60182E9F}" dt="2020-10-06T16:18:08.819" v="868" actId="1038"/>
          <ac:spMkLst>
            <pc:docMk/>
            <pc:sldMk cId="1046801049" sldId="288"/>
            <ac:spMk id="111" creationId="{C9BEE47A-869F-5147-B51D-BCF46C0AE4A1}"/>
          </ac:spMkLst>
        </pc:spChg>
        <pc:picChg chg="mod">
          <ac:chgData name="Mariam Daniela Tristancho Pineda (PTA SAS)" userId="a45a17f7-7950-4cb5-bfab-f5c894f959a9" providerId="ADAL" clId="{7EBB4E1E-93A9-4035-834A-9A0B60182E9F}" dt="2020-10-06T16:18:08.819" v="868" actId="1038"/>
          <ac:picMkLst>
            <pc:docMk/>
            <pc:sldMk cId="1046801049" sldId="288"/>
            <ac:picMk id="33" creationId="{52F0AC2F-4F50-514E-BAC5-40FB8FFE3B9F}"/>
          </ac:picMkLst>
        </pc:picChg>
        <pc:picChg chg="mod">
          <ac:chgData name="Mariam Daniela Tristancho Pineda (PTA SAS)" userId="a45a17f7-7950-4cb5-bfab-f5c894f959a9" providerId="ADAL" clId="{7EBB4E1E-93A9-4035-834A-9A0B60182E9F}" dt="2020-10-06T16:18:08.819" v="868" actId="1038"/>
          <ac:picMkLst>
            <pc:docMk/>
            <pc:sldMk cId="1046801049" sldId="288"/>
            <ac:picMk id="101" creationId="{D30FAB84-6765-4EA7-8B2C-0B76621F31E4}"/>
          </ac:picMkLst>
        </pc:picChg>
        <pc:picChg chg="mod">
          <ac:chgData name="Mariam Daniela Tristancho Pineda (PTA SAS)" userId="a45a17f7-7950-4cb5-bfab-f5c894f959a9" providerId="ADAL" clId="{7EBB4E1E-93A9-4035-834A-9A0B60182E9F}" dt="2020-10-06T16:18:16.940" v="870" actId="1076"/>
          <ac:picMkLst>
            <pc:docMk/>
            <pc:sldMk cId="1046801049" sldId="288"/>
            <ac:picMk id="103" creationId="{7C64DD4C-B66D-4C04-B15D-EDBF75D4827D}"/>
          </ac:picMkLst>
        </pc:picChg>
        <pc:picChg chg="mod">
          <ac:chgData name="Mariam Daniela Tristancho Pineda (PTA SAS)" userId="a45a17f7-7950-4cb5-bfab-f5c894f959a9" providerId="ADAL" clId="{7EBB4E1E-93A9-4035-834A-9A0B60182E9F}" dt="2020-10-06T16:18:29.713" v="872" actId="1076"/>
          <ac:picMkLst>
            <pc:docMk/>
            <pc:sldMk cId="1046801049" sldId="288"/>
            <ac:picMk id="105" creationId="{D28A723D-BE5C-4CCD-BB55-26CC0939C143}"/>
          </ac:picMkLst>
        </pc:picChg>
        <pc:picChg chg="mod">
          <ac:chgData name="Mariam Daniela Tristancho Pineda (PTA SAS)" userId="a45a17f7-7950-4cb5-bfab-f5c894f959a9" providerId="ADAL" clId="{7EBB4E1E-93A9-4035-834A-9A0B60182E9F}" dt="2020-10-06T16:18:08.819" v="868" actId="1038"/>
          <ac:picMkLst>
            <pc:docMk/>
            <pc:sldMk cId="1046801049" sldId="288"/>
            <ac:picMk id="107" creationId="{DDDCB467-82D2-4906-8E14-265CD169797B}"/>
          </ac:picMkLst>
        </pc:picChg>
        <pc:picChg chg="mod">
          <ac:chgData name="Mariam Daniela Tristancho Pineda (PTA SAS)" userId="a45a17f7-7950-4cb5-bfab-f5c894f959a9" providerId="ADAL" clId="{7EBB4E1E-93A9-4035-834A-9A0B60182E9F}" dt="2020-10-06T16:18:08.819" v="868" actId="1038"/>
          <ac:picMkLst>
            <pc:docMk/>
            <pc:sldMk cId="1046801049" sldId="288"/>
            <ac:picMk id="135" creationId="{4E16E3A8-711F-4172-B56E-43B025F29A3E}"/>
          </ac:picMkLst>
        </pc:picChg>
      </pc:sldChg>
      <pc:sldChg chg="addSp delSp modSp add mod setBg">
        <pc:chgData name="Mariam Daniela Tristancho Pineda (PTA SAS)" userId="a45a17f7-7950-4cb5-bfab-f5c894f959a9" providerId="ADAL" clId="{7EBB4E1E-93A9-4035-834A-9A0B60182E9F}" dt="2020-10-13T21:51:20.875" v="3769" actId="1037"/>
        <pc:sldMkLst>
          <pc:docMk/>
          <pc:sldMk cId="676461558" sldId="291"/>
        </pc:sldMkLst>
        <pc:spChg chg="add mod">
          <ac:chgData name="Mariam Daniela Tristancho Pineda (PTA SAS)" userId="a45a17f7-7950-4cb5-bfab-f5c894f959a9" providerId="ADAL" clId="{7EBB4E1E-93A9-4035-834A-9A0B60182E9F}" dt="2020-10-08T15:27:49.555" v="3593" actId="1076"/>
          <ac:spMkLst>
            <pc:docMk/>
            <pc:sldMk cId="676461558" sldId="291"/>
            <ac:spMk id="2" creationId="{7D76A58A-375F-4061-9D4C-651C14864658}"/>
          </ac:spMkLst>
        </pc:spChg>
        <pc:spChg chg="mod">
          <ac:chgData name="Mariam Daniela Tristancho Pineda (PTA SAS)" userId="a45a17f7-7950-4cb5-bfab-f5c894f959a9" providerId="ADAL" clId="{7EBB4E1E-93A9-4035-834A-9A0B60182E9F}" dt="2020-10-13T21:43:01.845" v="3732" actId="478"/>
          <ac:spMkLst>
            <pc:docMk/>
            <pc:sldMk cId="676461558" sldId="291"/>
            <ac:spMk id="75" creationId="{5B8CCDEC-3063-4086-81AC-9F72052576DB}"/>
          </ac:spMkLst>
        </pc:spChg>
        <pc:spChg chg="mod">
          <ac:chgData name="Mariam Daniela Tristancho Pineda (PTA SAS)" userId="a45a17f7-7950-4cb5-bfab-f5c894f959a9" providerId="ADAL" clId="{7EBB4E1E-93A9-4035-834A-9A0B60182E9F}" dt="2020-10-13T21:51:20.875" v="3769" actId="1037"/>
          <ac:spMkLst>
            <pc:docMk/>
            <pc:sldMk cId="676461558" sldId="291"/>
            <ac:spMk id="76" creationId="{EEF9D3BD-0FCD-4E3B-A30D-451C7AAF6633}"/>
          </ac:spMkLst>
        </pc:spChg>
        <pc:spChg chg="mod">
          <ac:chgData name="Mariam Daniela Tristancho Pineda (PTA SAS)" userId="a45a17f7-7950-4cb5-bfab-f5c894f959a9" providerId="ADAL" clId="{7EBB4E1E-93A9-4035-834A-9A0B60182E9F}" dt="2020-10-13T21:51:12.615" v="3753" actId="1035"/>
          <ac:spMkLst>
            <pc:docMk/>
            <pc:sldMk cId="676461558" sldId="291"/>
            <ac:spMk id="77" creationId="{44DAAF07-704B-4AD2-9029-4FE6270429E3}"/>
          </ac:spMkLst>
        </pc:spChg>
        <pc:spChg chg="mod">
          <ac:chgData name="Mariam Daniela Tristancho Pineda (PTA SAS)" userId="a45a17f7-7950-4cb5-bfab-f5c894f959a9" providerId="ADAL" clId="{7EBB4E1E-93A9-4035-834A-9A0B60182E9F}" dt="2020-10-13T21:43:01.845" v="3732" actId="478"/>
          <ac:spMkLst>
            <pc:docMk/>
            <pc:sldMk cId="676461558" sldId="291"/>
            <ac:spMk id="78" creationId="{D7ED818D-DF43-4887-9FC6-46A86EADD745}"/>
          </ac:spMkLst>
        </pc:spChg>
        <pc:spChg chg="mod">
          <ac:chgData name="Mariam Daniela Tristancho Pineda (PTA SAS)" userId="a45a17f7-7950-4cb5-bfab-f5c894f959a9" providerId="ADAL" clId="{7EBB4E1E-93A9-4035-834A-9A0B60182E9F}" dt="2020-10-13T21:43:01.845" v="3732" actId="478"/>
          <ac:spMkLst>
            <pc:docMk/>
            <pc:sldMk cId="676461558" sldId="291"/>
            <ac:spMk id="79" creationId="{7BFD4651-C124-4098-991C-AAEA34B50BD1}"/>
          </ac:spMkLst>
        </pc:spChg>
        <pc:spChg chg="mod">
          <ac:chgData name="Mariam Daniela Tristancho Pineda (PTA SAS)" userId="a45a17f7-7950-4cb5-bfab-f5c894f959a9" providerId="ADAL" clId="{7EBB4E1E-93A9-4035-834A-9A0B60182E9F}" dt="2020-10-13T21:51:12.615" v="3753" actId="1035"/>
          <ac:spMkLst>
            <pc:docMk/>
            <pc:sldMk cId="676461558" sldId="291"/>
            <ac:spMk id="80" creationId="{E4642C6D-F1C3-451F-AEC6-3440A3FD291D}"/>
          </ac:spMkLst>
        </pc:spChg>
        <pc:spChg chg="mod">
          <ac:chgData name="Mariam Daniela Tristancho Pineda (PTA SAS)" userId="a45a17f7-7950-4cb5-bfab-f5c894f959a9" providerId="ADAL" clId="{7EBB4E1E-93A9-4035-834A-9A0B60182E9F}" dt="2020-10-13T21:51:12.615" v="3753" actId="1035"/>
          <ac:spMkLst>
            <pc:docMk/>
            <pc:sldMk cId="676461558" sldId="291"/>
            <ac:spMk id="81" creationId="{646D5B8E-AC08-4AA5-823A-4F62C3888F63}"/>
          </ac:spMkLst>
        </pc:spChg>
        <pc:spChg chg="mod">
          <ac:chgData name="Mariam Daniela Tristancho Pineda (PTA SAS)" userId="a45a17f7-7950-4cb5-bfab-f5c894f959a9" providerId="ADAL" clId="{7EBB4E1E-93A9-4035-834A-9A0B60182E9F}" dt="2020-10-13T21:51:12.615" v="3753" actId="1035"/>
          <ac:spMkLst>
            <pc:docMk/>
            <pc:sldMk cId="676461558" sldId="291"/>
            <ac:spMk id="82" creationId="{8E48A216-4859-4526-9CC2-DFF2DC55EDD5}"/>
          </ac:spMkLst>
        </pc:spChg>
        <pc:spChg chg="mod">
          <ac:chgData name="Mariam Daniela Tristancho Pineda (PTA SAS)" userId="a45a17f7-7950-4cb5-bfab-f5c894f959a9" providerId="ADAL" clId="{7EBB4E1E-93A9-4035-834A-9A0B60182E9F}" dt="2020-10-13T21:43:01.845" v="3732" actId="478"/>
          <ac:spMkLst>
            <pc:docMk/>
            <pc:sldMk cId="676461558" sldId="291"/>
            <ac:spMk id="83" creationId="{547F6A79-4122-46A8-AB72-6BC5CCC79737}"/>
          </ac:spMkLst>
        </pc:spChg>
        <pc:spChg chg="del mod">
          <ac:chgData name="Mariam Daniela Tristancho Pineda (PTA SAS)" userId="a45a17f7-7950-4cb5-bfab-f5c894f959a9" providerId="ADAL" clId="{7EBB4E1E-93A9-4035-834A-9A0B60182E9F}" dt="2020-10-08T15:27:41.981" v="3585" actId="478"/>
          <ac:spMkLst>
            <pc:docMk/>
            <pc:sldMk cId="676461558" sldId="291"/>
            <ac:spMk id="104" creationId="{8CE1B58E-79F2-4989-B54A-0EC4BAD566C3}"/>
          </ac:spMkLst>
        </pc:spChg>
        <pc:spChg chg="mod">
          <ac:chgData name="Mariam Daniela Tristancho Pineda (PTA SAS)" userId="a45a17f7-7950-4cb5-bfab-f5c894f959a9" providerId="ADAL" clId="{7EBB4E1E-93A9-4035-834A-9A0B60182E9F}" dt="2020-10-13T21:51:20.875" v="3769" actId="1037"/>
          <ac:spMkLst>
            <pc:docMk/>
            <pc:sldMk cId="676461558" sldId="291"/>
            <ac:spMk id="108" creationId="{0DFAE232-C03A-4447-AF4F-2FEEE826CF8A}"/>
          </ac:spMkLst>
        </pc:spChg>
        <pc:spChg chg="mod">
          <ac:chgData name="Mariam Daniela Tristancho Pineda (PTA SAS)" userId="a45a17f7-7950-4cb5-bfab-f5c894f959a9" providerId="ADAL" clId="{7EBB4E1E-93A9-4035-834A-9A0B60182E9F}" dt="2020-10-13T21:51:20.875" v="3769" actId="1037"/>
          <ac:spMkLst>
            <pc:docMk/>
            <pc:sldMk cId="676461558" sldId="291"/>
            <ac:spMk id="111" creationId="{238FD54F-35A5-4122-9015-D197608097DD}"/>
          </ac:spMkLst>
        </pc:spChg>
        <pc:spChg chg="mod">
          <ac:chgData name="Mariam Daniela Tristancho Pineda (PTA SAS)" userId="a45a17f7-7950-4cb5-bfab-f5c894f959a9" providerId="ADAL" clId="{7EBB4E1E-93A9-4035-834A-9A0B60182E9F}" dt="2020-10-13T21:51:20.875" v="3769" actId="1037"/>
          <ac:spMkLst>
            <pc:docMk/>
            <pc:sldMk cId="676461558" sldId="291"/>
            <ac:spMk id="112" creationId="{0DC8B8DA-3D9B-4936-81F1-CE85FFE781C2}"/>
          </ac:spMkLst>
        </pc:spChg>
        <pc:spChg chg="mod">
          <ac:chgData name="Mariam Daniela Tristancho Pineda (PTA SAS)" userId="a45a17f7-7950-4cb5-bfab-f5c894f959a9" providerId="ADAL" clId="{7EBB4E1E-93A9-4035-834A-9A0B60182E9F}" dt="2020-10-13T21:51:20.875" v="3769" actId="1037"/>
          <ac:spMkLst>
            <pc:docMk/>
            <pc:sldMk cId="676461558" sldId="291"/>
            <ac:spMk id="115" creationId="{DB35C4D3-61DC-4194-A530-0CD186587533}"/>
          </ac:spMkLst>
        </pc:spChg>
        <pc:spChg chg="mod">
          <ac:chgData name="Mariam Daniela Tristancho Pineda (PTA SAS)" userId="a45a17f7-7950-4cb5-bfab-f5c894f959a9" providerId="ADAL" clId="{7EBB4E1E-93A9-4035-834A-9A0B60182E9F}" dt="2020-10-13T21:51:20.875" v="3769" actId="1037"/>
          <ac:spMkLst>
            <pc:docMk/>
            <pc:sldMk cId="676461558" sldId="291"/>
            <ac:spMk id="118" creationId="{005BD08C-0EE8-4633-8B97-08CC29CE51B8}"/>
          </ac:spMkLst>
        </pc:spChg>
        <pc:spChg chg="mod">
          <ac:chgData name="Mariam Daniela Tristancho Pineda (PTA SAS)" userId="a45a17f7-7950-4cb5-bfab-f5c894f959a9" providerId="ADAL" clId="{7EBB4E1E-93A9-4035-834A-9A0B60182E9F}" dt="2020-10-13T21:51:20.875" v="3769" actId="1037"/>
          <ac:spMkLst>
            <pc:docMk/>
            <pc:sldMk cId="676461558" sldId="291"/>
            <ac:spMk id="119" creationId="{E3BEB78D-E8E1-481E-8CEB-EEC808402A59}"/>
          </ac:spMkLst>
        </pc:spChg>
        <pc:spChg chg="mod">
          <ac:chgData name="Mariam Daniela Tristancho Pineda (PTA SAS)" userId="a45a17f7-7950-4cb5-bfab-f5c894f959a9" providerId="ADAL" clId="{7EBB4E1E-93A9-4035-834A-9A0B60182E9F}" dt="2020-10-13T21:51:20.875" v="3769" actId="1037"/>
          <ac:spMkLst>
            <pc:docMk/>
            <pc:sldMk cId="676461558" sldId="291"/>
            <ac:spMk id="120" creationId="{D1B62530-57CE-4A21-A7E2-B81C22F47BB8}"/>
          </ac:spMkLst>
        </pc:spChg>
        <pc:spChg chg="mod">
          <ac:chgData name="Mariam Daniela Tristancho Pineda (PTA SAS)" userId="a45a17f7-7950-4cb5-bfab-f5c894f959a9" providerId="ADAL" clId="{7EBB4E1E-93A9-4035-834A-9A0B60182E9F}" dt="2020-10-13T21:51:20.875" v="3769" actId="1037"/>
          <ac:spMkLst>
            <pc:docMk/>
            <pc:sldMk cId="676461558" sldId="291"/>
            <ac:spMk id="121" creationId="{878445E7-B1EA-49B9-9A06-600E42D9C00D}"/>
          </ac:spMkLst>
        </pc:spChg>
        <pc:spChg chg="mod">
          <ac:chgData name="Mariam Daniela Tristancho Pineda (PTA SAS)" userId="a45a17f7-7950-4cb5-bfab-f5c894f959a9" providerId="ADAL" clId="{7EBB4E1E-93A9-4035-834A-9A0B60182E9F}" dt="2020-10-13T21:51:20.875" v="3769" actId="1037"/>
          <ac:spMkLst>
            <pc:docMk/>
            <pc:sldMk cId="676461558" sldId="291"/>
            <ac:spMk id="128" creationId="{ED59BBA5-78C0-4BAE-A239-BB0D192DF18D}"/>
          </ac:spMkLst>
        </pc:spChg>
        <pc:spChg chg="mod">
          <ac:chgData name="Mariam Daniela Tristancho Pineda (PTA SAS)" userId="a45a17f7-7950-4cb5-bfab-f5c894f959a9" providerId="ADAL" clId="{7EBB4E1E-93A9-4035-834A-9A0B60182E9F}" dt="2020-10-13T21:51:20.875" v="3769" actId="1037"/>
          <ac:spMkLst>
            <pc:docMk/>
            <pc:sldMk cId="676461558" sldId="291"/>
            <ac:spMk id="129" creationId="{38F6E427-4252-4DBA-A22D-B030B7878228}"/>
          </ac:spMkLst>
        </pc:spChg>
        <pc:spChg chg="mod">
          <ac:chgData name="Mariam Daniela Tristancho Pineda (PTA SAS)" userId="a45a17f7-7950-4cb5-bfab-f5c894f959a9" providerId="ADAL" clId="{7EBB4E1E-93A9-4035-834A-9A0B60182E9F}" dt="2020-10-13T21:51:20.875" v="3769" actId="1037"/>
          <ac:spMkLst>
            <pc:docMk/>
            <pc:sldMk cId="676461558" sldId="291"/>
            <ac:spMk id="130" creationId="{3F9DB1DF-1494-4D67-AE7E-694DC494A129}"/>
          </ac:spMkLst>
        </pc:spChg>
        <pc:spChg chg="mod">
          <ac:chgData name="Mariam Daniela Tristancho Pineda (PTA SAS)" userId="a45a17f7-7950-4cb5-bfab-f5c894f959a9" providerId="ADAL" clId="{7EBB4E1E-93A9-4035-834A-9A0B60182E9F}" dt="2020-10-13T21:51:20.875" v="3769" actId="1037"/>
          <ac:spMkLst>
            <pc:docMk/>
            <pc:sldMk cId="676461558" sldId="291"/>
            <ac:spMk id="131" creationId="{7BEB4D49-A38C-4972-AA35-9C77065D91C7}"/>
          </ac:spMkLst>
        </pc:spChg>
        <pc:spChg chg="mod">
          <ac:chgData name="Mariam Daniela Tristancho Pineda (PTA SAS)" userId="a45a17f7-7950-4cb5-bfab-f5c894f959a9" providerId="ADAL" clId="{7EBB4E1E-93A9-4035-834A-9A0B60182E9F}" dt="2020-10-13T21:51:20.875" v="3769" actId="1037"/>
          <ac:spMkLst>
            <pc:docMk/>
            <pc:sldMk cId="676461558" sldId="291"/>
            <ac:spMk id="134" creationId="{5BC2AB0D-6046-4152-AF02-7891CB54CA54}"/>
          </ac:spMkLst>
        </pc:spChg>
        <pc:spChg chg="mod">
          <ac:chgData name="Mariam Daniela Tristancho Pineda (PTA SAS)" userId="a45a17f7-7950-4cb5-bfab-f5c894f959a9" providerId="ADAL" clId="{7EBB4E1E-93A9-4035-834A-9A0B60182E9F}" dt="2020-10-13T21:51:20.875" v="3769" actId="1037"/>
          <ac:spMkLst>
            <pc:docMk/>
            <pc:sldMk cId="676461558" sldId="291"/>
            <ac:spMk id="135" creationId="{0972EA45-CA71-4C58-B3E3-2CE03A37733F}"/>
          </ac:spMkLst>
        </pc:spChg>
        <pc:spChg chg="mod">
          <ac:chgData name="Mariam Daniela Tristancho Pineda (PTA SAS)" userId="a45a17f7-7950-4cb5-bfab-f5c894f959a9" providerId="ADAL" clId="{7EBB4E1E-93A9-4035-834A-9A0B60182E9F}" dt="2020-10-13T21:51:20.875" v="3769" actId="1037"/>
          <ac:spMkLst>
            <pc:docMk/>
            <pc:sldMk cId="676461558" sldId="291"/>
            <ac:spMk id="136" creationId="{10F2F476-E3DF-44DB-93E1-67C528B845D4}"/>
          </ac:spMkLst>
        </pc:spChg>
        <pc:spChg chg="mod">
          <ac:chgData name="Mariam Daniela Tristancho Pineda (PTA SAS)" userId="a45a17f7-7950-4cb5-bfab-f5c894f959a9" providerId="ADAL" clId="{7EBB4E1E-93A9-4035-834A-9A0B60182E9F}" dt="2020-10-13T21:51:20.875" v="3769" actId="1037"/>
          <ac:spMkLst>
            <pc:docMk/>
            <pc:sldMk cId="676461558" sldId="291"/>
            <ac:spMk id="137" creationId="{E07EEAAE-3F46-4635-B660-163BBE708926}"/>
          </ac:spMkLst>
        </pc:spChg>
        <pc:spChg chg="mod">
          <ac:chgData name="Mariam Daniela Tristancho Pineda (PTA SAS)" userId="a45a17f7-7950-4cb5-bfab-f5c894f959a9" providerId="ADAL" clId="{7EBB4E1E-93A9-4035-834A-9A0B60182E9F}" dt="2020-10-13T21:51:20.875" v="3769" actId="1037"/>
          <ac:spMkLst>
            <pc:docMk/>
            <pc:sldMk cId="676461558" sldId="291"/>
            <ac:spMk id="144" creationId="{9A40AC9D-F2DE-429E-B1E7-87793BEF9411}"/>
          </ac:spMkLst>
        </pc:spChg>
        <pc:spChg chg="mod">
          <ac:chgData name="Mariam Daniela Tristancho Pineda (PTA SAS)" userId="a45a17f7-7950-4cb5-bfab-f5c894f959a9" providerId="ADAL" clId="{7EBB4E1E-93A9-4035-834A-9A0B60182E9F}" dt="2020-10-13T21:51:20.875" v="3769" actId="1037"/>
          <ac:spMkLst>
            <pc:docMk/>
            <pc:sldMk cId="676461558" sldId="291"/>
            <ac:spMk id="145" creationId="{CFD7A2B8-7760-4F47-9755-80C90649B2FD}"/>
          </ac:spMkLst>
        </pc:spChg>
        <pc:spChg chg="mod">
          <ac:chgData name="Mariam Daniela Tristancho Pineda (PTA SAS)" userId="a45a17f7-7950-4cb5-bfab-f5c894f959a9" providerId="ADAL" clId="{7EBB4E1E-93A9-4035-834A-9A0B60182E9F}" dt="2020-10-13T21:51:20.875" v="3769" actId="1037"/>
          <ac:spMkLst>
            <pc:docMk/>
            <pc:sldMk cId="676461558" sldId="291"/>
            <ac:spMk id="146" creationId="{288966CF-A2CB-4920-8B6E-870D67CE8DB4}"/>
          </ac:spMkLst>
        </pc:spChg>
        <pc:spChg chg="mod">
          <ac:chgData name="Mariam Daniela Tristancho Pineda (PTA SAS)" userId="a45a17f7-7950-4cb5-bfab-f5c894f959a9" providerId="ADAL" clId="{7EBB4E1E-93A9-4035-834A-9A0B60182E9F}" dt="2020-10-13T21:51:20.875" v="3769" actId="1037"/>
          <ac:spMkLst>
            <pc:docMk/>
            <pc:sldMk cId="676461558" sldId="291"/>
            <ac:spMk id="147" creationId="{7B9ED864-7CF7-4FC1-AAEB-6C50E8128BD6}"/>
          </ac:spMkLst>
        </pc:spChg>
        <pc:spChg chg="mod">
          <ac:chgData name="Mariam Daniela Tristancho Pineda (PTA SAS)" userId="a45a17f7-7950-4cb5-bfab-f5c894f959a9" providerId="ADAL" clId="{7EBB4E1E-93A9-4035-834A-9A0B60182E9F}" dt="2020-10-13T21:51:20.875" v="3769" actId="1037"/>
          <ac:spMkLst>
            <pc:docMk/>
            <pc:sldMk cId="676461558" sldId="291"/>
            <ac:spMk id="158" creationId="{D7DCC36E-87EB-40F0-B8DA-26802C828AF9}"/>
          </ac:spMkLst>
        </pc:spChg>
        <pc:spChg chg="mod">
          <ac:chgData name="Mariam Daniela Tristancho Pineda (PTA SAS)" userId="a45a17f7-7950-4cb5-bfab-f5c894f959a9" providerId="ADAL" clId="{7EBB4E1E-93A9-4035-834A-9A0B60182E9F}" dt="2020-10-13T21:51:20.875" v="3769" actId="1037"/>
          <ac:spMkLst>
            <pc:docMk/>
            <pc:sldMk cId="676461558" sldId="291"/>
            <ac:spMk id="160" creationId="{C60BD2D3-9268-46A4-A248-8754845A2B7A}"/>
          </ac:spMkLst>
        </pc:spChg>
        <pc:spChg chg="mod">
          <ac:chgData name="Mariam Daniela Tristancho Pineda (PTA SAS)" userId="a45a17f7-7950-4cb5-bfab-f5c894f959a9" providerId="ADAL" clId="{7EBB4E1E-93A9-4035-834A-9A0B60182E9F}" dt="2020-10-13T21:51:20.875" v="3769" actId="1037"/>
          <ac:spMkLst>
            <pc:docMk/>
            <pc:sldMk cId="676461558" sldId="291"/>
            <ac:spMk id="161" creationId="{9DEB7601-FDE6-4584-A603-436E8B612A41}"/>
          </ac:spMkLst>
        </pc:spChg>
        <pc:spChg chg="mod">
          <ac:chgData name="Mariam Daniela Tristancho Pineda (PTA SAS)" userId="a45a17f7-7950-4cb5-bfab-f5c894f959a9" providerId="ADAL" clId="{7EBB4E1E-93A9-4035-834A-9A0B60182E9F}" dt="2020-10-13T21:51:20.875" v="3769" actId="1037"/>
          <ac:spMkLst>
            <pc:docMk/>
            <pc:sldMk cId="676461558" sldId="291"/>
            <ac:spMk id="162" creationId="{2A62CB7D-E2D1-48FE-AA10-A873E92AE577}"/>
          </ac:spMkLst>
        </pc:spChg>
        <pc:spChg chg="mod">
          <ac:chgData name="Mariam Daniela Tristancho Pineda (PTA SAS)" userId="a45a17f7-7950-4cb5-bfab-f5c894f959a9" providerId="ADAL" clId="{7EBB4E1E-93A9-4035-834A-9A0B60182E9F}" dt="2020-10-13T21:51:20.875" v="3769" actId="1037"/>
          <ac:spMkLst>
            <pc:docMk/>
            <pc:sldMk cId="676461558" sldId="291"/>
            <ac:spMk id="164" creationId="{BDBFDC69-A308-49F6-B954-651C284DFA8F}"/>
          </ac:spMkLst>
        </pc:spChg>
        <pc:spChg chg="mod">
          <ac:chgData name="Mariam Daniela Tristancho Pineda (PTA SAS)" userId="a45a17f7-7950-4cb5-bfab-f5c894f959a9" providerId="ADAL" clId="{7EBB4E1E-93A9-4035-834A-9A0B60182E9F}" dt="2020-10-13T21:51:20.875" v="3769" actId="1037"/>
          <ac:spMkLst>
            <pc:docMk/>
            <pc:sldMk cId="676461558" sldId="291"/>
            <ac:spMk id="165" creationId="{532C5EF6-9E60-460C-8174-9AA5833C4275}"/>
          </ac:spMkLst>
        </pc:spChg>
        <pc:spChg chg="mod">
          <ac:chgData name="Mariam Daniela Tristancho Pineda (PTA SAS)" userId="a45a17f7-7950-4cb5-bfab-f5c894f959a9" providerId="ADAL" clId="{7EBB4E1E-93A9-4035-834A-9A0B60182E9F}" dt="2020-10-13T21:51:20.875" v="3769" actId="1037"/>
          <ac:spMkLst>
            <pc:docMk/>
            <pc:sldMk cId="676461558" sldId="291"/>
            <ac:spMk id="166" creationId="{E051AACB-533A-458D-A6AD-4EE882A51BFA}"/>
          </ac:spMkLst>
        </pc:spChg>
        <pc:spChg chg="mod">
          <ac:chgData name="Mariam Daniela Tristancho Pineda (PTA SAS)" userId="a45a17f7-7950-4cb5-bfab-f5c894f959a9" providerId="ADAL" clId="{7EBB4E1E-93A9-4035-834A-9A0B60182E9F}" dt="2020-10-13T21:51:20.875" v="3769" actId="1037"/>
          <ac:spMkLst>
            <pc:docMk/>
            <pc:sldMk cId="676461558" sldId="291"/>
            <ac:spMk id="167" creationId="{6110F769-958A-47EA-9391-D7D10AB9A4BC}"/>
          </ac:spMkLst>
        </pc:spChg>
        <pc:grpChg chg="add mod">
          <ac:chgData name="Mariam Daniela Tristancho Pineda (PTA SAS)" userId="a45a17f7-7950-4cb5-bfab-f5c894f959a9" providerId="ADAL" clId="{7EBB4E1E-93A9-4035-834A-9A0B60182E9F}" dt="2020-10-13T21:43:01.845" v="3732" actId="478"/>
          <ac:grpSpMkLst>
            <pc:docMk/>
            <pc:sldMk cId="676461558" sldId="291"/>
            <ac:grpSpMk id="74" creationId="{121B6C72-25EA-420A-B3EF-5E5C41E9C8A8}"/>
          </ac:grpSpMkLst>
        </pc:grpChg>
        <pc:grpChg chg="mod">
          <ac:chgData name="Mariam Daniela Tristancho Pineda (PTA SAS)" userId="a45a17f7-7950-4cb5-bfab-f5c894f959a9" providerId="ADAL" clId="{7EBB4E1E-93A9-4035-834A-9A0B60182E9F}" dt="2020-10-13T21:51:20.875" v="3769" actId="1037"/>
          <ac:grpSpMkLst>
            <pc:docMk/>
            <pc:sldMk cId="676461558" sldId="291"/>
            <ac:grpSpMk id="87" creationId="{2048A83A-AA05-4B15-BF12-590132B0B976}"/>
          </ac:grpSpMkLst>
        </pc:grpChg>
        <pc:grpChg chg="mod">
          <ac:chgData name="Mariam Daniela Tristancho Pineda (PTA SAS)" userId="a45a17f7-7950-4cb5-bfab-f5c894f959a9" providerId="ADAL" clId="{7EBB4E1E-93A9-4035-834A-9A0B60182E9F}" dt="2020-10-13T21:51:20.875" v="3769" actId="1037"/>
          <ac:grpSpMkLst>
            <pc:docMk/>
            <pc:sldMk cId="676461558" sldId="291"/>
            <ac:grpSpMk id="117" creationId="{6B2613F8-F744-454D-91E2-AEE6A9F29C43}"/>
          </ac:grpSpMkLst>
        </pc:grpChg>
        <pc:grpChg chg="mod">
          <ac:chgData name="Mariam Daniela Tristancho Pineda (PTA SAS)" userId="a45a17f7-7950-4cb5-bfab-f5c894f959a9" providerId="ADAL" clId="{7EBB4E1E-93A9-4035-834A-9A0B60182E9F}" dt="2020-10-13T21:51:20.875" v="3769" actId="1037"/>
          <ac:grpSpMkLst>
            <pc:docMk/>
            <pc:sldMk cId="676461558" sldId="291"/>
            <ac:grpSpMk id="127" creationId="{60702B56-DECD-447B-A9E3-E75220CE6451}"/>
          </ac:grpSpMkLst>
        </pc:grpChg>
        <pc:grpChg chg="mod">
          <ac:chgData name="Mariam Daniela Tristancho Pineda (PTA SAS)" userId="a45a17f7-7950-4cb5-bfab-f5c894f959a9" providerId="ADAL" clId="{7EBB4E1E-93A9-4035-834A-9A0B60182E9F}" dt="2020-10-13T21:51:20.875" v="3769" actId="1037"/>
          <ac:grpSpMkLst>
            <pc:docMk/>
            <pc:sldMk cId="676461558" sldId="291"/>
            <ac:grpSpMk id="133" creationId="{230FEFAE-02E8-496A-B8AD-506B3F9F1126}"/>
          </ac:grpSpMkLst>
        </pc:grpChg>
        <pc:grpChg chg="mod">
          <ac:chgData name="Mariam Daniela Tristancho Pineda (PTA SAS)" userId="a45a17f7-7950-4cb5-bfab-f5c894f959a9" providerId="ADAL" clId="{7EBB4E1E-93A9-4035-834A-9A0B60182E9F}" dt="2020-10-13T21:51:20.875" v="3769" actId="1037"/>
          <ac:grpSpMkLst>
            <pc:docMk/>
            <pc:sldMk cId="676461558" sldId="291"/>
            <ac:grpSpMk id="143" creationId="{C2B0831D-672E-4270-8739-782D42787680}"/>
          </ac:grpSpMkLst>
        </pc:grpChg>
        <pc:grpChg chg="mod">
          <ac:chgData name="Mariam Daniela Tristancho Pineda (PTA SAS)" userId="a45a17f7-7950-4cb5-bfab-f5c894f959a9" providerId="ADAL" clId="{7EBB4E1E-93A9-4035-834A-9A0B60182E9F}" dt="2020-10-13T21:51:20.875" v="3769" actId="1037"/>
          <ac:grpSpMkLst>
            <pc:docMk/>
            <pc:sldMk cId="676461558" sldId="291"/>
            <ac:grpSpMk id="153" creationId="{C74AA7BD-0482-4430-AE80-88955BE81BD6}"/>
          </ac:grpSpMkLst>
        </pc:grpChg>
        <pc:grpChg chg="mod">
          <ac:chgData name="Mariam Daniela Tristancho Pineda (PTA SAS)" userId="a45a17f7-7950-4cb5-bfab-f5c894f959a9" providerId="ADAL" clId="{7EBB4E1E-93A9-4035-834A-9A0B60182E9F}" dt="2020-10-13T21:51:20.875" v="3769" actId="1037"/>
          <ac:grpSpMkLst>
            <pc:docMk/>
            <pc:sldMk cId="676461558" sldId="291"/>
            <ac:grpSpMk id="163" creationId="{4C04BC2E-3186-4C80-B37F-E5B305AAC1ED}"/>
          </ac:grpSpMkLst>
        </pc:grpChg>
        <pc:picChg chg="del mod">
          <ac:chgData name="Mariam Daniela Tristancho Pineda (PTA SAS)" userId="a45a17f7-7950-4cb5-bfab-f5c894f959a9" providerId="ADAL" clId="{7EBB4E1E-93A9-4035-834A-9A0B60182E9F}" dt="2020-10-13T21:43:01.845" v="3732" actId="478"/>
          <ac:picMkLst>
            <pc:docMk/>
            <pc:sldMk cId="676461558" sldId="291"/>
            <ac:picMk id="84" creationId="{12D90C34-7021-4B13-9148-93C1A48969F9}"/>
          </ac:picMkLst>
        </pc:picChg>
        <pc:picChg chg="mod">
          <ac:chgData name="Mariam Daniela Tristancho Pineda (PTA SAS)" userId="a45a17f7-7950-4cb5-bfab-f5c894f959a9" providerId="ADAL" clId="{7EBB4E1E-93A9-4035-834A-9A0B60182E9F}" dt="2020-10-13T21:51:20.875" v="3769" actId="1037"/>
          <ac:picMkLst>
            <pc:docMk/>
            <pc:sldMk cId="676461558" sldId="291"/>
            <ac:picMk id="116" creationId="{5BC46F26-8961-4F34-9760-89437609076D}"/>
          </ac:picMkLst>
        </pc:picChg>
        <pc:picChg chg="mod">
          <ac:chgData name="Mariam Daniela Tristancho Pineda (PTA SAS)" userId="a45a17f7-7950-4cb5-bfab-f5c894f959a9" providerId="ADAL" clId="{7EBB4E1E-93A9-4035-834A-9A0B60182E9F}" dt="2020-10-13T21:51:20.875" v="3769" actId="1037"/>
          <ac:picMkLst>
            <pc:docMk/>
            <pc:sldMk cId="676461558" sldId="291"/>
            <ac:picMk id="122" creationId="{735FD6AB-4D9E-48C4-A2A4-4CB2A1261919}"/>
          </ac:picMkLst>
        </pc:picChg>
        <pc:picChg chg="mod">
          <ac:chgData name="Mariam Daniela Tristancho Pineda (PTA SAS)" userId="a45a17f7-7950-4cb5-bfab-f5c894f959a9" providerId="ADAL" clId="{7EBB4E1E-93A9-4035-834A-9A0B60182E9F}" dt="2020-10-13T21:51:20.875" v="3769" actId="1037"/>
          <ac:picMkLst>
            <pc:docMk/>
            <pc:sldMk cId="676461558" sldId="291"/>
            <ac:picMk id="132" creationId="{D85EFBB4-82A1-4AEB-A02E-54D3607A36BA}"/>
          </ac:picMkLst>
        </pc:picChg>
        <pc:picChg chg="mod">
          <ac:chgData name="Mariam Daniela Tristancho Pineda (PTA SAS)" userId="a45a17f7-7950-4cb5-bfab-f5c894f959a9" providerId="ADAL" clId="{7EBB4E1E-93A9-4035-834A-9A0B60182E9F}" dt="2020-10-13T21:51:20.875" v="3769" actId="1037"/>
          <ac:picMkLst>
            <pc:docMk/>
            <pc:sldMk cId="676461558" sldId="291"/>
            <ac:picMk id="138" creationId="{5BCB04AD-8A35-4E76-831A-BE37AB758B92}"/>
          </ac:picMkLst>
        </pc:picChg>
        <pc:picChg chg="mod">
          <ac:chgData name="Mariam Daniela Tristancho Pineda (PTA SAS)" userId="a45a17f7-7950-4cb5-bfab-f5c894f959a9" providerId="ADAL" clId="{7EBB4E1E-93A9-4035-834A-9A0B60182E9F}" dt="2020-10-13T21:51:20.875" v="3769" actId="1037"/>
          <ac:picMkLst>
            <pc:docMk/>
            <pc:sldMk cId="676461558" sldId="291"/>
            <ac:picMk id="148" creationId="{4B1C7764-E939-4F67-A9D8-34E249741996}"/>
          </ac:picMkLst>
        </pc:picChg>
        <pc:picChg chg="mod">
          <ac:chgData name="Mariam Daniela Tristancho Pineda (PTA SAS)" userId="a45a17f7-7950-4cb5-bfab-f5c894f959a9" providerId="ADAL" clId="{7EBB4E1E-93A9-4035-834A-9A0B60182E9F}" dt="2020-10-13T21:51:20.875" v="3769" actId="1037"/>
          <ac:picMkLst>
            <pc:docMk/>
            <pc:sldMk cId="676461558" sldId="291"/>
            <ac:picMk id="159" creationId="{9E8D376D-8F72-4FAA-8753-2439E745B16B}"/>
          </ac:picMkLst>
        </pc:picChg>
        <pc:picChg chg="mod">
          <ac:chgData name="Mariam Daniela Tristancho Pineda (PTA SAS)" userId="a45a17f7-7950-4cb5-bfab-f5c894f959a9" providerId="ADAL" clId="{7EBB4E1E-93A9-4035-834A-9A0B60182E9F}" dt="2020-10-13T21:51:20.875" v="3769" actId="1037"/>
          <ac:picMkLst>
            <pc:docMk/>
            <pc:sldMk cId="676461558" sldId="291"/>
            <ac:picMk id="168" creationId="{BFFEDC3F-5D44-459C-AB94-57B812C8143F}"/>
          </ac:picMkLst>
        </pc:picChg>
        <pc:cxnChg chg="add mod">
          <ac:chgData name="Mariam Daniela Tristancho Pineda (PTA SAS)" userId="a45a17f7-7950-4cb5-bfab-f5c894f959a9" providerId="ADAL" clId="{7EBB4E1E-93A9-4035-834A-9A0B60182E9F}" dt="2020-10-13T21:43:07.852" v="3733"/>
          <ac:cxnSpMkLst>
            <pc:docMk/>
            <pc:sldMk cId="676461558" sldId="291"/>
            <ac:cxnSpMk id="85" creationId="{0D4611E1-A165-442F-BA2C-8F441113EDF5}"/>
          </ac:cxnSpMkLst>
        </pc:cxnChg>
        <pc:cxnChg chg="add mod">
          <ac:chgData name="Mariam Daniela Tristancho Pineda (PTA SAS)" userId="a45a17f7-7950-4cb5-bfab-f5c894f959a9" providerId="ADAL" clId="{7EBB4E1E-93A9-4035-834A-9A0B60182E9F}" dt="2020-10-13T21:43:07.852" v="3733"/>
          <ac:cxnSpMkLst>
            <pc:docMk/>
            <pc:sldMk cId="676461558" sldId="291"/>
            <ac:cxnSpMk id="86" creationId="{64B00851-8360-444C-895D-C871B795CB0E}"/>
          </ac:cxnSpMkLst>
        </pc:cxnChg>
        <pc:cxnChg chg="add mod">
          <ac:chgData name="Mariam Daniela Tristancho Pineda (PTA SAS)" userId="a45a17f7-7950-4cb5-bfab-f5c894f959a9" providerId="ADAL" clId="{7EBB4E1E-93A9-4035-834A-9A0B60182E9F}" dt="2020-10-13T21:43:07.852" v="3733"/>
          <ac:cxnSpMkLst>
            <pc:docMk/>
            <pc:sldMk cId="676461558" sldId="291"/>
            <ac:cxnSpMk id="88" creationId="{F8AA4A87-F341-4370-ADEB-048748734F1E}"/>
          </ac:cxnSpMkLst>
        </pc:cxnChg>
        <pc:cxnChg chg="add mod">
          <ac:chgData name="Mariam Daniela Tristancho Pineda (PTA SAS)" userId="a45a17f7-7950-4cb5-bfab-f5c894f959a9" providerId="ADAL" clId="{7EBB4E1E-93A9-4035-834A-9A0B60182E9F}" dt="2020-10-13T21:43:07.852" v="3733"/>
          <ac:cxnSpMkLst>
            <pc:docMk/>
            <pc:sldMk cId="676461558" sldId="291"/>
            <ac:cxnSpMk id="89" creationId="{7AC3B9E8-5AA8-4AC2-92CB-72376F0FD425}"/>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09" creationId="{7434769E-8F5B-4CDA-AFEA-2FA908180F28}"/>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10" creationId="{C0926ED7-6C71-4132-9062-E0B720E03046}"/>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13" creationId="{59088CD4-BBE7-483B-9FF9-1D62F9236779}"/>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14" creationId="{945F525E-96D6-4C2C-A528-6A902709A377}"/>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23" creationId="{C7FAFEC2-6E97-4F6F-BA24-F080C2F52D9B}"/>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24" creationId="{052C1626-B7E9-4CBB-B41B-19F1C52B2489}"/>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25" creationId="{EEBFE2DA-5127-4FBD-871C-BC30BC9886B6}"/>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26" creationId="{A0159407-C1E0-42F9-96B7-52E8DE9FB54C}"/>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39" creationId="{C3E2F61F-1C4B-476B-A2BD-A0EB158221F7}"/>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40" creationId="{113CCA2C-1CA9-4102-92F6-87C454341705}"/>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41" creationId="{A84DA711-F321-4D6A-8C5F-7514C157EC7F}"/>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42" creationId="{6B8615B1-8EDC-48F5-B371-CCB9A26F6263}"/>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49" creationId="{3DD257FE-0DBC-4BDE-8E41-F0693773C024}"/>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50" creationId="{6A192D05-FA68-4C91-B411-42299285EFCC}"/>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51" creationId="{70130B1F-D0F6-464E-B312-55BB85042484}"/>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52" creationId="{C3DB8877-7BF3-4FAC-A3D2-5BA95D944800}"/>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54" creationId="{257C7050-446B-4BC0-AE56-15B1276BF84B}"/>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55" creationId="{1EDA848A-C3C5-44F2-B0B2-5B39061E32D7}"/>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56" creationId="{6D136770-E5C6-4FD4-994A-347A35303349}"/>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57" creationId="{53B5734F-88D4-4463-BC76-B0A78957F1BB}"/>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69" creationId="{EFE50E1C-6452-48D5-887E-325BDE8412DF}"/>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70" creationId="{9C6D144F-AE7D-41B8-A40D-748F60DC87E9}"/>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71" creationId="{F9A75E3E-F16F-47D3-AD78-BFC9C9348449}"/>
          </ac:cxnSpMkLst>
        </pc:cxnChg>
        <pc:cxnChg chg="mod">
          <ac:chgData name="Mariam Daniela Tristancho Pineda (PTA SAS)" userId="a45a17f7-7950-4cb5-bfab-f5c894f959a9" providerId="ADAL" clId="{7EBB4E1E-93A9-4035-834A-9A0B60182E9F}" dt="2020-10-13T21:51:20.875" v="3769" actId="1037"/>
          <ac:cxnSpMkLst>
            <pc:docMk/>
            <pc:sldMk cId="676461558" sldId="291"/>
            <ac:cxnSpMk id="172" creationId="{3767DA6F-DABE-4D6F-AE17-AB5D8250600B}"/>
          </ac:cxnSpMkLst>
        </pc:cxnChg>
      </pc:sldChg>
      <pc:sldChg chg="modSp add setBg">
        <pc:chgData name="Mariam Daniela Tristancho Pineda (PTA SAS)" userId="a45a17f7-7950-4cb5-bfab-f5c894f959a9" providerId="ADAL" clId="{7EBB4E1E-93A9-4035-834A-9A0B60182E9F}" dt="2020-10-13T22:08:11.778" v="3794" actId="207"/>
        <pc:sldMkLst>
          <pc:docMk/>
          <pc:sldMk cId="2420381739" sldId="293"/>
        </pc:sldMkLst>
        <pc:spChg chg="mod">
          <ac:chgData name="Mariam Daniela Tristancho Pineda (PTA SAS)" userId="a45a17f7-7950-4cb5-bfab-f5c894f959a9" providerId="ADAL" clId="{7EBB4E1E-93A9-4035-834A-9A0B60182E9F}" dt="2020-10-13T22:08:11.778" v="3794" actId="207"/>
          <ac:spMkLst>
            <pc:docMk/>
            <pc:sldMk cId="2420381739" sldId="293"/>
            <ac:spMk id="13" creationId="{00000000-0000-0000-0000-000000000000}"/>
          </ac:spMkLst>
        </pc:spChg>
        <pc:spChg chg="mod">
          <ac:chgData name="Mariam Daniela Tristancho Pineda (PTA SAS)" userId="a45a17f7-7950-4cb5-bfab-f5c894f959a9" providerId="ADAL" clId="{7EBB4E1E-93A9-4035-834A-9A0B60182E9F}" dt="2020-10-13T22:08:11.778" v="3794" actId="207"/>
          <ac:spMkLst>
            <pc:docMk/>
            <pc:sldMk cId="2420381739" sldId="293"/>
            <ac:spMk id="14" creationId="{00000000-0000-0000-0000-000000000000}"/>
          </ac:spMkLst>
        </pc:spChg>
        <pc:spChg chg="mod">
          <ac:chgData name="Mariam Daniela Tristancho Pineda (PTA SAS)" userId="a45a17f7-7950-4cb5-bfab-f5c894f959a9" providerId="ADAL" clId="{7EBB4E1E-93A9-4035-834A-9A0B60182E9F}" dt="2020-10-13T22:08:11.778" v="3794" actId="207"/>
          <ac:spMkLst>
            <pc:docMk/>
            <pc:sldMk cId="2420381739" sldId="293"/>
            <ac:spMk id="15" creationId="{00000000-0000-0000-0000-000000000000}"/>
          </ac:spMkLst>
        </pc:spChg>
        <pc:spChg chg="mod">
          <ac:chgData name="Mariam Daniela Tristancho Pineda (PTA SAS)" userId="a45a17f7-7950-4cb5-bfab-f5c894f959a9" providerId="ADAL" clId="{7EBB4E1E-93A9-4035-834A-9A0B60182E9F}" dt="2020-10-13T22:08:11.778" v="3794" actId="207"/>
          <ac:spMkLst>
            <pc:docMk/>
            <pc:sldMk cId="2420381739" sldId="293"/>
            <ac:spMk id="16" creationId="{00000000-0000-0000-0000-000000000000}"/>
          </ac:spMkLst>
        </pc:spChg>
        <pc:spChg chg="mod">
          <ac:chgData name="Mariam Daniela Tristancho Pineda (PTA SAS)" userId="a45a17f7-7950-4cb5-bfab-f5c894f959a9" providerId="ADAL" clId="{7EBB4E1E-93A9-4035-834A-9A0B60182E9F}" dt="2020-10-13T22:08:11.778" v="3794" actId="207"/>
          <ac:spMkLst>
            <pc:docMk/>
            <pc:sldMk cId="2420381739" sldId="293"/>
            <ac:spMk id="17" creationId="{00000000-0000-0000-0000-000000000000}"/>
          </ac:spMkLst>
        </pc:spChg>
        <pc:spChg chg="mod">
          <ac:chgData name="Mariam Daniela Tristancho Pineda (PTA SAS)" userId="a45a17f7-7950-4cb5-bfab-f5c894f959a9" providerId="ADAL" clId="{7EBB4E1E-93A9-4035-834A-9A0B60182E9F}" dt="2020-10-13T22:08:11.778" v="3794" actId="207"/>
          <ac:spMkLst>
            <pc:docMk/>
            <pc:sldMk cId="2420381739" sldId="293"/>
            <ac:spMk id="28" creationId="{469FFF33-FBA2-4928-A28E-F8DA63BB85AB}"/>
          </ac:spMkLst>
        </pc:spChg>
        <pc:spChg chg="mod">
          <ac:chgData name="Mariam Daniela Tristancho Pineda (PTA SAS)" userId="a45a17f7-7950-4cb5-bfab-f5c894f959a9" providerId="ADAL" clId="{7EBB4E1E-93A9-4035-834A-9A0B60182E9F}" dt="2020-10-13T22:08:11.778" v="3794" actId="207"/>
          <ac:spMkLst>
            <pc:docMk/>
            <pc:sldMk cId="2420381739" sldId="293"/>
            <ac:spMk id="32" creationId="{C81B52F9-6545-41FC-8FDD-04AD3F51D34C}"/>
          </ac:spMkLst>
        </pc:spChg>
        <pc:spChg chg="mod">
          <ac:chgData name="Mariam Daniela Tristancho Pineda (PTA SAS)" userId="a45a17f7-7950-4cb5-bfab-f5c894f959a9" providerId="ADAL" clId="{7EBB4E1E-93A9-4035-834A-9A0B60182E9F}" dt="2020-10-13T22:08:11.778" v="3794" actId="207"/>
          <ac:spMkLst>
            <pc:docMk/>
            <pc:sldMk cId="2420381739" sldId="293"/>
            <ac:spMk id="33" creationId="{2838E78F-A0B8-4E13-88C4-1FC0EA0CFC9C}"/>
          </ac:spMkLst>
        </pc:spChg>
        <pc:spChg chg="mod">
          <ac:chgData name="Mariam Daniela Tristancho Pineda (PTA SAS)" userId="a45a17f7-7950-4cb5-bfab-f5c894f959a9" providerId="ADAL" clId="{7EBB4E1E-93A9-4035-834A-9A0B60182E9F}" dt="2020-10-13T22:08:11.778" v="3794" actId="207"/>
          <ac:spMkLst>
            <pc:docMk/>
            <pc:sldMk cId="2420381739" sldId="293"/>
            <ac:spMk id="34" creationId="{2597569B-1703-4C46-AF01-010856657B7E}"/>
          </ac:spMkLst>
        </pc:spChg>
        <pc:spChg chg="mod">
          <ac:chgData name="Mariam Daniela Tristancho Pineda (PTA SAS)" userId="a45a17f7-7950-4cb5-bfab-f5c894f959a9" providerId="ADAL" clId="{7EBB4E1E-93A9-4035-834A-9A0B60182E9F}" dt="2020-10-13T22:08:11.778" v="3794" actId="207"/>
          <ac:spMkLst>
            <pc:docMk/>
            <pc:sldMk cId="2420381739" sldId="293"/>
            <ac:spMk id="35" creationId="{2C07EABB-C99B-4891-B442-0E1FD4CB627A}"/>
          </ac:spMkLst>
        </pc:spChg>
        <pc:spChg chg="mod">
          <ac:chgData name="Mariam Daniela Tristancho Pineda (PTA SAS)" userId="a45a17f7-7950-4cb5-bfab-f5c894f959a9" providerId="ADAL" clId="{7EBB4E1E-93A9-4035-834A-9A0B60182E9F}" dt="2020-10-13T22:08:11.778" v="3794" actId="207"/>
          <ac:spMkLst>
            <pc:docMk/>
            <pc:sldMk cId="2420381739" sldId="293"/>
            <ac:spMk id="36" creationId="{4BD75945-4DBD-455A-A66C-C1FD576E6015}"/>
          </ac:spMkLst>
        </pc:spChg>
        <pc:spChg chg="mod">
          <ac:chgData name="Mariam Daniela Tristancho Pineda (PTA SAS)" userId="a45a17f7-7950-4cb5-bfab-f5c894f959a9" providerId="ADAL" clId="{7EBB4E1E-93A9-4035-834A-9A0B60182E9F}" dt="2020-10-13T22:08:11.778" v="3794" actId="207"/>
          <ac:spMkLst>
            <pc:docMk/>
            <pc:sldMk cId="2420381739" sldId="293"/>
            <ac:spMk id="37" creationId="{579F6135-9230-4202-AB72-5F5EEB80D720}"/>
          </ac:spMkLst>
        </pc:spChg>
        <pc:spChg chg="mod">
          <ac:chgData name="Mariam Daniela Tristancho Pineda (PTA SAS)" userId="a45a17f7-7950-4cb5-bfab-f5c894f959a9" providerId="ADAL" clId="{7EBB4E1E-93A9-4035-834A-9A0B60182E9F}" dt="2020-10-13T22:08:11.778" v="3794" actId="207"/>
          <ac:spMkLst>
            <pc:docMk/>
            <pc:sldMk cId="2420381739" sldId="293"/>
            <ac:spMk id="38" creationId="{D6939C34-FA38-4690-9FCA-56D6552E8E3A}"/>
          </ac:spMkLst>
        </pc:spChg>
        <pc:spChg chg="mod">
          <ac:chgData name="Mariam Daniela Tristancho Pineda (PTA SAS)" userId="a45a17f7-7950-4cb5-bfab-f5c894f959a9" providerId="ADAL" clId="{7EBB4E1E-93A9-4035-834A-9A0B60182E9F}" dt="2020-10-13T22:08:11.778" v="3794" actId="207"/>
          <ac:spMkLst>
            <pc:docMk/>
            <pc:sldMk cId="2420381739" sldId="293"/>
            <ac:spMk id="39" creationId="{DFFAD689-083F-4B62-A266-176833C7A879}"/>
          </ac:spMkLst>
        </pc:spChg>
        <pc:spChg chg="mod">
          <ac:chgData name="Mariam Daniela Tristancho Pineda (PTA SAS)" userId="a45a17f7-7950-4cb5-bfab-f5c894f959a9" providerId="ADAL" clId="{7EBB4E1E-93A9-4035-834A-9A0B60182E9F}" dt="2020-10-13T22:08:11.778" v="3794" actId="207"/>
          <ac:spMkLst>
            <pc:docMk/>
            <pc:sldMk cId="2420381739" sldId="293"/>
            <ac:spMk id="40" creationId="{C596F085-F02C-4218-9E54-8F8EE9C33365}"/>
          </ac:spMkLst>
        </pc:spChg>
        <pc:spChg chg="mod">
          <ac:chgData name="Mariam Daniela Tristancho Pineda (PTA SAS)" userId="a45a17f7-7950-4cb5-bfab-f5c894f959a9" providerId="ADAL" clId="{7EBB4E1E-93A9-4035-834A-9A0B60182E9F}" dt="2020-10-13T22:08:11.778" v="3794" actId="207"/>
          <ac:spMkLst>
            <pc:docMk/>
            <pc:sldMk cId="2420381739" sldId="293"/>
            <ac:spMk id="41" creationId="{D3E8B1A9-9D48-4099-935B-16F8678F5A2C}"/>
          </ac:spMkLst>
        </pc:spChg>
        <pc:spChg chg="mod">
          <ac:chgData name="Mariam Daniela Tristancho Pineda (PTA SAS)" userId="a45a17f7-7950-4cb5-bfab-f5c894f959a9" providerId="ADAL" clId="{7EBB4E1E-93A9-4035-834A-9A0B60182E9F}" dt="2020-10-13T22:08:11.778" v="3794" actId="207"/>
          <ac:spMkLst>
            <pc:docMk/>
            <pc:sldMk cId="2420381739" sldId="293"/>
            <ac:spMk id="54" creationId="{075551A8-EF01-A94E-9BBA-E0D70B5B43E0}"/>
          </ac:spMkLst>
        </pc:spChg>
        <pc:spChg chg="mod">
          <ac:chgData name="Mariam Daniela Tristancho Pineda (PTA SAS)" userId="a45a17f7-7950-4cb5-bfab-f5c894f959a9" providerId="ADAL" clId="{7EBB4E1E-93A9-4035-834A-9A0B60182E9F}" dt="2020-10-13T22:08:11.778" v="3794" actId="207"/>
          <ac:spMkLst>
            <pc:docMk/>
            <pc:sldMk cId="2420381739" sldId="293"/>
            <ac:spMk id="55" creationId="{32DF14CA-43D5-D34B-AF22-CA54E06EAE0A}"/>
          </ac:spMkLst>
        </pc:spChg>
        <pc:spChg chg="mod">
          <ac:chgData name="Mariam Daniela Tristancho Pineda (PTA SAS)" userId="a45a17f7-7950-4cb5-bfab-f5c894f959a9" providerId="ADAL" clId="{7EBB4E1E-93A9-4035-834A-9A0B60182E9F}" dt="2020-10-13T22:08:11.778" v="3794" actId="207"/>
          <ac:spMkLst>
            <pc:docMk/>
            <pc:sldMk cId="2420381739" sldId="293"/>
            <ac:spMk id="56" creationId="{2702C704-BFAB-C244-B9BC-13B8F3215929}"/>
          </ac:spMkLst>
        </pc:spChg>
        <pc:spChg chg="mod">
          <ac:chgData name="Mariam Daniela Tristancho Pineda (PTA SAS)" userId="a45a17f7-7950-4cb5-bfab-f5c894f959a9" providerId="ADAL" clId="{7EBB4E1E-93A9-4035-834A-9A0B60182E9F}" dt="2020-10-13T22:08:11.778" v="3794" actId="207"/>
          <ac:spMkLst>
            <pc:docMk/>
            <pc:sldMk cId="2420381739" sldId="293"/>
            <ac:spMk id="57" creationId="{DCD0B206-F865-A74E-83C1-329B0B0F3EF3}"/>
          </ac:spMkLst>
        </pc:spChg>
        <pc:spChg chg="mod">
          <ac:chgData name="Mariam Daniela Tristancho Pineda (PTA SAS)" userId="a45a17f7-7950-4cb5-bfab-f5c894f959a9" providerId="ADAL" clId="{7EBB4E1E-93A9-4035-834A-9A0B60182E9F}" dt="2020-10-13T22:08:11.778" v="3794" actId="207"/>
          <ac:spMkLst>
            <pc:docMk/>
            <pc:sldMk cId="2420381739" sldId="293"/>
            <ac:spMk id="58" creationId="{2E5F2F13-35BD-BA40-8AA7-AD9BD92C9A9F}"/>
          </ac:spMkLst>
        </pc:spChg>
        <pc:spChg chg="mod">
          <ac:chgData name="Mariam Daniela Tristancho Pineda (PTA SAS)" userId="a45a17f7-7950-4cb5-bfab-f5c894f959a9" providerId="ADAL" clId="{7EBB4E1E-93A9-4035-834A-9A0B60182E9F}" dt="2020-10-13T22:08:11.778" v="3794" actId="207"/>
          <ac:spMkLst>
            <pc:docMk/>
            <pc:sldMk cId="2420381739" sldId="293"/>
            <ac:spMk id="59" creationId="{16A43156-C86E-9D43-8A63-1E2E0C8C2976}"/>
          </ac:spMkLst>
        </pc:spChg>
        <pc:spChg chg="mod">
          <ac:chgData name="Mariam Daniela Tristancho Pineda (PTA SAS)" userId="a45a17f7-7950-4cb5-bfab-f5c894f959a9" providerId="ADAL" clId="{7EBB4E1E-93A9-4035-834A-9A0B60182E9F}" dt="2020-10-13T22:08:11.778" v="3794" actId="207"/>
          <ac:spMkLst>
            <pc:docMk/>
            <pc:sldMk cId="2420381739" sldId="293"/>
            <ac:spMk id="60" creationId="{FA2EC263-1E05-814E-A422-4272F5E0F477}"/>
          </ac:spMkLst>
        </pc:spChg>
        <pc:spChg chg="mod">
          <ac:chgData name="Mariam Daniela Tristancho Pineda (PTA SAS)" userId="a45a17f7-7950-4cb5-bfab-f5c894f959a9" providerId="ADAL" clId="{7EBB4E1E-93A9-4035-834A-9A0B60182E9F}" dt="2020-10-13T22:08:11.778" v="3794" actId="207"/>
          <ac:spMkLst>
            <pc:docMk/>
            <pc:sldMk cId="2420381739" sldId="293"/>
            <ac:spMk id="61" creationId="{FC8E68AB-451B-3A48-89DA-48C83AF4219C}"/>
          </ac:spMkLst>
        </pc:spChg>
        <pc:spChg chg="mod">
          <ac:chgData name="Mariam Daniela Tristancho Pineda (PTA SAS)" userId="a45a17f7-7950-4cb5-bfab-f5c894f959a9" providerId="ADAL" clId="{7EBB4E1E-93A9-4035-834A-9A0B60182E9F}" dt="2020-10-13T22:08:11.778" v="3794" actId="207"/>
          <ac:spMkLst>
            <pc:docMk/>
            <pc:sldMk cId="2420381739" sldId="293"/>
            <ac:spMk id="62" creationId="{44159E44-9AC1-AF4F-9258-3E102A0EB0FD}"/>
          </ac:spMkLst>
        </pc:spChg>
        <pc:spChg chg="mod">
          <ac:chgData name="Mariam Daniela Tristancho Pineda (PTA SAS)" userId="a45a17f7-7950-4cb5-bfab-f5c894f959a9" providerId="ADAL" clId="{7EBB4E1E-93A9-4035-834A-9A0B60182E9F}" dt="2020-10-13T22:08:11.778" v="3794" actId="207"/>
          <ac:spMkLst>
            <pc:docMk/>
            <pc:sldMk cId="2420381739" sldId="293"/>
            <ac:spMk id="63" creationId="{34A71376-20AF-F548-8D0C-E44AA292161C}"/>
          </ac:spMkLst>
        </pc:spChg>
        <pc:spChg chg="mod">
          <ac:chgData name="Mariam Daniela Tristancho Pineda (PTA SAS)" userId="a45a17f7-7950-4cb5-bfab-f5c894f959a9" providerId="ADAL" clId="{7EBB4E1E-93A9-4035-834A-9A0B60182E9F}" dt="2020-10-13T22:08:11.778" v="3794" actId="207"/>
          <ac:spMkLst>
            <pc:docMk/>
            <pc:sldMk cId="2420381739" sldId="293"/>
            <ac:spMk id="67" creationId="{0228C0B3-15C8-864A-8130-07EF282D1B5A}"/>
          </ac:spMkLst>
        </pc:spChg>
        <pc:spChg chg="mod">
          <ac:chgData name="Mariam Daniela Tristancho Pineda (PTA SAS)" userId="a45a17f7-7950-4cb5-bfab-f5c894f959a9" providerId="ADAL" clId="{7EBB4E1E-93A9-4035-834A-9A0B60182E9F}" dt="2020-10-13T22:08:11.778" v="3794" actId="207"/>
          <ac:spMkLst>
            <pc:docMk/>
            <pc:sldMk cId="2420381739" sldId="293"/>
            <ac:spMk id="69" creationId="{82A24DB1-AA75-C545-A1AE-613008D4A996}"/>
          </ac:spMkLst>
        </pc:spChg>
        <pc:spChg chg="mod">
          <ac:chgData name="Mariam Daniela Tristancho Pineda (PTA SAS)" userId="a45a17f7-7950-4cb5-bfab-f5c894f959a9" providerId="ADAL" clId="{7EBB4E1E-93A9-4035-834A-9A0B60182E9F}" dt="2020-10-13T22:08:11.778" v="3794" actId="207"/>
          <ac:spMkLst>
            <pc:docMk/>
            <pc:sldMk cId="2420381739" sldId="293"/>
            <ac:spMk id="70" creationId="{000CC94D-B3DF-DF45-A1A0-F1B96CC0088C}"/>
          </ac:spMkLst>
        </pc:spChg>
        <pc:grpChg chg="mod">
          <ac:chgData name="Mariam Daniela Tristancho Pineda (PTA SAS)" userId="a45a17f7-7950-4cb5-bfab-f5c894f959a9" providerId="ADAL" clId="{7EBB4E1E-93A9-4035-834A-9A0B60182E9F}" dt="2020-10-13T22:08:11.778" v="3794" actId="207"/>
          <ac:grpSpMkLst>
            <pc:docMk/>
            <pc:sldMk cId="2420381739" sldId="293"/>
            <ac:grpSpMk id="64" creationId="{46295CC4-4489-1242-BEC2-14B517A85F89}"/>
          </ac:grpSpMkLst>
        </pc:grpChg>
        <pc:picChg chg="mod">
          <ac:chgData name="Mariam Daniela Tristancho Pineda (PTA SAS)" userId="a45a17f7-7950-4cb5-bfab-f5c894f959a9" providerId="ADAL" clId="{7EBB4E1E-93A9-4035-834A-9A0B60182E9F}" dt="2020-10-13T22:08:11.778" v="3794" actId="207"/>
          <ac:picMkLst>
            <pc:docMk/>
            <pc:sldMk cId="2420381739" sldId="293"/>
            <ac:picMk id="2" creationId="{00000000-0000-0000-0000-000000000000}"/>
          </ac:picMkLst>
        </pc:picChg>
        <pc:picChg chg="mod">
          <ac:chgData name="Mariam Daniela Tristancho Pineda (PTA SAS)" userId="a45a17f7-7950-4cb5-bfab-f5c894f959a9" providerId="ADAL" clId="{7EBB4E1E-93A9-4035-834A-9A0B60182E9F}" dt="2020-10-13T22:08:11.778" v="3794" actId="207"/>
          <ac:picMkLst>
            <pc:docMk/>
            <pc:sldMk cId="2420381739" sldId="293"/>
            <ac:picMk id="29" creationId="{6402AAE5-7ADB-4F07-87AE-6E87C3C807B9}"/>
          </ac:picMkLst>
        </pc:picChg>
        <pc:picChg chg="mod">
          <ac:chgData name="Mariam Daniela Tristancho Pineda (PTA SAS)" userId="a45a17f7-7950-4cb5-bfab-f5c894f959a9" providerId="ADAL" clId="{7EBB4E1E-93A9-4035-834A-9A0B60182E9F}" dt="2020-10-13T22:08:11.778" v="3794" actId="207"/>
          <ac:picMkLst>
            <pc:docMk/>
            <pc:sldMk cId="2420381739" sldId="293"/>
            <ac:picMk id="68" creationId="{4FAEAB64-19CD-2549-95BA-092DB91C5355}"/>
          </ac:picMkLst>
        </pc:picChg>
        <pc:picChg chg="mod">
          <ac:chgData name="Mariam Daniela Tristancho Pineda (PTA SAS)" userId="a45a17f7-7950-4cb5-bfab-f5c894f959a9" providerId="ADAL" clId="{7EBB4E1E-93A9-4035-834A-9A0B60182E9F}" dt="2020-10-13T22:08:11.778" v="3794" actId="207"/>
          <ac:picMkLst>
            <pc:docMk/>
            <pc:sldMk cId="2420381739" sldId="293"/>
            <ac:picMk id="71" creationId="{DD3DEAFC-4EBB-8C4C-97E0-DDF6D24A2C11}"/>
          </ac:picMkLst>
        </pc:picChg>
      </pc:sldChg>
      <pc:sldChg chg="modSp add setBg">
        <pc:chgData name="Mariam Daniela Tristancho Pineda (PTA SAS)" userId="a45a17f7-7950-4cb5-bfab-f5c894f959a9" providerId="ADAL" clId="{7EBB4E1E-93A9-4035-834A-9A0B60182E9F}" dt="2020-10-13T22:09:07.762" v="3815" actId="208"/>
        <pc:sldMkLst>
          <pc:docMk/>
          <pc:sldMk cId="797733494" sldId="297"/>
        </pc:sldMkLst>
        <pc:spChg chg="mod">
          <ac:chgData name="Mariam Daniela Tristancho Pineda (PTA SAS)" userId="a45a17f7-7950-4cb5-bfab-f5c894f959a9" providerId="ADAL" clId="{7EBB4E1E-93A9-4035-834A-9A0B60182E9F}" dt="2020-10-13T22:09:07.762" v="3815" actId="208"/>
          <ac:spMkLst>
            <pc:docMk/>
            <pc:sldMk cId="797733494" sldId="297"/>
            <ac:spMk id="4" creationId="{00000000-0000-0000-0000-000000000000}"/>
          </ac:spMkLst>
        </pc:spChg>
        <pc:spChg chg="mod">
          <ac:chgData name="Mariam Daniela Tristancho Pineda (PTA SAS)" userId="a45a17f7-7950-4cb5-bfab-f5c894f959a9" providerId="ADAL" clId="{7EBB4E1E-93A9-4035-834A-9A0B60182E9F}" dt="2020-10-13T22:09:07.762" v="3815" actId="208"/>
          <ac:spMkLst>
            <pc:docMk/>
            <pc:sldMk cId="797733494" sldId="297"/>
            <ac:spMk id="5" creationId="{00000000-0000-0000-0000-000000000000}"/>
          </ac:spMkLst>
        </pc:spChg>
        <pc:spChg chg="mod">
          <ac:chgData name="Mariam Daniela Tristancho Pineda (PTA SAS)" userId="a45a17f7-7950-4cb5-bfab-f5c894f959a9" providerId="ADAL" clId="{7EBB4E1E-93A9-4035-834A-9A0B60182E9F}" dt="2020-10-13T22:09:07.762" v="3815" actId="208"/>
          <ac:spMkLst>
            <pc:docMk/>
            <pc:sldMk cId="797733494" sldId="297"/>
            <ac:spMk id="7" creationId="{3275A2DB-FF4D-4A63-AA5E-92EF107EBCA5}"/>
          </ac:spMkLst>
        </pc:spChg>
        <pc:spChg chg="mod">
          <ac:chgData name="Mariam Daniela Tristancho Pineda (PTA SAS)" userId="a45a17f7-7950-4cb5-bfab-f5c894f959a9" providerId="ADAL" clId="{7EBB4E1E-93A9-4035-834A-9A0B60182E9F}" dt="2020-10-13T22:09:07.762" v="3815" actId="208"/>
          <ac:spMkLst>
            <pc:docMk/>
            <pc:sldMk cId="797733494" sldId="297"/>
            <ac:spMk id="8" creationId="{3E6ECC50-E1D4-4068-9C51-9462DA17BA09}"/>
          </ac:spMkLst>
        </pc:spChg>
        <pc:spChg chg="mod">
          <ac:chgData name="Mariam Daniela Tristancho Pineda (PTA SAS)" userId="a45a17f7-7950-4cb5-bfab-f5c894f959a9" providerId="ADAL" clId="{7EBB4E1E-93A9-4035-834A-9A0B60182E9F}" dt="2020-10-13T22:09:07.762" v="3815" actId="208"/>
          <ac:spMkLst>
            <pc:docMk/>
            <pc:sldMk cId="797733494" sldId="297"/>
            <ac:spMk id="23" creationId="{8044EFED-5844-49F5-BE08-EDBB50C89269}"/>
          </ac:spMkLst>
        </pc:spChg>
        <pc:spChg chg="mod">
          <ac:chgData name="Mariam Daniela Tristancho Pineda (PTA SAS)" userId="a45a17f7-7950-4cb5-bfab-f5c894f959a9" providerId="ADAL" clId="{7EBB4E1E-93A9-4035-834A-9A0B60182E9F}" dt="2020-10-13T22:09:07.762" v="3815" actId="208"/>
          <ac:spMkLst>
            <pc:docMk/>
            <pc:sldMk cId="797733494" sldId="297"/>
            <ac:spMk id="24" creationId="{EF195726-DE5A-443F-9CD4-D1F087940C78}"/>
          </ac:spMkLst>
        </pc:spChg>
        <pc:spChg chg="mod">
          <ac:chgData name="Mariam Daniela Tristancho Pineda (PTA SAS)" userId="a45a17f7-7950-4cb5-bfab-f5c894f959a9" providerId="ADAL" clId="{7EBB4E1E-93A9-4035-834A-9A0B60182E9F}" dt="2020-10-13T22:09:07.762" v="3815" actId="208"/>
          <ac:spMkLst>
            <pc:docMk/>
            <pc:sldMk cId="797733494" sldId="297"/>
            <ac:spMk id="25" creationId="{1C35055A-B902-455E-B299-37DE138F30EF}"/>
          </ac:spMkLst>
        </pc:spChg>
        <pc:spChg chg="mod">
          <ac:chgData name="Mariam Daniela Tristancho Pineda (PTA SAS)" userId="a45a17f7-7950-4cb5-bfab-f5c894f959a9" providerId="ADAL" clId="{7EBB4E1E-93A9-4035-834A-9A0B60182E9F}" dt="2020-10-13T22:09:07.762" v="3815" actId="208"/>
          <ac:spMkLst>
            <pc:docMk/>
            <pc:sldMk cId="797733494" sldId="297"/>
            <ac:spMk id="26" creationId="{F191C46A-D8E9-45A4-9BD2-4ACDFAFFFE47}"/>
          </ac:spMkLst>
        </pc:spChg>
        <pc:spChg chg="mod">
          <ac:chgData name="Mariam Daniela Tristancho Pineda (PTA SAS)" userId="a45a17f7-7950-4cb5-bfab-f5c894f959a9" providerId="ADAL" clId="{7EBB4E1E-93A9-4035-834A-9A0B60182E9F}" dt="2020-10-13T22:09:07.762" v="3815" actId="208"/>
          <ac:spMkLst>
            <pc:docMk/>
            <pc:sldMk cId="797733494" sldId="297"/>
            <ac:spMk id="28" creationId="{73B24458-CB02-433E-A912-8427D5C1E5A6}"/>
          </ac:spMkLst>
        </pc:spChg>
        <pc:spChg chg="mod">
          <ac:chgData name="Mariam Daniela Tristancho Pineda (PTA SAS)" userId="a45a17f7-7950-4cb5-bfab-f5c894f959a9" providerId="ADAL" clId="{7EBB4E1E-93A9-4035-834A-9A0B60182E9F}" dt="2020-10-13T22:09:07.762" v="3815" actId="208"/>
          <ac:spMkLst>
            <pc:docMk/>
            <pc:sldMk cId="797733494" sldId="297"/>
            <ac:spMk id="32" creationId="{BE41E3C2-7E79-4185-9A4A-205158364D68}"/>
          </ac:spMkLst>
        </pc:spChg>
        <pc:spChg chg="mod">
          <ac:chgData name="Mariam Daniela Tristancho Pineda (PTA SAS)" userId="a45a17f7-7950-4cb5-bfab-f5c894f959a9" providerId="ADAL" clId="{7EBB4E1E-93A9-4035-834A-9A0B60182E9F}" dt="2020-10-13T22:09:07.762" v="3815" actId="208"/>
          <ac:spMkLst>
            <pc:docMk/>
            <pc:sldMk cId="797733494" sldId="297"/>
            <ac:spMk id="33" creationId="{76340788-3C00-4567-8509-6D8865621F23}"/>
          </ac:spMkLst>
        </pc:spChg>
        <pc:spChg chg="mod">
          <ac:chgData name="Mariam Daniela Tristancho Pineda (PTA SAS)" userId="a45a17f7-7950-4cb5-bfab-f5c894f959a9" providerId="ADAL" clId="{7EBB4E1E-93A9-4035-834A-9A0B60182E9F}" dt="2020-10-13T22:09:07.762" v="3815" actId="208"/>
          <ac:spMkLst>
            <pc:docMk/>
            <pc:sldMk cId="797733494" sldId="297"/>
            <ac:spMk id="34" creationId="{A060BC3F-A916-4C37-AC5B-157081BC069B}"/>
          </ac:spMkLst>
        </pc:spChg>
        <pc:spChg chg="mod">
          <ac:chgData name="Mariam Daniela Tristancho Pineda (PTA SAS)" userId="a45a17f7-7950-4cb5-bfab-f5c894f959a9" providerId="ADAL" clId="{7EBB4E1E-93A9-4035-834A-9A0B60182E9F}" dt="2020-10-13T22:09:07.762" v="3815" actId="208"/>
          <ac:spMkLst>
            <pc:docMk/>
            <pc:sldMk cId="797733494" sldId="297"/>
            <ac:spMk id="35" creationId="{72BA83DE-464E-4360-80B2-506C2A0E101D}"/>
          </ac:spMkLst>
        </pc:spChg>
        <pc:spChg chg="mod">
          <ac:chgData name="Mariam Daniela Tristancho Pineda (PTA SAS)" userId="a45a17f7-7950-4cb5-bfab-f5c894f959a9" providerId="ADAL" clId="{7EBB4E1E-93A9-4035-834A-9A0B60182E9F}" dt="2020-10-13T22:09:07.762" v="3815" actId="208"/>
          <ac:spMkLst>
            <pc:docMk/>
            <pc:sldMk cId="797733494" sldId="297"/>
            <ac:spMk id="36" creationId="{E0AF671E-1CCF-4F59-A5D4-B3298A6CC674}"/>
          </ac:spMkLst>
        </pc:spChg>
        <pc:spChg chg="mod">
          <ac:chgData name="Mariam Daniela Tristancho Pineda (PTA SAS)" userId="a45a17f7-7950-4cb5-bfab-f5c894f959a9" providerId="ADAL" clId="{7EBB4E1E-93A9-4035-834A-9A0B60182E9F}" dt="2020-10-13T22:09:07.762" v="3815" actId="208"/>
          <ac:spMkLst>
            <pc:docMk/>
            <pc:sldMk cId="797733494" sldId="297"/>
            <ac:spMk id="37" creationId="{96278842-8869-4AFD-9F10-4878AA601F59}"/>
          </ac:spMkLst>
        </pc:spChg>
        <pc:spChg chg="mod">
          <ac:chgData name="Mariam Daniela Tristancho Pineda (PTA SAS)" userId="a45a17f7-7950-4cb5-bfab-f5c894f959a9" providerId="ADAL" clId="{7EBB4E1E-93A9-4035-834A-9A0B60182E9F}" dt="2020-10-13T22:09:07.762" v="3815" actId="208"/>
          <ac:spMkLst>
            <pc:docMk/>
            <pc:sldMk cId="797733494" sldId="297"/>
            <ac:spMk id="38" creationId="{0D2AD4C5-2112-4EFC-A2A0-EC062DA34592}"/>
          </ac:spMkLst>
        </pc:spChg>
        <pc:spChg chg="mod">
          <ac:chgData name="Mariam Daniela Tristancho Pineda (PTA SAS)" userId="a45a17f7-7950-4cb5-bfab-f5c894f959a9" providerId="ADAL" clId="{7EBB4E1E-93A9-4035-834A-9A0B60182E9F}" dt="2020-10-13T22:09:07.762" v="3815" actId="208"/>
          <ac:spMkLst>
            <pc:docMk/>
            <pc:sldMk cId="797733494" sldId="297"/>
            <ac:spMk id="39" creationId="{ACA8B808-650D-4390-A977-7A31172EBA66}"/>
          </ac:spMkLst>
        </pc:spChg>
        <pc:spChg chg="mod">
          <ac:chgData name="Mariam Daniela Tristancho Pineda (PTA SAS)" userId="a45a17f7-7950-4cb5-bfab-f5c894f959a9" providerId="ADAL" clId="{7EBB4E1E-93A9-4035-834A-9A0B60182E9F}" dt="2020-10-13T22:09:07.762" v="3815" actId="208"/>
          <ac:spMkLst>
            <pc:docMk/>
            <pc:sldMk cId="797733494" sldId="297"/>
            <ac:spMk id="40" creationId="{CB8B12CD-17CB-4374-A645-15E4B26A95D0}"/>
          </ac:spMkLst>
        </pc:spChg>
        <pc:spChg chg="mod">
          <ac:chgData name="Mariam Daniela Tristancho Pineda (PTA SAS)" userId="a45a17f7-7950-4cb5-bfab-f5c894f959a9" providerId="ADAL" clId="{7EBB4E1E-93A9-4035-834A-9A0B60182E9F}" dt="2020-10-13T22:09:07.762" v="3815" actId="208"/>
          <ac:spMkLst>
            <pc:docMk/>
            <pc:sldMk cId="797733494" sldId="297"/>
            <ac:spMk id="41" creationId="{A2A3418B-1FDB-41FF-BB36-A71F1319EF18}"/>
          </ac:spMkLst>
        </pc:spChg>
        <pc:grpChg chg="mod">
          <ac:chgData name="Mariam Daniela Tristancho Pineda (PTA SAS)" userId="a45a17f7-7950-4cb5-bfab-f5c894f959a9" providerId="ADAL" clId="{7EBB4E1E-93A9-4035-834A-9A0B60182E9F}" dt="2020-10-13T22:09:07.762" v="3815" actId="208"/>
          <ac:grpSpMkLst>
            <pc:docMk/>
            <pc:sldMk cId="797733494" sldId="297"/>
            <ac:grpSpMk id="42" creationId="{CFFC9C28-9BBD-4FFC-83FD-BD34E6C82D79}"/>
          </ac:grpSpMkLst>
        </pc:grpChg>
        <pc:picChg chg="mod">
          <ac:chgData name="Mariam Daniela Tristancho Pineda (PTA SAS)" userId="a45a17f7-7950-4cb5-bfab-f5c894f959a9" providerId="ADAL" clId="{7EBB4E1E-93A9-4035-834A-9A0B60182E9F}" dt="2020-10-13T22:09:07.762" v="3815" actId="208"/>
          <ac:picMkLst>
            <pc:docMk/>
            <pc:sldMk cId="797733494" sldId="297"/>
            <ac:picMk id="2" creationId="{00000000-0000-0000-0000-000000000000}"/>
          </ac:picMkLst>
        </pc:picChg>
        <pc:picChg chg="mod">
          <ac:chgData name="Mariam Daniela Tristancho Pineda (PTA SAS)" userId="a45a17f7-7950-4cb5-bfab-f5c894f959a9" providerId="ADAL" clId="{7EBB4E1E-93A9-4035-834A-9A0B60182E9F}" dt="2020-10-13T22:09:07.762" v="3815" actId="208"/>
          <ac:picMkLst>
            <pc:docMk/>
            <pc:sldMk cId="797733494" sldId="297"/>
            <ac:picMk id="12" creationId="{E5D9F84B-4EF1-4BE4-AC3E-F4B17CF3CAB1}"/>
          </ac:picMkLst>
        </pc:picChg>
        <pc:picChg chg="mod">
          <ac:chgData name="Mariam Daniela Tristancho Pineda (PTA SAS)" userId="a45a17f7-7950-4cb5-bfab-f5c894f959a9" providerId="ADAL" clId="{7EBB4E1E-93A9-4035-834A-9A0B60182E9F}" dt="2020-10-13T22:09:07.762" v="3815" actId="208"/>
          <ac:picMkLst>
            <pc:docMk/>
            <pc:sldMk cId="797733494" sldId="297"/>
            <ac:picMk id="14" creationId="{B8C2959C-1050-407B-9C35-12D6AA3B39A2}"/>
          </ac:picMkLst>
        </pc:picChg>
        <pc:picChg chg="mod">
          <ac:chgData name="Mariam Daniela Tristancho Pineda (PTA SAS)" userId="a45a17f7-7950-4cb5-bfab-f5c894f959a9" providerId="ADAL" clId="{7EBB4E1E-93A9-4035-834A-9A0B60182E9F}" dt="2020-10-13T22:09:07.762" v="3815" actId="208"/>
          <ac:picMkLst>
            <pc:docMk/>
            <pc:sldMk cId="797733494" sldId="297"/>
            <ac:picMk id="45" creationId="{A5B449F3-5F0E-4F6E-8877-6C82BC2D355E}"/>
          </ac:picMkLst>
        </pc:picChg>
      </pc:sldChg>
      <pc:sldChg chg="modSp add setBg">
        <pc:chgData name="Mariam Daniela Tristancho Pineda (PTA SAS)" userId="a45a17f7-7950-4cb5-bfab-f5c894f959a9" providerId="ADAL" clId="{7EBB4E1E-93A9-4035-834A-9A0B60182E9F}" dt="2020-10-13T22:10:17.361" v="3818" actId="1076"/>
        <pc:sldMkLst>
          <pc:docMk/>
          <pc:sldMk cId="2623911924" sldId="298"/>
        </pc:sldMkLst>
        <pc:spChg chg="mod">
          <ac:chgData name="Mariam Daniela Tristancho Pineda (PTA SAS)" userId="a45a17f7-7950-4cb5-bfab-f5c894f959a9" providerId="ADAL" clId="{7EBB4E1E-93A9-4035-834A-9A0B60182E9F}" dt="2020-10-13T22:09:31.133" v="3817" actId="207"/>
          <ac:spMkLst>
            <pc:docMk/>
            <pc:sldMk cId="2623911924" sldId="298"/>
            <ac:spMk id="11" creationId="{00000000-0000-0000-0000-000000000000}"/>
          </ac:spMkLst>
        </pc:spChg>
        <pc:spChg chg="mod">
          <ac:chgData name="Mariam Daniela Tristancho Pineda (PTA SAS)" userId="a45a17f7-7950-4cb5-bfab-f5c894f959a9" providerId="ADAL" clId="{7EBB4E1E-93A9-4035-834A-9A0B60182E9F}" dt="2020-10-13T22:10:17.361" v="3818" actId="1076"/>
          <ac:spMkLst>
            <pc:docMk/>
            <pc:sldMk cId="2623911924" sldId="298"/>
            <ac:spMk id="30" creationId="{E940FFDD-CF3B-43F7-907F-20639F966AB9}"/>
          </ac:spMkLst>
        </pc:spChg>
        <pc:spChg chg="mod">
          <ac:chgData name="Mariam Daniela Tristancho Pineda (PTA SAS)" userId="a45a17f7-7950-4cb5-bfab-f5c894f959a9" providerId="ADAL" clId="{7EBB4E1E-93A9-4035-834A-9A0B60182E9F}" dt="2020-10-13T22:10:17.361" v="3818" actId="1076"/>
          <ac:spMkLst>
            <pc:docMk/>
            <pc:sldMk cId="2623911924" sldId="298"/>
            <ac:spMk id="31" creationId="{91706E1D-0668-4354-9C2C-052AC2B04EFE}"/>
          </ac:spMkLst>
        </pc:spChg>
        <pc:spChg chg="mod">
          <ac:chgData name="Mariam Daniela Tristancho Pineda (PTA SAS)" userId="a45a17f7-7950-4cb5-bfab-f5c894f959a9" providerId="ADAL" clId="{7EBB4E1E-93A9-4035-834A-9A0B60182E9F}" dt="2020-10-13T22:10:17.361" v="3818" actId="1076"/>
          <ac:spMkLst>
            <pc:docMk/>
            <pc:sldMk cId="2623911924" sldId="298"/>
            <ac:spMk id="32" creationId="{1B65E16C-D30F-4501-8A0B-EC42EC0EEC10}"/>
          </ac:spMkLst>
        </pc:spChg>
        <pc:spChg chg="mod">
          <ac:chgData name="Mariam Daniela Tristancho Pineda (PTA SAS)" userId="a45a17f7-7950-4cb5-bfab-f5c894f959a9" providerId="ADAL" clId="{7EBB4E1E-93A9-4035-834A-9A0B60182E9F}" dt="2020-10-13T22:09:31.133" v="3817" actId="207"/>
          <ac:spMkLst>
            <pc:docMk/>
            <pc:sldMk cId="2623911924" sldId="298"/>
            <ac:spMk id="34" creationId="{9D5EAC75-C57B-41D1-BEF5-42E254AD95FA}"/>
          </ac:spMkLst>
        </pc:spChg>
        <pc:spChg chg="mod">
          <ac:chgData name="Mariam Daniela Tristancho Pineda (PTA SAS)" userId="a45a17f7-7950-4cb5-bfab-f5c894f959a9" providerId="ADAL" clId="{7EBB4E1E-93A9-4035-834A-9A0B60182E9F}" dt="2020-10-13T22:10:17.361" v="3818" actId="1076"/>
          <ac:spMkLst>
            <pc:docMk/>
            <pc:sldMk cId="2623911924" sldId="298"/>
            <ac:spMk id="36" creationId="{E77170F5-0062-476F-99B3-68F09D53F05A}"/>
          </ac:spMkLst>
        </pc:spChg>
        <pc:spChg chg="mod">
          <ac:chgData name="Mariam Daniela Tristancho Pineda (PTA SAS)" userId="a45a17f7-7950-4cb5-bfab-f5c894f959a9" providerId="ADAL" clId="{7EBB4E1E-93A9-4035-834A-9A0B60182E9F}" dt="2020-10-13T22:10:17.361" v="3818" actId="1076"/>
          <ac:spMkLst>
            <pc:docMk/>
            <pc:sldMk cId="2623911924" sldId="298"/>
            <ac:spMk id="37" creationId="{6CF738A8-5509-4F50-BF72-7B662F35292B}"/>
          </ac:spMkLst>
        </pc:spChg>
        <pc:spChg chg="mod">
          <ac:chgData name="Mariam Daniela Tristancho Pineda (PTA SAS)" userId="a45a17f7-7950-4cb5-bfab-f5c894f959a9" providerId="ADAL" clId="{7EBB4E1E-93A9-4035-834A-9A0B60182E9F}" dt="2020-10-13T22:10:17.361" v="3818" actId="1076"/>
          <ac:spMkLst>
            <pc:docMk/>
            <pc:sldMk cId="2623911924" sldId="298"/>
            <ac:spMk id="38" creationId="{634E891F-D93A-434B-8CE9-598C741AA80C}"/>
          </ac:spMkLst>
        </pc:spChg>
        <pc:spChg chg="mod">
          <ac:chgData name="Mariam Daniela Tristancho Pineda (PTA SAS)" userId="a45a17f7-7950-4cb5-bfab-f5c894f959a9" providerId="ADAL" clId="{7EBB4E1E-93A9-4035-834A-9A0B60182E9F}" dt="2020-10-13T22:10:17.361" v="3818" actId="1076"/>
          <ac:spMkLst>
            <pc:docMk/>
            <pc:sldMk cId="2623911924" sldId="298"/>
            <ac:spMk id="39" creationId="{761AF147-4CFD-4640-8F0D-D631719366CC}"/>
          </ac:spMkLst>
        </pc:spChg>
        <pc:spChg chg="mod">
          <ac:chgData name="Mariam Daniela Tristancho Pineda (PTA SAS)" userId="a45a17f7-7950-4cb5-bfab-f5c894f959a9" providerId="ADAL" clId="{7EBB4E1E-93A9-4035-834A-9A0B60182E9F}" dt="2020-10-13T22:10:17.361" v="3818" actId="1076"/>
          <ac:spMkLst>
            <pc:docMk/>
            <pc:sldMk cId="2623911924" sldId="298"/>
            <ac:spMk id="40" creationId="{5B368189-622A-431C-93E7-25509DB0F16B}"/>
          </ac:spMkLst>
        </pc:spChg>
        <pc:spChg chg="mod">
          <ac:chgData name="Mariam Daniela Tristancho Pineda (PTA SAS)" userId="a45a17f7-7950-4cb5-bfab-f5c894f959a9" providerId="ADAL" clId="{7EBB4E1E-93A9-4035-834A-9A0B60182E9F}" dt="2020-10-13T22:10:17.361" v="3818" actId="1076"/>
          <ac:spMkLst>
            <pc:docMk/>
            <pc:sldMk cId="2623911924" sldId="298"/>
            <ac:spMk id="41" creationId="{52ADE04D-6E7F-4A1F-9F2E-FE80C27B71C0}"/>
          </ac:spMkLst>
        </pc:spChg>
        <pc:spChg chg="mod">
          <ac:chgData name="Mariam Daniela Tristancho Pineda (PTA SAS)" userId="a45a17f7-7950-4cb5-bfab-f5c894f959a9" providerId="ADAL" clId="{7EBB4E1E-93A9-4035-834A-9A0B60182E9F}" dt="2020-10-13T22:10:17.361" v="3818" actId="1076"/>
          <ac:spMkLst>
            <pc:docMk/>
            <pc:sldMk cId="2623911924" sldId="298"/>
            <ac:spMk id="42" creationId="{91D45F73-7FB3-4F66-BD35-DAFDB4FF0344}"/>
          </ac:spMkLst>
        </pc:spChg>
        <pc:spChg chg="mod">
          <ac:chgData name="Mariam Daniela Tristancho Pineda (PTA SAS)" userId="a45a17f7-7950-4cb5-bfab-f5c894f959a9" providerId="ADAL" clId="{7EBB4E1E-93A9-4035-834A-9A0B60182E9F}" dt="2020-10-13T22:10:17.361" v="3818" actId="1076"/>
          <ac:spMkLst>
            <pc:docMk/>
            <pc:sldMk cId="2623911924" sldId="298"/>
            <ac:spMk id="43" creationId="{6C621023-FA11-4B60-A427-073D00E1B5F1}"/>
          </ac:spMkLst>
        </pc:spChg>
        <pc:spChg chg="mod">
          <ac:chgData name="Mariam Daniela Tristancho Pineda (PTA SAS)" userId="a45a17f7-7950-4cb5-bfab-f5c894f959a9" providerId="ADAL" clId="{7EBB4E1E-93A9-4035-834A-9A0B60182E9F}" dt="2020-10-13T22:10:17.361" v="3818" actId="1076"/>
          <ac:spMkLst>
            <pc:docMk/>
            <pc:sldMk cId="2623911924" sldId="298"/>
            <ac:spMk id="44" creationId="{D7E38775-005A-4721-9E0F-78AB98BD4BF0}"/>
          </ac:spMkLst>
        </pc:spChg>
        <pc:spChg chg="mod">
          <ac:chgData name="Mariam Daniela Tristancho Pineda (PTA SAS)" userId="a45a17f7-7950-4cb5-bfab-f5c894f959a9" providerId="ADAL" clId="{7EBB4E1E-93A9-4035-834A-9A0B60182E9F}" dt="2020-10-13T22:10:17.361" v="3818" actId="1076"/>
          <ac:spMkLst>
            <pc:docMk/>
            <pc:sldMk cId="2623911924" sldId="298"/>
            <ac:spMk id="45" creationId="{20DB7B6D-05ED-483C-87AB-61682B0F6A7A}"/>
          </ac:spMkLst>
        </pc:spChg>
        <pc:spChg chg="mod">
          <ac:chgData name="Mariam Daniela Tristancho Pineda (PTA SAS)" userId="a45a17f7-7950-4cb5-bfab-f5c894f959a9" providerId="ADAL" clId="{7EBB4E1E-93A9-4035-834A-9A0B60182E9F}" dt="2020-10-13T22:10:17.361" v="3818" actId="1076"/>
          <ac:spMkLst>
            <pc:docMk/>
            <pc:sldMk cId="2623911924" sldId="298"/>
            <ac:spMk id="50" creationId="{B85926FF-3DFD-424F-AEFB-E00DE37B6837}"/>
          </ac:spMkLst>
        </pc:spChg>
        <pc:spChg chg="mod">
          <ac:chgData name="Mariam Daniela Tristancho Pineda (PTA SAS)" userId="a45a17f7-7950-4cb5-bfab-f5c894f959a9" providerId="ADAL" clId="{7EBB4E1E-93A9-4035-834A-9A0B60182E9F}" dt="2020-10-13T22:10:17.361" v="3818" actId="1076"/>
          <ac:spMkLst>
            <pc:docMk/>
            <pc:sldMk cId="2623911924" sldId="298"/>
            <ac:spMk id="53" creationId="{4E5165CF-40B1-4245-BA56-66A12A787843}"/>
          </ac:spMkLst>
        </pc:spChg>
        <pc:grpChg chg="mod">
          <ac:chgData name="Mariam Daniela Tristancho Pineda (PTA SAS)" userId="a45a17f7-7950-4cb5-bfab-f5c894f959a9" providerId="ADAL" clId="{7EBB4E1E-93A9-4035-834A-9A0B60182E9F}" dt="2020-10-13T22:10:17.361" v="3818" actId="1076"/>
          <ac:grpSpMkLst>
            <pc:docMk/>
            <pc:sldMk cId="2623911924" sldId="298"/>
            <ac:grpSpMk id="4" creationId="{2CE5EB50-7E83-4167-9654-999EEE072693}"/>
          </ac:grpSpMkLst>
        </pc:grpChg>
        <pc:grpChg chg="mod">
          <ac:chgData name="Mariam Daniela Tristancho Pineda (PTA SAS)" userId="a45a17f7-7950-4cb5-bfab-f5c894f959a9" providerId="ADAL" clId="{7EBB4E1E-93A9-4035-834A-9A0B60182E9F}" dt="2020-10-13T22:09:31.133" v="3817" actId="207"/>
          <ac:grpSpMkLst>
            <pc:docMk/>
            <pc:sldMk cId="2623911924" sldId="298"/>
            <ac:grpSpMk id="5" creationId="{00000000-0000-0000-0000-000000000000}"/>
          </ac:grpSpMkLst>
        </pc:grpChg>
        <pc:grpChg chg="mod">
          <ac:chgData name="Mariam Daniela Tristancho Pineda (PTA SAS)" userId="a45a17f7-7950-4cb5-bfab-f5c894f959a9" providerId="ADAL" clId="{7EBB4E1E-93A9-4035-834A-9A0B60182E9F}" dt="2020-10-13T22:09:31.133" v="3817" actId="207"/>
          <ac:grpSpMkLst>
            <pc:docMk/>
            <pc:sldMk cId="2623911924" sldId="298"/>
            <ac:grpSpMk id="7" creationId="{00000000-0000-0000-0000-000000000000}"/>
          </ac:grpSpMkLst>
        </pc:grpChg>
        <pc:grpChg chg="mod">
          <ac:chgData name="Mariam Daniela Tristancho Pineda (PTA SAS)" userId="a45a17f7-7950-4cb5-bfab-f5c894f959a9" providerId="ADAL" clId="{7EBB4E1E-93A9-4035-834A-9A0B60182E9F}" dt="2020-10-13T22:09:31.133" v="3817" actId="207"/>
          <ac:grpSpMkLst>
            <pc:docMk/>
            <pc:sldMk cId="2623911924" sldId="298"/>
            <ac:grpSpMk id="9" creationId="{00000000-0000-0000-0000-000000000000}"/>
          </ac:grpSpMkLst>
        </pc:grpChg>
        <pc:grpChg chg="mod">
          <ac:chgData name="Mariam Daniela Tristancho Pineda (PTA SAS)" userId="a45a17f7-7950-4cb5-bfab-f5c894f959a9" providerId="ADAL" clId="{7EBB4E1E-93A9-4035-834A-9A0B60182E9F}" dt="2020-10-13T22:10:17.361" v="3818" actId="1076"/>
          <ac:grpSpMkLst>
            <pc:docMk/>
            <pc:sldMk cId="2623911924" sldId="298"/>
            <ac:grpSpMk id="49" creationId="{764395C2-CC6A-4EB6-BF41-49120B85AB8E}"/>
          </ac:grpSpMkLst>
        </pc:grpChg>
        <pc:grpChg chg="mod">
          <ac:chgData name="Mariam Daniela Tristancho Pineda (PTA SAS)" userId="a45a17f7-7950-4cb5-bfab-f5c894f959a9" providerId="ADAL" clId="{7EBB4E1E-93A9-4035-834A-9A0B60182E9F}" dt="2020-10-13T22:10:17.361" v="3818" actId="1076"/>
          <ac:grpSpMkLst>
            <pc:docMk/>
            <pc:sldMk cId="2623911924" sldId="298"/>
            <ac:grpSpMk id="52" creationId="{CAC9795F-B5C3-49AD-A8EA-16417C948105}"/>
          </ac:grpSpMkLst>
        </pc:grpChg>
        <pc:picChg chg="mod">
          <ac:chgData name="Mariam Daniela Tristancho Pineda (PTA SAS)" userId="a45a17f7-7950-4cb5-bfab-f5c894f959a9" providerId="ADAL" clId="{7EBB4E1E-93A9-4035-834A-9A0B60182E9F}" dt="2020-10-13T22:09:31.133" v="3817" actId="207"/>
          <ac:picMkLst>
            <pc:docMk/>
            <pc:sldMk cId="2623911924" sldId="298"/>
            <ac:picMk id="2" creationId="{00000000-0000-0000-0000-000000000000}"/>
          </ac:picMkLst>
        </pc:picChg>
        <pc:picChg chg="mod">
          <ac:chgData name="Mariam Daniela Tristancho Pineda (PTA SAS)" userId="a45a17f7-7950-4cb5-bfab-f5c894f959a9" providerId="ADAL" clId="{7EBB4E1E-93A9-4035-834A-9A0B60182E9F}" dt="2020-10-13T22:09:31.133" v="3817" actId="207"/>
          <ac:picMkLst>
            <pc:docMk/>
            <pc:sldMk cId="2623911924" sldId="298"/>
            <ac:picMk id="3" creationId="{00000000-0000-0000-0000-000000000000}"/>
          </ac:picMkLst>
        </pc:picChg>
        <pc:picChg chg="mod">
          <ac:chgData name="Mariam Daniela Tristancho Pineda (PTA SAS)" userId="a45a17f7-7950-4cb5-bfab-f5c894f959a9" providerId="ADAL" clId="{7EBB4E1E-93A9-4035-834A-9A0B60182E9F}" dt="2020-10-13T22:10:17.361" v="3818" actId="1076"/>
          <ac:picMkLst>
            <pc:docMk/>
            <pc:sldMk cId="2623911924" sldId="298"/>
            <ac:picMk id="51" creationId="{C2B65E6D-02ED-417E-AD1A-370BA5315559}"/>
          </ac:picMkLst>
        </pc:picChg>
        <pc:picChg chg="mod">
          <ac:chgData name="Mariam Daniela Tristancho Pineda (PTA SAS)" userId="a45a17f7-7950-4cb5-bfab-f5c894f959a9" providerId="ADAL" clId="{7EBB4E1E-93A9-4035-834A-9A0B60182E9F}" dt="2020-10-13T22:10:17.361" v="3818" actId="1076"/>
          <ac:picMkLst>
            <pc:docMk/>
            <pc:sldMk cId="2623911924" sldId="298"/>
            <ac:picMk id="54" creationId="{4429E0B1-B8F9-43BA-A1C4-26209C27B02D}"/>
          </ac:picMkLst>
        </pc:picChg>
        <pc:picChg chg="mod">
          <ac:chgData name="Mariam Daniela Tristancho Pineda (PTA SAS)" userId="a45a17f7-7950-4cb5-bfab-f5c894f959a9" providerId="ADAL" clId="{7EBB4E1E-93A9-4035-834A-9A0B60182E9F}" dt="2020-10-13T22:10:17.361" v="3818" actId="1076"/>
          <ac:picMkLst>
            <pc:docMk/>
            <pc:sldMk cId="2623911924" sldId="298"/>
            <ac:picMk id="55" creationId="{88A4B8FF-7AB9-45CF-9D05-19FC33A5855B}"/>
          </ac:picMkLst>
        </pc:picChg>
      </pc:sldChg>
      <pc:sldChg chg="add">
        <pc:chgData name="Mariam Daniela Tristancho Pineda (PTA SAS)" userId="a45a17f7-7950-4cb5-bfab-f5c894f959a9" providerId="ADAL" clId="{7EBB4E1E-93A9-4035-834A-9A0B60182E9F}" dt="2020-10-13T13:09:52.288" v="3694"/>
        <pc:sldMkLst>
          <pc:docMk/>
          <pc:sldMk cId="3249039462" sldId="307"/>
        </pc:sldMkLst>
      </pc:sldChg>
      <pc:sldChg chg="modSp add setBg">
        <pc:chgData name="Mariam Daniela Tristancho Pineda (PTA SAS)" userId="a45a17f7-7950-4cb5-bfab-f5c894f959a9" providerId="ADAL" clId="{7EBB4E1E-93A9-4035-834A-9A0B60182E9F}" dt="2020-10-13T22:07:28.023" v="3792" actId="207"/>
        <pc:sldMkLst>
          <pc:docMk/>
          <pc:sldMk cId="1418491404" sldId="310"/>
        </pc:sldMkLst>
        <pc:spChg chg="mod">
          <ac:chgData name="Mariam Daniela Tristancho Pineda (PTA SAS)" userId="a45a17f7-7950-4cb5-bfab-f5c894f959a9" providerId="ADAL" clId="{7EBB4E1E-93A9-4035-834A-9A0B60182E9F}" dt="2020-10-13T22:07:28.023" v="3792" actId="207"/>
          <ac:spMkLst>
            <pc:docMk/>
            <pc:sldMk cId="1418491404" sldId="310"/>
            <ac:spMk id="13" creationId="{00000000-0000-0000-0000-000000000000}"/>
          </ac:spMkLst>
        </pc:spChg>
        <pc:spChg chg="mod">
          <ac:chgData name="Mariam Daniela Tristancho Pineda (PTA SAS)" userId="a45a17f7-7950-4cb5-bfab-f5c894f959a9" providerId="ADAL" clId="{7EBB4E1E-93A9-4035-834A-9A0B60182E9F}" dt="2020-10-13T22:07:28.023" v="3792" actId="207"/>
          <ac:spMkLst>
            <pc:docMk/>
            <pc:sldMk cId="1418491404" sldId="310"/>
            <ac:spMk id="36" creationId="{8AB857DD-7F48-6F44-8DDA-654CBAC2732D}"/>
          </ac:spMkLst>
        </pc:spChg>
        <pc:spChg chg="mod">
          <ac:chgData name="Mariam Daniela Tristancho Pineda (PTA SAS)" userId="a45a17f7-7950-4cb5-bfab-f5c894f959a9" providerId="ADAL" clId="{7EBB4E1E-93A9-4035-834A-9A0B60182E9F}" dt="2020-10-13T22:07:28.023" v="3792" actId="207"/>
          <ac:spMkLst>
            <pc:docMk/>
            <pc:sldMk cId="1418491404" sldId="310"/>
            <ac:spMk id="37" creationId="{B8C7BFE6-AEEE-A549-938F-D63D0F960FB1}"/>
          </ac:spMkLst>
        </pc:spChg>
        <pc:spChg chg="mod">
          <ac:chgData name="Mariam Daniela Tristancho Pineda (PTA SAS)" userId="a45a17f7-7950-4cb5-bfab-f5c894f959a9" providerId="ADAL" clId="{7EBB4E1E-93A9-4035-834A-9A0B60182E9F}" dt="2020-10-13T22:07:28.023" v="3792" actId="207"/>
          <ac:spMkLst>
            <pc:docMk/>
            <pc:sldMk cId="1418491404" sldId="310"/>
            <ac:spMk id="40" creationId="{05557A92-3193-CE41-8E87-A1EE05A58813}"/>
          </ac:spMkLst>
        </pc:spChg>
        <pc:spChg chg="mod">
          <ac:chgData name="Mariam Daniela Tristancho Pineda (PTA SAS)" userId="a45a17f7-7950-4cb5-bfab-f5c894f959a9" providerId="ADAL" clId="{7EBB4E1E-93A9-4035-834A-9A0B60182E9F}" dt="2020-10-13T22:07:28.023" v="3792" actId="207"/>
          <ac:spMkLst>
            <pc:docMk/>
            <pc:sldMk cId="1418491404" sldId="310"/>
            <ac:spMk id="44" creationId="{1FC0364B-52FA-384A-B23E-72263208DD8E}"/>
          </ac:spMkLst>
        </pc:spChg>
        <pc:spChg chg="mod">
          <ac:chgData name="Mariam Daniela Tristancho Pineda (PTA SAS)" userId="a45a17f7-7950-4cb5-bfab-f5c894f959a9" providerId="ADAL" clId="{7EBB4E1E-93A9-4035-834A-9A0B60182E9F}" dt="2020-10-13T22:07:28.023" v="3792" actId="207"/>
          <ac:spMkLst>
            <pc:docMk/>
            <pc:sldMk cId="1418491404" sldId="310"/>
            <ac:spMk id="45" creationId="{8A2C9609-C0A4-CF40-BE06-A7E40C552D44}"/>
          </ac:spMkLst>
        </pc:spChg>
        <pc:spChg chg="mod">
          <ac:chgData name="Mariam Daniela Tristancho Pineda (PTA SAS)" userId="a45a17f7-7950-4cb5-bfab-f5c894f959a9" providerId="ADAL" clId="{7EBB4E1E-93A9-4035-834A-9A0B60182E9F}" dt="2020-10-13T22:07:28.023" v="3792" actId="207"/>
          <ac:spMkLst>
            <pc:docMk/>
            <pc:sldMk cId="1418491404" sldId="310"/>
            <ac:spMk id="46" creationId="{6E9AA583-44B4-C841-AE83-4912B81E7780}"/>
          </ac:spMkLst>
        </pc:spChg>
        <pc:spChg chg="mod">
          <ac:chgData name="Mariam Daniela Tristancho Pineda (PTA SAS)" userId="a45a17f7-7950-4cb5-bfab-f5c894f959a9" providerId="ADAL" clId="{7EBB4E1E-93A9-4035-834A-9A0B60182E9F}" dt="2020-10-13T22:07:28.023" v="3792" actId="207"/>
          <ac:spMkLst>
            <pc:docMk/>
            <pc:sldMk cId="1418491404" sldId="310"/>
            <ac:spMk id="47" creationId="{9A7AB3A8-ED0D-C345-B58B-9B604C1F5035}"/>
          </ac:spMkLst>
        </pc:spChg>
        <pc:spChg chg="mod">
          <ac:chgData name="Mariam Daniela Tristancho Pineda (PTA SAS)" userId="a45a17f7-7950-4cb5-bfab-f5c894f959a9" providerId="ADAL" clId="{7EBB4E1E-93A9-4035-834A-9A0B60182E9F}" dt="2020-10-13T22:07:28.023" v="3792" actId="207"/>
          <ac:spMkLst>
            <pc:docMk/>
            <pc:sldMk cId="1418491404" sldId="310"/>
            <ac:spMk id="48" creationId="{06AF7F8A-A3EB-0249-BBA3-3E2AE26D5569}"/>
          </ac:spMkLst>
        </pc:spChg>
        <pc:spChg chg="mod">
          <ac:chgData name="Mariam Daniela Tristancho Pineda (PTA SAS)" userId="a45a17f7-7950-4cb5-bfab-f5c894f959a9" providerId="ADAL" clId="{7EBB4E1E-93A9-4035-834A-9A0B60182E9F}" dt="2020-10-13T22:07:28.023" v="3792" actId="207"/>
          <ac:spMkLst>
            <pc:docMk/>
            <pc:sldMk cId="1418491404" sldId="310"/>
            <ac:spMk id="49" creationId="{32B39CB2-168C-CA45-AEEB-1F2AB0CA60A5}"/>
          </ac:spMkLst>
        </pc:spChg>
        <pc:spChg chg="mod">
          <ac:chgData name="Mariam Daniela Tristancho Pineda (PTA SAS)" userId="a45a17f7-7950-4cb5-bfab-f5c894f959a9" providerId="ADAL" clId="{7EBB4E1E-93A9-4035-834A-9A0B60182E9F}" dt="2020-10-13T22:07:28.023" v="3792" actId="207"/>
          <ac:spMkLst>
            <pc:docMk/>
            <pc:sldMk cId="1418491404" sldId="310"/>
            <ac:spMk id="50" creationId="{D7AF7C10-711F-0943-99EA-58F7B8A25F8A}"/>
          </ac:spMkLst>
        </pc:spChg>
        <pc:spChg chg="mod">
          <ac:chgData name="Mariam Daniela Tristancho Pineda (PTA SAS)" userId="a45a17f7-7950-4cb5-bfab-f5c894f959a9" providerId="ADAL" clId="{7EBB4E1E-93A9-4035-834A-9A0B60182E9F}" dt="2020-10-13T22:07:28.023" v="3792" actId="207"/>
          <ac:spMkLst>
            <pc:docMk/>
            <pc:sldMk cId="1418491404" sldId="310"/>
            <ac:spMk id="51" creationId="{5F596036-A41F-694B-B0A4-E47EE4F8E01B}"/>
          </ac:spMkLst>
        </pc:spChg>
        <pc:spChg chg="mod">
          <ac:chgData name="Mariam Daniela Tristancho Pineda (PTA SAS)" userId="a45a17f7-7950-4cb5-bfab-f5c894f959a9" providerId="ADAL" clId="{7EBB4E1E-93A9-4035-834A-9A0B60182E9F}" dt="2020-10-13T22:07:28.023" v="3792" actId="207"/>
          <ac:spMkLst>
            <pc:docMk/>
            <pc:sldMk cId="1418491404" sldId="310"/>
            <ac:spMk id="54" creationId="{765F93CF-92B3-F348-A6A4-C6D21C12CE95}"/>
          </ac:spMkLst>
        </pc:spChg>
        <pc:spChg chg="mod">
          <ac:chgData name="Mariam Daniela Tristancho Pineda (PTA SAS)" userId="a45a17f7-7950-4cb5-bfab-f5c894f959a9" providerId="ADAL" clId="{7EBB4E1E-93A9-4035-834A-9A0B60182E9F}" dt="2020-10-13T22:07:28.023" v="3792" actId="207"/>
          <ac:spMkLst>
            <pc:docMk/>
            <pc:sldMk cId="1418491404" sldId="310"/>
            <ac:spMk id="58" creationId="{80EAA07F-65C8-1B4B-BE60-2ABEA63E5631}"/>
          </ac:spMkLst>
        </pc:spChg>
        <pc:spChg chg="mod">
          <ac:chgData name="Mariam Daniela Tristancho Pineda (PTA SAS)" userId="a45a17f7-7950-4cb5-bfab-f5c894f959a9" providerId="ADAL" clId="{7EBB4E1E-93A9-4035-834A-9A0B60182E9F}" dt="2020-10-13T22:07:28.023" v="3792" actId="207"/>
          <ac:spMkLst>
            <pc:docMk/>
            <pc:sldMk cId="1418491404" sldId="310"/>
            <ac:spMk id="59" creationId="{29A5A392-29E9-2D41-BCCB-844D3DA4B2F3}"/>
          </ac:spMkLst>
        </pc:spChg>
        <pc:spChg chg="mod">
          <ac:chgData name="Mariam Daniela Tristancho Pineda (PTA SAS)" userId="a45a17f7-7950-4cb5-bfab-f5c894f959a9" providerId="ADAL" clId="{7EBB4E1E-93A9-4035-834A-9A0B60182E9F}" dt="2020-10-13T22:07:28.023" v="3792" actId="207"/>
          <ac:spMkLst>
            <pc:docMk/>
            <pc:sldMk cId="1418491404" sldId="310"/>
            <ac:spMk id="62" creationId="{7769BA9E-B95F-4628-AC0C-8649C3996759}"/>
          </ac:spMkLst>
        </pc:spChg>
        <pc:spChg chg="mod">
          <ac:chgData name="Mariam Daniela Tristancho Pineda (PTA SAS)" userId="a45a17f7-7950-4cb5-bfab-f5c894f959a9" providerId="ADAL" clId="{7EBB4E1E-93A9-4035-834A-9A0B60182E9F}" dt="2020-10-13T22:07:28.023" v="3792" actId="207"/>
          <ac:spMkLst>
            <pc:docMk/>
            <pc:sldMk cId="1418491404" sldId="310"/>
            <ac:spMk id="65" creationId="{7FA1B8FD-9E91-44E4-BD42-5FC494A50D2E}"/>
          </ac:spMkLst>
        </pc:spChg>
        <pc:spChg chg="mod">
          <ac:chgData name="Mariam Daniela Tristancho Pineda (PTA SAS)" userId="a45a17f7-7950-4cb5-bfab-f5c894f959a9" providerId="ADAL" clId="{7EBB4E1E-93A9-4035-834A-9A0B60182E9F}" dt="2020-10-13T22:07:28.023" v="3792" actId="207"/>
          <ac:spMkLst>
            <pc:docMk/>
            <pc:sldMk cId="1418491404" sldId="310"/>
            <ac:spMk id="66" creationId="{BC1EA9D7-F69A-433C-A1F1-39C7A25CB891}"/>
          </ac:spMkLst>
        </pc:spChg>
        <pc:spChg chg="mod">
          <ac:chgData name="Mariam Daniela Tristancho Pineda (PTA SAS)" userId="a45a17f7-7950-4cb5-bfab-f5c894f959a9" providerId="ADAL" clId="{7EBB4E1E-93A9-4035-834A-9A0B60182E9F}" dt="2020-10-13T22:07:28.023" v="3792" actId="207"/>
          <ac:spMkLst>
            <pc:docMk/>
            <pc:sldMk cId="1418491404" sldId="310"/>
            <ac:spMk id="67" creationId="{75E99389-0C6F-43B9-AEA3-C9FBC3B926F0}"/>
          </ac:spMkLst>
        </pc:spChg>
        <pc:spChg chg="mod">
          <ac:chgData name="Mariam Daniela Tristancho Pineda (PTA SAS)" userId="a45a17f7-7950-4cb5-bfab-f5c894f959a9" providerId="ADAL" clId="{7EBB4E1E-93A9-4035-834A-9A0B60182E9F}" dt="2020-10-13T22:07:28.023" v="3792" actId="207"/>
          <ac:spMkLst>
            <pc:docMk/>
            <pc:sldMk cId="1418491404" sldId="310"/>
            <ac:spMk id="68" creationId="{EE846AB0-05E6-4E73-84DA-0A38552E5697}"/>
          </ac:spMkLst>
        </pc:spChg>
        <pc:spChg chg="mod">
          <ac:chgData name="Mariam Daniela Tristancho Pineda (PTA SAS)" userId="a45a17f7-7950-4cb5-bfab-f5c894f959a9" providerId="ADAL" clId="{7EBB4E1E-93A9-4035-834A-9A0B60182E9F}" dt="2020-10-13T22:07:28.023" v="3792" actId="207"/>
          <ac:spMkLst>
            <pc:docMk/>
            <pc:sldMk cId="1418491404" sldId="310"/>
            <ac:spMk id="69" creationId="{2BC44877-FF86-490B-AF23-43DB512689CD}"/>
          </ac:spMkLst>
        </pc:spChg>
        <pc:spChg chg="mod">
          <ac:chgData name="Mariam Daniela Tristancho Pineda (PTA SAS)" userId="a45a17f7-7950-4cb5-bfab-f5c894f959a9" providerId="ADAL" clId="{7EBB4E1E-93A9-4035-834A-9A0B60182E9F}" dt="2020-10-13T22:07:28.023" v="3792" actId="207"/>
          <ac:spMkLst>
            <pc:docMk/>
            <pc:sldMk cId="1418491404" sldId="310"/>
            <ac:spMk id="70" creationId="{864E9114-157A-432C-BE98-B4B3C07E7F21}"/>
          </ac:spMkLst>
        </pc:spChg>
        <pc:spChg chg="mod">
          <ac:chgData name="Mariam Daniela Tristancho Pineda (PTA SAS)" userId="a45a17f7-7950-4cb5-bfab-f5c894f959a9" providerId="ADAL" clId="{7EBB4E1E-93A9-4035-834A-9A0B60182E9F}" dt="2020-10-13T22:07:28.023" v="3792" actId="207"/>
          <ac:spMkLst>
            <pc:docMk/>
            <pc:sldMk cId="1418491404" sldId="310"/>
            <ac:spMk id="71" creationId="{3A9008D4-7037-4200-9164-44D383C923F1}"/>
          </ac:spMkLst>
        </pc:spChg>
        <pc:spChg chg="mod">
          <ac:chgData name="Mariam Daniela Tristancho Pineda (PTA SAS)" userId="a45a17f7-7950-4cb5-bfab-f5c894f959a9" providerId="ADAL" clId="{7EBB4E1E-93A9-4035-834A-9A0B60182E9F}" dt="2020-10-13T22:07:28.023" v="3792" actId="207"/>
          <ac:spMkLst>
            <pc:docMk/>
            <pc:sldMk cId="1418491404" sldId="310"/>
            <ac:spMk id="73" creationId="{3E97CF09-EF6A-438B-87A6-014E1067A904}"/>
          </ac:spMkLst>
        </pc:spChg>
        <pc:spChg chg="mod">
          <ac:chgData name="Mariam Daniela Tristancho Pineda (PTA SAS)" userId="a45a17f7-7950-4cb5-bfab-f5c894f959a9" providerId="ADAL" clId="{7EBB4E1E-93A9-4035-834A-9A0B60182E9F}" dt="2020-10-13T22:07:28.023" v="3792" actId="207"/>
          <ac:spMkLst>
            <pc:docMk/>
            <pc:sldMk cId="1418491404" sldId="310"/>
            <ac:spMk id="74" creationId="{062B088A-1D2E-4798-ABC0-11105B2D0A9E}"/>
          </ac:spMkLst>
        </pc:spChg>
        <pc:grpChg chg="mod">
          <ac:chgData name="Mariam Daniela Tristancho Pineda (PTA SAS)" userId="a45a17f7-7950-4cb5-bfab-f5c894f959a9" providerId="ADAL" clId="{7EBB4E1E-93A9-4035-834A-9A0B60182E9F}" dt="2020-10-13T22:07:28.023" v="3792" actId="207"/>
          <ac:grpSpMkLst>
            <pc:docMk/>
            <pc:sldMk cId="1418491404" sldId="310"/>
            <ac:grpSpMk id="6" creationId="{00000000-0000-0000-0000-000000000000}"/>
          </ac:grpSpMkLst>
        </pc:grpChg>
        <pc:grpChg chg="mod">
          <ac:chgData name="Mariam Daniela Tristancho Pineda (PTA SAS)" userId="a45a17f7-7950-4cb5-bfab-f5c894f959a9" providerId="ADAL" clId="{7EBB4E1E-93A9-4035-834A-9A0B60182E9F}" dt="2020-10-13T22:07:28.023" v="3792" actId="207"/>
          <ac:grpSpMkLst>
            <pc:docMk/>
            <pc:sldMk cId="1418491404" sldId="310"/>
            <ac:grpSpMk id="8" creationId="{00000000-0000-0000-0000-000000000000}"/>
          </ac:grpSpMkLst>
        </pc:grpChg>
        <pc:grpChg chg="mod">
          <ac:chgData name="Mariam Daniela Tristancho Pineda (PTA SAS)" userId="a45a17f7-7950-4cb5-bfab-f5c894f959a9" providerId="ADAL" clId="{7EBB4E1E-93A9-4035-834A-9A0B60182E9F}" dt="2020-10-13T22:07:28.023" v="3792" actId="207"/>
          <ac:grpSpMkLst>
            <pc:docMk/>
            <pc:sldMk cId="1418491404" sldId="310"/>
            <ac:grpSpMk id="11" creationId="{00000000-0000-0000-0000-000000000000}"/>
          </ac:grpSpMkLst>
        </pc:grpChg>
        <pc:grpChg chg="mod">
          <ac:chgData name="Mariam Daniela Tristancho Pineda (PTA SAS)" userId="a45a17f7-7950-4cb5-bfab-f5c894f959a9" providerId="ADAL" clId="{7EBB4E1E-93A9-4035-834A-9A0B60182E9F}" dt="2020-10-13T22:07:28.023" v="3792" actId="207"/>
          <ac:grpSpMkLst>
            <pc:docMk/>
            <pc:sldMk cId="1418491404" sldId="310"/>
            <ac:grpSpMk id="15" creationId="{00000000-0000-0000-0000-000000000000}"/>
          </ac:grpSpMkLst>
        </pc:grpChg>
        <pc:grpChg chg="mod">
          <ac:chgData name="Mariam Daniela Tristancho Pineda (PTA SAS)" userId="a45a17f7-7950-4cb5-bfab-f5c894f959a9" providerId="ADAL" clId="{7EBB4E1E-93A9-4035-834A-9A0B60182E9F}" dt="2020-10-13T22:07:28.023" v="3792" actId="207"/>
          <ac:grpSpMkLst>
            <pc:docMk/>
            <pc:sldMk cId="1418491404" sldId="310"/>
            <ac:grpSpMk id="24" creationId="{654BE350-1AAE-484A-B238-1C6EC7A570AA}"/>
          </ac:grpSpMkLst>
        </pc:grpChg>
        <pc:grpChg chg="mod">
          <ac:chgData name="Mariam Daniela Tristancho Pineda (PTA SAS)" userId="a45a17f7-7950-4cb5-bfab-f5c894f959a9" providerId="ADAL" clId="{7EBB4E1E-93A9-4035-834A-9A0B60182E9F}" dt="2020-10-13T22:07:28.023" v="3792" actId="207"/>
          <ac:grpSpMkLst>
            <pc:docMk/>
            <pc:sldMk cId="1418491404" sldId="310"/>
            <ac:grpSpMk id="41" creationId="{9F6D7C96-4C7B-B842-85C0-40AC7B0A311D}"/>
          </ac:grpSpMkLst>
        </pc:grpChg>
        <pc:picChg chg="mod">
          <ac:chgData name="Mariam Daniela Tristancho Pineda (PTA SAS)" userId="a45a17f7-7950-4cb5-bfab-f5c894f959a9" providerId="ADAL" clId="{7EBB4E1E-93A9-4035-834A-9A0B60182E9F}" dt="2020-10-13T22:07:28.023" v="3792" actId="207"/>
          <ac:picMkLst>
            <pc:docMk/>
            <pc:sldMk cId="1418491404" sldId="310"/>
            <ac:picMk id="2" creationId="{00000000-0000-0000-0000-000000000000}"/>
          </ac:picMkLst>
        </pc:picChg>
        <pc:picChg chg="mod">
          <ac:chgData name="Mariam Daniela Tristancho Pineda (PTA SAS)" userId="a45a17f7-7950-4cb5-bfab-f5c894f959a9" providerId="ADAL" clId="{7EBB4E1E-93A9-4035-834A-9A0B60182E9F}" dt="2020-10-13T22:07:28.023" v="3792" actId="207"/>
          <ac:picMkLst>
            <pc:docMk/>
            <pc:sldMk cId="1418491404" sldId="310"/>
            <ac:picMk id="10" creationId="{00000000-0000-0000-0000-000000000000}"/>
          </ac:picMkLst>
        </pc:picChg>
        <pc:picChg chg="mod">
          <ac:chgData name="Mariam Daniela Tristancho Pineda (PTA SAS)" userId="a45a17f7-7950-4cb5-bfab-f5c894f959a9" providerId="ADAL" clId="{7EBB4E1E-93A9-4035-834A-9A0B60182E9F}" dt="2020-10-13T22:07:28.023" v="3792" actId="207"/>
          <ac:picMkLst>
            <pc:docMk/>
            <pc:sldMk cId="1418491404" sldId="310"/>
            <ac:picMk id="52" creationId="{10E69DEC-7B98-A446-B72F-8085833EB5E6}"/>
          </ac:picMkLst>
        </pc:picChg>
        <pc:picChg chg="mod">
          <ac:chgData name="Mariam Daniela Tristancho Pineda (PTA SAS)" userId="a45a17f7-7950-4cb5-bfab-f5c894f959a9" providerId="ADAL" clId="{7EBB4E1E-93A9-4035-834A-9A0B60182E9F}" dt="2020-10-13T22:07:28.023" v="3792" actId="207"/>
          <ac:picMkLst>
            <pc:docMk/>
            <pc:sldMk cId="1418491404" sldId="310"/>
            <ac:picMk id="53" creationId="{3EB8728B-A8AF-4849-903B-C0CE3E7D7C63}"/>
          </ac:picMkLst>
        </pc:picChg>
        <pc:picChg chg="mod">
          <ac:chgData name="Mariam Daniela Tristancho Pineda (PTA SAS)" userId="a45a17f7-7950-4cb5-bfab-f5c894f959a9" providerId="ADAL" clId="{7EBB4E1E-93A9-4035-834A-9A0B60182E9F}" dt="2020-10-13T22:07:28.023" v="3792" actId="207"/>
          <ac:picMkLst>
            <pc:docMk/>
            <pc:sldMk cId="1418491404" sldId="310"/>
            <ac:picMk id="55" creationId="{1037C22B-8D6F-3441-818A-E16B1F2939CC}"/>
          </ac:picMkLst>
        </pc:picChg>
        <pc:picChg chg="mod">
          <ac:chgData name="Mariam Daniela Tristancho Pineda (PTA SAS)" userId="a45a17f7-7950-4cb5-bfab-f5c894f959a9" providerId="ADAL" clId="{7EBB4E1E-93A9-4035-834A-9A0B60182E9F}" dt="2020-10-13T22:07:28.023" v="3792" actId="207"/>
          <ac:picMkLst>
            <pc:docMk/>
            <pc:sldMk cId="1418491404" sldId="310"/>
            <ac:picMk id="56" creationId="{023873FB-9DBF-ED45-A502-09E96DF9427D}"/>
          </ac:picMkLst>
        </pc:picChg>
        <pc:picChg chg="mod">
          <ac:chgData name="Mariam Daniela Tristancho Pineda (PTA SAS)" userId="a45a17f7-7950-4cb5-bfab-f5c894f959a9" providerId="ADAL" clId="{7EBB4E1E-93A9-4035-834A-9A0B60182E9F}" dt="2020-10-13T22:07:28.023" v="3792" actId="207"/>
          <ac:picMkLst>
            <pc:docMk/>
            <pc:sldMk cId="1418491404" sldId="310"/>
            <ac:picMk id="57" creationId="{638EC212-41F4-6B4D-8630-5D923174E707}"/>
          </ac:picMkLst>
        </pc:picChg>
      </pc:sldChg>
      <pc:sldChg chg="add">
        <pc:chgData name="Mariam Daniela Tristancho Pineda (PTA SAS)" userId="a45a17f7-7950-4cb5-bfab-f5c894f959a9" providerId="ADAL" clId="{7EBB4E1E-93A9-4035-834A-9A0B60182E9F}" dt="2020-10-14T13:27:53.534" v="3898"/>
        <pc:sldMkLst>
          <pc:docMk/>
          <pc:sldMk cId="88981641" sldId="539"/>
        </pc:sldMkLst>
      </pc:sldChg>
      <pc:sldChg chg="add">
        <pc:chgData name="Mariam Daniela Tristancho Pineda (PTA SAS)" userId="a45a17f7-7950-4cb5-bfab-f5c894f959a9" providerId="ADAL" clId="{7EBB4E1E-93A9-4035-834A-9A0B60182E9F}" dt="2020-10-13T13:09:52.288" v="3694"/>
        <pc:sldMkLst>
          <pc:docMk/>
          <pc:sldMk cId="3906370426" sldId="3401"/>
        </pc:sldMkLst>
      </pc:sldChg>
      <pc:sldChg chg="add">
        <pc:chgData name="Mariam Daniela Tristancho Pineda (PTA SAS)" userId="a45a17f7-7950-4cb5-bfab-f5c894f959a9" providerId="ADAL" clId="{7EBB4E1E-93A9-4035-834A-9A0B60182E9F}" dt="2020-10-13T13:09:52.288" v="3694"/>
        <pc:sldMkLst>
          <pc:docMk/>
          <pc:sldMk cId="3865497767" sldId="3403"/>
        </pc:sldMkLst>
      </pc:sldChg>
      <pc:sldChg chg="delSp modSp add">
        <pc:chgData name="Mariam Daniela Tristancho Pineda (PTA SAS)" userId="a45a17f7-7950-4cb5-bfab-f5c894f959a9" providerId="ADAL" clId="{7EBB4E1E-93A9-4035-834A-9A0B60182E9F}" dt="2020-10-14T13:22:04.058" v="3896" actId="478"/>
        <pc:sldMkLst>
          <pc:docMk/>
          <pc:sldMk cId="4205423605" sldId="3406"/>
        </pc:sldMkLst>
        <pc:spChg chg="mod">
          <ac:chgData name="Mariam Daniela Tristancho Pineda (PTA SAS)" userId="a45a17f7-7950-4cb5-bfab-f5c894f959a9" providerId="ADAL" clId="{7EBB4E1E-93A9-4035-834A-9A0B60182E9F}" dt="2020-10-14T13:22:01.331" v="3895" actId="1076"/>
          <ac:spMkLst>
            <pc:docMk/>
            <pc:sldMk cId="4205423605" sldId="3406"/>
            <ac:spMk id="6" creationId="{C8675240-14BF-0042-B9F6-F049C2C4B33D}"/>
          </ac:spMkLst>
        </pc:spChg>
        <pc:spChg chg="mod">
          <ac:chgData name="Mariam Daniela Tristancho Pineda (PTA SAS)" userId="a45a17f7-7950-4cb5-bfab-f5c894f959a9" providerId="ADAL" clId="{7EBB4E1E-93A9-4035-834A-9A0B60182E9F}" dt="2020-10-14T13:22:01.331" v="3895" actId="1076"/>
          <ac:spMkLst>
            <pc:docMk/>
            <pc:sldMk cId="4205423605" sldId="3406"/>
            <ac:spMk id="26" creationId="{74F3CF96-BDFD-C440-AED1-076151DFB50F}"/>
          </ac:spMkLst>
        </pc:spChg>
        <pc:spChg chg="mod">
          <ac:chgData name="Mariam Daniela Tristancho Pineda (PTA SAS)" userId="a45a17f7-7950-4cb5-bfab-f5c894f959a9" providerId="ADAL" clId="{7EBB4E1E-93A9-4035-834A-9A0B60182E9F}" dt="2020-10-14T13:22:01.331" v="3895" actId="1076"/>
          <ac:spMkLst>
            <pc:docMk/>
            <pc:sldMk cId="4205423605" sldId="3406"/>
            <ac:spMk id="27" creationId="{460146FD-183E-CE41-98DF-100557713A2F}"/>
          </ac:spMkLst>
        </pc:spChg>
        <pc:spChg chg="mod">
          <ac:chgData name="Mariam Daniela Tristancho Pineda (PTA SAS)" userId="a45a17f7-7950-4cb5-bfab-f5c894f959a9" providerId="ADAL" clId="{7EBB4E1E-93A9-4035-834A-9A0B60182E9F}" dt="2020-10-14T13:22:01.331" v="3895" actId="1076"/>
          <ac:spMkLst>
            <pc:docMk/>
            <pc:sldMk cId="4205423605" sldId="3406"/>
            <ac:spMk id="28" creationId="{15F44C98-BC70-6142-812B-420AF0E50B8D}"/>
          </ac:spMkLst>
        </pc:spChg>
        <pc:spChg chg="mod">
          <ac:chgData name="Mariam Daniela Tristancho Pineda (PTA SAS)" userId="a45a17f7-7950-4cb5-bfab-f5c894f959a9" providerId="ADAL" clId="{7EBB4E1E-93A9-4035-834A-9A0B60182E9F}" dt="2020-10-14T13:22:01.331" v="3895" actId="1076"/>
          <ac:spMkLst>
            <pc:docMk/>
            <pc:sldMk cId="4205423605" sldId="3406"/>
            <ac:spMk id="29" creationId="{06D5CE42-2983-4943-9743-761F23597A51}"/>
          </ac:spMkLst>
        </pc:spChg>
        <pc:spChg chg="mod">
          <ac:chgData name="Mariam Daniela Tristancho Pineda (PTA SAS)" userId="a45a17f7-7950-4cb5-bfab-f5c894f959a9" providerId="ADAL" clId="{7EBB4E1E-93A9-4035-834A-9A0B60182E9F}" dt="2020-10-14T13:22:01.331" v="3895" actId="1076"/>
          <ac:spMkLst>
            <pc:docMk/>
            <pc:sldMk cId="4205423605" sldId="3406"/>
            <ac:spMk id="30" creationId="{EB2ADA44-0062-7949-AC42-E2C3C4237AF8}"/>
          </ac:spMkLst>
        </pc:spChg>
        <pc:spChg chg="mod">
          <ac:chgData name="Mariam Daniela Tristancho Pineda (PTA SAS)" userId="a45a17f7-7950-4cb5-bfab-f5c894f959a9" providerId="ADAL" clId="{7EBB4E1E-93A9-4035-834A-9A0B60182E9F}" dt="2020-10-14T13:22:01.331" v="3895" actId="1076"/>
          <ac:spMkLst>
            <pc:docMk/>
            <pc:sldMk cId="4205423605" sldId="3406"/>
            <ac:spMk id="31" creationId="{F794DECB-8253-E840-BF69-1149D7F20DDA}"/>
          </ac:spMkLst>
        </pc:spChg>
        <pc:spChg chg="mod">
          <ac:chgData name="Mariam Daniela Tristancho Pineda (PTA SAS)" userId="a45a17f7-7950-4cb5-bfab-f5c894f959a9" providerId="ADAL" clId="{7EBB4E1E-93A9-4035-834A-9A0B60182E9F}" dt="2020-10-14T13:22:01.331" v="3895" actId="1076"/>
          <ac:spMkLst>
            <pc:docMk/>
            <pc:sldMk cId="4205423605" sldId="3406"/>
            <ac:spMk id="33" creationId="{6D76A28B-B1F8-4B46-9795-9E4E1A8B7F9A}"/>
          </ac:spMkLst>
        </pc:spChg>
        <pc:spChg chg="mod">
          <ac:chgData name="Mariam Daniela Tristancho Pineda (PTA SAS)" userId="a45a17f7-7950-4cb5-bfab-f5c894f959a9" providerId="ADAL" clId="{7EBB4E1E-93A9-4035-834A-9A0B60182E9F}" dt="2020-10-14T13:22:01.331" v="3895" actId="1076"/>
          <ac:spMkLst>
            <pc:docMk/>
            <pc:sldMk cId="4205423605" sldId="3406"/>
            <ac:spMk id="34" creationId="{42E0D191-52B8-7548-99D9-70A21C563B2F}"/>
          </ac:spMkLst>
        </pc:spChg>
        <pc:spChg chg="mod">
          <ac:chgData name="Mariam Daniela Tristancho Pineda (PTA SAS)" userId="a45a17f7-7950-4cb5-bfab-f5c894f959a9" providerId="ADAL" clId="{7EBB4E1E-93A9-4035-834A-9A0B60182E9F}" dt="2020-10-14T13:22:01.331" v="3895" actId="1076"/>
          <ac:spMkLst>
            <pc:docMk/>
            <pc:sldMk cId="4205423605" sldId="3406"/>
            <ac:spMk id="35" creationId="{1846AC65-CEA0-724C-A766-EC1855A81FF1}"/>
          </ac:spMkLst>
        </pc:spChg>
        <pc:spChg chg="mod">
          <ac:chgData name="Mariam Daniela Tristancho Pineda (PTA SAS)" userId="a45a17f7-7950-4cb5-bfab-f5c894f959a9" providerId="ADAL" clId="{7EBB4E1E-93A9-4035-834A-9A0B60182E9F}" dt="2020-10-14T13:22:01.331" v="3895" actId="1076"/>
          <ac:spMkLst>
            <pc:docMk/>
            <pc:sldMk cId="4205423605" sldId="3406"/>
            <ac:spMk id="36" creationId="{E50B594A-272F-FE42-B73D-347F263F59D2}"/>
          </ac:spMkLst>
        </pc:spChg>
        <pc:spChg chg="mod">
          <ac:chgData name="Mariam Daniela Tristancho Pineda (PTA SAS)" userId="a45a17f7-7950-4cb5-bfab-f5c894f959a9" providerId="ADAL" clId="{7EBB4E1E-93A9-4035-834A-9A0B60182E9F}" dt="2020-10-14T13:22:01.331" v="3895" actId="1076"/>
          <ac:spMkLst>
            <pc:docMk/>
            <pc:sldMk cId="4205423605" sldId="3406"/>
            <ac:spMk id="37" creationId="{0CAB7AF0-AF72-1D4C-AC0B-76FC62A9B876}"/>
          </ac:spMkLst>
        </pc:spChg>
        <pc:spChg chg="mod">
          <ac:chgData name="Mariam Daniela Tristancho Pineda (PTA SAS)" userId="a45a17f7-7950-4cb5-bfab-f5c894f959a9" providerId="ADAL" clId="{7EBB4E1E-93A9-4035-834A-9A0B60182E9F}" dt="2020-10-14T13:22:01.331" v="3895" actId="1076"/>
          <ac:spMkLst>
            <pc:docMk/>
            <pc:sldMk cId="4205423605" sldId="3406"/>
            <ac:spMk id="43" creationId="{F7D734D3-3394-B746-95C1-DA3E6F4CDB13}"/>
          </ac:spMkLst>
        </pc:spChg>
        <pc:spChg chg="mod">
          <ac:chgData name="Mariam Daniela Tristancho Pineda (PTA SAS)" userId="a45a17f7-7950-4cb5-bfab-f5c894f959a9" providerId="ADAL" clId="{7EBB4E1E-93A9-4035-834A-9A0B60182E9F}" dt="2020-10-14T13:22:01.331" v="3895" actId="1076"/>
          <ac:spMkLst>
            <pc:docMk/>
            <pc:sldMk cId="4205423605" sldId="3406"/>
            <ac:spMk id="53" creationId="{31F72C62-C316-964C-B935-F62021863500}"/>
          </ac:spMkLst>
        </pc:spChg>
        <pc:spChg chg="mod">
          <ac:chgData name="Mariam Daniela Tristancho Pineda (PTA SAS)" userId="a45a17f7-7950-4cb5-bfab-f5c894f959a9" providerId="ADAL" clId="{7EBB4E1E-93A9-4035-834A-9A0B60182E9F}" dt="2020-10-14T13:22:01.331" v="3895" actId="1076"/>
          <ac:spMkLst>
            <pc:docMk/>
            <pc:sldMk cId="4205423605" sldId="3406"/>
            <ac:spMk id="71" creationId="{2AC156F7-29C6-934D-B6E5-9A71AA7E27D0}"/>
          </ac:spMkLst>
        </pc:spChg>
        <pc:picChg chg="mod">
          <ac:chgData name="Mariam Daniela Tristancho Pineda (PTA SAS)" userId="a45a17f7-7950-4cb5-bfab-f5c894f959a9" providerId="ADAL" clId="{7EBB4E1E-93A9-4035-834A-9A0B60182E9F}" dt="2020-10-14T13:22:01.331" v="3895" actId="1076"/>
          <ac:picMkLst>
            <pc:docMk/>
            <pc:sldMk cId="4205423605" sldId="3406"/>
            <ac:picMk id="3" creationId="{FDEA636B-9CC7-3643-AB33-A7B5CBAA6C55}"/>
          </ac:picMkLst>
        </pc:picChg>
        <pc:picChg chg="del">
          <ac:chgData name="Mariam Daniela Tristancho Pineda (PTA SAS)" userId="a45a17f7-7950-4cb5-bfab-f5c894f959a9" providerId="ADAL" clId="{7EBB4E1E-93A9-4035-834A-9A0B60182E9F}" dt="2020-10-14T13:22:04.058" v="3896" actId="478"/>
          <ac:picMkLst>
            <pc:docMk/>
            <pc:sldMk cId="4205423605" sldId="3406"/>
            <ac:picMk id="40" creationId="{92C33288-1F55-FA40-81FC-31BAF3A1AA04}"/>
          </ac:picMkLst>
        </pc:picChg>
        <pc:picChg chg="mod">
          <ac:chgData name="Mariam Daniela Tristancho Pineda (PTA SAS)" userId="a45a17f7-7950-4cb5-bfab-f5c894f959a9" providerId="ADAL" clId="{7EBB4E1E-93A9-4035-834A-9A0B60182E9F}" dt="2020-10-14T13:22:01.331" v="3895" actId="1076"/>
          <ac:picMkLst>
            <pc:docMk/>
            <pc:sldMk cId="4205423605" sldId="3406"/>
            <ac:picMk id="56" creationId="{AE44FF1C-38A3-FF44-B34F-98B9A12FA65B}"/>
          </ac:picMkLst>
        </pc:picChg>
        <pc:picChg chg="mod">
          <ac:chgData name="Mariam Daniela Tristancho Pineda (PTA SAS)" userId="a45a17f7-7950-4cb5-bfab-f5c894f959a9" providerId="ADAL" clId="{7EBB4E1E-93A9-4035-834A-9A0B60182E9F}" dt="2020-10-14T13:22:01.331" v="3895" actId="1076"/>
          <ac:picMkLst>
            <pc:docMk/>
            <pc:sldMk cId="4205423605" sldId="3406"/>
            <ac:picMk id="67" creationId="{4BC4CC7A-5A8C-D545-A728-E40601899B19}"/>
          </ac:picMkLst>
        </pc:picChg>
        <pc:picChg chg="mod">
          <ac:chgData name="Mariam Daniela Tristancho Pineda (PTA SAS)" userId="a45a17f7-7950-4cb5-bfab-f5c894f959a9" providerId="ADAL" clId="{7EBB4E1E-93A9-4035-834A-9A0B60182E9F}" dt="2020-10-14T13:22:01.331" v="3895" actId="1076"/>
          <ac:picMkLst>
            <pc:docMk/>
            <pc:sldMk cId="4205423605" sldId="3406"/>
            <ac:picMk id="68" creationId="{FC003E25-17D0-7C4C-A92D-B1B74A103FEF}"/>
          </ac:picMkLst>
        </pc:picChg>
        <pc:cxnChg chg="mod">
          <ac:chgData name="Mariam Daniela Tristancho Pineda (PTA SAS)" userId="a45a17f7-7950-4cb5-bfab-f5c894f959a9" providerId="ADAL" clId="{7EBB4E1E-93A9-4035-834A-9A0B60182E9F}" dt="2020-10-14T13:22:01.331" v="3895" actId="1076"/>
          <ac:cxnSpMkLst>
            <pc:docMk/>
            <pc:sldMk cId="4205423605" sldId="3406"/>
            <ac:cxnSpMk id="32" creationId="{7444F6AA-E255-894F-B2BD-F08D4CE66FB0}"/>
          </ac:cxnSpMkLst>
        </pc:cxnChg>
        <pc:cxnChg chg="mod">
          <ac:chgData name="Mariam Daniela Tristancho Pineda (PTA SAS)" userId="a45a17f7-7950-4cb5-bfab-f5c894f959a9" providerId="ADAL" clId="{7EBB4E1E-93A9-4035-834A-9A0B60182E9F}" dt="2020-10-14T13:22:01.331" v="3895" actId="1076"/>
          <ac:cxnSpMkLst>
            <pc:docMk/>
            <pc:sldMk cId="4205423605" sldId="3406"/>
            <ac:cxnSpMk id="38" creationId="{63F54040-5F43-A649-AA8C-D27C41E20046}"/>
          </ac:cxnSpMkLst>
        </pc:cxnChg>
      </pc:sldChg>
      <pc:sldChg chg="add">
        <pc:chgData name="Mariam Daniela Tristancho Pineda (PTA SAS)" userId="a45a17f7-7950-4cb5-bfab-f5c894f959a9" providerId="ADAL" clId="{7EBB4E1E-93A9-4035-834A-9A0B60182E9F}" dt="2020-10-13T13:09:52.288" v="3694"/>
        <pc:sldMkLst>
          <pc:docMk/>
          <pc:sldMk cId="3835901532" sldId="3408"/>
        </pc:sldMkLst>
      </pc:sldChg>
      <pc:sldChg chg="modSp add">
        <pc:chgData name="Mariam Daniela Tristancho Pineda (PTA SAS)" userId="a45a17f7-7950-4cb5-bfab-f5c894f959a9" providerId="ADAL" clId="{7EBB4E1E-93A9-4035-834A-9A0B60182E9F}" dt="2020-10-14T13:15:31.290" v="3893" actId="1036"/>
        <pc:sldMkLst>
          <pc:docMk/>
          <pc:sldMk cId="1194985892" sldId="3409"/>
        </pc:sldMkLst>
        <pc:spChg chg="mod">
          <ac:chgData name="Mariam Daniela Tristancho Pineda (PTA SAS)" userId="a45a17f7-7950-4cb5-bfab-f5c894f959a9" providerId="ADAL" clId="{7EBB4E1E-93A9-4035-834A-9A0B60182E9F}" dt="2020-10-14T13:15:31.290" v="3893" actId="1036"/>
          <ac:spMkLst>
            <pc:docMk/>
            <pc:sldMk cId="1194985892" sldId="3409"/>
            <ac:spMk id="13" creationId="{54D45F44-A6C1-4943-9B1C-4A105EC99025}"/>
          </ac:spMkLst>
        </pc:spChg>
        <pc:spChg chg="mod">
          <ac:chgData name="Mariam Daniela Tristancho Pineda (PTA SAS)" userId="a45a17f7-7950-4cb5-bfab-f5c894f959a9" providerId="ADAL" clId="{7EBB4E1E-93A9-4035-834A-9A0B60182E9F}" dt="2020-10-14T13:15:31.290" v="3893" actId="1036"/>
          <ac:spMkLst>
            <pc:docMk/>
            <pc:sldMk cId="1194985892" sldId="3409"/>
            <ac:spMk id="14" creationId="{9282F253-AF08-4E40-B560-F65A9A2BB2E2}"/>
          </ac:spMkLst>
        </pc:spChg>
        <pc:spChg chg="mod">
          <ac:chgData name="Mariam Daniela Tristancho Pineda (PTA SAS)" userId="a45a17f7-7950-4cb5-bfab-f5c894f959a9" providerId="ADAL" clId="{7EBB4E1E-93A9-4035-834A-9A0B60182E9F}" dt="2020-10-14T13:15:31.290" v="3893" actId="1036"/>
          <ac:spMkLst>
            <pc:docMk/>
            <pc:sldMk cId="1194985892" sldId="3409"/>
            <ac:spMk id="15" creationId="{E89D0787-5A38-4848-8CAF-FB7254AAEAFD}"/>
          </ac:spMkLst>
        </pc:spChg>
        <pc:spChg chg="mod">
          <ac:chgData name="Mariam Daniela Tristancho Pineda (PTA SAS)" userId="a45a17f7-7950-4cb5-bfab-f5c894f959a9" providerId="ADAL" clId="{7EBB4E1E-93A9-4035-834A-9A0B60182E9F}" dt="2020-10-14T13:15:31.290" v="3893" actId="1036"/>
          <ac:spMkLst>
            <pc:docMk/>
            <pc:sldMk cId="1194985892" sldId="3409"/>
            <ac:spMk id="16" creationId="{A87C493A-E169-1345-B8F9-5ECAD4EBC2F1}"/>
          </ac:spMkLst>
        </pc:spChg>
        <pc:spChg chg="mod">
          <ac:chgData name="Mariam Daniela Tristancho Pineda (PTA SAS)" userId="a45a17f7-7950-4cb5-bfab-f5c894f959a9" providerId="ADAL" clId="{7EBB4E1E-93A9-4035-834A-9A0B60182E9F}" dt="2020-10-14T13:15:31.290" v="3893" actId="1036"/>
          <ac:spMkLst>
            <pc:docMk/>
            <pc:sldMk cId="1194985892" sldId="3409"/>
            <ac:spMk id="29" creationId="{B44340C1-84EC-324C-8427-7890CD32EF80}"/>
          </ac:spMkLst>
        </pc:spChg>
        <pc:spChg chg="mod">
          <ac:chgData name="Mariam Daniela Tristancho Pineda (PTA SAS)" userId="a45a17f7-7950-4cb5-bfab-f5c894f959a9" providerId="ADAL" clId="{7EBB4E1E-93A9-4035-834A-9A0B60182E9F}" dt="2020-10-14T13:15:31.290" v="3893" actId="1036"/>
          <ac:spMkLst>
            <pc:docMk/>
            <pc:sldMk cId="1194985892" sldId="3409"/>
            <ac:spMk id="30" creationId="{6DDC3F79-779A-FE4E-B961-F8D06D64D906}"/>
          </ac:spMkLst>
        </pc:spChg>
        <pc:spChg chg="mod">
          <ac:chgData name="Mariam Daniela Tristancho Pineda (PTA SAS)" userId="a45a17f7-7950-4cb5-bfab-f5c894f959a9" providerId="ADAL" clId="{7EBB4E1E-93A9-4035-834A-9A0B60182E9F}" dt="2020-10-14T13:15:31.290" v="3893" actId="1036"/>
          <ac:spMkLst>
            <pc:docMk/>
            <pc:sldMk cId="1194985892" sldId="3409"/>
            <ac:spMk id="31" creationId="{F10BE76C-B857-634D-A15B-C932A15BD4C3}"/>
          </ac:spMkLst>
        </pc:spChg>
        <pc:spChg chg="mod">
          <ac:chgData name="Mariam Daniela Tristancho Pineda (PTA SAS)" userId="a45a17f7-7950-4cb5-bfab-f5c894f959a9" providerId="ADAL" clId="{7EBB4E1E-93A9-4035-834A-9A0B60182E9F}" dt="2020-10-14T13:15:31.290" v="3893" actId="1036"/>
          <ac:spMkLst>
            <pc:docMk/>
            <pc:sldMk cId="1194985892" sldId="3409"/>
            <ac:spMk id="32" creationId="{7F2737FE-77C5-3E49-A6E6-C98A181E0AC3}"/>
          </ac:spMkLst>
        </pc:spChg>
        <pc:spChg chg="mod">
          <ac:chgData name="Mariam Daniela Tristancho Pineda (PTA SAS)" userId="a45a17f7-7950-4cb5-bfab-f5c894f959a9" providerId="ADAL" clId="{7EBB4E1E-93A9-4035-834A-9A0B60182E9F}" dt="2020-10-14T13:15:31.290" v="3893" actId="1036"/>
          <ac:spMkLst>
            <pc:docMk/>
            <pc:sldMk cId="1194985892" sldId="3409"/>
            <ac:spMk id="33" creationId="{77ABE88A-1352-7441-B402-B7D76FE4C22D}"/>
          </ac:spMkLst>
        </pc:spChg>
        <pc:spChg chg="mod">
          <ac:chgData name="Mariam Daniela Tristancho Pineda (PTA SAS)" userId="a45a17f7-7950-4cb5-bfab-f5c894f959a9" providerId="ADAL" clId="{7EBB4E1E-93A9-4035-834A-9A0B60182E9F}" dt="2020-10-14T13:15:31.290" v="3893" actId="1036"/>
          <ac:spMkLst>
            <pc:docMk/>
            <pc:sldMk cId="1194985892" sldId="3409"/>
            <ac:spMk id="35" creationId="{B0B54D1A-FE67-844B-813D-2D1CC45DF1C9}"/>
          </ac:spMkLst>
        </pc:spChg>
        <pc:spChg chg="mod">
          <ac:chgData name="Mariam Daniela Tristancho Pineda (PTA SAS)" userId="a45a17f7-7950-4cb5-bfab-f5c894f959a9" providerId="ADAL" clId="{7EBB4E1E-93A9-4035-834A-9A0B60182E9F}" dt="2020-10-14T13:15:31.290" v="3893" actId="1036"/>
          <ac:spMkLst>
            <pc:docMk/>
            <pc:sldMk cId="1194985892" sldId="3409"/>
            <ac:spMk id="36" creationId="{061A38F7-80F5-4F45-9CC3-9EC31FA0A266}"/>
          </ac:spMkLst>
        </pc:spChg>
        <pc:spChg chg="mod">
          <ac:chgData name="Mariam Daniela Tristancho Pineda (PTA SAS)" userId="a45a17f7-7950-4cb5-bfab-f5c894f959a9" providerId="ADAL" clId="{7EBB4E1E-93A9-4035-834A-9A0B60182E9F}" dt="2020-10-14T13:15:31.290" v="3893" actId="1036"/>
          <ac:spMkLst>
            <pc:docMk/>
            <pc:sldMk cId="1194985892" sldId="3409"/>
            <ac:spMk id="38" creationId="{1F59D9E8-0CFF-5646-BD63-C4BF98477013}"/>
          </ac:spMkLst>
        </pc:spChg>
        <pc:spChg chg="mod">
          <ac:chgData name="Mariam Daniela Tristancho Pineda (PTA SAS)" userId="a45a17f7-7950-4cb5-bfab-f5c894f959a9" providerId="ADAL" clId="{7EBB4E1E-93A9-4035-834A-9A0B60182E9F}" dt="2020-10-14T13:15:31.290" v="3893" actId="1036"/>
          <ac:spMkLst>
            <pc:docMk/>
            <pc:sldMk cId="1194985892" sldId="3409"/>
            <ac:spMk id="39" creationId="{334069B3-5FF9-F148-B6A4-C73E8A8053DB}"/>
          </ac:spMkLst>
        </pc:spChg>
        <pc:spChg chg="mod">
          <ac:chgData name="Mariam Daniela Tristancho Pineda (PTA SAS)" userId="a45a17f7-7950-4cb5-bfab-f5c894f959a9" providerId="ADAL" clId="{7EBB4E1E-93A9-4035-834A-9A0B60182E9F}" dt="2020-10-14T13:15:31.290" v="3893" actId="1036"/>
          <ac:spMkLst>
            <pc:docMk/>
            <pc:sldMk cId="1194985892" sldId="3409"/>
            <ac:spMk id="41" creationId="{A0558651-A603-0548-BCB3-EE22DA9B4E97}"/>
          </ac:spMkLst>
        </pc:spChg>
        <pc:spChg chg="mod">
          <ac:chgData name="Mariam Daniela Tristancho Pineda (PTA SAS)" userId="a45a17f7-7950-4cb5-bfab-f5c894f959a9" providerId="ADAL" clId="{7EBB4E1E-93A9-4035-834A-9A0B60182E9F}" dt="2020-10-14T13:15:31.290" v="3893" actId="1036"/>
          <ac:spMkLst>
            <pc:docMk/>
            <pc:sldMk cId="1194985892" sldId="3409"/>
            <ac:spMk id="42" creationId="{A8538F08-A777-1E45-9167-667F53DDD88E}"/>
          </ac:spMkLst>
        </pc:spChg>
        <pc:spChg chg="mod">
          <ac:chgData name="Mariam Daniela Tristancho Pineda (PTA SAS)" userId="a45a17f7-7950-4cb5-bfab-f5c894f959a9" providerId="ADAL" clId="{7EBB4E1E-93A9-4035-834A-9A0B60182E9F}" dt="2020-10-14T13:15:31.290" v="3893" actId="1036"/>
          <ac:spMkLst>
            <pc:docMk/>
            <pc:sldMk cId="1194985892" sldId="3409"/>
            <ac:spMk id="44" creationId="{6835BAF4-000F-E241-B252-18FD7315591E}"/>
          </ac:spMkLst>
        </pc:spChg>
        <pc:picChg chg="mod">
          <ac:chgData name="Mariam Daniela Tristancho Pineda (PTA SAS)" userId="a45a17f7-7950-4cb5-bfab-f5c894f959a9" providerId="ADAL" clId="{7EBB4E1E-93A9-4035-834A-9A0B60182E9F}" dt="2020-10-14T13:15:31.290" v="3893" actId="1036"/>
          <ac:picMkLst>
            <pc:docMk/>
            <pc:sldMk cId="1194985892" sldId="3409"/>
            <ac:picMk id="2" creationId="{A677B8E3-8F63-4E01-B907-FB71CBAF11EB}"/>
          </ac:picMkLst>
        </pc:picChg>
        <pc:picChg chg="mod">
          <ac:chgData name="Mariam Daniela Tristancho Pineda (PTA SAS)" userId="a45a17f7-7950-4cb5-bfab-f5c894f959a9" providerId="ADAL" clId="{7EBB4E1E-93A9-4035-834A-9A0B60182E9F}" dt="2020-10-14T13:15:31.290" v="3893" actId="1036"/>
          <ac:picMkLst>
            <pc:docMk/>
            <pc:sldMk cId="1194985892" sldId="3409"/>
            <ac:picMk id="37" creationId="{EBDF9396-1D9B-754F-80A3-9C3B2E393D95}"/>
          </ac:picMkLst>
        </pc:picChg>
        <pc:picChg chg="mod">
          <ac:chgData name="Mariam Daniela Tristancho Pineda (PTA SAS)" userId="a45a17f7-7950-4cb5-bfab-f5c894f959a9" providerId="ADAL" clId="{7EBB4E1E-93A9-4035-834A-9A0B60182E9F}" dt="2020-10-14T13:15:31.290" v="3893" actId="1036"/>
          <ac:picMkLst>
            <pc:docMk/>
            <pc:sldMk cId="1194985892" sldId="3409"/>
            <ac:picMk id="40" creationId="{52B02DEC-82F6-4C41-A6D5-D28216968C02}"/>
          </ac:picMkLst>
        </pc:picChg>
        <pc:picChg chg="mod">
          <ac:chgData name="Mariam Daniela Tristancho Pineda (PTA SAS)" userId="a45a17f7-7950-4cb5-bfab-f5c894f959a9" providerId="ADAL" clId="{7EBB4E1E-93A9-4035-834A-9A0B60182E9F}" dt="2020-10-14T13:15:31.290" v="3893" actId="1036"/>
          <ac:picMkLst>
            <pc:docMk/>
            <pc:sldMk cId="1194985892" sldId="3409"/>
            <ac:picMk id="43" creationId="{F24E898E-91D4-444C-A00C-5BE7A2AE7BF9}"/>
          </ac:picMkLst>
        </pc:picChg>
        <pc:picChg chg="mod">
          <ac:chgData name="Mariam Daniela Tristancho Pineda (PTA SAS)" userId="a45a17f7-7950-4cb5-bfab-f5c894f959a9" providerId="ADAL" clId="{7EBB4E1E-93A9-4035-834A-9A0B60182E9F}" dt="2020-10-14T13:15:31.290" v="3893" actId="1036"/>
          <ac:picMkLst>
            <pc:docMk/>
            <pc:sldMk cId="1194985892" sldId="3409"/>
            <ac:picMk id="45" creationId="{92724496-2CFB-E349-A747-ED0B0885D927}"/>
          </ac:picMkLst>
        </pc:picChg>
        <pc:picChg chg="mod">
          <ac:chgData name="Mariam Daniela Tristancho Pineda (PTA SAS)" userId="a45a17f7-7950-4cb5-bfab-f5c894f959a9" providerId="ADAL" clId="{7EBB4E1E-93A9-4035-834A-9A0B60182E9F}" dt="2020-10-14T13:15:31.290" v="3893" actId="1036"/>
          <ac:picMkLst>
            <pc:docMk/>
            <pc:sldMk cId="1194985892" sldId="3409"/>
            <ac:picMk id="46" creationId="{449EC282-BEB1-AF4C-B251-751BC5CB5762}"/>
          </ac:picMkLst>
        </pc:picChg>
        <pc:picChg chg="mod">
          <ac:chgData name="Mariam Daniela Tristancho Pineda (PTA SAS)" userId="a45a17f7-7950-4cb5-bfab-f5c894f959a9" providerId="ADAL" clId="{7EBB4E1E-93A9-4035-834A-9A0B60182E9F}" dt="2020-10-14T13:15:31.290" v="3893" actId="1036"/>
          <ac:picMkLst>
            <pc:docMk/>
            <pc:sldMk cId="1194985892" sldId="3409"/>
            <ac:picMk id="49" creationId="{949334FF-459C-6540-9F88-B5BB305F0C40}"/>
          </ac:picMkLst>
        </pc:picChg>
        <pc:cxnChg chg="mod">
          <ac:chgData name="Mariam Daniela Tristancho Pineda (PTA SAS)" userId="a45a17f7-7950-4cb5-bfab-f5c894f959a9" providerId="ADAL" clId="{7EBB4E1E-93A9-4035-834A-9A0B60182E9F}" dt="2020-10-14T13:15:31.290" v="3893" actId="1036"/>
          <ac:cxnSpMkLst>
            <pc:docMk/>
            <pc:sldMk cId="1194985892" sldId="3409"/>
            <ac:cxnSpMk id="47" creationId="{E1D6D2BE-1643-6945-B13D-5F1D219359CD}"/>
          </ac:cxnSpMkLst>
        </pc:cxnChg>
      </pc:sldChg>
      <pc:sldChg chg="modSp add">
        <pc:chgData name="Mariam Daniela Tristancho Pineda (PTA SAS)" userId="a45a17f7-7950-4cb5-bfab-f5c894f959a9" providerId="ADAL" clId="{7EBB4E1E-93A9-4035-834A-9A0B60182E9F}" dt="2020-10-14T13:15:02.540" v="3867" actId="1036"/>
        <pc:sldMkLst>
          <pc:docMk/>
          <pc:sldMk cId="1081445694" sldId="3412"/>
        </pc:sldMkLst>
        <pc:picChg chg="mod">
          <ac:chgData name="Mariam Daniela Tristancho Pineda (PTA SAS)" userId="a45a17f7-7950-4cb5-bfab-f5c894f959a9" providerId="ADAL" clId="{7EBB4E1E-93A9-4035-834A-9A0B60182E9F}" dt="2020-10-14T13:15:02.540" v="3867" actId="1036"/>
          <ac:picMkLst>
            <pc:docMk/>
            <pc:sldMk cId="1081445694" sldId="3412"/>
            <ac:picMk id="1030" creationId="{62DEBD3D-1D12-114F-B528-7678554C4521}"/>
          </ac:picMkLst>
        </pc:picChg>
      </pc:sldChg>
      <pc:sldChg chg="add">
        <pc:chgData name="Mariam Daniela Tristancho Pineda (PTA SAS)" userId="a45a17f7-7950-4cb5-bfab-f5c894f959a9" providerId="ADAL" clId="{7EBB4E1E-93A9-4035-834A-9A0B60182E9F}" dt="2020-10-13T13:09:52.288" v="3694"/>
        <pc:sldMkLst>
          <pc:docMk/>
          <pc:sldMk cId="1473259662" sldId="3418"/>
        </pc:sldMkLst>
      </pc:sldChg>
      <pc:sldChg chg="modSp add">
        <pc:chgData name="Mariam Daniela Tristancho Pineda (PTA SAS)" userId="a45a17f7-7950-4cb5-bfab-f5c894f959a9" providerId="ADAL" clId="{7EBB4E1E-93A9-4035-834A-9A0B60182E9F}" dt="2020-10-14T13:22:11.134" v="3897" actId="1076"/>
        <pc:sldMkLst>
          <pc:docMk/>
          <pc:sldMk cId="1328674564" sldId="3422"/>
        </pc:sldMkLst>
        <pc:spChg chg="mod">
          <ac:chgData name="Mariam Daniela Tristancho Pineda (PTA SAS)" userId="a45a17f7-7950-4cb5-bfab-f5c894f959a9" providerId="ADAL" clId="{7EBB4E1E-93A9-4035-834A-9A0B60182E9F}" dt="2020-10-14T13:22:11.134" v="3897" actId="1076"/>
          <ac:spMkLst>
            <pc:docMk/>
            <pc:sldMk cId="1328674564" sldId="3422"/>
            <ac:spMk id="34" creationId="{A9646525-5547-E544-BCF6-568E47017387}"/>
          </ac:spMkLst>
        </pc:spChg>
        <pc:spChg chg="mod">
          <ac:chgData name="Mariam Daniela Tristancho Pineda (PTA SAS)" userId="a45a17f7-7950-4cb5-bfab-f5c894f959a9" providerId="ADAL" clId="{7EBB4E1E-93A9-4035-834A-9A0B60182E9F}" dt="2020-10-14T13:22:11.134" v="3897" actId="1076"/>
          <ac:spMkLst>
            <pc:docMk/>
            <pc:sldMk cId="1328674564" sldId="3422"/>
            <ac:spMk id="35" creationId="{8DDCE746-639C-1D49-B3EF-F627CAB824F9}"/>
          </ac:spMkLst>
        </pc:spChg>
        <pc:spChg chg="mod">
          <ac:chgData name="Mariam Daniela Tristancho Pineda (PTA SAS)" userId="a45a17f7-7950-4cb5-bfab-f5c894f959a9" providerId="ADAL" clId="{7EBB4E1E-93A9-4035-834A-9A0B60182E9F}" dt="2020-10-14T13:22:11.134" v="3897" actId="1076"/>
          <ac:spMkLst>
            <pc:docMk/>
            <pc:sldMk cId="1328674564" sldId="3422"/>
            <ac:spMk id="36" creationId="{55953232-C155-C741-8A11-A552113E1BBF}"/>
          </ac:spMkLst>
        </pc:spChg>
        <pc:spChg chg="mod">
          <ac:chgData name="Mariam Daniela Tristancho Pineda (PTA SAS)" userId="a45a17f7-7950-4cb5-bfab-f5c894f959a9" providerId="ADAL" clId="{7EBB4E1E-93A9-4035-834A-9A0B60182E9F}" dt="2020-10-14T13:22:11.134" v="3897" actId="1076"/>
          <ac:spMkLst>
            <pc:docMk/>
            <pc:sldMk cId="1328674564" sldId="3422"/>
            <ac:spMk id="37" creationId="{CBAFD48D-CB99-994B-92D2-4DA6C627A3E3}"/>
          </ac:spMkLst>
        </pc:spChg>
        <pc:spChg chg="mod">
          <ac:chgData name="Mariam Daniela Tristancho Pineda (PTA SAS)" userId="a45a17f7-7950-4cb5-bfab-f5c894f959a9" providerId="ADAL" clId="{7EBB4E1E-93A9-4035-834A-9A0B60182E9F}" dt="2020-10-14T13:22:11.134" v="3897" actId="1076"/>
          <ac:spMkLst>
            <pc:docMk/>
            <pc:sldMk cId="1328674564" sldId="3422"/>
            <ac:spMk id="73" creationId="{CBE3A5E8-93F4-0642-B0F0-6582E48636F4}"/>
          </ac:spMkLst>
        </pc:spChg>
        <pc:spChg chg="mod">
          <ac:chgData name="Mariam Daniela Tristancho Pineda (PTA SAS)" userId="a45a17f7-7950-4cb5-bfab-f5c894f959a9" providerId="ADAL" clId="{7EBB4E1E-93A9-4035-834A-9A0B60182E9F}" dt="2020-10-14T13:22:11.134" v="3897" actId="1076"/>
          <ac:spMkLst>
            <pc:docMk/>
            <pc:sldMk cId="1328674564" sldId="3422"/>
            <ac:spMk id="74" creationId="{AFC8F410-588F-B44E-B558-E9650520658B}"/>
          </ac:spMkLst>
        </pc:spChg>
        <pc:spChg chg="mod">
          <ac:chgData name="Mariam Daniela Tristancho Pineda (PTA SAS)" userId="a45a17f7-7950-4cb5-bfab-f5c894f959a9" providerId="ADAL" clId="{7EBB4E1E-93A9-4035-834A-9A0B60182E9F}" dt="2020-10-14T13:22:11.134" v="3897" actId="1076"/>
          <ac:spMkLst>
            <pc:docMk/>
            <pc:sldMk cId="1328674564" sldId="3422"/>
            <ac:spMk id="75" creationId="{42876031-288B-F445-AF93-7BD95CE15B8A}"/>
          </ac:spMkLst>
        </pc:spChg>
        <pc:spChg chg="mod">
          <ac:chgData name="Mariam Daniela Tristancho Pineda (PTA SAS)" userId="a45a17f7-7950-4cb5-bfab-f5c894f959a9" providerId="ADAL" clId="{7EBB4E1E-93A9-4035-834A-9A0B60182E9F}" dt="2020-10-14T13:22:11.134" v="3897" actId="1076"/>
          <ac:spMkLst>
            <pc:docMk/>
            <pc:sldMk cId="1328674564" sldId="3422"/>
            <ac:spMk id="76" creationId="{D008CED8-EE71-7940-BB56-A2CF4179EB99}"/>
          </ac:spMkLst>
        </pc:spChg>
        <pc:spChg chg="mod">
          <ac:chgData name="Mariam Daniela Tristancho Pineda (PTA SAS)" userId="a45a17f7-7950-4cb5-bfab-f5c894f959a9" providerId="ADAL" clId="{7EBB4E1E-93A9-4035-834A-9A0B60182E9F}" dt="2020-10-14T13:22:11.134" v="3897" actId="1076"/>
          <ac:spMkLst>
            <pc:docMk/>
            <pc:sldMk cId="1328674564" sldId="3422"/>
            <ac:spMk id="77" creationId="{F70C1A25-6771-5E41-B95D-AA209690DD7D}"/>
          </ac:spMkLst>
        </pc:spChg>
        <pc:spChg chg="mod">
          <ac:chgData name="Mariam Daniela Tristancho Pineda (PTA SAS)" userId="a45a17f7-7950-4cb5-bfab-f5c894f959a9" providerId="ADAL" clId="{7EBB4E1E-93A9-4035-834A-9A0B60182E9F}" dt="2020-10-14T13:22:11.134" v="3897" actId="1076"/>
          <ac:spMkLst>
            <pc:docMk/>
            <pc:sldMk cId="1328674564" sldId="3422"/>
            <ac:spMk id="78" creationId="{847A95B6-7D2E-3D43-A7AC-3E2206272852}"/>
          </ac:spMkLst>
        </pc:spChg>
        <pc:picChg chg="mod">
          <ac:chgData name="Mariam Daniela Tristancho Pineda (PTA SAS)" userId="a45a17f7-7950-4cb5-bfab-f5c894f959a9" providerId="ADAL" clId="{7EBB4E1E-93A9-4035-834A-9A0B60182E9F}" dt="2020-10-14T13:22:11.134" v="3897" actId="1076"/>
          <ac:picMkLst>
            <pc:docMk/>
            <pc:sldMk cId="1328674564" sldId="3422"/>
            <ac:picMk id="33" creationId="{6CC16877-F011-EB4E-AA4D-90A858638982}"/>
          </ac:picMkLst>
        </pc:picChg>
        <pc:cxnChg chg="mod">
          <ac:chgData name="Mariam Daniela Tristancho Pineda (PTA SAS)" userId="a45a17f7-7950-4cb5-bfab-f5c894f959a9" providerId="ADAL" clId="{7EBB4E1E-93A9-4035-834A-9A0B60182E9F}" dt="2020-10-14T13:22:11.134" v="3897" actId="1076"/>
          <ac:cxnSpMkLst>
            <pc:docMk/>
            <pc:sldMk cId="1328674564" sldId="3422"/>
            <ac:cxnSpMk id="38" creationId="{591FF4F5-3E8B-FB4A-9471-8BC633613C1A}"/>
          </ac:cxnSpMkLst>
        </pc:cxnChg>
      </pc:sldChg>
      <pc:sldChg chg="add">
        <pc:chgData name="Mariam Daniela Tristancho Pineda (PTA SAS)" userId="a45a17f7-7950-4cb5-bfab-f5c894f959a9" providerId="ADAL" clId="{7EBB4E1E-93A9-4035-834A-9A0B60182E9F}" dt="2020-10-13T13:09:52.288" v="3694"/>
        <pc:sldMkLst>
          <pc:docMk/>
          <pc:sldMk cId="4200580314" sldId="3433"/>
        </pc:sldMkLst>
      </pc:sldChg>
      <pc:sldChg chg="add">
        <pc:chgData name="Mariam Daniela Tristancho Pineda (PTA SAS)" userId="a45a17f7-7950-4cb5-bfab-f5c894f959a9" providerId="ADAL" clId="{7EBB4E1E-93A9-4035-834A-9A0B60182E9F}" dt="2020-10-13T13:09:52.288" v="3694"/>
        <pc:sldMkLst>
          <pc:docMk/>
          <pc:sldMk cId="3125016411" sldId="3436"/>
        </pc:sldMkLst>
      </pc:sldChg>
      <pc:sldChg chg="add">
        <pc:chgData name="Mariam Daniela Tristancho Pineda (PTA SAS)" userId="a45a17f7-7950-4cb5-bfab-f5c894f959a9" providerId="ADAL" clId="{7EBB4E1E-93A9-4035-834A-9A0B60182E9F}" dt="2020-10-13T13:09:52.288" v="3694"/>
        <pc:sldMkLst>
          <pc:docMk/>
          <pc:sldMk cId="3783431933" sldId="3437"/>
        </pc:sldMkLst>
      </pc:sldChg>
      <pc:sldChg chg="add">
        <pc:chgData name="Mariam Daniela Tristancho Pineda (PTA SAS)" userId="a45a17f7-7950-4cb5-bfab-f5c894f959a9" providerId="ADAL" clId="{7EBB4E1E-93A9-4035-834A-9A0B60182E9F}" dt="2020-10-13T13:09:52.288" v="3694"/>
        <pc:sldMkLst>
          <pc:docMk/>
          <pc:sldMk cId="1140351519" sldId="3438"/>
        </pc:sldMkLst>
      </pc:sldChg>
      <pc:sldChg chg="add">
        <pc:chgData name="Mariam Daniela Tristancho Pineda (PTA SAS)" userId="a45a17f7-7950-4cb5-bfab-f5c894f959a9" providerId="ADAL" clId="{7EBB4E1E-93A9-4035-834A-9A0B60182E9F}" dt="2020-10-13T13:09:52.288" v="3694"/>
        <pc:sldMkLst>
          <pc:docMk/>
          <pc:sldMk cId="4255123732" sldId="3439"/>
        </pc:sldMkLst>
      </pc:sldChg>
      <pc:sldChg chg="add ord">
        <pc:chgData name="Mariam Daniela Tristancho Pineda (PTA SAS)" userId="a45a17f7-7950-4cb5-bfab-f5c894f959a9" providerId="ADAL" clId="{7EBB4E1E-93A9-4035-834A-9A0B60182E9F}" dt="2020-10-13T22:11:23.028" v="3820"/>
        <pc:sldMkLst>
          <pc:docMk/>
          <pc:sldMk cId="196982883" sldId="3466"/>
        </pc:sldMkLst>
      </pc:sldChg>
      <pc:sldChg chg="add ord">
        <pc:chgData name="Mariam Daniela Tristancho Pineda (PTA SAS)" userId="a45a17f7-7950-4cb5-bfab-f5c894f959a9" providerId="ADAL" clId="{7EBB4E1E-93A9-4035-834A-9A0B60182E9F}" dt="2020-10-13T22:11:23.028" v="3820"/>
        <pc:sldMkLst>
          <pc:docMk/>
          <pc:sldMk cId="46801324" sldId="3472"/>
        </pc:sldMkLst>
      </pc:sldChg>
      <pc:sldChg chg="add ord">
        <pc:chgData name="Mariam Daniela Tristancho Pineda (PTA SAS)" userId="a45a17f7-7950-4cb5-bfab-f5c894f959a9" providerId="ADAL" clId="{7EBB4E1E-93A9-4035-834A-9A0B60182E9F}" dt="2020-10-13T22:11:23.028" v="3820"/>
        <pc:sldMkLst>
          <pc:docMk/>
          <pc:sldMk cId="3670265490" sldId="3473"/>
        </pc:sldMkLst>
      </pc:sldChg>
      <pc:sldChg chg="modSp add mod">
        <pc:chgData name="Mariam Daniela Tristancho Pineda (PTA SAS)" userId="a45a17f7-7950-4cb5-bfab-f5c894f959a9" providerId="ADAL" clId="{7EBB4E1E-93A9-4035-834A-9A0B60182E9F}" dt="2020-10-06T20:00:56.360" v="2386" actId="1076"/>
        <pc:sldMkLst>
          <pc:docMk/>
          <pc:sldMk cId="3639736222" sldId="2134803689"/>
        </pc:sldMkLst>
        <pc:spChg chg="mod">
          <ac:chgData name="Mariam Daniela Tristancho Pineda (PTA SAS)" userId="a45a17f7-7950-4cb5-bfab-f5c894f959a9" providerId="ADAL" clId="{7EBB4E1E-93A9-4035-834A-9A0B60182E9F}" dt="2020-10-06T20:00:56.360" v="2386" actId="1076"/>
          <ac:spMkLst>
            <pc:docMk/>
            <pc:sldMk cId="3639736222" sldId="2134803689"/>
            <ac:spMk id="4" creationId="{4D5F0815-E5B4-4E74-8145-A182522C6A3D}"/>
          </ac:spMkLst>
        </pc:spChg>
        <pc:picChg chg="mod">
          <ac:chgData name="Mariam Daniela Tristancho Pineda (PTA SAS)" userId="a45a17f7-7950-4cb5-bfab-f5c894f959a9" providerId="ADAL" clId="{7EBB4E1E-93A9-4035-834A-9A0B60182E9F}" dt="2020-10-06T20:00:54.235" v="2385" actId="1076"/>
          <ac:picMkLst>
            <pc:docMk/>
            <pc:sldMk cId="3639736222" sldId="2134803689"/>
            <ac:picMk id="7" creationId="{C6562ECF-1AA1-E74B-9CEB-3FBAB0EB4C46}"/>
          </ac:picMkLst>
        </pc:picChg>
      </pc:sldChg>
      <pc:sldChg chg="addSp delSp modSp add mod">
        <pc:chgData name="Mariam Daniela Tristancho Pineda (PTA SAS)" userId="a45a17f7-7950-4cb5-bfab-f5c894f959a9" providerId="ADAL" clId="{7EBB4E1E-93A9-4035-834A-9A0B60182E9F}" dt="2020-10-06T20:01:46.881" v="2390" actId="1076"/>
        <pc:sldMkLst>
          <pc:docMk/>
          <pc:sldMk cId="2695251238" sldId="2134803693"/>
        </pc:sldMkLst>
        <pc:spChg chg="mod">
          <ac:chgData name="Mariam Daniela Tristancho Pineda (PTA SAS)" userId="a45a17f7-7950-4cb5-bfab-f5c894f959a9" providerId="ADAL" clId="{7EBB4E1E-93A9-4035-834A-9A0B60182E9F}" dt="2020-10-06T20:01:42.200" v="2388" actId="1076"/>
          <ac:spMkLst>
            <pc:docMk/>
            <pc:sldMk cId="2695251238" sldId="2134803693"/>
            <ac:spMk id="2" creationId="{38EDB1DE-AF47-9D40-B81D-283FF4E6C2A4}"/>
          </ac:spMkLst>
        </pc:spChg>
        <pc:spChg chg="mod">
          <ac:chgData name="Mariam Daniela Tristancho Pineda (PTA SAS)" userId="a45a17f7-7950-4cb5-bfab-f5c894f959a9" providerId="ADAL" clId="{7EBB4E1E-93A9-4035-834A-9A0B60182E9F}" dt="2020-10-06T20:01:42.200" v="2388" actId="1076"/>
          <ac:spMkLst>
            <pc:docMk/>
            <pc:sldMk cId="2695251238" sldId="2134803693"/>
            <ac:spMk id="6" creationId="{0B95BECA-B91B-1947-B0D6-C4A401178577}"/>
          </ac:spMkLst>
        </pc:spChg>
        <pc:spChg chg="add mod">
          <ac:chgData name="Mariam Daniela Tristancho Pineda (PTA SAS)" userId="a45a17f7-7950-4cb5-bfab-f5c894f959a9" providerId="ADAL" clId="{7EBB4E1E-93A9-4035-834A-9A0B60182E9F}" dt="2020-10-06T16:12:15.487" v="780" actId="1076"/>
          <ac:spMkLst>
            <pc:docMk/>
            <pc:sldMk cId="2695251238" sldId="2134803693"/>
            <ac:spMk id="8" creationId="{591C4119-5F03-49EC-BE67-435D4744873C}"/>
          </ac:spMkLst>
        </pc:spChg>
        <pc:spChg chg="add del mod">
          <ac:chgData name="Mariam Daniela Tristancho Pineda (PTA SAS)" userId="a45a17f7-7950-4cb5-bfab-f5c894f959a9" providerId="ADAL" clId="{7EBB4E1E-93A9-4035-834A-9A0B60182E9F}" dt="2020-10-06T20:01:37.859" v="2387" actId="478"/>
          <ac:spMkLst>
            <pc:docMk/>
            <pc:sldMk cId="2695251238" sldId="2134803693"/>
            <ac:spMk id="9" creationId="{D38F0F5C-AAFC-49FC-9BEB-2EDFBEAC3FBC}"/>
          </ac:spMkLst>
        </pc:spChg>
        <pc:spChg chg="mod">
          <ac:chgData name="Mariam Daniela Tristancho Pineda (PTA SAS)" userId="a45a17f7-7950-4cb5-bfab-f5c894f959a9" providerId="ADAL" clId="{7EBB4E1E-93A9-4035-834A-9A0B60182E9F}" dt="2020-10-06T20:01:46.881" v="2390" actId="1076"/>
          <ac:spMkLst>
            <pc:docMk/>
            <pc:sldMk cId="2695251238" sldId="2134803693"/>
            <ac:spMk id="11" creationId="{B7555FB1-F363-8646-896F-4E2589A794C7}"/>
          </ac:spMkLst>
        </pc:spChg>
        <pc:spChg chg="mod">
          <ac:chgData name="Mariam Daniela Tristancho Pineda (PTA SAS)" userId="a45a17f7-7950-4cb5-bfab-f5c894f959a9" providerId="ADAL" clId="{7EBB4E1E-93A9-4035-834A-9A0B60182E9F}" dt="2020-10-06T20:01:42.200" v="2388" actId="1076"/>
          <ac:spMkLst>
            <pc:docMk/>
            <pc:sldMk cId="2695251238" sldId="2134803693"/>
            <ac:spMk id="13" creationId="{250199F8-A82E-4057-B60A-23CC702AD1C3}"/>
          </ac:spMkLst>
        </pc:spChg>
        <pc:spChg chg="mod">
          <ac:chgData name="Mariam Daniela Tristancho Pineda (PTA SAS)" userId="a45a17f7-7950-4cb5-bfab-f5c894f959a9" providerId="ADAL" clId="{7EBB4E1E-93A9-4035-834A-9A0B60182E9F}" dt="2020-10-06T20:01:44.649" v="2389" actId="1076"/>
          <ac:spMkLst>
            <pc:docMk/>
            <pc:sldMk cId="2695251238" sldId="2134803693"/>
            <ac:spMk id="29" creationId="{6497B98C-D7E0-40EE-93FD-7D042C49631E}"/>
          </ac:spMkLst>
        </pc:spChg>
        <pc:picChg chg="mod">
          <ac:chgData name="Mariam Daniela Tristancho Pineda (PTA SAS)" userId="a45a17f7-7950-4cb5-bfab-f5c894f959a9" providerId="ADAL" clId="{7EBB4E1E-93A9-4035-834A-9A0B60182E9F}" dt="2020-10-06T20:01:42.200" v="2388" actId="1076"/>
          <ac:picMkLst>
            <pc:docMk/>
            <pc:sldMk cId="2695251238" sldId="2134803693"/>
            <ac:picMk id="3" creationId="{6B712A9A-A1B5-5C40-93E1-9889A9084930}"/>
          </ac:picMkLst>
        </pc:picChg>
        <pc:picChg chg="mod">
          <ac:chgData name="Mariam Daniela Tristancho Pineda (PTA SAS)" userId="a45a17f7-7950-4cb5-bfab-f5c894f959a9" providerId="ADAL" clId="{7EBB4E1E-93A9-4035-834A-9A0B60182E9F}" dt="2020-10-06T20:01:42.200" v="2388" actId="1076"/>
          <ac:picMkLst>
            <pc:docMk/>
            <pc:sldMk cId="2695251238" sldId="2134803693"/>
            <ac:picMk id="4" creationId="{4508CFCE-3704-BB45-8028-EF43011836AF}"/>
          </ac:picMkLst>
        </pc:picChg>
        <pc:picChg chg="mod">
          <ac:chgData name="Mariam Daniela Tristancho Pineda (PTA SAS)" userId="a45a17f7-7950-4cb5-bfab-f5c894f959a9" providerId="ADAL" clId="{7EBB4E1E-93A9-4035-834A-9A0B60182E9F}" dt="2020-10-06T20:01:42.200" v="2388" actId="1076"/>
          <ac:picMkLst>
            <pc:docMk/>
            <pc:sldMk cId="2695251238" sldId="2134803693"/>
            <ac:picMk id="5" creationId="{18C1DFB3-692A-534F-AC32-C986A4BC3B00}"/>
          </ac:picMkLst>
        </pc:picChg>
        <pc:picChg chg="mod">
          <ac:chgData name="Mariam Daniela Tristancho Pineda (PTA SAS)" userId="a45a17f7-7950-4cb5-bfab-f5c894f959a9" providerId="ADAL" clId="{7EBB4E1E-93A9-4035-834A-9A0B60182E9F}" dt="2020-10-06T20:01:42.200" v="2388" actId="1076"/>
          <ac:picMkLst>
            <pc:docMk/>
            <pc:sldMk cId="2695251238" sldId="2134803693"/>
            <ac:picMk id="7" creationId="{49282EF9-0542-D941-ADFB-971D99A7FB66}"/>
          </ac:picMkLst>
        </pc:picChg>
        <pc:picChg chg="mod">
          <ac:chgData name="Mariam Daniela Tristancho Pineda (PTA SAS)" userId="a45a17f7-7950-4cb5-bfab-f5c894f959a9" providerId="ADAL" clId="{7EBB4E1E-93A9-4035-834A-9A0B60182E9F}" dt="2020-10-06T20:01:42.200" v="2388" actId="1076"/>
          <ac:picMkLst>
            <pc:docMk/>
            <pc:sldMk cId="2695251238" sldId="2134803693"/>
            <ac:picMk id="10" creationId="{59AD9CD2-8747-4542-95C9-8984CD45153A}"/>
          </ac:picMkLst>
        </pc:picChg>
      </pc:sldChg>
      <pc:sldChg chg="addSp modSp add mod ord">
        <pc:chgData name="Mariam Daniela Tristancho Pineda (PTA SAS)" userId="a45a17f7-7950-4cb5-bfab-f5c894f959a9" providerId="ADAL" clId="{7EBB4E1E-93A9-4035-834A-9A0B60182E9F}" dt="2020-10-08T15:30:35.413" v="3630"/>
        <pc:sldMkLst>
          <pc:docMk/>
          <pc:sldMk cId="542338739" sldId="2134803694"/>
        </pc:sldMkLst>
        <pc:spChg chg="mod">
          <ac:chgData name="Mariam Daniela Tristancho Pineda (PTA SAS)" userId="a45a17f7-7950-4cb5-bfab-f5c894f959a9" providerId="ADAL" clId="{7EBB4E1E-93A9-4035-834A-9A0B60182E9F}" dt="2020-10-06T16:27:13.924" v="930" actId="20577"/>
          <ac:spMkLst>
            <pc:docMk/>
            <pc:sldMk cId="542338739" sldId="2134803694"/>
            <ac:spMk id="2" creationId="{D52FD195-FC31-4E4A-8A9E-6AFFFC3CEFE1}"/>
          </ac:spMkLst>
        </pc:spChg>
        <pc:spChg chg="mod">
          <ac:chgData name="Mariam Daniela Tristancho Pineda (PTA SAS)" userId="a45a17f7-7950-4cb5-bfab-f5c894f959a9" providerId="ADAL" clId="{7EBB4E1E-93A9-4035-834A-9A0B60182E9F}" dt="2020-10-06T16:24:36.793" v="910" actId="1076"/>
          <ac:spMkLst>
            <pc:docMk/>
            <pc:sldMk cId="542338739" sldId="2134803694"/>
            <ac:spMk id="5" creationId="{3614627F-5836-4EDD-9D2A-35841B0DCBCD}"/>
          </ac:spMkLst>
        </pc:spChg>
        <pc:spChg chg="add mod">
          <ac:chgData name="Mariam Daniela Tristancho Pineda (PTA SAS)" userId="a45a17f7-7950-4cb5-bfab-f5c894f959a9" providerId="ADAL" clId="{7EBB4E1E-93A9-4035-834A-9A0B60182E9F}" dt="2020-10-06T16:24:20.337" v="907" actId="1036"/>
          <ac:spMkLst>
            <pc:docMk/>
            <pc:sldMk cId="542338739" sldId="2134803694"/>
            <ac:spMk id="6" creationId="{6A18C77A-DE43-47DD-A220-C9425E31C189}"/>
          </ac:spMkLst>
        </pc:spChg>
        <pc:spChg chg="mod">
          <ac:chgData name="Mariam Daniela Tristancho Pineda (PTA SAS)" userId="a45a17f7-7950-4cb5-bfab-f5c894f959a9" providerId="ADAL" clId="{7EBB4E1E-93A9-4035-834A-9A0B60182E9F}" dt="2020-10-06T16:27:35.810" v="932" actId="1076"/>
          <ac:spMkLst>
            <pc:docMk/>
            <pc:sldMk cId="542338739" sldId="2134803694"/>
            <ac:spMk id="9" creationId="{A217AF25-B5D9-4E79-A590-03BC149292DB}"/>
          </ac:spMkLst>
        </pc:spChg>
        <pc:spChg chg="mod">
          <ac:chgData name="Mariam Daniela Tristancho Pineda (PTA SAS)" userId="a45a17f7-7950-4cb5-bfab-f5c894f959a9" providerId="ADAL" clId="{7EBB4E1E-93A9-4035-834A-9A0B60182E9F}" dt="2020-10-06T16:26:28.153" v="927" actId="1076"/>
          <ac:spMkLst>
            <pc:docMk/>
            <pc:sldMk cId="542338739" sldId="2134803694"/>
            <ac:spMk id="14" creationId="{2CE3ED3A-DE01-4E16-A5DF-2140E74ACF8E}"/>
          </ac:spMkLst>
        </pc:spChg>
        <pc:spChg chg="mod">
          <ac:chgData name="Mariam Daniela Tristancho Pineda (PTA SAS)" userId="a45a17f7-7950-4cb5-bfab-f5c894f959a9" providerId="ADAL" clId="{7EBB4E1E-93A9-4035-834A-9A0B60182E9F}" dt="2020-10-06T16:26:22.650" v="926" actId="1076"/>
          <ac:spMkLst>
            <pc:docMk/>
            <pc:sldMk cId="542338739" sldId="2134803694"/>
            <ac:spMk id="15" creationId="{11DE0C5E-DF7A-4FFF-8D04-1A849954E4E4}"/>
          </ac:spMkLst>
        </pc:spChg>
        <pc:spChg chg="mod">
          <ac:chgData name="Mariam Daniela Tristancho Pineda (PTA SAS)" userId="a45a17f7-7950-4cb5-bfab-f5c894f959a9" providerId="ADAL" clId="{7EBB4E1E-93A9-4035-834A-9A0B60182E9F}" dt="2020-10-06T16:24:27.737" v="909" actId="1076"/>
          <ac:spMkLst>
            <pc:docMk/>
            <pc:sldMk cId="542338739" sldId="2134803694"/>
            <ac:spMk id="16" creationId="{87107B41-3A93-4392-9C16-CA0B6493B319}"/>
          </ac:spMkLst>
        </pc:spChg>
        <pc:spChg chg="mod">
          <ac:chgData name="Mariam Daniela Tristancho Pineda (PTA SAS)" userId="a45a17f7-7950-4cb5-bfab-f5c894f959a9" providerId="ADAL" clId="{7EBB4E1E-93A9-4035-834A-9A0B60182E9F}" dt="2020-10-06T20:03:33.375" v="2520" actId="1035"/>
          <ac:spMkLst>
            <pc:docMk/>
            <pc:sldMk cId="542338739" sldId="2134803694"/>
            <ac:spMk id="22" creationId="{9018B24E-9E13-40A8-BF16-9F308CDE2D5C}"/>
          </ac:spMkLst>
        </pc:spChg>
        <pc:spChg chg="mod">
          <ac:chgData name="Mariam Daniela Tristancho Pineda (PTA SAS)" userId="a45a17f7-7950-4cb5-bfab-f5c894f959a9" providerId="ADAL" clId="{7EBB4E1E-93A9-4035-834A-9A0B60182E9F}" dt="2020-10-06T16:27:29.713" v="931" actId="1076"/>
          <ac:spMkLst>
            <pc:docMk/>
            <pc:sldMk cId="542338739" sldId="2134803694"/>
            <ac:spMk id="24" creationId="{12C6E26F-1E97-A540-AE0D-1C4573D5FAF5}"/>
          </ac:spMkLst>
        </pc:spChg>
        <pc:picChg chg="mod">
          <ac:chgData name="Mariam Daniela Tristancho Pineda (PTA SAS)" userId="a45a17f7-7950-4cb5-bfab-f5c894f959a9" providerId="ADAL" clId="{7EBB4E1E-93A9-4035-834A-9A0B60182E9F}" dt="2020-10-06T16:26:33.307" v="929" actId="1076"/>
          <ac:picMkLst>
            <pc:docMk/>
            <pc:sldMk cId="542338739" sldId="2134803694"/>
            <ac:picMk id="10" creationId="{D6E10809-3AFF-4925-9A53-84B2AE2D7FF4}"/>
          </ac:picMkLst>
        </pc:picChg>
        <pc:picChg chg="mod">
          <ac:chgData name="Mariam Daniela Tristancho Pineda (PTA SAS)" userId="a45a17f7-7950-4cb5-bfab-f5c894f959a9" providerId="ADAL" clId="{7EBB4E1E-93A9-4035-834A-9A0B60182E9F}" dt="2020-10-06T16:24:14.953" v="900" actId="1076"/>
          <ac:picMkLst>
            <pc:docMk/>
            <pc:sldMk cId="542338739" sldId="2134803694"/>
            <ac:picMk id="23" creationId="{3E7C3733-DE7C-3A4C-8534-D6859C8C1E39}"/>
          </ac:picMkLst>
        </pc:picChg>
      </pc:sldChg>
      <pc:sldChg chg="addSp delSp modSp add mod">
        <pc:chgData name="Mariam Daniela Tristancho Pineda (PTA SAS)" userId="a45a17f7-7950-4cb5-bfab-f5c894f959a9" providerId="ADAL" clId="{7EBB4E1E-93A9-4035-834A-9A0B60182E9F}" dt="2020-10-06T19:55:47.993" v="2368" actId="1076"/>
        <pc:sldMkLst>
          <pc:docMk/>
          <pc:sldMk cId="478932680" sldId="2134803695"/>
        </pc:sldMkLst>
        <pc:spChg chg="del">
          <ac:chgData name="Mariam Daniela Tristancho Pineda (PTA SAS)" userId="a45a17f7-7950-4cb5-bfab-f5c894f959a9" providerId="ADAL" clId="{7EBB4E1E-93A9-4035-834A-9A0B60182E9F}" dt="2020-10-06T19:31:41.252" v="1586" actId="478"/>
          <ac:spMkLst>
            <pc:docMk/>
            <pc:sldMk cId="478932680" sldId="2134803695"/>
            <ac:spMk id="5" creationId="{9D16257F-95D3-5045-9186-393C7BD6611A}"/>
          </ac:spMkLst>
        </pc:spChg>
        <pc:spChg chg="mod">
          <ac:chgData name="Mariam Daniela Tristancho Pineda (PTA SAS)" userId="a45a17f7-7950-4cb5-bfab-f5c894f959a9" providerId="ADAL" clId="{7EBB4E1E-93A9-4035-834A-9A0B60182E9F}" dt="2020-10-06T19:31:45.843" v="1587" actId="1076"/>
          <ac:spMkLst>
            <pc:docMk/>
            <pc:sldMk cId="478932680" sldId="2134803695"/>
            <ac:spMk id="6" creationId="{5BB45E83-35DA-46EF-B4DB-5D71AD3B2EA6}"/>
          </ac:spMkLst>
        </pc:spChg>
        <pc:spChg chg="mod">
          <ac:chgData name="Mariam Daniela Tristancho Pineda (PTA SAS)" userId="a45a17f7-7950-4cb5-bfab-f5c894f959a9" providerId="ADAL" clId="{7EBB4E1E-93A9-4035-834A-9A0B60182E9F}" dt="2020-10-06T19:31:45.843" v="1587" actId="1076"/>
          <ac:spMkLst>
            <pc:docMk/>
            <pc:sldMk cId="478932680" sldId="2134803695"/>
            <ac:spMk id="7" creationId="{F6E3C441-DFAD-4F93-AD8E-85A0A709F810}"/>
          </ac:spMkLst>
        </pc:spChg>
        <pc:spChg chg="mod">
          <ac:chgData name="Mariam Daniela Tristancho Pineda (PTA SAS)" userId="a45a17f7-7950-4cb5-bfab-f5c894f959a9" providerId="ADAL" clId="{7EBB4E1E-93A9-4035-834A-9A0B60182E9F}" dt="2020-10-06T19:31:45.843" v="1587" actId="1076"/>
          <ac:spMkLst>
            <pc:docMk/>
            <pc:sldMk cId="478932680" sldId="2134803695"/>
            <ac:spMk id="8" creationId="{E6D68CFE-9473-4259-985E-E73C54C0AB2C}"/>
          </ac:spMkLst>
        </pc:spChg>
        <pc:spChg chg="add mod ord">
          <ac:chgData name="Mariam Daniela Tristancho Pineda (PTA SAS)" userId="a45a17f7-7950-4cb5-bfab-f5c894f959a9" providerId="ADAL" clId="{7EBB4E1E-93A9-4035-834A-9A0B60182E9F}" dt="2020-10-06T19:55:47.993" v="2368" actId="1076"/>
          <ac:spMkLst>
            <pc:docMk/>
            <pc:sldMk cId="478932680" sldId="2134803695"/>
            <ac:spMk id="9" creationId="{5F717C8E-9030-4E5A-A099-28AAD3340896}"/>
          </ac:spMkLst>
        </pc:spChg>
        <pc:spChg chg="mod">
          <ac:chgData name="Mariam Daniela Tristancho Pineda (PTA SAS)" userId="a45a17f7-7950-4cb5-bfab-f5c894f959a9" providerId="ADAL" clId="{7EBB4E1E-93A9-4035-834A-9A0B60182E9F}" dt="2020-10-06T19:31:51.674" v="1588" actId="1076"/>
          <ac:spMkLst>
            <pc:docMk/>
            <pc:sldMk cId="478932680" sldId="2134803695"/>
            <ac:spMk id="16" creationId="{08C4BC45-A881-BB43-8991-7F434CCD56A7}"/>
          </ac:spMkLst>
        </pc:spChg>
        <pc:picChg chg="add mod">
          <ac:chgData name="Mariam Daniela Tristancho Pineda (PTA SAS)" userId="a45a17f7-7950-4cb5-bfab-f5c894f959a9" providerId="ADAL" clId="{7EBB4E1E-93A9-4035-834A-9A0B60182E9F}" dt="2020-10-06T19:55:47.993" v="2368" actId="1076"/>
          <ac:picMkLst>
            <pc:docMk/>
            <pc:sldMk cId="478932680" sldId="2134803695"/>
            <ac:picMk id="11" creationId="{A6846F95-AEC6-4C88-9C37-7C4AEC0514CB}"/>
          </ac:picMkLst>
        </pc:picChg>
        <pc:picChg chg="del mod">
          <ac:chgData name="Mariam Daniela Tristancho Pineda (PTA SAS)" userId="a45a17f7-7950-4cb5-bfab-f5c894f959a9" providerId="ADAL" clId="{7EBB4E1E-93A9-4035-834A-9A0B60182E9F}" dt="2020-10-06T19:55:32.102" v="2361" actId="478"/>
          <ac:picMkLst>
            <pc:docMk/>
            <pc:sldMk cId="478932680" sldId="2134803695"/>
            <ac:picMk id="15" creationId="{84E36BF4-5E19-B343-8672-EF19FCFC255A}"/>
          </ac:picMkLst>
        </pc:picChg>
        <pc:cxnChg chg="mod">
          <ac:chgData name="Mariam Daniela Tristancho Pineda (PTA SAS)" userId="a45a17f7-7950-4cb5-bfab-f5c894f959a9" providerId="ADAL" clId="{7EBB4E1E-93A9-4035-834A-9A0B60182E9F}" dt="2020-10-06T19:31:45.843" v="1587" actId="1076"/>
          <ac:cxnSpMkLst>
            <pc:docMk/>
            <pc:sldMk cId="478932680" sldId="2134803695"/>
            <ac:cxnSpMk id="17" creationId="{C9BC9A7E-BBF8-45D2-8451-88207B9E08D1}"/>
          </ac:cxnSpMkLst>
        </pc:cxnChg>
      </pc:sldChg>
      <pc:sldChg chg="addSp delSp modSp add mod">
        <pc:chgData name="Mariam Daniela Tristancho Pineda (PTA SAS)" userId="a45a17f7-7950-4cb5-bfab-f5c894f959a9" providerId="ADAL" clId="{7EBB4E1E-93A9-4035-834A-9A0B60182E9F}" dt="2020-10-06T20:04:33.304" v="2529" actId="1076"/>
        <pc:sldMkLst>
          <pc:docMk/>
          <pc:sldMk cId="3033330877" sldId="2134803696"/>
        </pc:sldMkLst>
        <pc:spChg chg="mod">
          <ac:chgData name="Mariam Daniela Tristancho Pineda (PTA SAS)" userId="a45a17f7-7950-4cb5-bfab-f5c894f959a9" providerId="ADAL" clId="{7EBB4E1E-93A9-4035-834A-9A0B60182E9F}" dt="2020-10-06T19:33:25.834" v="1607" actId="1076"/>
          <ac:spMkLst>
            <pc:docMk/>
            <pc:sldMk cId="3033330877" sldId="2134803696"/>
            <ac:spMk id="2" creationId="{465636FD-CDFE-0043-A2AE-795688D7897B}"/>
          </ac:spMkLst>
        </pc:spChg>
        <pc:spChg chg="mod">
          <ac:chgData name="Mariam Daniela Tristancho Pineda (PTA SAS)" userId="a45a17f7-7950-4cb5-bfab-f5c894f959a9" providerId="ADAL" clId="{7EBB4E1E-93A9-4035-834A-9A0B60182E9F}" dt="2020-10-06T19:33:25.834" v="1607" actId="1076"/>
          <ac:spMkLst>
            <pc:docMk/>
            <pc:sldMk cId="3033330877" sldId="2134803696"/>
            <ac:spMk id="3" creationId="{77D62C3A-45C4-024F-9483-8A1D73A274A3}"/>
          </ac:spMkLst>
        </pc:spChg>
        <pc:spChg chg="mod">
          <ac:chgData name="Mariam Daniela Tristancho Pineda (PTA SAS)" userId="a45a17f7-7950-4cb5-bfab-f5c894f959a9" providerId="ADAL" clId="{7EBB4E1E-93A9-4035-834A-9A0B60182E9F}" dt="2020-10-06T20:04:00.950" v="2521" actId="6549"/>
          <ac:spMkLst>
            <pc:docMk/>
            <pc:sldMk cId="3033330877" sldId="2134803696"/>
            <ac:spMk id="4" creationId="{6A31DB10-96F1-8D45-8D81-CCA502E42C15}"/>
          </ac:spMkLst>
        </pc:spChg>
        <pc:spChg chg="mod">
          <ac:chgData name="Mariam Daniela Tristancho Pineda (PTA SAS)" userId="a45a17f7-7950-4cb5-bfab-f5c894f959a9" providerId="ADAL" clId="{7EBB4E1E-93A9-4035-834A-9A0B60182E9F}" dt="2020-10-06T20:04:33.304" v="2529" actId="1076"/>
          <ac:spMkLst>
            <pc:docMk/>
            <pc:sldMk cId="3033330877" sldId="2134803696"/>
            <ac:spMk id="8" creationId="{D2451A65-5C54-7E48-8D52-CB24D8CE93B9}"/>
          </ac:spMkLst>
        </pc:spChg>
        <pc:spChg chg="mod">
          <ac:chgData name="Mariam Daniela Tristancho Pineda (PTA SAS)" userId="a45a17f7-7950-4cb5-bfab-f5c894f959a9" providerId="ADAL" clId="{7EBB4E1E-93A9-4035-834A-9A0B60182E9F}" dt="2020-10-06T20:04:33.304" v="2529" actId="1076"/>
          <ac:spMkLst>
            <pc:docMk/>
            <pc:sldMk cId="3033330877" sldId="2134803696"/>
            <ac:spMk id="9" creationId="{3EA31D6B-43E8-CB47-83EA-4134A270433D}"/>
          </ac:spMkLst>
        </pc:spChg>
        <pc:spChg chg="mod">
          <ac:chgData name="Mariam Daniela Tristancho Pineda (PTA SAS)" userId="a45a17f7-7950-4cb5-bfab-f5c894f959a9" providerId="ADAL" clId="{7EBB4E1E-93A9-4035-834A-9A0B60182E9F}" dt="2020-10-06T20:04:33.304" v="2529" actId="1076"/>
          <ac:spMkLst>
            <pc:docMk/>
            <pc:sldMk cId="3033330877" sldId="2134803696"/>
            <ac:spMk id="10" creationId="{2C55E4C0-E506-A544-99EF-1A4FADAE96DE}"/>
          </ac:spMkLst>
        </pc:spChg>
        <pc:spChg chg="add mod ord">
          <ac:chgData name="Mariam Daniela Tristancho Pineda (PTA SAS)" userId="a45a17f7-7950-4cb5-bfab-f5c894f959a9" providerId="ADAL" clId="{7EBB4E1E-93A9-4035-834A-9A0B60182E9F}" dt="2020-10-06T19:56:07.441" v="2381" actId="1076"/>
          <ac:spMkLst>
            <pc:docMk/>
            <pc:sldMk cId="3033330877" sldId="2134803696"/>
            <ac:spMk id="11" creationId="{9EB26948-AEB9-40DC-95A3-307946587810}"/>
          </ac:spMkLst>
        </pc:spChg>
        <pc:spChg chg="mod">
          <ac:chgData name="Mariam Daniela Tristancho Pineda (PTA SAS)" userId="a45a17f7-7950-4cb5-bfab-f5c894f959a9" providerId="ADAL" clId="{7EBB4E1E-93A9-4035-834A-9A0B60182E9F}" dt="2020-10-06T19:33:32.355" v="1613" actId="1076"/>
          <ac:spMkLst>
            <pc:docMk/>
            <pc:sldMk cId="3033330877" sldId="2134803696"/>
            <ac:spMk id="12" creationId="{CFEF7504-136F-CF4E-BC65-65D7B80E6249}"/>
          </ac:spMkLst>
        </pc:spChg>
        <pc:spChg chg="mod">
          <ac:chgData name="Mariam Daniela Tristancho Pineda (PTA SAS)" userId="a45a17f7-7950-4cb5-bfab-f5c894f959a9" providerId="ADAL" clId="{7EBB4E1E-93A9-4035-834A-9A0B60182E9F}" dt="2020-10-06T19:33:34.002" v="1614" actId="1076"/>
          <ac:spMkLst>
            <pc:docMk/>
            <pc:sldMk cId="3033330877" sldId="2134803696"/>
            <ac:spMk id="18" creationId="{73C77D80-3296-9F46-BA35-4412CBAF9405}"/>
          </ac:spMkLst>
        </pc:spChg>
        <pc:picChg chg="mod">
          <ac:chgData name="Mariam Daniela Tristancho Pineda (PTA SAS)" userId="a45a17f7-7950-4cb5-bfab-f5c894f959a9" providerId="ADAL" clId="{7EBB4E1E-93A9-4035-834A-9A0B60182E9F}" dt="2020-10-06T20:04:33.304" v="2529" actId="1076"/>
          <ac:picMkLst>
            <pc:docMk/>
            <pc:sldMk cId="3033330877" sldId="2134803696"/>
            <ac:picMk id="5" creationId="{94885677-7B19-2C48-B6F1-0E1A52DC522C}"/>
          </ac:picMkLst>
        </pc:picChg>
        <pc:picChg chg="mod">
          <ac:chgData name="Mariam Daniela Tristancho Pineda (PTA SAS)" userId="a45a17f7-7950-4cb5-bfab-f5c894f959a9" providerId="ADAL" clId="{7EBB4E1E-93A9-4035-834A-9A0B60182E9F}" dt="2020-10-06T20:04:33.304" v="2529" actId="1076"/>
          <ac:picMkLst>
            <pc:docMk/>
            <pc:sldMk cId="3033330877" sldId="2134803696"/>
            <ac:picMk id="6" creationId="{D6A27ED5-971F-DE4E-8750-72A34AB089D8}"/>
          </ac:picMkLst>
        </pc:picChg>
        <pc:picChg chg="mod">
          <ac:chgData name="Mariam Daniela Tristancho Pineda (PTA SAS)" userId="a45a17f7-7950-4cb5-bfab-f5c894f959a9" providerId="ADAL" clId="{7EBB4E1E-93A9-4035-834A-9A0B60182E9F}" dt="2020-10-06T20:04:33.304" v="2529" actId="1076"/>
          <ac:picMkLst>
            <pc:docMk/>
            <pc:sldMk cId="3033330877" sldId="2134803696"/>
            <ac:picMk id="7" creationId="{6DE5FCA8-E048-8D4C-8161-943E5E7B4F9A}"/>
          </ac:picMkLst>
        </pc:picChg>
        <pc:picChg chg="add mod">
          <ac:chgData name="Mariam Daniela Tristancho Pineda (PTA SAS)" userId="a45a17f7-7950-4cb5-bfab-f5c894f959a9" providerId="ADAL" clId="{7EBB4E1E-93A9-4035-834A-9A0B60182E9F}" dt="2020-10-06T19:56:07.441" v="2381" actId="1076"/>
          <ac:picMkLst>
            <pc:docMk/>
            <pc:sldMk cId="3033330877" sldId="2134803696"/>
            <ac:picMk id="13" creationId="{F0E2C602-B151-4A8B-B98B-63ECC8DB5DED}"/>
          </ac:picMkLst>
        </pc:picChg>
        <pc:picChg chg="del mod">
          <ac:chgData name="Mariam Daniela Tristancho Pineda (PTA SAS)" userId="a45a17f7-7950-4cb5-bfab-f5c894f959a9" providerId="ADAL" clId="{7EBB4E1E-93A9-4035-834A-9A0B60182E9F}" dt="2020-10-06T19:55:30.129" v="2360" actId="21"/>
          <ac:picMkLst>
            <pc:docMk/>
            <pc:sldMk cId="3033330877" sldId="2134803696"/>
            <ac:picMk id="16" creationId="{FEF0D3C6-D79F-0044-B1ED-028F1CB23688}"/>
          </ac:picMkLst>
        </pc:picChg>
        <pc:picChg chg="mod">
          <ac:chgData name="Mariam Daniela Tristancho Pineda (PTA SAS)" userId="a45a17f7-7950-4cb5-bfab-f5c894f959a9" providerId="ADAL" clId="{7EBB4E1E-93A9-4035-834A-9A0B60182E9F}" dt="2020-10-06T20:04:33.304" v="2529" actId="1076"/>
          <ac:picMkLst>
            <pc:docMk/>
            <pc:sldMk cId="3033330877" sldId="2134803696"/>
            <ac:picMk id="21" creationId="{683C0F51-8C09-CE43-9A68-12C0E64311B9}"/>
          </ac:picMkLst>
        </pc:picChg>
      </pc:sldChg>
      <pc:sldChg chg="delSp modSp add mod">
        <pc:chgData name="Mariam Daniela Tristancho Pineda (PTA SAS)" userId="a45a17f7-7950-4cb5-bfab-f5c894f959a9" providerId="ADAL" clId="{7EBB4E1E-93A9-4035-834A-9A0B60182E9F}" dt="2020-10-06T20:02:08.177" v="2392" actId="1076"/>
        <pc:sldMkLst>
          <pc:docMk/>
          <pc:sldMk cId="16616583" sldId="2134803697"/>
        </pc:sldMkLst>
        <pc:spChg chg="mod">
          <ac:chgData name="Mariam Daniela Tristancho Pineda (PTA SAS)" userId="a45a17f7-7950-4cb5-bfab-f5c894f959a9" providerId="ADAL" clId="{7EBB4E1E-93A9-4035-834A-9A0B60182E9F}" dt="2020-10-06T20:02:08.177" v="2392" actId="1076"/>
          <ac:spMkLst>
            <pc:docMk/>
            <pc:sldMk cId="16616583" sldId="2134803697"/>
            <ac:spMk id="2" creationId="{38EDB1DE-AF47-9D40-B81D-283FF4E6C2A4}"/>
          </ac:spMkLst>
        </pc:spChg>
        <pc:spChg chg="mod">
          <ac:chgData name="Mariam Daniela Tristancho Pineda (PTA SAS)" userId="a45a17f7-7950-4cb5-bfab-f5c894f959a9" providerId="ADAL" clId="{7EBB4E1E-93A9-4035-834A-9A0B60182E9F}" dt="2020-10-06T20:02:08.177" v="2392" actId="1076"/>
          <ac:spMkLst>
            <pc:docMk/>
            <pc:sldMk cId="16616583" sldId="2134803697"/>
            <ac:spMk id="6" creationId="{0B95BECA-B91B-1947-B0D6-C4A401178577}"/>
          </ac:spMkLst>
        </pc:spChg>
        <pc:spChg chg="mod">
          <ac:chgData name="Mariam Daniela Tristancho Pineda (PTA SAS)" userId="a45a17f7-7950-4cb5-bfab-f5c894f959a9" providerId="ADAL" clId="{7EBB4E1E-93A9-4035-834A-9A0B60182E9F}" dt="2020-10-06T20:02:08.177" v="2392" actId="1076"/>
          <ac:spMkLst>
            <pc:docMk/>
            <pc:sldMk cId="16616583" sldId="2134803697"/>
            <ac:spMk id="9" creationId="{F4EA02F3-489B-4F56-B83B-A3E6EFCD6C62}"/>
          </ac:spMkLst>
        </pc:spChg>
        <pc:spChg chg="mod">
          <ac:chgData name="Mariam Daniela Tristancho Pineda (PTA SAS)" userId="a45a17f7-7950-4cb5-bfab-f5c894f959a9" providerId="ADAL" clId="{7EBB4E1E-93A9-4035-834A-9A0B60182E9F}" dt="2020-10-06T20:02:08.177" v="2392" actId="1076"/>
          <ac:spMkLst>
            <pc:docMk/>
            <pc:sldMk cId="16616583" sldId="2134803697"/>
            <ac:spMk id="11" creationId="{B7555FB1-F363-8646-896F-4E2589A794C7}"/>
          </ac:spMkLst>
        </pc:spChg>
        <pc:spChg chg="mod">
          <ac:chgData name="Mariam Daniela Tristancho Pineda (PTA SAS)" userId="a45a17f7-7950-4cb5-bfab-f5c894f959a9" providerId="ADAL" clId="{7EBB4E1E-93A9-4035-834A-9A0B60182E9F}" dt="2020-10-06T20:02:08.177" v="2392" actId="1076"/>
          <ac:spMkLst>
            <pc:docMk/>
            <pc:sldMk cId="16616583" sldId="2134803697"/>
            <ac:spMk id="12" creationId="{B9E82B6E-0015-4A40-8F67-A63ADDF3DB44}"/>
          </ac:spMkLst>
        </pc:spChg>
        <pc:spChg chg="mod">
          <ac:chgData name="Mariam Daniela Tristancho Pineda (PTA SAS)" userId="a45a17f7-7950-4cb5-bfab-f5c894f959a9" providerId="ADAL" clId="{7EBB4E1E-93A9-4035-834A-9A0B60182E9F}" dt="2020-10-06T20:02:08.177" v="2392" actId="1076"/>
          <ac:spMkLst>
            <pc:docMk/>
            <pc:sldMk cId="16616583" sldId="2134803697"/>
            <ac:spMk id="13" creationId="{250199F8-A82E-4057-B60A-23CC702AD1C3}"/>
          </ac:spMkLst>
        </pc:spChg>
        <pc:picChg chg="del mod">
          <ac:chgData name="Mariam Daniela Tristancho Pineda (PTA SAS)" userId="a45a17f7-7950-4cb5-bfab-f5c894f959a9" providerId="ADAL" clId="{7EBB4E1E-93A9-4035-834A-9A0B60182E9F}" dt="2020-10-06T19:34:39.379" v="1616" actId="478"/>
          <ac:picMkLst>
            <pc:docMk/>
            <pc:sldMk cId="16616583" sldId="2134803697"/>
            <ac:picMk id="14" creationId="{183C7245-B99D-DB48-9D89-30411EEB42C6}"/>
          </ac:picMkLst>
        </pc:picChg>
        <pc:picChg chg="mod">
          <ac:chgData name="Mariam Daniela Tristancho Pineda (PTA SAS)" userId="a45a17f7-7950-4cb5-bfab-f5c894f959a9" providerId="ADAL" clId="{7EBB4E1E-93A9-4035-834A-9A0B60182E9F}" dt="2020-10-06T20:02:08.177" v="2392" actId="1076"/>
          <ac:picMkLst>
            <pc:docMk/>
            <pc:sldMk cId="16616583" sldId="2134803697"/>
            <ac:picMk id="16" creationId="{A344A14F-33F3-4B77-9BFB-45506A0EBBD0}"/>
          </ac:picMkLst>
        </pc:picChg>
        <pc:picChg chg="mod">
          <ac:chgData name="Mariam Daniela Tristancho Pineda (PTA SAS)" userId="a45a17f7-7950-4cb5-bfab-f5c894f959a9" providerId="ADAL" clId="{7EBB4E1E-93A9-4035-834A-9A0B60182E9F}" dt="2020-10-06T20:02:08.177" v="2392" actId="1076"/>
          <ac:picMkLst>
            <pc:docMk/>
            <pc:sldMk cId="16616583" sldId="2134803697"/>
            <ac:picMk id="18" creationId="{28260F04-AA04-4E5B-9B8F-06C318CA8205}"/>
          </ac:picMkLst>
        </pc:picChg>
        <pc:picChg chg="mod">
          <ac:chgData name="Mariam Daniela Tristancho Pineda (PTA SAS)" userId="a45a17f7-7950-4cb5-bfab-f5c894f959a9" providerId="ADAL" clId="{7EBB4E1E-93A9-4035-834A-9A0B60182E9F}" dt="2020-10-06T20:02:08.177" v="2392" actId="1076"/>
          <ac:picMkLst>
            <pc:docMk/>
            <pc:sldMk cId="16616583" sldId="2134803697"/>
            <ac:picMk id="24" creationId="{5718E154-7845-40C6-BBF4-06E91DDB7B54}"/>
          </ac:picMkLst>
        </pc:picChg>
        <pc:picChg chg="mod">
          <ac:chgData name="Mariam Daniela Tristancho Pineda (PTA SAS)" userId="a45a17f7-7950-4cb5-bfab-f5c894f959a9" providerId="ADAL" clId="{7EBB4E1E-93A9-4035-834A-9A0B60182E9F}" dt="2020-10-06T20:02:08.177" v="2392" actId="1076"/>
          <ac:picMkLst>
            <pc:docMk/>
            <pc:sldMk cId="16616583" sldId="2134803697"/>
            <ac:picMk id="31" creationId="{A8E9EF51-64BE-4193-9FDF-A0683F838FC5}"/>
          </ac:picMkLst>
        </pc:picChg>
        <pc:picChg chg="mod">
          <ac:chgData name="Mariam Daniela Tristancho Pineda (PTA SAS)" userId="a45a17f7-7950-4cb5-bfab-f5c894f959a9" providerId="ADAL" clId="{7EBB4E1E-93A9-4035-834A-9A0B60182E9F}" dt="2020-10-06T20:02:08.177" v="2392" actId="1076"/>
          <ac:picMkLst>
            <pc:docMk/>
            <pc:sldMk cId="16616583" sldId="2134803697"/>
            <ac:picMk id="33" creationId="{E08C4F9D-FF5D-4BC7-87EE-58CF1AFAC0E8}"/>
          </ac:picMkLst>
        </pc:picChg>
      </pc:sldChg>
      <pc:sldChg chg="add setBg">
        <pc:chgData name="Mariam Daniela Tristancho Pineda (PTA SAS)" userId="a45a17f7-7950-4cb5-bfab-f5c894f959a9" providerId="ADAL" clId="{7EBB4E1E-93A9-4035-834A-9A0B60182E9F}" dt="2020-10-13T13:09:52.288" v="3694"/>
        <pc:sldMkLst>
          <pc:docMk/>
          <pc:sldMk cId="395424355" sldId="2134804070"/>
        </pc:sldMkLst>
      </pc:sldChg>
      <pc:sldChg chg="add setBg">
        <pc:chgData name="Mariam Daniela Tristancho Pineda (PTA SAS)" userId="a45a17f7-7950-4cb5-bfab-f5c894f959a9" providerId="ADAL" clId="{7EBB4E1E-93A9-4035-834A-9A0B60182E9F}" dt="2020-10-13T13:09:52.288" v="3694"/>
        <pc:sldMkLst>
          <pc:docMk/>
          <pc:sldMk cId="446426025" sldId="2134804071"/>
        </pc:sldMkLst>
      </pc:sldChg>
      <pc:sldChg chg="add setBg">
        <pc:chgData name="Mariam Daniela Tristancho Pineda (PTA SAS)" userId="a45a17f7-7950-4cb5-bfab-f5c894f959a9" providerId="ADAL" clId="{7EBB4E1E-93A9-4035-834A-9A0B60182E9F}" dt="2020-10-13T13:09:52.288" v="3694"/>
        <pc:sldMkLst>
          <pc:docMk/>
          <pc:sldMk cId="2724062261" sldId="2134804072"/>
        </pc:sldMkLst>
      </pc:sldChg>
      <pc:sldChg chg="add setBg">
        <pc:chgData name="Mariam Daniela Tristancho Pineda (PTA SAS)" userId="a45a17f7-7950-4cb5-bfab-f5c894f959a9" providerId="ADAL" clId="{7EBB4E1E-93A9-4035-834A-9A0B60182E9F}" dt="2020-10-13T13:09:52.288" v="3694"/>
        <pc:sldMkLst>
          <pc:docMk/>
          <pc:sldMk cId="2375134941" sldId="2134804073"/>
        </pc:sldMkLst>
      </pc:sldChg>
      <pc:sldChg chg="modSp add setBg">
        <pc:chgData name="Mariam Daniela Tristancho Pineda (PTA SAS)" userId="a45a17f7-7950-4cb5-bfab-f5c894f959a9" providerId="ADAL" clId="{7EBB4E1E-93A9-4035-834A-9A0B60182E9F}" dt="2020-10-13T22:08:58.147" v="3812" actId="1035"/>
        <pc:sldMkLst>
          <pc:docMk/>
          <pc:sldMk cId="1320800415" sldId="2134804075"/>
        </pc:sldMkLst>
        <pc:spChg chg="mod">
          <ac:chgData name="Mariam Daniela Tristancho Pineda (PTA SAS)" userId="a45a17f7-7950-4cb5-bfab-f5c894f959a9" providerId="ADAL" clId="{7EBB4E1E-93A9-4035-834A-9A0B60182E9F}" dt="2020-10-13T22:08:34.818" v="3795" actId="207"/>
          <ac:spMkLst>
            <pc:docMk/>
            <pc:sldMk cId="1320800415" sldId="2134804075"/>
            <ac:spMk id="4" creationId="{00000000-0000-0000-0000-000000000000}"/>
          </ac:spMkLst>
        </pc:spChg>
        <pc:spChg chg="mod">
          <ac:chgData name="Mariam Daniela Tristancho Pineda (PTA SAS)" userId="a45a17f7-7950-4cb5-bfab-f5c894f959a9" providerId="ADAL" clId="{7EBB4E1E-93A9-4035-834A-9A0B60182E9F}" dt="2020-10-13T22:08:34.818" v="3795" actId="207"/>
          <ac:spMkLst>
            <pc:docMk/>
            <pc:sldMk cId="1320800415" sldId="2134804075"/>
            <ac:spMk id="26" creationId="{41C60CC4-8F21-4A94-899E-F9BED2465B46}"/>
          </ac:spMkLst>
        </pc:spChg>
        <pc:spChg chg="mod">
          <ac:chgData name="Mariam Daniela Tristancho Pineda (PTA SAS)" userId="a45a17f7-7950-4cb5-bfab-f5c894f959a9" providerId="ADAL" clId="{7EBB4E1E-93A9-4035-834A-9A0B60182E9F}" dt="2020-10-13T22:08:34.818" v="3795" actId="207"/>
          <ac:spMkLst>
            <pc:docMk/>
            <pc:sldMk cId="1320800415" sldId="2134804075"/>
            <ac:spMk id="27" creationId="{B09DAB73-9D66-4BF9-9FA8-EB22DA8CC045}"/>
          </ac:spMkLst>
        </pc:spChg>
        <pc:spChg chg="mod">
          <ac:chgData name="Mariam Daniela Tristancho Pineda (PTA SAS)" userId="a45a17f7-7950-4cb5-bfab-f5c894f959a9" providerId="ADAL" clId="{7EBB4E1E-93A9-4035-834A-9A0B60182E9F}" dt="2020-10-13T22:08:34.818" v="3795" actId="207"/>
          <ac:spMkLst>
            <pc:docMk/>
            <pc:sldMk cId="1320800415" sldId="2134804075"/>
            <ac:spMk id="28" creationId="{1A8F65F1-8B69-4C88-9734-3D2EC5283736}"/>
          </ac:spMkLst>
        </pc:spChg>
        <pc:spChg chg="mod">
          <ac:chgData name="Mariam Daniela Tristancho Pineda (PTA SAS)" userId="a45a17f7-7950-4cb5-bfab-f5c894f959a9" providerId="ADAL" clId="{7EBB4E1E-93A9-4035-834A-9A0B60182E9F}" dt="2020-10-13T22:08:58.147" v="3812" actId="1035"/>
          <ac:spMkLst>
            <pc:docMk/>
            <pc:sldMk cId="1320800415" sldId="2134804075"/>
            <ac:spMk id="29" creationId="{DE7749AC-B21F-F74A-9936-82CE13690D80}"/>
          </ac:spMkLst>
        </pc:spChg>
        <pc:spChg chg="mod">
          <ac:chgData name="Mariam Daniela Tristancho Pineda (PTA SAS)" userId="a45a17f7-7950-4cb5-bfab-f5c894f959a9" providerId="ADAL" clId="{7EBB4E1E-93A9-4035-834A-9A0B60182E9F}" dt="2020-10-13T22:08:58.147" v="3812" actId="1035"/>
          <ac:spMkLst>
            <pc:docMk/>
            <pc:sldMk cId="1320800415" sldId="2134804075"/>
            <ac:spMk id="30" creationId="{D8D825EA-AC89-A549-B227-CB9867017ADB}"/>
          </ac:spMkLst>
        </pc:spChg>
        <pc:spChg chg="mod">
          <ac:chgData name="Mariam Daniela Tristancho Pineda (PTA SAS)" userId="a45a17f7-7950-4cb5-bfab-f5c894f959a9" providerId="ADAL" clId="{7EBB4E1E-93A9-4035-834A-9A0B60182E9F}" dt="2020-10-13T22:08:58.147" v="3812" actId="1035"/>
          <ac:spMkLst>
            <pc:docMk/>
            <pc:sldMk cId="1320800415" sldId="2134804075"/>
            <ac:spMk id="31" creationId="{3A045290-A7AF-8F42-8717-9132D3F106BE}"/>
          </ac:spMkLst>
        </pc:spChg>
        <pc:spChg chg="mod">
          <ac:chgData name="Mariam Daniela Tristancho Pineda (PTA SAS)" userId="a45a17f7-7950-4cb5-bfab-f5c894f959a9" providerId="ADAL" clId="{7EBB4E1E-93A9-4035-834A-9A0B60182E9F}" dt="2020-10-13T22:08:34.818" v="3795" actId="207"/>
          <ac:spMkLst>
            <pc:docMk/>
            <pc:sldMk cId="1320800415" sldId="2134804075"/>
            <ac:spMk id="32" creationId="{661D6835-C731-462C-90FA-17BC5369CA99}"/>
          </ac:spMkLst>
        </pc:spChg>
        <pc:spChg chg="mod">
          <ac:chgData name="Mariam Daniela Tristancho Pineda (PTA SAS)" userId="a45a17f7-7950-4cb5-bfab-f5c894f959a9" providerId="ADAL" clId="{7EBB4E1E-93A9-4035-834A-9A0B60182E9F}" dt="2020-10-13T22:08:34.818" v="3795" actId="207"/>
          <ac:spMkLst>
            <pc:docMk/>
            <pc:sldMk cId="1320800415" sldId="2134804075"/>
            <ac:spMk id="33" creationId="{48E778FA-E2B9-4634-AD9C-34CDF2D2DE15}"/>
          </ac:spMkLst>
        </pc:spChg>
        <pc:spChg chg="mod">
          <ac:chgData name="Mariam Daniela Tristancho Pineda (PTA SAS)" userId="a45a17f7-7950-4cb5-bfab-f5c894f959a9" providerId="ADAL" clId="{7EBB4E1E-93A9-4035-834A-9A0B60182E9F}" dt="2020-10-13T22:08:34.818" v="3795" actId="207"/>
          <ac:spMkLst>
            <pc:docMk/>
            <pc:sldMk cId="1320800415" sldId="2134804075"/>
            <ac:spMk id="34" creationId="{8BDBBEA5-166A-4010-A2AF-6511274F4CB0}"/>
          </ac:spMkLst>
        </pc:spChg>
        <pc:spChg chg="mod">
          <ac:chgData name="Mariam Daniela Tristancho Pineda (PTA SAS)" userId="a45a17f7-7950-4cb5-bfab-f5c894f959a9" providerId="ADAL" clId="{7EBB4E1E-93A9-4035-834A-9A0B60182E9F}" dt="2020-10-13T22:08:34.818" v="3795" actId="207"/>
          <ac:spMkLst>
            <pc:docMk/>
            <pc:sldMk cId="1320800415" sldId="2134804075"/>
            <ac:spMk id="35" creationId="{C74D3C78-DED7-4616-9017-9A799701DA17}"/>
          </ac:spMkLst>
        </pc:spChg>
        <pc:spChg chg="mod">
          <ac:chgData name="Mariam Daniela Tristancho Pineda (PTA SAS)" userId="a45a17f7-7950-4cb5-bfab-f5c894f959a9" providerId="ADAL" clId="{7EBB4E1E-93A9-4035-834A-9A0B60182E9F}" dt="2020-10-13T22:08:34.818" v="3795" actId="207"/>
          <ac:spMkLst>
            <pc:docMk/>
            <pc:sldMk cId="1320800415" sldId="2134804075"/>
            <ac:spMk id="36" creationId="{21D1BD67-2981-4F4F-8B83-6A36BB16CFA2}"/>
          </ac:spMkLst>
        </pc:spChg>
        <pc:spChg chg="mod">
          <ac:chgData name="Mariam Daniela Tristancho Pineda (PTA SAS)" userId="a45a17f7-7950-4cb5-bfab-f5c894f959a9" providerId="ADAL" clId="{7EBB4E1E-93A9-4035-834A-9A0B60182E9F}" dt="2020-10-13T22:08:34.818" v="3795" actId="207"/>
          <ac:spMkLst>
            <pc:docMk/>
            <pc:sldMk cId="1320800415" sldId="2134804075"/>
            <ac:spMk id="37" creationId="{BA0664B6-B5D4-48D2-96BE-896AA299AD73}"/>
          </ac:spMkLst>
        </pc:spChg>
        <pc:spChg chg="mod">
          <ac:chgData name="Mariam Daniela Tristancho Pineda (PTA SAS)" userId="a45a17f7-7950-4cb5-bfab-f5c894f959a9" providerId="ADAL" clId="{7EBB4E1E-93A9-4035-834A-9A0B60182E9F}" dt="2020-10-13T22:08:34.818" v="3795" actId="207"/>
          <ac:spMkLst>
            <pc:docMk/>
            <pc:sldMk cId="1320800415" sldId="2134804075"/>
            <ac:spMk id="45" creationId="{5C0B0279-9920-41E9-A75F-F322E1550932}"/>
          </ac:spMkLst>
        </pc:spChg>
        <pc:spChg chg="mod">
          <ac:chgData name="Mariam Daniela Tristancho Pineda (PTA SAS)" userId="a45a17f7-7950-4cb5-bfab-f5c894f959a9" providerId="ADAL" clId="{7EBB4E1E-93A9-4035-834A-9A0B60182E9F}" dt="2020-10-13T22:08:34.818" v="3795" actId="207"/>
          <ac:spMkLst>
            <pc:docMk/>
            <pc:sldMk cId="1320800415" sldId="2134804075"/>
            <ac:spMk id="46" creationId="{FCA85588-CC45-4481-94AC-6ED05B7D59D5}"/>
          </ac:spMkLst>
        </pc:spChg>
        <pc:spChg chg="mod">
          <ac:chgData name="Mariam Daniela Tristancho Pineda (PTA SAS)" userId="a45a17f7-7950-4cb5-bfab-f5c894f959a9" providerId="ADAL" clId="{7EBB4E1E-93A9-4035-834A-9A0B60182E9F}" dt="2020-10-13T22:08:34.818" v="3795" actId="207"/>
          <ac:spMkLst>
            <pc:docMk/>
            <pc:sldMk cId="1320800415" sldId="2134804075"/>
            <ac:spMk id="47" creationId="{3C6EC40D-31B2-4ADD-A814-6366E18E7F45}"/>
          </ac:spMkLst>
        </pc:spChg>
        <pc:spChg chg="mod">
          <ac:chgData name="Mariam Daniela Tristancho Pineda (PTA SAS)" userId="a45a17f7-7950-4cb5-bfab-f5c894f959a9" providerId="ADAL" clId="{7EBB4E1E-93A9-4035-834A-9A0B60182E9F}" dt="2020-10-13T22:08:58.147" v="3812" actId="1035"/>
          <ac:spMkLst>
            <pc:docMk/>
            <pc:sldMk cId="1320800415" sldId="2134804075"/>
            <ac:spMk id="49" creationId="{5EE2707E-CFB4-AB46-A73B-D4052755E8E7}"/>
          </ac:spMkLst>
        </pc:spChg>
        <pc:spChg chg="mod">
          <ac:chgData name="Mariam Daniela Tristancho Pineda (PTA SAS)" userId="a45a17f7-7950-4cb5-bfab-f5c894f959a9" providerId="ADAL" clId="{7EBB4E1E-93A9-4035-834A-9A0B60182E9F}" dt="2020-10-13T22:08:58.147" v="3812" actId="1035"/>
          <ac:spMkLst>
            <pc:docMk/>
            <pc:sldMk cId="1320800415" sldId="2134804075"/>
            <ac:spMk id="50" creationId="{2D77FE62-110E-5446-BDEA-ABFC1959E8E5}"/>
          </ac:spMkLst>
        </pc:spChg>
        <pc:spChg chg="mod">
          <ac:chgData name="Mariam Daniela Tristancho Pineda (PTA SAS)" userId="a45a17f7-7950-4cb5-bfab-f5c894f959a9" providerId="ADAL" clId="{7EBB4E1E-93A9-4035-834A-9A0B60182E9F}" dt="2020-10-13T22:08:58.147" v="3812" actId="1035"/>
          <ac:spMkLst>
            <pc:docMk/>
            <pc:sldMk cId="1320800415" sldId="2134804075"/>
            <ac:spMk id="51" creationId="{7B889A2E-2B97-5A44-AE35-AEC6619F2CDE}"/>
          </ac:spMkLst>
        </pc:spChg>
        <pc:spChg chg="mod">
          <ac:chgData name="Mariam Daniela Tristancho Pineda (PTA SAS)" userId="a45a17f7-7950-4cb5-bfab-f5c894f959a9" providerId="ADAL" clId="{7EBB4E1E-93A9-4035-834A-9A0B60182E9F}" dt="2020-10-13T22:08:58.147" v="3812" actId="1035"/>
          <ac:spMkLst>
            <pc:docMk/>
            <pc:sldMk cId="1320800415" sldId="2134804075"/>
            <ac:spMk id="52" creationId="{489D07ED-5871-484E-8E46-7001FC9BCC28}"/>
          </ac:spMkLst>
        </pc:spChg>
        <pc:spChg chg="mod">
          <ac:chgData name="Mariam Daniela Tristancho Pineda (PTA SAS)" userId="a45a17f7-7950-4cb5-bfab-f5c894f959a9" providerId="ADAL" clId="{7EBB4E1E-93A9-4035-834A-9A0B60182E9F}" dt="2020-10-13T22:08:58.147" v="3812" actId="1035"/>
          <ac:spMkLst>
            <pc:docMk/>
            <pc:sldMk cId="1320800415" sldId="2134804075"/>
            <ac:spMk id="53" creationId="{28640510-9B15-444C-BA72-E584D72068C0}"/>
          </ac:spMkLst>
        </pc:spChg>
        <pc:spChg chg="mod">
          <ac:chgData name="Mariam Daniela Tristancho Pineda (PTA SAS)" userId="a45a17f7-7950-4cb5-bfab-f5c894f959a9" providerId="ADAL" clId="{7EBB4E1E-93A9-4035-834A-9A0B60182E9F}" dt="2020-10-13T22:08:58.147" v="3812" actId="1035"/>
          <ac:spMkLst>
            <pc:docMk/>
            <pc:sldMk cId="1320800415" sldId="2134804075"/>
            <ac:spMk id="54" creationId="{EACAD8BA-4D8E-E746-80FD-04A852D89B90}"/>
          </ac:spMkLst>
        </pc:spChg>
        <pc:spChg chg="mod">
          <ac:chgData name="Mariam Daniela Tristancho Pineda (PTA SAS)" userId="a45a17f7-7950-4cb5-bfab-f5c894f959a9" providerId="ADAL" clId="{7EBB4E1E-93A9-4035-834A-9A0B60182E9F}" dt="2020-10-13T22:08:58.147" v="3812" actId="1035"/>
          <ac:spMkLst>
            <pc:docMk/>
            <pc:sldMk cId="1320800415" sldId="2134804075"/>
            <ac:spMk id="55" creationId="{9C1007CA-D144-1549-8C71-64F24B834ABC}"/>
          </ac:spMkLst>
        </pc:spChg>
        <pc:spChg chg="mod">
          <ac:chgData name="Mariam Daniela Tristancho Pineda (PTA SAS)" userId="a45a17f7-7950-4cb5-bfab-f5c894f959a9" providerId="ADAL" clId="{7EBB4E1E-93A9-4035-834A-9A0B60182E9F}" dt="2020-10-13T22:08:58.147" v="3812" actId="1035"/>
          <ac:spMkLst>
            <pc:docMk/>
            <pc:sldMk cId="1320800415" sldId="2134804075"/>
            <ac:spMk id="57" creationId="{DF0E8961-84A4-C749-AA4D-5C843DA4EBB2}"/>
          </ac:spMkLst>
        </pc:spChg>
        <pc:spChg chg="mod">
          <ac:chgData name="Mariam Daniela Tristancho Pineda (PTA SAS)" userId="a45a17f7-7950-4cb5-bfab-f5c894f959a9" providerId="ADAL" clId="{7EBB4E1E-93A9-4035-834A-9A0B60182E9F}" dt="2020-10-13T22:08:58.147" v="3812" actId="1035"/>
          <ac:spMkLst>
            <pc:docMk/>
            <pc:sldMk cId="1320800415" sldId="2134804075"/>
            <ac:spMk id="60" creationId="{975FDAD8-21A7-6A4D-A6AC-95588297866B}"/>
          </ac:spMkLst>
        </pc:spChg>
        <pc:spChg chg="mod">
          <ac:chgData name="Mariam Daniela Tristancho Pineda (PTA SAS)" userId="a45a17f7-7950-4cb5-bfab-f5c894f959a9" providerId="ADAL" clId="{7EBB4E1E-93A9-4035-834A-9A0B60182E9F}" dt="2020-10-13T22:08:58.147" v="3812" actId="1035"/>
          <ac:spMkLst>
            <pc:docMk/>
            <pc:sldMk cId="1320800415" sldId="2134804075"/>
            <ac:spMk id="63" creationId="{C9E2DFA8-404F-0141-B6D1-C69F3B58DCE5}"/>
          </ac:spMkLst>
        </pc:spChg>
        <pc:spChg chg="mod">
          <ac:chgData name="Mariam Daniela Tristancho Pineda (PTA SAS)" userId="a45a17f7-7950-4cb5-bfab-f5c894f959a9" providerId="ADAL" clId="{7EBB4E1E-93A9-4035-834A-9A0B60182E9F}" dt="2020-10-13T22:08:58.147" v="3812" actId="1035"/>
          <ac:spMkLst>
            <pc:docMk/>
            <pc:sldMk cId="1320800415" sldId="2134804075"/>
            <ac:spMk id="66" creationId="{5BACB924-5AC1-1849-92FE-D8CF5B33EB7B}"/>
          </ac:spMkLst>
        </pc:spChg>
        <pc:spChg chg="mod">
          <ac:chgData name="Mariam Daniela Tristancho Pineda (PTA SAS)" userId="a45a17f7-7950-4cb5-bfab-f5c894f959a9" providerId="ADAL" clId="{7EBB4E1E-93A9-4035-834A-9A0B60182E9F}" dt="2020-10-13T22:08:58.147" v="3812" actId="1035"/>
          <ac:spMkLst>
            <pc:docMk/>
            <pc:sldMk cId="1320800415" sldId="2134804075"/>
            <ac:spMk id="68" creationId="{129D3683-FFBE-DC4E-B34C-888F70A8B861}"/>
          </ac:spMkLst>
        </pc:spChg>
        <pc:spChg chg="mod">
          <ac:chgData name="Mariam Daniela Tristancho Pineda (PTA SAS)" userId="a45a17f7-7950-4cb5-bfab-f5c894f959a9" providerId="ADAL" clId="{7EBB4E1E-93A9-4035-834A-9A0B60182E9F}" dt="2020-10-13T22:08:58.147" v="3812" actId="1035"/>
          <ac:spMkLst>
            <pc:docMk/>
            <pc:sldMk cId="1320800415" sldId="2134804075"/>
            <ac:spMk id="69" creationId="{BC80F819-71E5-5D49-A1AF-4791EDB494A7}"/>
          </ac:spMkLst>
        </pc:spChg>
        <pc:spChg chg="mod">
          <ac:chgData name="Mariam Daniela Tristancho Pineda (PTA SAS)" userId="a45a17f7-7950-4cb5-bfab-f5c894f959a9" providerId="ADAL" clId="{7EBB4E1E-93A9-4035-834A-9A0B60182E9F}" dt="2020-10-13T22:08:58.147" v="3812" actId="1035"/>
          <ac:spMkLst>
            <pc:docMk/>
            <pc:sldMk cId="1320800415" sldId="2134804075"/>
            <ac:spMk id="70" creationId="{5FA102A2-EE1A-4445-AE2E-85B6EC857B6C}"/>
          </ac:spMkLst>
        </pc:spChg>
        <pc:spChg chg="mod">
          <ac:chgData name="Mariam Daniela Tristancho Pineda (PTA SAS)" userId="a45a17f7-7950-4cb5-bfab-f5c894f959a9" providerId="ADAL" clId="{7EBB4E1E-93A9-4035-834A-9A0B60182E9F}" dt="2020-10-13T22:08:58.147" v="3812" actId="1035"/>
          <ac:spMkLst>
            <pc:docMk/>
            <pc:sldMk cId="1320800415" sldId="2134804075"/>
            <ac:spMk id="71" creationId="{58F48FF1-F0B7-3445-AA1E-1DFF682E1250}"/>
          </ac:spMkLst>
        </pc:spChg>
        <pc:grpChg chg="mod">
          <ac:chgData name="Mariam Daniela Tristancho Pineda (PTA SAS)" userId="a45a17f7-7950-4cb5-bfab-f5c894f959a9" providerId="ADAL" clId="{7EBB4E1E-93A9-4035-834A-9A0B60182E9F}" dt="2020-10-13T22:08:34.818" v="3795" actId="207"/>
          <ac:grpSpMkLst>
            <pc:docMk/>
            <pc:sldMk cId="1320800415" sldId="2134804075"/>
            <ac:grpSpMk id="6" creationId="{A72F983A-409D-41E6-908B-3F12DE29852B}"/>
          </ac:grpSpMkLst>
        </pc:grpChg>
        <pc:grpChg chg="mod">
          <ac:chgData name="Mariam Daniela Tristancho Pineda (PTA SAS)" userId="a45a17f7-7950-4cb5-bfab-f5c894f959a9" providerId="ADAL" clId="{7EBB4E1E-93A9-4035-834A-9A0B60182E9F}" dt="2020-10-13T22:08:34.818" v="3795" actId="207"/>
          <ac:grpSpMkLst>
            <pc:docMk/>
            <pc:sldMk cId="1320800415" sldId="2134804075"/>
            <ac:grpSpMk id="39" creationId="{6FE9CD71-401C-4A51-8A1A-FCE65987984F}"/>
          </ac:grpSpMkLst>
        </pc:grpChg>
        <pc:grpChg chg="mod">
          <ac:chgData name="Mariam Daniela Tristancho Pineda (PTA SAS)" userId="a45a17f7-7950-4cb5-bfab-f5c894f959a9" providerId="ADAL" clId="{7EBB4E1E-93A9-4035-834A-9A0B60182E9F}" dt="2020-10-13T22:08:34.818" v="3795" actId="207"/>
          <ac:grpSpMkLst>
            <pc:docMk/>
            <pc:sldMk cId="1320800415" sldId="2134804075"/>
            <ac:grpSpMk id="42" creationId="{0843074A-8160-4458-9A7B-68E088F3A8B5}"/>
          </ac:grpSpMkLst>
        </pc:grpChg>
        <pc:grpChg chg="mod">
          <ac:chgData name="Mariam Daniela Tristancho Pineda (PTA SAS)" userId="a45a17f7-7950-4cb5-bfab-f5c894f959a9" providerId="ADAL" clId="{7EBB4E1E-93A9-4035-834A-9A0B60182E9F}" dt="2020-10-13T22:08:58.147" v="3812" actId="1035"/>
          <ac:grpSpMkLst>
            <pc:docMk/>
            <pc:sldMk cId="1320800415" sldId="2134804075"/>
            <ac:grpSpMk id="56" creationId="{9FB0B59F-E743-834D-8DF1-41717AD17EBC}"/>
          </ac:grpSpMkLst>
        </pc:grpChg>
        <pc:grpChg chg="mod">
          <ac:chgData name="Mariam Daniela Tristancho Pineda (PTA SAS)" userId="a45a17f7-7950-4cb5-bfab-f5c894f959a9" providerId="ADAL" clId="{7EBB4E1E-93A9-4035-834A-9A0B60182E9F}" dt="2020-10-13T22:08:58.147" v="3812" actId="1035"/>
          <ac:grpSpMkLst>
            <pc:docMk/>
            <pc:sldMk cId="1320800415" sldId="2134804075"/>
            <ac:grpSpMk id="59" creationId="{518DE169-869D-0A42-876B-E8F290D25524}"/>
          </ac:grpSpMkLst>
        </pc:grpChg>
        <pc:grpChg chg="mod">
          <ac:chgData name="Mariam Daniela Tristancho Pineda (PTA SAS)" userId="a45a17f7-7950-4cb5-bfab-f5c894f959a9" providerId="ADAL" clId="{7EBB4E1E-93A9-4035-834A-9A0B60182E9F}" dt="2020-10-13T22:08:58.147" v="3812" actId="1035"/>
          <ac:grpSpMkLst>
            <pc:docMk/>
            <pc:sldMk cId="1320800415" sldId="2134804075"/>
            <ac:grpSpMk id="62" creationId="{B95B5B7C-3907-DD4F-8263-EB49ECB0C8B3}"/>
          </ac:grpSpMkLst>
        </pc:grpChg>
        <pc:grpChg chg="mod">
          <ac:chgData name="Mariam Daniela Tristancho Pineda (PTA SAS)" userId="a45a17f7-7950-4cb5-bfab-f5c894f959a9" providerId="ADAL" clId="{7EBB4E1E-93A9-4035-834A-9A0B60182E9F}" dt="2020-10-13T22:08:58.147" v="3812" actId="1035"/>
          <ac:grpSpMkLst>
            <pc:docMk/>
            <pc:sldMk cId="1320800415" sldId="2134804075"/>
            <ac:grpSpMk id="65" creationId="{8A0C5DEE-3F7B-3041-9543-73B2450E74A5}"/>
          </ac:grpSpMkLst>
        </pc:grpChg>
        <pc:picChg chg="mod">
          <ac:chgData name="Mariam Daniela Tristancho Pineda (PTA SAS)" userId="a45a17f7-7950-4cb5-bfab-f5c894f959a9" providerId="ADAL" clId="{7EBB4E1E-93A9-4035-834A-9A0B60182E9F}" dt="2020-10-13T22:08:34.818" v="3795" actId="207"/>
          <ac:picMkLst>
            <pc:docMk/>
            <pc:sldMk cId="1320800415" sldId="2134804075"/>
            <ac:picMk id="2" creationId="{00000000-0000-0000-0000-000000000000}"/>
          </ac:picMkLst>
        </pc:picChg>
        <pc:picChg chg="mod">
          <ac:chgData name="Mariam Daniela Tristancho Pineda (PTA SAS)" userId="a45a17f7-7950-4cb5-bfab-f5c894f959a9" providerId="ADAL" clId="{7EBB4E1E-93A9-4035-834A-9A0B60182E9F}" dt="2020-10-13T22:08:58.147" v="3812" actId="1035"/>
          <ac:picMkLst>
            <pc:docMk/>
            <pc:sldMk cId="1320800415" sldId="2134804075"/>
            <ac:picMk id="58" creationId="{B7183846-7257-184D-A7C4-395AA49884E8}"/>
          </ac:picMkLst>
        </pc:picChg>
        <pc:picChg chg="mod">
          <ac:chgData name="Mariam Daniela Tristancho Pineda (PTA SAS)" userId="a45a17f7-7950-4cb5-bfab-f5c894f959a9" providerId="ADAL" clId="{7EBB4E1E-93A9-4035-834A-9A0B60182E9F}" dt="2020-10-13T22:08:58.147" v="3812" actId="1035"/>
          <ac:picMkLst>
            <pc:docMk/>
            <pc:sldMk cId="1320800415" sldId="2134804075"/>
            <ac:picMk id="61" creationId="{1BBA2E49-1CD3-F843-85D4-33FE883E7ADC}"/>
          </ac:picMkLst>
        </pc:picChg>
        <pc:picChg chg="mod">
          <ac:chgData name="Mariam Daniela Tristancho Pineda (PTA SAS)" userId="a45a17f7-7950-4cb5-bfab-f5c894f959a9" providerId="ADAL" clId="{7EBB4E1E-93A9-4035-834A-9A0B60182E9F}" dt="2020-10-13T22:08:58.147" v="3812" actId="1035"/>
          <ac:picMkLst>
            <pc:docMk/>
            <pc:sldMk cId="1320800415" sldId="2134804075"/>
            <ac:picMk id="64" creationId="{D44642B9-DDFA-AD44-8E9D-A74456007256}"/>
          </ac:picMkLst>
        </pc:picChg>
        <pc:picChg chg="mod">
          <ac:chgData name="Mariam Daniela Tristancho Pineda (PTA SAS)" userId="a45a17f7-7950-4cb5-bfab-f5c894f959a9" providerId="ADAL" clId="{7EBB4E1E-93A9-4035-834A-9A0B60182E9F}" dt="2020-10-13T22:08:58.147" v="3812" actId="1035"/>
          <ac:picMkLst>
            <pc:docMk/>
            <pc:sldMk cId="1320800415" sldId="2134804075"/>
            <ac:picMk id="67" creationId="{4CD38717-5EC0-7E44-B9DB-2C48EE78E5E4}"/>
          </ac:picMkLst>
        </pc:picChg>
      </pc:sldChg>
      <pc:sldChg chg="add">
        <pc:chgData name="Mariam Daniela Tristancho Pineda (PTA SAS)" userId="a45a17f7-7950-4cb5-bfab-f5c894f959a9" providerId="ADAL" clId="{7EBB4E1E-93A9-4035-834A-9A0B60182E9F}" dt="2020-10-13T13:09:52.288" v="3694"/>
        <pc:sldMkLst>
          <pc:docMk/>
          <pc:sldMk cId="597079781" sldId="2134804076"/>
        </pc:sldMkLst>
      </pc:sldChg>
      <pc:sldChg chg="add">
        <pc:chgData name="Mariam Daniela Tristancho Pineda (PTA SAS)" userId="a45a17f7-7950-4cb5-bfab-f5c894f959a9" providerId="ADAL" clId="{7EBB4E1E-93A9-4035-834A-9A0B60182E9F}" dt="2020-10-13T23:32:25.113" v="3839"/>
        <pc:sldMkLst>
          <pc:docMk/>
          <pc:sldMk cId="1040105421" sldId="2134804100"/>
        </pc:sldMkLst>
      </pc:sldChg>
      <pc:sldChg chg="modSp add del mod">
        <pc:chgData name="Mariam Daniela Tristancho Pineda (PTA SAS)" userId="a45a17f7-7950-4cb5-bfab-f5c894f959a9" providerId="ADAL" clId="{7EBB4E1E-93A9-4035-834A-9A0B60182E9F}" dt="2020-10-14T13:10:17.754" v="3860" actId="1035"/>
        <pc:sldMkLst>
          <pc:docMk/>
          <pc:sldMk cId="1031404069" sldId="2134804123"/>
        </pc:sldMkLst>
        <pc:spChg chg="mod">
          <ac:chgData name="Mariam Daniela Tristancho Pineda (PTA SAS)" userId="a45a17f7-7950-4cb5-bfab-f5c894f959a9" providerId="ADAL" clId="{7EBB4E1E-93A9-4035-834A-9A0B60182E9F}" dt="2020-10-14T13:10:17.754" v="3860" actId="1035"/>
          <ac:spMkLst>
            <pc:docMk/>
            <pc:sldMk cId="1031404069" sldId="2134804123"/>
            <ac:spMk id="14" creationId="{F8D15426-29DE-4884-815F-5CC281E0DDFC}"/>
          </ac:spMkLst>
        </pc:spChg>
        <pc:spChg chg="mod">
          <ac:chgData name="Mariam Daniela Tristancho Pineda (PTA SAS)" userId="a45a17f7-7950-4cb5-bfab-f5c894f959a9" providerId="ADAL" clId="{7EBB4E1E-93A9-4035-834A-9A0B60182E9F}" dt="2020-10-14T13:10:17.754" v="3860" actId="1035"/>
          <ac:spMkLst>
            <pc:docMk/>
            <pc:sldMk cId="1031404069" sldId="2134804123"/>
            <ac:spMk id="35" creationId="{4BBC80FA-AE9B-4EFD-8C69-D0C87D5A24AA}"/>
          </ac:spMkLst>
        </pc:spChg>
        <pc:spChg chg="mod">
          <ac:chgData name="Mariam Daniela Tristancho Pineda (PTA SAS)" userId="a45a17f7-7950-4cb5-bfab-f5c894f959a9" providerId="ADAL" clId="{7EBB4E1E-93A9-4035-834A-9A0B60182E9F}" dt="2020-10-14T13:10:17.754" v="3860" actId="1035"/>
          <ac:spMkLst>
            <pc:docMk/>
            <pc:sldMk cId="1031404069" sldId="2134804123"/>
            <ac:spMk id="36" creationId="{A8CCD230-7513-45BF-A4D7-EEA0DEB4FEE7}"/>
          </ac:spMkLst>
        </pc:spChg>
        <pc:spChg chg="mod">
          <ac:chgData name="Mariam Daniela Tristancho Pineda (PTA SAS)" userId="a45a17f7-7950-4cb5-bfab-f5c894f959a9" providerId="ADAL" clId="{7EBB4E1E-93A9-4035-834A-9A0B60182E9F}" dt="2020-10-14T13:10:17.754" v="3860" actId="1035"/>
          <ac:spMkLst>
            <pc:docMk/>
            <pc:sldMk cId="1031404069" sldId="2134804123"/>
            <ac:spMk id="37" creationId="{C1129307-C441-4103-8F2C-64B0177282CE}"/>
          </ac:spMkLst>
        </pc:spChg>
        <pc:graphicFrameChg chg="mod">
          <ac:chgData name="Mariam Daniela Tristancho Pineda (PTA SAS)" userId="a45a17f7-7950-4cb5-bfab-f5c894f959a9" providerId="ADAL" clId="{7EBB4E1E-93A9-4035-834A-9A0B60182E9F}" dt="2020-10-14T13:10:17.754" v="3860" actId="1035"/>
          <ac:graphicFrameMkLst>
            <pc:docMk/>
            <pc:sldMk cId="1031404069" sldId="2134804123"/>
            <ac:graphicFrameMk id="7" creationId="{C6F21275-9EE6-4A4B-A157-C50FC5B75F82}"/>
          </ac:graphicFrameMkLst>
        </pc:graphicFrameChg>
        <pc:graphicFrameChg chg="mod">
          <ac:chgData name="Mariam Daniela Tristancho Pineda (PTA SAS)" userId="a45a17f7-7950-4cb5-bfab-f5c894f959a9" providerId="ADAL" clId="{7EBB4E1E-93A9-4035-834A-9A0B60182E9F}" dt="2020-10-14T13:10:17.754" v="3860" actId="1035"/>
          <ac:graphicFrameMkLst>
            <pc:docMk/>
            <pc:sldMk cId="1031404069" sldId="2134804123"/>
            <ac:graphicFrameMk id="16" creationId="{30D639FB-611B-4AED-98C5-92ABDDCBD586}"/>
          </ac:graphicFrameMkLst>
        </pc:graphicFrameChg>
        <pc:graphicFrameChg chg="mod">
          <ac:chgData name="Mariam Daniela Tristancho Pineda (PTA SAS)" userId="a45a17f7-7950-4cb5-bfab-f5c894f959a9" providerId="ADAL" clId="{7EBB4E1E-93A9-4035-834A-9A0B60182E9F}" dt="2020-10-14T13:10:17.754" v="3860" actId="1035"/>
          <ac:graphicFrameMkLst>
            <pc:docMk/>
            <pc:sldMk cId="1031404069" sldId="2134804123"/>
            <ac:graphicFrameMk id="19" creationId="{CEA21B80-4DCD-4314-8EF4-BD3D1CAFE2A2}"/>
          </ac:graphicFrameMkLst>
        </pc:graphicFrameChg>
        <pc:graphicFrameChg chg="mod">
          <ac:chgData name="Mariam Daniela Tristancho Pineda (PTA SAS)" userId="a45a17f7-7950-4cb5-bfab-f5c894f959a9" providerId="ADAL" clId="{7EBB4E1E-93A9-4035-834A-9A0B60182E9F}" dt="2020-10-14T13:10:17.754" v="3860" actId="1035"/>
          <ac:graphicFrameMkLst>
            <pc:docMk/>
            <pc:sldMk cId="1031404069" sldId="2134804123"/>
            <ac:graphicFrameMk id="32" creationId="{DCA44B8C-50B5-485F-809C-4361E59B3802}"/>
          </ac:graphicFrameMkLst>
        </pc:graphicFrameChg>
        <pc:graphicFrameChg chg="mod">
          <ac:chgData name="Mariam Daniela Tristancho Pineda (PTA SAS)" userId="a45a17f7-7950-4cb5-bfab-f5c894f959a9" providerId="ADAL" clId="{7EBB4E1E-93A9-4035-834A-9A0B60182E9F}" dt="2020-10-14T13:10:17.754" v="3860" actId="1035"/>
          <ac:graphicFrameMkLst>
            <pc:docMk/>
            <pc:sldMk cId="1031404069" sldId="2134804123"/>
            <ac:graphicFrameMk id="33" creationId="{9A365877-2D7F-454C-AB52-29BB309627C8}"/>
          </ac:graphicFrameMkLst>
        </pc:graphicFrameChg>
      </pc:sldChg>
      <pc:sldChg chg="add">
        <pc:chgData name="Mariam Daniela Tristancho Pineda (PTA SAS)" userId="a45a17f7-7950-4cb5-bfab-f5c894f959a9" providerId="ADAL" clId="{7EBB4E1E-93A9-4035-834A-9A0B60182E9F}" dt="2020-10-13T22:27:49.844" v="3825"/>
        <pc:sldMkLst>
          <pc:docMk/>
          <pc:sldMk cId="2538609344" sldId="2134804169"/>
        </pc:sldMkLst>
      </pc:sldChg>
      <pc:sldChg chg="add">
        <pc:chgData name="Mariam Daniela Tristancho Pineda (PTA SAS)" userId="a45a17f7-7950-4cb5-bfab-f5c894f959a9" providerId="ADAL" clId="{7EBB4E1E-93A9-4035-834A-9A0B60182E9F}" dt="2020-10-13T23:32:25.113" v="3839"/>
        <pc:sldMkLst>
          <pc:docMk/>
          <pc:sldMk cId="3258791362" sldId="2134804198"/>
        </pc:sldMkLst>
      </pc:sldChg>
      <pc:sldChg chg="modSp del mod">
        <pc:chgData name="Mariam Daniela Tristancho Pineda (PTA SAS)" userId="a45a17f7-7950-4cb5-bfab-f5c894f959a9" providerId="ADAL" clId="{7EBB4E1E-93A9-4035-834A-9A0B60182E9F}" dt="2020-10-06T13:38:13.802" v="361" actId="47"/>
        <pc:sldMkLst>
          <pc:docMk/>
          <pc:sldMk cId="1980531121" sldId="2134804273"/>
        </pc:sldMkLst>
        <pc:spChg chg="mod">
          <ac:chgData name="Mariam Daniela Tristancho Pineda (PTA SAS)" userId="a45a17f7-7950-4cb5-bfab-f5c894f959a9" providerId="ADAL" clId="{7EBB4E1E-93A9-4035-834A-9A0B60182E9F}" dt="2020-10-06T13:22:44.712" v="124" actId="403"/>
          <ac:spMkLst>
            <pc:docMk/>
            <pc:sldMk cId="1980531121" sldId="2134804273"/>
            <ac:spMk id="2" creationId="{6431BBCF-96E5-45A7-B7E5-D44090D06329}"/>
          </ac:spMkLst>
        </pc:spChg>
        <pc:spChg chg="mod">
          <ac:chgData name="Mariam Daniela Tristancho Pineda (PTA SAS)" userId="a45a17f7-7950-4cb5-bfab-f5c894f959a9" providerId="ADAL" clId="{7EBB4E1E-93A9-4035-834A-9A0B60182E9F}" dt="2020-10-06T13:22:48.555" v="125" actId="1076"/>
          <ac:spMkLst>
            <pc:docMk/>
            <pc:sldMk cId="1980531121" sldId="2134804273"/>
            <ac:spMk id="4" creationId="{E6E021D8-A542-413B-9FE4-DE0D70989372}"/>
          </ac:spMkLst>
        </pc:spChg>
      </pc:sldChg>
      <pc:sldChg chg="add ord">
        <pc:chgData name="Mariam Daniela Tristancho Pineda (PTA SAS)" userId="a45a17f7-7950-4cb5-bfab-f5c894f959a9" providerId="ADAL" clId="{7EBB4E1E-93A9-4035-834A-9A0B60182E9F}" dt="2020-10-13T22:11:23.028" v="3820"/>
        <pc:sldMkLst>
          <pc:docMk/>
          <pc:sldMk cId="2072566269" sldId="2134804278"/>
        </pc:sldMkLst>
      </pc:sldChg>
      <pc:sldChg chg="add">
        <pc:chgData name="Mariam Daniela Tristancho Pineda (PTA SAS)" userId="a45a17f7-7950-4cb5-bfab-f5c894f959a9" providerId="ADAL" clId="{7EBB4E1E-93A9-4035-834A-9A0B60182E9F}" dt="2020-10-13T13:09:52.288" v="3694"/>
        <pc:sldMkLst>
          <pc:docMk/>
          <pc:sldMk cId="1172075570" sldId="2134804279"/>
        </pc:sldMkLst>
      </pc:sldChg>
      <pc:sldChg chg="add">
        <pc:chgData name="Mariam Daniela Tristancho Pineda (PTA SAS)" userId="a45a17f7-7950-4cb5-bfab-f5c894f959a9" providerId="ADAL" clId="{7EBB4E1E-93A9-4035-834A-9A0B60182E9F}" dt="2020-10-13T13:09:52.288" v="3694"/>
        <pc:sldMkLst>
          <pc:docMk/>
          <pc:sldMk cId="4121589136" sldId="2134804280"/>
        </pc:sldMkLst>
      </pc:sldChg>
      <pc:sldChg chg="modSp del mod">
        <pc:chgData name="Mariam Daniela Tristancho Pineda (PTA SAS)" userId="a45a17f7-7950-4cb5-bfab-f5c894f959a9" providerId="ADAL" clId="{7EBB4E1E-93A9-4035-834A-9A0B60182E9F}" dt="2020-10-06T13:43:35.032" v="485" actId="47"/>
        <pc:sldMkLst>
          <pc:docMk/>
          <pc:sldMk cId="383958496" sldId="2134804281"/>
        </pc:sldMkLst>
        <pc:spChg chg="mod">
          <ac:chgData name="Mariam Daniela Tristancho Pineda (PTA SAS)" userId="a45a17f7-7950-4cb5-bfab-f5c894f959a9" providerId="ADAL" clId="{7EBB4E1E-93A9-4035-834A-9A0B60182E9F}" dt="2020-10-06T13:36:47.325" v="359" actId="20577"/>
          <ac:spMkLst>
            <pc:docMk/>
            <pc:sldMk cId="383958496" sldId="2134804281"/>
            <ac:spMk id="20" creationId="{92C8D133-E6D8-4045-B204-E026C5621093}"/>
          </ac:spMkLst>
        </pc:spChg>
      </pc:sldChg>
      <pc:sldChg chg="add">
        <pc:chgData name="Mariam Daniela Tristancho Pineda (PTA SAS)" userId="a45a17f7-7950-4cb5-bfab-f5c894f959a9" providerId="ADAL" clId="{7EBB4E1E-93A9-4035-834A-9A0B60182E9F}" dt="2020-10-13T13:09:52.288" v="3694"/>
        <pc:sldMkLst>
          <pc:docMk/>
          <pc:sldMk cId="873099499" sldId="2134804281"/>
        </pc:sldMkLst>
      </pc:sldChg>
      <pc:sldChg chg="modSp add del mod">
        <pc:chgData name="Mariam Daniela Tristancho Pineda (PTA SAS)" userId="a45a17f7-7950-4cb5-bfab-f5c894f959a9" providerId="ADAL" clId="{7EBB4E1E-93A9-4035-834A-9A0B60182E9F}" dt="2020-10-06T13:56:14.455" v="553" actId="47"/>
        <pc:sldMkLst>
          <pc:docMk/>
          <pc:sldMk cId="1822149763" sldId="2134804293"/>
        </pc:sldMkLst>
        <pc:spChg chg="mod">
          <ac:chgData name="Mariam Daniela Tristancho Pineda (PTA SAS)" userId="a45a17f7-7950-4cb5-bfab-f5c894f959a9" providerId="ADAL" clId="{7EBB4E1E-93A9-4035-834A-9A0B60182E9F}" dt="2020-10-06T13:45:19.354" v="551" actId="20577"/>
          <ac:spMkLst>
            <pc:docMk/>
            <pc:sldMk cId="1822149763" sldId="2134804293"/>
            <ac:spMk id="4" creationId="{C47780CB-210E-480D-AF15-355BDC7F6E93}"/>
          </ac:spMkLst>
        </pc:spChg>
      </pc:sldChg>
      <pc:sldChg chg="addSp delSp modSp add del mod ord modShow">
        <pc:chgData name="Mariam Daniela Tristancho Pineda (PTA SAS)" userId="a45a17f7-7950-4cb5-bfab-f5c894f959a9" providerId="ADAL" clId="{7EBB4E1E-93A9-4035-834A-9A0B60182E9F}" dt="2020-10-06T19:48:58.146" v="2357" actId="1035"/>
        <pc:sldMkLst>
          <pc:docMk/>
          <pc:sldMk cId="2857089145" sldId="2134804311"/>
        </pc:sldMkLst>
        <pc:spChg chg="mod">
          <ac:chgData name="Mariam Daniela Tristancho Pineda (PTA SAS)" userId="a45a17f7-7950-4cb5-bfab-f5c894f959a9" providerId="ADAL" clId="{7EBB4E1E-93A9-4035-834A-9A0B60182E9F}" dt="2020-10-06T19:48:50.712" v="2352" actId="1037"/>
          <ac:spMkLst>
            <pc:docMk/>
            <pc:sldMk cId="2857089145" sldId="2134804311"/>
            <ac:spMk id="3" creationId="{068CD6F9-C4F6-487A-AD51-1719BB675678}"/>
          </ac:spMkLst>
        </pc:spChg>
        <pc:spChg chg="mod">
          <ac:chgData name="Mariam Daniela Tristancho Pineda (PTA SAS)" userId="a45a17f7-7950-4cb5-bfab-f5c894f959a9" providerId="ADAL" clId="{7EBB4E1E-93A9-4035-834A-9A0B60182E9F}" dt="2020-10-06T16:47:42.679" v="1125" actId="1038"/>
          <ac:spMkLst>
            <pc:docMk/>
            <pc:sldMk cId="2857089145" sldId="2134804311"/>
            <ac:spMk id="7" creationId="{729CDB4D-12FF-47BB-A02C-F9F9D7D26D99}"/>
          </ac:spMkLst>
        </pc:spChg>
        <pc:spChg chg="mod">
          <ac:chgData name="Mariam Daniela Tristancho Pineda (PTA SAS)" userId="a45a17f7-7950-4cb5-bfab-f5c894f959a9" providerId="ADAL" clId="{7EBB4E1E-93A9-4035-834A-9A0B60182E9F}" dt="2020-10-06T16:47:42.679" v="1125" actId="1038"/>
          <ac:spMkLst>
            <pc:docMk/>
            <pc:sldMk cId="2857089145" sldId="2134804311"/>
            <ac:spMk id="9" creationId="{6260AE1B-9CC2-4D73-9EFA-E10D76B20F0D}"/>
          </ac:spMkLst>
        </pc:spChg>
        <pc:spChg chg="mod">
          <ac:chgData name="Mariam Daniela Tristancho Pineda (PTA SAS)" userId="a45a17f7-7950-4cb5-bfab-f5c894f959a9" providerId="ADAL" clId="{7EBB4E1E-93A9-4035-834A-9A0B60182E9F}" dt="2020-10-06T16:47:42.679" v="1125" actId="1038"/>
          <ac:spMkLst>
            <pc:docMk/>
            <pc:sldMk cId="2857089145" sldId="2134804311"/>
            <ac:spMk id="10" creationId="{E471DFFB-10DC-4003-9986-B10F0593516B}"/>
          </ac:spMkLst>
        </pc:spChg>
        <pc:spChg chg="mod">
          <ac:chgData name="Mariam Daniela Tristancho Pineda (PTA SAS)" userId="a45a17f7-7950-4cb5-bfab-f5c894f959a9" providerId="ADAL" clId="{7EBB4E1E-93A9-4035-834A-9A0B60182E9F}" dt="2020-10-06T16:47:42.679" v="1125" actId="1038"/>
          <ac:spMkLst>
            <pc:docMk/>
            <pc:sldMk cId="2857089145" sldId="2134804311"/>
            <ac:spMk id="12" creationId="{A7DA2696-2798-43FD-9339-132E49A0D2FD}"/>
          </ac:spMkLst>
        </pc:spChg>
        <pc:spChg chg="mod">
          <ac:chgData name="Mariam Daniela Tristancho Pineda (PTA SAS)" userId="a45a17f7-7950-4cb5-bfab-f5c894f959a9" providerId="ADAL" clId="{7EBB4E1E-93A9-4035-834A-9A0B60182E9F}" dt="2020-10-06T19:48:58.146" v="2357" actId="1035"/>
          <ac:spMkLst>
            <pc:docMk/>
            <pc:sldMk cId="2857089145" sldId="2134804311"/>
            <ac:spMk id="13" creationId="{57FF8689-C768-4B3D-84A7-9B3CA5FBDA66}"/>
          </ac:spMkLst>
        </pc:spChg>
        <pc:spChg chg="add mod">
          <ac:chgData name="Mariam Daniela Tristancho Pineda (PTA SAS)" userId="a45a17f7-7950-4cb5-bfab-f5c894f959a9" providerId="ADAL" clId="{7EBB4E1E-93A9-4035-834A-9A0B60182E9F}" dt="2020-10-06T13:27:38.069" v="255" actId="1076"/>
          <ac:spMkLst>
            <pc:docMk/>
            <pc:sldMk cId="2857089145" sldId="2134804311"/>
            <ac:spMk id="18" creationId="{E90FCBA6-21CD-4F25-BCD0-226ED2F9F639}"/>
          </ac:spMkLst>
        </pc:spChg>
        <pc:spChg chg="add mod">
          <ac:chgData name="Mariam Daniela Tristancho Pineda (PTA SAS)" userId="a45a17f7-7950-4cb5-bfab-f5c894f959a9" providerId="ADAL" clId="{7EBB4E1E-93A9-4035-834A-9A0B60182E9F}" dt="2020-10-06T17:06:34.582" v="1312" actId="1076"/>
          <ac:spMkLst>
            <pc:docMk/>
            <pc:sldMk cId="2857089145" sldId="2134804311"/>
            <ac:spMk id="19" creationId="{D17652CB-6B2D-4320-B022-645E8FAD6D00}"/>
          </ac:spMkLst>
        </pc:spChg>
        <pc:spChg chg="mod">
          <ac:chgData name="Mariam Daniela Tristancho Pineda (PTA SAS)" userId="a45a17f7-7950-4cb5-bfab-f5c894f959a9" providerId="ADAL" clId="{7EBB4E1E-93A9-4035-834A-9A0B60182E9F}" dt="2020-10-06T13:25:52.333" v="211" actId="14100"/>
          <ac:spMkLst>
            <pc:docMk/>
            <pc:sldMk cId="2857089145" sldId="2134804311"/>
            <ac:spMk id="20" creationId="{76D830BA-6809-4B00-97EA-4BF2F62005C0}"/>
          </ac:spMkLst>
        </pc:spChg>
        <pc:spChg chg="add mod">
          <ac:chgData name="Mariam Daniela Tristancho Pineda (PTA SAS)" userId="a45a17f7-7950-4cb5-bfab-f5c894f959a9" providerId="ADAL" clId="{7EBB4E1E-93A9-4035-834A-9A0B60182E9F}" dt="2020-10-06T19:48:20.649" v="2346" actId="1036"/>
          <ac:spMkLst>
            <pc:docMk/>
            <pc:sldMk cId="2857089145" sldId="2134804311"/>
            <ac:spMk id="21" creationId="{C2E8075C-F8BB-4317-9B88-69D6FC099B47}"/>
          </ac:spMkLst>
        </pc:spChg>
        <pc:spChg chg="mod">
          <ac:chgData name="Mariam Daniela Tristancho Pineda (PTA SAS)" userId="a45a17f7-7950-4cb5-bfab-f5c894f959a9" providerId="ADAL" clId="{7EBB4E1E-93A9-4035-834A-9A0B60182E9F}" dt="2020-10-06T13:25:54.308" v="212" actId="14100"/>
          <ac:spMkLst>
            <pc:docMk/>
            <pc:sldMk cId="2857089145" sldId="2134804311"/>
            <ac:spMk id="23" creationId="{1B7F3B79-9926-43AB-9BF5-0385EC9E64C6}"/>
          </ac:spMkLst>
        </pc:spChg>
        <pc:spChg chg="mod">
          <ac:chgData name="Mariam Daniela Tristancho Pineda (PTA SAS)" userId="a45a17f7-7950-4cb5-bfab-f5c894f959a9" providerId="ADAL" clId="{7EBB4E1E-93A9-4035-834A-9A0B60182E9F}" dt="2020-10-06T13:25:56.229" v="213" actId="1076"/>
          <ac:spMkLst>
            <pc:docMk/>
            <pc:sldMk cId="2857089145" sldId="2134804311"/>
            <ac:spMk id="24" creationId="{DF671ED5-B712-42B2-865D-ADF852C70B18}"/>
          </ac:spMkLst>
        </pc:spChg>
        <pc:spChg chg="mod">
          <ac:chgData name="Mariam Daniela Tristancho Pineda (PTA SAS)" userId="a45a17f7-7950-4cb5-bfab-f5c894f959a9" providerId="ADAL" clId="{7EBB4E1E-93A9-4035-834A-9A0B60182E9F}" dt="2020-10-06T13:26:21.634" v="221" actId="1076"/>
          <ac:spMkLst>
            <pc:docMk/>
            <pc:sldMk cId="2857089145" sldId="2134804311"/>
            <ac:spMk id="45" creationId="{FE8ED9F7-3608-4810-95FA-CCA357FF8DD5}"/>
          </ac:spMkLst>
        </pc:spChg>
        <pc:spChg chg="mod">
          <ac:chgData name="Mariam Daniela Tristancho Pineda (PTA SAS)" userId="a45a17f7-7950-4cb5-bfab-f5c894f959a9" providerId="ADAL" clId="{7EBB4E1E-93A9-4035-834A-9A0B60182E9F}" dt="2020-10-06T13:26:33.801" v="228" actId="20577"/>
          <ac:spMkLst>
            <pc:docMk/>
            <pc:sldMk cId="2857089145" sldId="2134804311"/>
            <ac:spMk id="50" creationId="{A6FD2FCA-22BD-4408-A162-974663FFA2AE}"/>
          </ac:spMkLst>
        </pc:spChg>
        <pc:spChg chg="mod">
          <ac:chgData name="Mariam Daniela Tristancho Pineda (PTA SAS)" userId="a45a17f7-7950-4cb5-bfab-f5c894f959a9" providerId="ADAL" clId="{7EBB4E1E-93A9-4035-834A-9A0B60182E9F}" dt="2020-10-06T13:25:32.284" v="178" actId="1037"/>
          <ac:spMkLst>
            <pc:docMk/>
            <pc:sldMk cId="2857089145" sldId="2134804311"/>
            <ac:spMk id="51" creationId="{D395E86E-3965-40C4-A3DF-5364D60CE5F2}"/>
          </ac:spMkLst>
        </pc:spChg>
        <pc:spChg chg="mod">
          <ac:chgData name="Mariam Daniela Tristancho Pineda (PTA SAS)" userId="a45a17f7-7950-4cb5-bfab-f5c894f959a9" providerId="ADAL" clId="{7EBB4E1E-93A9-4035-834A-9A0B60182E9F}" dt="2020-10-06T13:25:32.284" v="178" actId="1037"/>
          <ac:spMkLst>
            <pc:docMk/>
            <pc:sldMk cId="2857089145" sldId="2134804311"/>
            <ac:spMk id="52" creationId="{5B06B1DA-3BD9-47D7-9B3D-C321E2E527E4}"/>
          </ac:spMkLst>
        </pc:spChg>
        <pc:spChg chg="del mod">
          <ac:chgData name="Mariam Daniela Tristancho Pineda (PTA SAS)" userId="a45a17f7-7950-4cb5-bfab-f5c894f959a9" providerId="ADAL" clId="{7EBB4E1E-93A9-4035-834A-9A0B60182E9F}" dt="2020-10-06T19:40:51.955" v="2236" actId="478"/>
          <ac:spMkLst>
            <pc:docMk/>
            <pc:sldMk cId="2857089145" sldId="2134804311"/>
            <ac:spMk id="53" creationId="{F9C857D3-C5F6-4D00-8D9C-646D1DA60918}"/>
          </ac:spMkLst>
        </pc:spChg>
        <pc:spChg chg="mod">
          <ac:chgData name="Mariam Daniela Tristancho Pineda (PTA SAS)" userId="a45a17f7-7950-4cb5-bfab-f5c894f959a9" providerId="ADAL" clId="{7EBB4E1E-93A9-4035-834A-9A0B60182E9F}" dt="2020-10-06T13:25:48.404" v="210" actId="14100"/>
          <ac:spMkLst>
            <pc:docMk/>
            <pc:sldMk cId="2857089145" sldId="2134804311"/>
            <ac:spMk id="55" creationId="{29532448-A08B-43D8-A118-91936FED3C43}"/>
          </ac:spMkLst>
        </pc:spChg>
        <pc:spChg chg="mod">
          <ac:chgData name="Mariam Daniela Tristancho Pineda (PTA SAS)" userId="a45a17f7-7950-4cb5-bfab-f5c894f959a9" providerId="ADAL" clId="{7EBB4E1E-93A9-4035-834A-9A0B60182E9F}" dt="2020-10-06T13:25:32.284" v="178" actId="1037"/>
          <ac:spMkLst>
            <pc:docMk/>
            <pc:sldMk cId="2857089145" sldId="2134804311"/>
            <ac:spMk id="57" creationId="{899A4C5F-C341-448B-B15D-BB337D4E4176}"/>
          </ac:spMkLst>
        </pc:spChg>
        <pc:spChg chg="mod">
          <ac:chgData name="Mariam Daniela Tristancho Pineda (PTA SAS)" userId="a45a17f7-7950-4cb5-bfab-f5c894f959a9" providerId="ADAL" clId="{7EBB4E1E-93A9-4035-834A-9A0B60182E9F}" dt="2020-10-06T13:25:32.284" v="178" actId="1037"/>
          <ac:spMkLst>
            <pc:docMk/>
            <pc:sldMk cId="2857089145" sldId="2134804311"/>
            <ac:spMk id="58" creationId="{13971695-02CB-4075-AB5E-BDAB89C4EB52}"/>
          </ac:spMkLst>
        </pc:spChg>
        <pc:spChg chg="mod">
          <ac:chgData name="Mariam Daniela Tristancho Pineda (PTA SAS)" userId="a45a17f7-7950-4cb5-bfab-f5c894f959a9" providerId="ADAL" clId="{7EBB4E1E-93A9-4035-834A-9A0B60182E9F}" dt="2020-10-06T13:25:32.284" v="178" actId="1037"/>
          <ac:spMkLst>
            <pc:docMk/>
            <pc:sldMk cId="2857089145" sldId="2134804311"/>
            <ac:spMk id="59" creationId="{7127D3DE-EF0D-403A-A224-06CFC244F2F7}"/>
          </ac:spMkLst>
        </pc:spChg>
        <pc:spChg chg="mod">
          <ac:chgData name="Mariam Daniela Tristancho Pineda (PTA SAS)" userId="a45a17f7-7950-4cb5-bfab-f5c894f959a9" providerId="ADAL" clId="{7EBB4E1E-93A9-4035-834A-9A0B60182E9F}" dt="2020-10-06T13:25:32.284" v="178" actId="1037"/>
          <ac:spMkLst>
            <pc:docMk/>
            <pc:sldMk cId="2857089145" sldId="2134804311"/>
            <ac:spMk id="60" creationId="{C756E770-FDC5-4AD2-8422-3E24C956681E}"/>
          </ac:spMkLst>
        </pc:spChg>
        <pc:spChg chg="mod">
          <ac:chgData name="Mariam Daniela Tristancho Pineda (PTA SAS)" userId="a45a17f7-7950-4cb5-bfab-f5c894f959a9" providerId="ADAL" clId="{7EBB4E1E-93A9-4035-834A-9A0B60182E9F}" dt="2020-10-06T13:26:48.748" v="231" actId="14100"/>
          <ac:spMkLst>
            <pc:docMk/>
            <pc:sldMk cId="2857089145" sldId="2134804311"/>
            <ac:spMk id="61" creationId="{34F7D164-E994-45AC-8F26-F92B7ACB058A}"/>
          </ac:spMkLst>
        </pc:spChg>
        <pc:spChg chg="mod">
          <ac:chgData name="Mariam Daniela Tristancho Pineda (PTA SAS)" userId="a45a17f7-7950-4cb5-bfab-f5c894f959a9" providerId="ADAL" clId="{7EBB4E1E-93A9-4035-834A-9A0B60182E9F}" dt="2020-10-06T13:30:08.618" v="296" actId="1036"/>
          <ac:spMkLst>
            <pc:docMk/>
            <pc:sldMk cId="2857089145" sldId="2134804311"/>
            <ac:spMk id="63" creationId="{C8570C6E-3F05-4155-850A-C74FBEC80B54}"/>
          </ac:spMkLst>
        </pc:spChg>
        <pc:spChg chg="mod">
          <ac:chgData name="Mariam Daniela Tristancho Pineda (PTA SAS)" userId="a45a17f7-7950-4cb5-bfab-f5c894f959a9" providerId="ADAL" clId="{7EBB4E1E-93A9-4035-834A-9A0B60182E9F}" dt="2020-10-06T13:30:08.618" v="296" actId="1036"/>
          <ac:spMkLst>
            <pc:docMk/>
            <pc:sldMk cId="2857089145" sldId="2134804311"/>
            <ac:spMk id="64" creationId="{646BACCF-FF90-4891-9AFB-F9D4221C88F5}"/>
          </ac:spMkLst>
        </pc:spChg>
        <pc:spChg chg="mod">
          <ac:chgData name="Mariam Daniela Tristancho Pineda (PTA SAS)" userId="a45a17f7-7950-4cb5-bfab-f5c894f959a9" providerId="ADAL" clId="{7EBB4E1E-93A9-4035-834A-9A0B60182E9F}" dt="2020-10-06T13:25:32.284" v="178" actId="1037"/>
          <ac:spMkLst>
            <pc:docMk/>
            <pc:sldMk cId="2857089145" sldId="2134804311"/>
            <ac:spMk id="65" creationId="{1065D923-F137-4939-8930-2192BD04211D}"/>
          </ac:spMkLst>
        </pc:spChg>
        <pc:spChg chg="mod">
          <ac:chgData name="Mariam Daniela Tristancho Pineda (PTA SAS)" userId="a45a17f7-7950-4cb5-bfab-f5c894f959a9" providerId="ADAL" clId="{7EBB4E1E-93A9-4035-834A-9A0B60182E9F}" dt="2020-10-06T13:25:32.284" v="178" actId="1037"/>
          <ac:spMkLst>
            <pc:docMk/>
            <pc:sldMk cId="2857089145" sldId="2134804311"/>
            <ac:spMk id="66" creationId="{DC1BBBBA-158A-411A-BB38-9A477BEC2498}"/>
          </ac:spMkLst>
        </pc:spChg>
        <pc:spChg chg="mod">
          <ac:chgData name="Mariam Daniela Tristancho Pineda (PTA SAS)" userId="a45a17f7-7950-4cb5-bfab-f5c894f959a9" providerId="ADAL" clId="{7EBB4E1E-93A9-4035-834A-9A0B60182E9F}" dt="2020-10-06T13:30:08.618" v="296" actId="1036"/>
          <ac:spMkLst>
            <pc:docMk/>
            <pc:sldMk cId="2857089145" sldId="2134804311"/>
            <ac:spMk id="67" creationId="{C40762A9-67E9-4AAE-9CCD-76B6A006557E}"/>
          </ac:spMkLst>
        </pc:spChg>
        <pc:spChg chg="mod">
          <ac:chgData name="Mariam Daniela Tristancho Pineda (PTA SAS)" userId="a45a17f7-7950-4cb5-bfab-f5c894f959a9" providerId="ADAL" clId="{7EBB4E1E-93A9-4035-834A-9A0B60182E9F}" dt="2020-10-06T13:24:10.525" v="129" actId="14100"/>
          <ac:spMkLst>
            <pc:docMk/>
            <pc:sldMk cId="2857089145" sldId="2134804311"/>
            <ac:spMk id="71" creationId="{999B1B90-D742-4D29-B51B-141387E09C9F}"/>
          </ac:spMkLst>
        </pc:spChg>
        <pc:spChg chg="mod">
          <ac:chgData name="Mariam Daniela Tristancho Pineda (PTA SAS)" userId="a45a17f7-7950-4cb5-bfab-f5c894f959a9" providerId="ADAL" clId="{7EBB4E1E-93A9-4035-834A-9A0B60182E9F}" dt="2020-10-06T13:29:48.543" v="290" actId="20577"/>
          <ac:spMkLst>
            <pc:docMk/>
            <pc:sldMk cId="2857089145" sldId="2134804311"/>
            <ac:spMk id="72" creationId="{2FBB49E6-161E-494F-B0AF-91D6129F8F33}"/>
          </ac:spMkLst>
        </pc:spChg>
        <pc:spChg chg="mod">
          <ac:chgData name="Mariam Daniela Tristancho Pineda (PTA SAS)" userId="a45a17f7-7950-4cb5-bfab-f5c894f959a9" providerId="ADAL" clId="{7EBB4E1E-93A9-4035-834A-9A0B60182E9F}" dt="2020-10-06T13:28:02.552" v="264" actId="20577"/>
          <ac:spMkLst>
            <pc:docMk/>
            <pc:sldMk cId="2857089145" sldId="2134804311"/>
            <ac:spMk id="73" creationId="{7882AF9C-51C3-42A3-B5BB-994F0A38CDAC}"/>
          </ac:spMkLst>
        </pc:spChg>
        <pc:spChg chg="mod">
          <ac:chgData name="Mariam Daniela Tristancho Pineda (PTA SAS)" userId="a45a17f7-7950-4cb5-bfab-f5c894f959a9" providerId="ADAL" clId="{7EBB4E1E-93A9-4035-834A-9A0B60182E9F}" dt="2020-10-06T13:29:33.444" v="282" actId="20577"/>
          <ac:spMkLst>
            <pc:docMk/>
            <pc:sldMk cId="2857089145" sldId="2134804311"/>
            <ac:spMk id="74" creationId="{9580D3C9-E22F-46DD-870C-E0072C65AB7F}"/>
          </ac:spMkLst>
        </pc:spChg>
        <pc:spChg chg="mod">
          <ac:chgData name="Mariam Daniela Tristancho Pineda (PTA SAS)" userId="a45a17f7-7950-4cb5-bfab-f5c894f959a9" providerId="ADAL" clId="{7EBB4E1E-93A9-4035-834A-9A0B60182E9F}" dt="2020-10-06T13:29:35.252" v="284" actId="20577"/>
          <ac:spMkLst>
            <pc:docMk/>
            <pc:sldMk cId="2857089145" sldId="2134804311"/>
            <ac:spMk id="75" creationId="{038013D2-E475-419B-A6D0-BE4D39D57D15}"/>
          </ac:spMkLst>
        </pc:spChg>
        <pc:spChg chg="mod">
          <ac:chgData name="Mariam Daniela Tristancho Pineda (PTA SAS)" userId="a45a17f7-7950-4cb5-bfab-f5c894f959a9" providerId="ADAL" clId="{7EBB4E1E-93A9-4035-834A-9A0B60182E9F}" dt="2020-10-06T13:29:46.115" v="288" actId="20577"/>
          <ac:spMkLst>
            <pc:docMk/>
            <pc:sldMk cId="2857089145" sldId="2134804311"/>
            <ac:spMk id="76" creationId="{0F21D6C4-EC29-43B6-B8E7-338DB7DD7C1E}"/>
          </ac:spMkLst>
        </pc:spChg>
        <pc:spChg chg="mod">
          <ac:chgData name="Mariam Daniela Tristancho Pineda (PTA SAS)" userId="a45a17f7-7950-4cb5-bfab-f5c894f959a9" providerId="ADAL" clId="{7EBB4E1E-93A9-4035-834A-9A0B60182E9F}" dt="2020-10-06T13:29:50.607" v="292" actId="20577"/>
          <ac:spMkLst>
            <pc:docMk/>
            <pc:sldMk cId="2857089145" sldId="2134804311"/>
            <ac:spMk id="77" creationId="{95FD1090-EE89-438B-9895-DC57C1D16AA3}"/>
          </ac:spMkLst>
        </pc:spChg>
        <pc:spChg chg="mod">
          <ac:chgData name="Mariam Daniela Tristancho Pineda (PTA SAS)" userId="a45a17f7-7950-4cb5-bfab-f5c894f959a9" providerId="ADAL" clId="{7EBB4E1E-93A9-4035-834A-9A0B60182E9F}" dt="2020-10-06T13:24:05.991" v="128" actId="13926"/>
          <ac:spMkLst>
            <pc:docMk/>
            <pc:sldMk cId="2857089145" sldId="2134804311"/>
            <ac:spMk id="78" creationId="{1775A41A-7B98-4609-BF00-BC54D6AACB93}"/>
          </ac:spMkLst>
        </pc:spChg>
        <pc:spChg chg="mod">
          <ac:chgData name="Mariam Daniela Tristancho Pineda (PTA SAS)" userId="a45a17f7-7950-4cb5-bfab-f5c894f959a9" providerId="ADAL" clId="{7EBB4E1E-93A9-4035-834A-9A0B60182E9F}" dt="2020-10-06T13:24:05.991" v="128" actId="13926"/>
          <ac:spMkLst>
            <pc:docMk/>
            <pc:sldMk cId="2857089145" sldId="2134804311"/>
            <ac:spMk id="79" creationId="{4CB33A5F-A766-46AC-A7C7-BF7EAD99C46C}"/>
          </ac:spMkLst>
        </pc:spChg>
        <pc:spChg chg="mod">
          <ac:chgData name="Mariam Daniela Tristancho Pineda (PTA SAS)" userId="a45a17f7-7950-4cb5-bfab-f5c894f959a9" providerId="ADAL" clId="{7EBB4E1E-93A9-4035-834A-9A0B60182E9F}" dt="2020-10-06T13:24:05.991" v="128" actId="13926"/>
          <ac:spMkLst>
            <pc:docMk/>
            <pc:sldMk cId="2857089145" sldId="2134804311"/>
            <ac:spMk id="80" creationId="{4CCC5681-CD2B-48BE-AC2F-73599B525803}"/>
          </ac:spMkLst>
        </pc:spChg>
        <pc:spChg chg="mod">
          <ac:chgData name="Mariam Daniela Tristancho Pineda (PTA SAS)" userId="a45a17f7-7950-4cb5-bfab-f5c894f959a9" providerId="ADAL" clId="{7EBB4E1E-93A9-4035-834A-9A0B60182E9F}" dt="2020-10-06T13:24:05.991" v="128" actId="13926"/>
          <ac:spMkLst>
            <pc:docMk/>
            <pc:sldMk cId="2857089145" sldId="2134804311"/>
            <ac:spMk id="81" creationId="{634E8F6A-D227-42AA-8F9A-1A7BE729C4A7}"/>
          </ac:spMkLst>
        </pc:spChg>
        <pc:spChg chg="mod">
          <ac:chgData name="Mariam Daniela Tristancho Pineda (PTA SAS)" userId="a45a17f7-7950-4cb5-bfab-f5c894f959a9" providerId="ADAL" clId="{7EBB4E1E-93A9-4035-834A-9A0B60182E9F}" dt="2020-10-06T13:24:05.991" v="128" actId="13926"/>
          <ac:spMkLst>
            <pc:docMk/>
            <pc:sldMk cId="2857089145" sldId="2134804311"/>
            <ac:spMk id="82" creationId="{CC6FC411-21E3-4918-B850-9261277B5587}"/>
          </ac:spMkLst>
        </pc:spChg>
        <pc:spChg chg="mod">
          <ac:chgData name="Mariam Daniela Tristancho Pineda (PTA SAS)" userId="a45a17f7-7950-4cb5-bfab-f5c894f959a9" providerId="ADAL" clId="{7EBB4E1E-93A9-4035-834A-9A0B60182E9F}" dt="2020-10-06T13:24:05.991" v="128" actId="13926"/>
          <ac:spMkLst>
            <pc:docMk/>
            <pc:sldMk cId="2857089145" sldId="2134804311"/>
            <ac:spMk id="83" creationId="{83FFFF75-698F-4830-A17F-3A75C875E441}"/>
          </ac:spMkLst>
        </pc:spChg>
        <pc:spChg chg="mod">
          <ac:chgData name="Mariam Daniela Tristancho Pineda (PTA SAS)" userId="a45a17f7-7950-4cb5-bfab-f5c894f959a9" providerId="ADAL" clId="{7EBB4E1E-93A9-4035-834A-9A0B60182E9F}" dt="2020-10-06T13:24:05.991" v="128" actId="13926"/>
          <ac:spMkLst>
            <pc:docMk/>
            <pc:sldMk cId="2857089145" sldId="2134804311"/>
            <ac:spMk id="84" creationId="{E8FAC1FE-10FB-45A2-ADB6-53328F0B0D2D}"/>
          </ac:spMkLst>
        </pc:spChg>
        <pc:spChg chg="mod">
          <ac:chgData name="Mariam Daniela Tristancho Pineda (PTA SAS)" userId="a45a17f7-7950-4cb5-bfab-f5c894f959a9" providerId="ADAL" clId="{7EBB4E1E-93A9-4035-834A-9A0B60182E9F}" dt="2020-10-06T13:24:05.991" v="128" actId="13926"/>
          <ac:spMkLst>
            <pc:docMk/>
            <pc:sldMk cId="2857089145" sldId="2134804311"/>
            <ac:spMk id="85" creationId="{2E45A84E-D7BC-4D0A-86B6-E69D7A67D6F1}"/>
          </ac:spMkLst>
        </pc:spChg>
        <pc:spChg chg="mod">
          <ac:chgData name="Mariam Daniela Tristancho Pineda (PTA SAS)" userId="a45a17f7-7950-4cb5-bfab-f5c894f959a9" providerId="ADAL" clId="{7EBB4E1E-93A9-4035-834A-9A0B60182E9F}" dt="2020-10-06T16:47:42.679" v="1125" actId="1038"/>
          <ac:spMkLst>
            <pc:docMk/>
            <pc:sldMk cId="2857089145" sldId="2134804311"/>
            <ac:spMk id="86" creationId="{AD34F7C6-56B7-4336-8931-38C3EA3A4725}"/>
          </ac:spMkLst>
        </pc:spChg>
        <pc:spChg chg="mod">
          <ac:chgData name="Mariam Daniela Tristancho Pineda (PTA SAS)" userId="a45a17f7-7950-4cb5-bfab-f5c894f959a9" providerId="ADAL" clId="{7EBB4E1E-93A9-4035-834A-9A0B60182E9F}" dt="2020-10-06T13:25:42.525" v="209" actId="1037"/>
          <ac:spMkLst>
            <pc:docMk/>
            <pc:sldMk cId="2857089145" sldId="2134804311"/>
            <ac:spMk id="87" creationId="{A58BF597-C51C-4E2C-9BD2-59F949AC6F75}"/>
          </ac:spMkLst>
        </pc:spChg>
        <pc:spChg chg="mod">
          <ac:chgData name="Mariam Daniela Tristancho Pineda (PTA SAS)" userId="a45a17f7-7950-4cb5-bfab-f5c894f959a9" providerId="ADAL" clId="{7EBB4E1E-93A9-4035-834A-9A0B60182E9F}" dt="2020-10-06T13:25:42.525" v="209" actId="1037"/>
          <ac:spMkLst>
            <pc:docMk/>
            <pc:sldMk cId="2857089145" sldId="2134804311"/>
            <ac:spMk id="88" creationId="{F61EEF2A-B598-4665-AE21-A8A3931488AC}"/>
          </ac:spMkLst>
        </pc:spChg>
        <pc:spChg chg="mod">
          <ac:chgData name="Mariam Daniela Tristancho Pineda (PTA SAS)" userId="a45a17f7-7950-4cb5-bfab-f5c894f959a9" providerId="ADAL" clId="{7EBB4E1E-93A9-4035-834A-9A0B60182E9F}" dt="2020-10-06T13:26:56.652" v="233" actId="1076"/>
          <ac:spMkLst>
            <pc:docMk/>
            <pc:sldMk cId="2857089145" sldId="2134804311"/>
            <ac:spMk id="89" creationId="{973F83E5-B4A3-40C6-8A01-259D39F0C4EF}"/>
          </ac:spMkLst>
        </pc:spChg>
        <pc:spChg chg="mod">
          <ac:chgData name="Mariam Daniela Tristancho Pineda (PTA SAS)" userId="a45a17f7-7950-4cb5-bfab-f5c894f959a9" providerId="ADAL" clId="{7EBB4E1E-93A9-4035-834A-9A0B60182E9F}" dt="2020-10-06T13:26:56.652" v="233" actId="1076"/>
          <ac:spMkLst>
            <pc:docMk/>
            <pc:sldMk cId="2857089145" sldId="2134804311"/>
            <ac:spMk id="90" creationId="{744DB82B-E482-4033-8CAD-6B29F669CFF4}"/>
          </ac:spMkLst>
        </pc:spChg>
        <pc:spChg chg="mod">
          <ac:chgData name="Mariam Daniela Tristancho Pineda (PTA SAS)" userId="a45a17f7-7950-4cb5-bfab-f5c894f959a9" providerId="ADAL" clId="{7EBB4E1E-93A9-4035-834A-9A0B60182E9F}" dt="2020-10-06T13:26:56.652" v="233" actId="1076"/>
          <ac:spMkLst>
            <pc:docMk/>
            <pc:sldMk cId="2857089145" sldId="2134804311"/>
            <ac:spMk id="91" creationId="{D66505A6-8BAE-42E1-964E-6D28D62D280F}"/>
          </ac:spMkLst>
        </pc:spChg>
        <pc:spChg chg="mod">
          <ac:chgData name="Mariam Daniela Tristancho Pineda (PTA SAS)" userId="a45a17f7-7950-4cb5-bfab-f5c894f959a9" providerId="ADAL" clId="{7EBB4E1E-93A9-4035-834A-9A0B60182E9F}" dt="2020-10-06T13:24:05.991" v="128" actId="13926"/>
          <ac:spMkLst>
            <pc:docMk/>
            <pc:sldMk cId="2857089145" sldId="2134804311"/>
            <ac:spMk id="92" creationId="{3EA3CEBF-AE3A-4473-8734-7C7235782152}"/>
          </ac:spMkLst>
        </pc:spChg>
        <pc:spChg chg="mod">
          <ac:chgData name="Mariam Daniela Tristancho Pineda (PTA SAS)" userId="a45a17f7-7950-4cb5-bfab-f5c894f959a9" providerId="ADAL" clId="{7EBB4E1E-93A9-4035-834A-9A0B60182E9F}" dt="2020-10-06T13:24:25.010" v="133" actId="1035"/>
          <ac:spMkLst>
            <pc:docMk/>
            <pc:sldMk cId="2857089145" sldId="2134804311"/>
            <ac:spMk id="93" creationId="{5275F773-D793-4CF4-99F5-C30720C81666}"/>
          </ac:spMkLst>
        </pc:spChg>
        <pc:spChg chg="mod">
          <ac:chgData name="Mariam Daniela Tristancho Pineda (PTA SAS)" userId="a45a17f7-7950-4cb5-bfab-f5c894f959a9" providerId="ADAL" clId="{7EBB4E1E-93A9-4035-834A-9A0B60182E9F}" dt="2020-10-06T13:26:37.124" v="229" actId="1076"/>
          <ac:spMkLst>
            <pc:docMk/>
            <pc:sldMk cId="2857089145" sldId="2134804311"/>
            <ac:spMk id="94" creationId="{75F6475F-AD44-4C16-BAE2-A31BB96FC41E}"/>
          </ac:spMkLst>
        </pc:spChg>
        <pc:spChg chg="mod">
          <ac:chgData name="Mariam Daniela Tristancho Pineda (PTA SAS)" userId="a45a17f7-7950-4cb5-bfab-f5c894f959a9" providerId="ADAL" clId="{7EBB4E1E-93A9-4035-834A-9A0B60182E9F}" dt="2020-10-06T19:48:50.712" v="2352" actId="1037"/>
          <ac:spMkLst>
            <pc:docMk/>
            <pc:sldMk cId="2857089145" sldId="2134804311"/>
            <ac:spMk id="95" creationId="{CA5D357F-D3D8-465C-83A3-2F2B72B2CFA4}"/>
          </ac:spMkLst>
        </pc:spChg>
        <pc:spChg chg="mod">
          <ac:chgData name="Mariam Daniela Tristancho Pineda (PTA SAS)" userId="a45a17f7-7950-4cb5-bfab-f5c894f959a9" providerId="ADAL" clId="{7EBB4E1E-93A9-4035-834A-9A0B60182E9F}" dt="2020-10-06T13:25:32.284" v="178" actId="1037"/>
          <ac:spMkLst>
            <pc:docMk/>
            <pc:sldMk cId="2857089145" sldId="2134804311"/>
            <ac:spMk id="96" creationId="{2F854CD9-D212-4B31-8682-2DA5928CD160}"/>
          </ac:spMkLst>
        </pc:spChg>
        <pc:spChg chg="mod">
          <ac:chgData name="Mariam Daniela Tristancho Pineda (PTA SAS)" userId="a45a17f7-7950-4cb5-bfab-f5c894f959a9" providerId="ADAL" clId="{7EBB4E1E-93A9-4035-834A-9A0B60182E9F}" dt="2020-10-06T16:47:42.679" v="1125" actId="1038"/>
          <ac:spMkLst>
            <pc:docMk/>
            <pc:sldMk cId="2857089145" sldId="2134804311"/>
            <ac:spMk id="97" creationId="{99300021-C267-43BD-A0F5-B3ECE622345E}"/>
          </ac:spMkLst>
        </pc:spChg>
        <pc:spChg chg="mod">
          <ac:chgData name="Mariam Daniela Tristancho Pineda (PTA SAS)" userId="a45a17f7-7950-4cb5-bfab-f5c894f959a9" providerId="ADAL" clId="{7EBB4E1E-93A9-4035-834A-9A0B60182E9F}" dt="2020-10-06T13:25:32.284" v="178" actId="1037"/>
          <ac:spMkLst>
            <pc:docMk/>
            <pc:sldMk cId="2857089145" sldId="2134804311"/>
            <ac:spMk id="98" creationId="{1B36C647-4A59-44AE-8DCC-30702D96622E}"/>
          </ac:spMkLst>
        </pc:spChg>
        <pc:spChg chg="mod">
          <ac:chgData name="Mariam Daniela Tristancho Pineda (PTA SAS)" userId="a45a17f7-7950-4cb5-bfab-f5c894f959a9" providerId="ADAL" clId="{7EBB4E1E-93A9-4035-834A-9A0B60182E9F}" dt="2020-10-06T13:26:56.652" v="233" actId="1076"/>
          <ac:spMkLst>
            <pc:docMk/>
            <pc:sldMk cId="2857089145" sldId="2134804311"/>
            <ac:spMk id="99" creationId="{90CC82AC-D82E-4F89-AC67-093894759099}"/>
          </ac:spMkLst>
        </pc:spChg>
        <pc:spChg chg="mod">
          <ac:chgData name="Mariam Daniela Tristancho Pineda (PTA SAS)" userId="a45a17f7-7950-4cb5-bfab-f5c894f959a9" providerId="ADAL" clId="{7EBB4E1E-93A9-4035-834A-9A0B60182E9F}" dt="2020-10-06T13:26:56.652" v="233" actId="1076"/>
          <ac:spMkLst>
            <pc:docMk/>
            <pc:sldMk cId="2857089145" sldId="2134804311"/>
            <ac:spMk id="100" creationId="{1835F856-5B59-4AFF-86DE-2F0968B76CF7}"/>
          </ac:spMkLst>
        </pc:spChg>
        <pc:spChg chg="mod">
          <ac:chgData name="Mariam Daniela Tristancho Pineda (PTA SAS)" userId="a45a17f7-7950-4cb5-bfab-f5c894f959a9" providerId="ADAL" clId="{7EBB4E1E-93A9-4035-834A-9A0B60182E9F}" dt="2020-10-06T13:24:05.991" v="128" actId="13926"/>
          <ac:spMkLst>
            <pc:docMk/>
            <pc:sldMk cId="2857089145" sldId="2134804311"/>
            <ac:spMk id="101" creationId="{44FF1F0B-7DB4-4DE9-84A8-F7DD4E54D710}"/>
          </ac:spMkLst>
        </pc:spChg>
        <pc:spChg chg="mod">
          <ac:chgData name="Mariam Daniela Tristancho Pineda (PTA SAS)" userId="a45a17f7-7950-4cb5-bfab-f5c894f959a9" providerId="ADAL" clId="{7EBB4E1E-93A9-4035-834A-9A0B60182E9F}" dt="2020-10-06T13:25:42.525" v="209" actId="1037"/>
          <ac:spMkLst>
            <pc:docMk/>
            <pc:sldMk cId="2857089145" sldId="2134804311"/>
            <ac:spMk id="102" creationId="{101F3273-AA10-47F1-9872-07AD50130DF5}"/>
          </ac:spMkLst>
        </pc:spChg>
        <pc:spChg chg="mod">
          <ac:chgData name="Mariam Daniela Tristancho Pineda (PTA SAS)" userId="a45a17f7-7950-4cb5-bfab-f5c894f959a9" providerId="ADAL" clId="{7EBB4E1E-93A9-4035-834A-9A0B60182E9F}" dt="2020-10-06T13:26:56.652" v="233" actId="1076"/>
          <ac:spMkLst>
            <pc:docMk/>
            <pc:sldMk cId="2857089145" sldId="2134804311"/>
            <ac:spMk id="103" creationId="{BDBCDC72-F935-45A4-AE31-C045019965AF}"/>
          </ac:spMkLst>
        </pc:spChg>
        <pc:spChg chg="mod">
          <ac:chgData name="Mariam Daniela Tristancho Pineda (PTA SAS)" userId="a45a17f7-7950-4cb5-bfab-f5c894f959a9" providerId="ADAL" clId="{7EBB4E1E-93A9-4035-834A-9A0B60182E9F}" dt="2020-10-06T13:30:08.618" v="296" actId="1036"/>
          <ac:spMkLst>
            <pc:docMk/>
            <pc:sldMk cId="2857089145" sldId="2134804311"/>
            <ac:spMk id="104" creationId="{0326A105-08B6-409E-9596-07BD7645DEAE}"/>
          </ac:spMkLst>
        </pc:spChg>
        <pc:spChg chg="mod">
          <ac:chgData name="Mariam Daniela Tristancho Pineda (PTA SAS)" userId="a45a17f7-7950-4cb5-bfab-f5c894f959a9" providerId="ADAL" clId="{7EBB4E1E-93A9-4035-834A-9A0B60182E9F}" dt="2020-10-06T13:26:56.652" v="233" actId="1076"/>
          <ac:spMkLst>
            <pc:docMk/>
            <pc:sldMk cId="2857089145" sldId="2134804311"/>
            <ac:spMk id="105" creationId="{DC633C75-4D21-4E37-ABEB-B69D06C0A224}"/>
          </ac:spMkLst>
        </pc:spChg>
        <pc:spChg chg="mod">
          <ac:chgData name="Mariam Daniela Tristancho Pineda (PTA SAS)" userId="a45a17f7-7950-4cb5-bfab-f5c894f959a9" providerId="ADAL" clId="{7EBB4E1E-93A9-4035-834A-9A0B60182E9F}" dt="2020-10-06T13:26:56.652" v="233" actId="1076"/>
          <ac:spMkLst>
            <pc:docMk/>
            <pc:sldMk cId="2857089145" sldId="2134804311"/>
            <ac:spMk id="106" creationId="{8BF155F6-9EE4-4410-BB22-DEE4B18E9FEF}"/>
          </ac:spMkLst>
        </pc:spChg>
        <pc:spChg chg="mod">
          <ac:chgData name="Mariam Daniela Tristancho Pineda (PTA SAS)" userId="a45a17f7-7950-4cb5-bfab-f5c894f959a9" providerId="ADAL" clId="{7EBB4E1E-93A9-4035-834A-9A0B60182E9F}" dt="2020-10-06T13:30:08.618" v="296" actId="1036"/>
          <ac:spMkLst>
            <pc:docMk/>
            <pc:sldMk cId="2857089145" sldId="2134804311"/>
            <ac:spMk id="107" creationId="{4802A65C-C4BA-49C6-A107-DC404BE5C336}"/>
          </ac:spMkLst>
        </pc:spChg>
        <pc:spChg chg="mod">
          <ac:chgData name="Mariam Daniela Tristancho Pineda (PTA SAS)" userId="a45a17f7-7950-4cb5-bfab-f5c894f959a9" providerId="ADAL" clId="{7EBB4E1E-93A9-4035-834A-9A0B60182E9F}" dt="2020-10-06T13:30:08.618" v="296" actId="1036"/>
          <ac:spMkLst>
            <pc:docMk/>
            <pc:sldMk cId="2857089145" sldId="2134804311"/>
            <ac:spMk id="108" creationId="{E7417F2C-4445-4433-AA31-1B1D9A1C89B3}"/>
          </ac:spMkLst>
        </pc:spChg>
        <pc:spChg chg="mod">
          <ac:chgData name="Mariam Daniela Tristancho Pineda (PTA SAS)" userId="a45a17f7-7950-4cb5-bfab-f5c894f959a9" providerId="ADAL" clId="{7EBB4E1E-93A9-4035-834A-9A0B60182E9F}" dt="2020-10-06T13:29:31.988" v="280" actId="20577"/>
          <ac:spMkLst>
            <pc:docMk/>
            <pc:sldMk cId="2857089145" sldId="2134804311"/>
            <ac:spMk id="109" creationId="{08385488-E147-46D8-B063-DA33E0733CB0}"/>
          </ac:spMkLst>
        </pc:spChg>
        <pc:spChg chg="mod">
          <ac:chgData name="Mariam Daniela Tristancho Pineda (PTA SAS)" userId="a45a17f7-7950-4cb5-bfab-f5c894f959a9" providerId="ADAL" clId="{7EBB4E1E-93A9-4035-834A-9A0B60182E9F}" dt="2020-10-06T13:25:32.284" v="178" actId="1037"/>
          <ac:spMkLst>
            <pc:docMk/>
            <pc:sldMk cId="2857089145" sldId="2134804311"/>
            <ac:spMk id="110" creationId="{1B70395F-81C2-4B2E-ACAD-1A28A2D30AE3}"/>
          </ac:spMkLst>
        </pc:spChg>
        <pc:spChg chg="mod">
          <ac:chgData name="Mariam Daniela Tristancho Pineda (PTA SAS)" userId="a45a17f7-7950-4cb5-bfab-f5c894f959a9" providerId="ADAL" clId="{7EBB4E1E-93A9-4035-834A-9A0B60182E9F}" dt="2020-10-06T13:25:32.284" v="178" actId="1037"/>
          <ac:spMkLst>
            <pc:docMk/>
            <pc:sldMk cId="2857089145" sldId="2134804311"/>
            <ac:spMk id="111" creationId="{E2D710C4-D10D-431C-8002-D7A8CD9F9791}"/>
          </ac:spMkLst>
        </pc:spChg>
        <pc:spChg chg="mod">
          <ac:chgData name="Mariam Daniela Tristancho Pineda (PTA SAS)" userId="a45a17f7-7950-4cb5-bfab-f5c894f959a9" providerId="ADAL" clId="{7EBB4E1E-93A9-4035-834A-9A0B60182E9F}" dt="2020-10-06T13:26:50.724" v="232" actId="1076"/>
          <ac:spMkLst>
            <pc:docMk/>
            <pc:sldMk cId="2857089145" sldId="2134804311"/>
            <ac:spMk id="112" creationId="{B4C1BF04-1012-45AC-9EB0-AC2838F84533}"/>
          </ac:spMkLst>
        </pc:spChg>
        <pc:spChg chg="mod">
          <ac:chgData name="Mariam Daniela Tristancho Pineda (PTA SAS)" userId="a45a17f7-7950-4cb5-bfab-f5c894f959a9" providerId="ADAL" clId="{7EBB4E1E-93A9-4035-834A-9A0B60182E9F}" dt="2020-10-06T13:25:32.284" v="178" actId="1037"/>
          <ac:spMkLst>
            <pc:docMk/>
            <pc:sldMk cId="2857089145" sldId="2134804311"/>
            <ac:spMk id="113" creationId="{D5B58FCE-2D1A-4950-97BC-0B5CDA0B7BD1}"/>
          </ac:spMkLst>
        </pc:spChg>
        <pc:spChg chg="mod">
          <ac:chgData name="Mariam Daniela Tristancho Pineda (PTA SAS)" userId="a45a17f7-7950-4cb5-bfab-f5c894f959a9" providerId="ADAL" clId="{7EBB4E1E-93A9-4035-834A-9A0B60182E9F}" dt="2020-10-06T13:25:32.284" v="178" actId="1037"/>
          <ac:spMkLst>
            <pc:docMk/>
            <pc:sldMk cId="2857089145" sldId="2134804311"/>
            <ac:spMk id="114" creationId="{C750392A-C581-4AE8-9E2B-5AF290039A2A}"/>
          </ac:spMkLst>
        </pc:spChg>
        <pc:spChg chg="mod">
          <ac:chgData name="Mariam Daniela Tristancho Pineda (PTA SAS)" userId="a45a17f7-7950-4cb5-bfab-f5c894f959a9" providerId="ADAL" clId="{7EBB4E1E-93A9-4035-834A-9A0B60182E9F}" dt="2020-10-06T19:48:50.712" v="2352" actId="1037"/>
          <ac:spMkLst>
            <pc:docMk/>
            <pc:sldMk cId="2857089145" sldId="2134804311"/>
            <ac:spMk id="115" creationId="{CC79D5D5-997B-4DF3-BD6B-3DDBE2D2F733}"/>
          </ac:spMkLst>
        </pc:spChg>
        <pc:spChg chg="mod">
          <ac:chgData name="Mariam Daniela Tristancho Pineda (PTA SAS)" userId="a45a17f7-7950-4cb5-bfab-f5c894f959a9" providerId="ADAL" clId="{7EBB4E1E-93A9-4035-834A-9A0B60182E9F}" dt="2020-10-06T19:48:38.082" v="2348" actId="14100"/>
          <ac:spMkLst>
            <pc:docMk/>
            <pc:sldMk cId="2857089145" sldId="2134804311"/>
            <ac:spMk id="116" creationId="{5341AE8D-B47D-48FF-A691-EC1C633FE103}"/>
          </ac:spMkLst>
        </pc:spChg>
        <pc:spChg chg="mod">
          <ac:chgData name="Mariam Daniela Tristancho Pineda (PTA SAS)" userId="a45a17f7-7950-4cb5-bfab-f5c894f959a9" providerId="ADAL" clId="{7EBB4E1E-93A9-4035-834A-9A0B60182E9F}" dt="2020-10-06T19:48:53.195" v="2354" actId="1037"/>
          <ac:spMkLst>
            <pc:docMk/>
            <pc:sldMk cId="2857089145" sldId="2134804311"/>
            <ac:spMk id="117" creationId="{46DD0295-1126-4B1C-9336-43E96FDBD16A}"/>
          </ac:spMkLst>
        </pc:spChg>
        <pc:spChg chg="mod">
          <ac:chgData name="Mariam Daniela Tristancho Pineda (PTA SAS)" userId="a45a17f7-7950-4cb5-bfab-f5c894f959a9" providerId="ADAL" clId="{7EBB4E1E-93A9-4035-834A-9A0B60182E9F}" dt="2020-10-06T19:48:58.146" v="2357" actId="1035"/>
          <ac:spMkLst>
            <pc:docMk/>
            <pc:sldMk cId="2857089145" sldId="2134804311"/>
            <ac:spMk id="118" creationId="{38E691F8-3087-4A9E-8D13-4A26B8017BCC}"/>
          </ac:spMkLst>
        </pc:spChg>
        <pc:spChg chg="add mod">
          <ac:chgData name="Mariam Daniela Tristancho Pineda (PTA SAS)" userId="a45a17f7-7950-4cb5-bfab-f5c894f959a9" providerId="ADAL" clId="{7EBB4E1E-93A9-4035-834A-9A0B60182E9F}" dt="2020-10-06T13:27:24.163" v="250" actId="14100"/>
          <ac:spMkLst>
            <pc:docMk/>
            <pc:sldMk cId="2857089145" sldId="2134804311"/>
            <ac:spMk id="119" creationId="{02180032-97BC-43A8-A7CB-A15D89764F81}"/>
          </ac:spMkLst>
        </pc:spChg>
        <pc:spChg chg="add del mod">
          <ac:chgData name="Mariam Daniela Tristancho Pineda (PTA SAS)" userId="a45a17f7-7950-4cb5-bfab-f5c894f959a9" providerId="ADAL" clId="{7EBB4E1E-93A9-4035-834A-9A0B60182E9F}" dt="2020-10-06T13:27:32.541" v="253" actId="478"/>
          <ac:spMkLst>
            <pc:docMk/>
            <pc:sldMk cId="2857089145" sldId="2134804311"/>
            <ac:spMk id="120" creationId="{4A70E067-09C0-422F-BC16-7518248D26E7}"/>
          </ac:spMkLst>
        </pc:spChg>
        <pc:spChg chg="mod">
          <ac:chgData name="Mariam Daniela Tristancho Pineda (PTA SAS)" userId="a45a17f7-7950-4cb5-bfab-f5c894f959a9" providerId="ADAL" clId="{7EBB4E1E-93A9-4035-834A-9A0B60182E9F}" dt="2020-10-06T13:27:00.447" v="234"/>
          <ac:spMkLst>
            <pc:docMk/>
            <pc:sldMk cId="2857089145" sldId="2134804311"/>
            <ac:spMk id="122" creationId="{8408C77C-6F46-44F0-B178-66098F480245}"/>
          </ac:spMkLst>
        </pc:spChg>
        <pc:spChg chg="mod">
          <ac:chgData name="Mariam Daniela Tristancho Pineda (PTA SAS)" userId="a45a17f7-7950-4cb5-bfab-f5c894f959a9" providerId="ADAL" clId="{7EBB4E1E-93A9-4035-834A-9A0B60182E9F}" dt="2020-10-06T13:27:05.872" v="237" actId="20577"/>
          <ac:spMkLst>
            <pc:docMk/>
            <pc:sldMk cId="2857089145" sldId="2134804311"/>
            <ac:spMk id="123" creationId="{A25AE849-C2A9-4E41-A615-98537AC737F2}"/>
          </ac:spMkLst>
        </pc:spChg>
        <pc:spChg chg="mod">
          <ac:chgData name="Mariam Daniela Tristancho Pineda (PTA SAS)" userId="a45a17f7-7950-4cb5-bfab-f5c894f959a9" providerId="ADAL" clId="{7EBB4E1E-93A9-4035-834A-9A0B60182E9F}" dt="2020-10-06T13:25:42.525" v="209" actId="1037"/>
          <ac:spMkLst>
            <pc:docMk/>
            <pc:sldMk cId="2857089145" sldId="2134804311"/>
            <ac:spMk id="146" creationId="{D86974CC-32BF-439F-A6E2-D1E82520294D}"/>
          </ac:spMkLst>
        </pc:spChg>
        <pc:grpChg chg="mod">
          <ac:chgData name="Mariam Daniela Tristancho Pineda (PTA SAS)" userId="a45a17f7-7950-4cb5-bfab-f5c894f959a9" providerId="ADAL" clId="{7EBB4E1E-93A9-4035-834A-9A0B60182E9F}" dt="2020-10-06T13:26:56.652" v="233" actId="1076"/>
          <ac:grpSpMkLst>
            <pc:docMk/>
            <pc:sldMk cId="2857089145" sldId="2134804311"/>
            <ac:grpSpMk id="6" creationId="{CC434849-3074-4611-B817-AC1F162296B9}"/>
          </ac:grpSpMkLst>
        </pc:grpChg>
        <pc:grpChg chg="add mod">
          <ac:chgData name="Mariam Daniela Tristancho Pineda (PTA SAS)" userId="a45a17f7-7950-4cb5-bfab-f5c894f959a9" providerId="ADAL" clId="{7EBB4E1E-93A9-4035-834A-9A0B60182E9F}" dt="2020-10-06T13:27:03.789" v="235" actId="1076"/>
          <ac:grpSpMkLst>
            <pc:docMk/>
            <pc:sldMk cId="2857089145" sldId="2134804311"/>
            <ac:grpSpMk id="121" creationId="{3EAAF245-D19A-450A-A46B-A2B780EFD861}"/>
          </ac:grpSpMkLst>
        </pc:grpChg>
      </pc:sldChg>
      <pc:sldChg chg="new del">
        <pc:chgData name="Mariam Daniela Tristancho Pineda (PTA SAS)" userId="a45a17f7-7950-4cb5-bfab-f5c894f959a9" providerId="ADAL" clId="{7EBB4E1E-93A9-4035-834A-9A0B60182E9F}" dt="2020-10-06T13:35:54.349" v="342" actId="47"/>
        <pc:sldMkLst>
          <pc:docMk/>
          <pc:sldMk cId="40953114" sldId="2134804312"/>
        </pc:sldMkLst>
      </pc:sldChg>
      <pc:sldChg chg="addSp delSp modSp new mod ord">
        <pc:chgData name="Mariam Daniela Tristancho Pineda (PTA SAS)" userId="a45a17f7-7950-4cb5-bfab-f5c894f959a9" providerId="ADAL" clId="{7EBB4E1E-93A9-4035-834A-9A0B60182E9F}" dt="2020-10-06T16:42:39.357" v="1114" actId="113"/>
        <pc:sldMkLst>
          <pc:docMk/>
          <pc:sldMk cId="2155305328" sldId="2134804312"/>
        </pc:sldMkLst>
        <pc:spChg chg="del">
          <ac:chgData name="Mariam Daniela Tristancho Pineda (PTA SAS)" userId="a45a17f7-7950-4cb5-bfab-f5c894f959a9" providerId="ADAL" clId="{7EBB4E1E-93A9-4035-834A-9A0B60182E9F}" dt="2020-10-06T13:36:15.306" v="350" actId="478"/>
          <ac:spMkLst>
            <pc:docMk/>
            <pc:sldMk cId="2155305328" sldId="2134804312"/>
            <ac:spMk id="3" creationId="{FABD95B2-B4B3-45F0-B3B7-8AD48DB1E66E}"/>
          </ac:spMkLst>
        </pc:spChg>
        <pc:spChg chg="add del mod">
          <ac:chgData name="Mariam Daniela Tristancho Pineda (PTA SAS)" userId="a45a17f7-7950-4cb5-bfab-f5c894f959a9" providerId="ADAL" clId="{7EBB4E1E-93A9-4035-834A-9A0B60182E9F}" dt="2020-10-06T13:36:13.997" v="349"/>
          <ac:spMkLst>
            <pc:docMk/>
            <pc:sldMk cId="2155305328" sldId="2134804312"/>
            <ac:spMk id="8" creationId="{7E667619-97EA-48A7-9738-EC8740EAF0EC}"/>
          </ac:spMkLst>
        </pc:spChg>
        <pc:spChg chg="add del mod">
          <ac:chgData name="Mariam Daniela Tristancho Pineda (PTA SAS)" userId="a45a17f7-7950-4cb5-bfab-f5c894f959a9" providerId="ADAL" clId="{7EBB4E1E-93A9-4035-834A-9A0B60182E9F}" dt="2020-10-06T13:36:13.997" v="349"/>
          <ac:spMkLst>
            <pc:docMk/>
            <pc:sldMk cId="2155305328" sldId="2134804312"/>
            <ac:spMk id="9" creationId="{BE25D214-4966-448E-9441-A66564F0B6A6}"/>
          </ac:spMkLst>
        </pc:spChg>
        <pc:spChg chg="add del mod">
          <ac:chgData name="Mariam Daniela Tristancho Pineda (PTA SAS)" userId="a45a17f7-7950-4cb5-bfab-f5c894f959a9" providerId="ADAL" clId="{7EBB4E1E-93A9-4035-834A-9A0B60182E9F}" dt="2020-10-06T13:36:13.997" v="349"/>
          <ac:spMkLst>
            <pc:docMk/>
            <pc:sldMk cId="2155305328" sldId="2134804312"/>
            <ac:spMk id="10" creationId="{01449AEE-11DF-49E1-908C-068E1670C3F4}"/>
          </ac:spMkLst>
        </pc:spChg>
        <pc:spChg chg="add del mod">
          <ac:chgData name="Mariam Daniela Tristancho Pineda (PTA SAS)" userId="a45a17f7-7950-4cb5-bfab-f5c894f959a9" providerId="ADAL" clId="{7EBB4E1E-93A9-4035-834A-9A0B60182E9F}" dt="2020-10-06T13:36:32.517" v="354" actId="478"/>
          <ac:spMkLst>
            <pc:docMk/>
            <pc:sldMk cId="2155305328" sldId="2134804312"/>
            <ac:spMk id="13" creationId="{3BA3A1EA-5D2F-4BF7-9930-3792ECAF2E31}"/>
          </ac:spMkLst>
        </pc:spChg>
        <pc:spChg chg="add mod">
          <ac:chgData name="Mariam Daniela Tristancho Pineda (PTA SAS)" userId="a45a17f7-7950-4cb5-bfab-f5c894f959a9" providerId="ADAL" clId="{7EBB4E1E-93A9-4035-834A-9A0B60182E9F}" dt="2020-10-06T16:42:28.871" v="1110" actId="20577"/>
          <ac:spMkLst>
            <pc:docMk/>
            <pc:sldMk cId="2155305328" sldId="2134804312"/>
            <ac:spMk id="17" creationId="{93C535B7-C9A2-4E17-A24E-412DBB5A3BFE}"/>
          </ac:spMkLst>
        </pc:spChg>
        <pc:spChg chg="add mod">
          <ac:chgData name="Mariam Daniela Tristancho Pineda (PTA SAS)" userId="a45a17f7-7950-4cb5-bfab-f5c894f959a9" providerId="ADAL" clId="{7EBB4E1E-93A9-4035-834A-9A0B60182E9F}" dt="2020-10-06T13:36:15.752" v="351"/>
          <ac:spMkLst>
            <pc:docMk/>
            <pc:sldMk cId="2155305328" sldId="2134804312"/>
            <ac:spMk id="18" creationId="{2B7C12C9-D304-40FC-8A34-6AE4B4CBCFE8}"/>
          </ac:spMkLst>
        </pc:spChg>
        <pc:spChg chg="add mod">
          <ac:chgData name="Mariam Daniela Tristancho Pineda (PTA SAS)" userId="a45a17f7-7950-4cb5-bfab-f5c894f959a9" providerId="ADAL" clId="{7EBB4E1E-93A9-4035-834A-9A0B60182E9F}" dt="2020-10-06T16:42:39.357" v="1114" actId="113"/>
          <ac:spMkLst>
            <pc:docMk/>
            <pc:sldMk cId="2155305328" sldId="2134804312"/>
            <ac:spMk id="19" creationId="{E8E47420-DDA6-4272-8155-1CCB73EC576B}"/>
          </ac:spMkLst>
        </pc:spChg>
        <pc:spChg chg="add del mod">
          <ac:chgData name="Mariam Daniela Tristancho Pineda (PTA SAS)" userId="a45a17f7-7950-4cb5-bfab-f5c894f959a9" providerId="ADAL" clId="{7EBB4E1E-93A9-4035-834A-9A0B60182E9F}" dt="2020-10-06T16:16:50.735" v="781" actId="478"/>
          <ac:spMkLst>
            <pc:docMk/>
            <pc:sldMk cId="2155305328" sldId="2134804312"/>
            <ac:spMk id="21" creationId="{5B65C2A4-1343-40ED-9C00-63D324D044EF}"/>
          </ac:spMkLst>
        </pc:spChg>
        <pc:graphicFrameChg chg="add del mod">
          <ac:chgData name="Mariam Daniela Tristancho Pineda (PTA SAS)" userId="a45a17f7-7950-4cb5-bfab-f5c894f959a9" providerId="ADAL" clId="{7EBB4E1E-93A9-4035-834A-9A0B60182E9F}" dt="2020-10-06T13:36:13.997" v="349"/>
          <ac:graphicFrameMkLst>
            <pc:docMk/>
            <pc:sldMk cId="2155305328" sldId="2134804312"/>
            <ac:graphicFrameMk id="4" creationId="{23F04052-9BDD-44B8-8CBD-04A516637D9F}"/>
          </ac:graphicFrameMkLst>
        </pc:graphicFrameChg>
        <pc:graphicFrameChg chg="add del mod">
          <ac:chgData name="Mariam Daniela Tristancho Pineda (PTA SAS)" userId="a45a17f7-7950-4cb5-bfab-f5c894f959a9" providerId="ADAL" clId="{7EBB4E1E-93A9-4035-834A-9A0B60182E9F}" dt="2020-10-06T13:36:13.997" v="349"/>
          <ac:graphicFrameMkLst>
            <pc:docMk/>
            <pc:sldMk cId="2155305328" sldId="2134804312"/>
            <ac:graphicFrameMk id="5" creationId="{8D6EEB2E-D420-4AD3-AFEF-9C5B23F2391F}"/>
          </ac:graphicFrameMkLst>
        </pc:graphicFrameChg>
        <pc:graphicFrameChg chg="add del mod">
          <ac:chgData name="Mariam Daniela Tristancho Pineda (PTA SAS)" userId="a45a17f7-7950-4cb5-bfab-f5c894f959a9" providerId="ADAL" clId="{7EBB4E1E-93A9-4035-834A-9A0B60182E9F}" dt="2020-10-06T13:36:13.997" v="349"/>
          <ac:graphicFrameMkLst>
            <pc:docMk/>
            <pc:sldMk cId="2155305328" sldId="2134804312"/>
            <ac:graphicFrameMk id="6" creationId="{440A3027-EB22-4441-B023-4FA38F68568C}"/>
          </ac:graphicFrameMkLst>
        </pc:graphicFrameChg>
        <pc:graphicFrameChg chg="add del mod">
          <ac:chgData name="Mariam Daniela Tristancho Pineda (PTA SAS)" userId="a45a17f7-7950-4cb5-bfab-f5c894f959a9" providerId="ADAL" clId="{7EBB4E1E-93A9-4035-834A-9A0B60182E9F}" dt="2020-10-06T13:36:13.997" v="349"/>
          <ac:graphicFrameMkLst>
            <pc:docMk/>
            <pc:sldMk cId="2155305328" sldId="2134804312"/>
            <ac:graphicFrameMk id="7" creationId="{BE028096-5DEE-4B00-8C81-454DD7B93D96}"/>
          </ac:graphicFrameMkLst>
        </pc:graphicFrameChg>
        <pc:graphicFrameChg chg="add del mod">
          <ac:chgData name="Mariam Daniela Tristancho Pineda (PTA SAS)" userId="a45a17f7-7950-4cb5-bfab-f5c894f959a9" providerId="ADAL" clId="{7EBB4E1E-93A9-4035-834A-9A0B60182E9F}" dt="2020-10-06T13:36:13.997" v="349"/>
          <ac:graphicFrameMkLst>
            <pc:docMk/>
            <pc:sldMk cId="2155305328" sldId="2134804312"/>
            <ac:graphicFrameMk id="11" creationId="{45EC9E54-CEB2-4F7B-8293-0202EF9C9B15}"/>
          </ac:graphicFrameMkLst>
        </pc:graphicFrameChg>
        <pc:graphicFrameChg chg="add mod">
          <ac:chgData name="Mariam Daniela Tristancho Pineda (PTA SAS)" userId="a45a17f7-7950-4cb5-bfab-f5c894f959a9" providerId="ADAL" clId="{7EBB4E1E-93A9-4035-834A-9A0B60182E9F}" dt="2020-10-06T13:36:15.752" v="351"/>
          <ac:graphicFrameMkLst>
            <pc:docMk/>
            <pc:sldMk cId="2155305328" sldId="2134804312"/>
            <ac:graphicFrameMk id="12" creationId="{9439FC51-FAA5-4F33-9DCD-B57BD3BB8202}"/>
          </ac:graphicFrameMkLst>
        </pc:graphicFrameChg>
        <pc:graphicFrameChg chg="add mod">
          <ac:chgData name="Mariam Daniela Tristancho Pineda (PTA SAS)" userId="a45a17f7-7950-4cb5-bfab-f5c894f959a9" providerId="ADAL" clId="{7EBB4E1E-93A9-4035-834A-9A0B60182E9F}" dt="2020-10-06T13:36:15.752" v="351"/>
          <ac:graphicFrameMkLst>
            <pc:docMk/>
            <pc:sldMk cId="2155305328" sldId="2134804312"/>
            <ac:graphicFrameMk id="14" creationId="{F4A826D5-8374-42B6-A7F4-92AB3863D1DC}"/>
          </ac:graphicFrameMkLst>
        </pc:graphicFrameChg>
        <pc:graphicFrameChg chg="add mod">
          <ac:chgData name="Mariam Daniela Tristancho Pineda (PTA SAS)" userId="a45a17f7-7950-4cb5-bfab-f5c894f959a9" providerId="ADAL" clId="{7EBB4E1E-93A9-4035-834A-9A0B60182E9F}" dt="2020-10-06T13:36:29.835" v="353" actId="1076"/>
          <ac:graphicFrameMkLst>
            <pc:docMk/>
            <pc:sldMk cId="2155305328" sldId="2134804312"/>
            <ac:graphicFrameMk id="15" creationId="{F0FCCEF7-BDB0-4FE6-A297-B6EBA9095F7B}"/>
          </ac:graphicFrameMkLst>
        </pc:graphicFrameChg>
        <pc:graphicFrameChg chg="add mod">
          <ac:chgData name="Mariam Daniela Tristancho Pineda (PTA SAS)" userId="a45a17f7-7950-4cb5-bfab-f5c894f959a9" providerId="ADAL" clId="{7EBB4E1E-93A9-4035-834A-9A0B60182E9F}" dt="2020-10-06T13:36:15.752" v="351"/>
          <ac:graphicFrameMkLst>
            <pc:docMk/>
            <pc:sldMk cId="2155305328" sldId="2134804312"/>
            <ac:graphicFrameMk id="16" creationId="{4B3EDF18-E96B-49C8-8701-0D322C71A303}"/>
          </ac:graphicFrameMkLst>
        </pc:graphicFrameChg>
        <pc:graphicFrameChg chg="add mod">
          <ac:chgData name="Mariam Daniela Tristancho Pineda (PTA SAS)" userId="a45a17f7-7950-4cb5-bfab-f5c894f959a9" providerId="ADAL" clId="{7EBB4E1E-93A9-4035-834A-9A0B60182E9F}" dt="2020-10-06T13:36:15.752" v="351"/>
          <ac:graphicFrameMkLst>
            <pc:docMk/>
            <pc:sldMk cId="2155305328" sldId="2134804312"/>
            <ac:graphicFrameMk id="20" creationId="{4B220045-A4C1-4D51-A3D0-20FAFD7EDE85}"/>
          </ac:graphicFrameMkLst>
        </pc:graphicFrameChg>
      </pc:sldChg>
      <pc:sldChg chg="modSp add mod">
        <pc:chgData name="Mariam Daniela Tristancho Pineda (PTA SAS)" userId="a45a17f7-7950-4cb5-bfab-f5c894f959a9" providerId="ADAL" clId="{7EBB4E1E-93A9-4035-834A-9A0B60182E9F}" dt="2020-10-06T20:03:22.346" v="2517" actId="1037"/>
        <pc:sldMkLst>
          <pc:docMk/>
          <pc:sldMk cId="4121415553" sldId="2134804414"/>
        </pc:sldMkLst>
        <pc:spChg chg="mod">
          <ac:chgData name="Mariam Daniela Tristancho Pineda (PTA SAS)" userId="a45a17f7-7950-4cb5-bfab-f5c894f959a9" providerId="ADAL" clId="{7EBB4E1E-93A9-4035-834A-9A0B60182E9F}" dt="2020-10-06T20:03:22.346" v="2517" actId="1037"/>
          <ac:spMkLst>
            <pc:docMk/>
            <pc:sldMk cId="4121415553" sldId="2134804414"/>
            <ac:spMk id="12" creationId="{DA3E0F87-051D-4FAB-97B2-AA77D5BD2AB7}"/>
          </ac:spMkLst>
        </pc:spChg>
        <pc:spChg chg="mod">
          <ac:chgData name="Mariam Daniela Tristancho Pineda (PTA SAS)" userId="a45a17f7-7950-4cb5-bfab-f5c894f959a9" providerId="ADAL" clId="{7EBB4E1E-93A9-4035-834A-9A0B60182E9F}" dt="2020-10-06T14:00:43.041" v="737" actId="1076"/>
          <ac:spMkLst>
            <pc:docMk/>
            <pc:sldMk cId="4121415553" sldId="2134804414"/>
            <ac:spMk id="18" creationId="{83B7C534-529F-4519-88B8-45BE1CCCDBE0}"/>
          </ac:spMkLst>
        </pc:spChg>
        <pc:spChg chg="mod">
          <ac:chgData name="Mariam Daniela Tristancho Pineda (PTA SAS)" userId="a45a17f7-7950-4cb5-bfab-f5c894f959a9" providerId="ADAL" clId="{7EBB4E1E-93A9-4035-834A-9A0B60182E9F}" dt="2020-10-06T14:00:43.041" v="737" actId="1076"/>
          <ac:spMkLst>
            <pc:docMk/>
            <pc:sldMk cId="4121415553" sldId="2134804414"/>
            <ac:spMk id="20" creationId="{403480A8-492D-4F93-8D46-94905F0CDFD8}"/>
          </ac:spMkLst>
        </pc:spChg>
        <pc:spChg chg="mod">
          <ac:chgData name="Mariam Daniela Tristancho Pineda (PTA SAS)" userId="a45a17f7-7950-4cb5-bfab-f5c894f959a9" providerId="ADAL" clId="{7EBB4E1E-93A9-4035-834A-9A0B60182E9F}" dt="2020-10-06T14:00:43.041" v="737" actId="1076"/>
          <ac:spMkLst>
            <pc:docMk/>
            <pc:sldMk cId="4121415553" sldId="2134804414"/>
            <ac:spMk id="22" creationId="{4D19C3B8-1FE2-4573-8FCE-E505886A5191}"/>
          </ac:spMkLst>
        </pc:spChg>
        <pc:spChg chg="mod">
          <ac:chgData name="Mariam Daniela Tristancho Pineda (PTA SAS)" userId="a45a17f7-7950-4cb5-bfab-f5c894f959a9" providerId="ADAL" clId="{7EBB4E1E-93A9-4035-834A-9A0B60182E9F}" dt="2020-10-06T20:03:14.672" v="2509" actId="1036"/>
          <ac:spMkLst>
            <pc:docMk/>
            <pc:sldMk cId="4121415553" sldId="2134804414"/>
            <ac:spMk id="26" creationId="{6C197A61-16CE-45A1-A4EC-A2D9EBC522A6}"/>
          </ac:spMkLst>
        </pc:spChg>
        <pc:spChg chg="mod">
          <ac:chgData name="Mariam Daniela Tristancho Pineda (PTA SAS)" userId="a45a17f7-7950-4cb5-bfab-f5c894f959a9" providerId="ADAL" clId="{7EBB4E1E-93A9-4035-834A-9A0B60182E9F}" dt="2020-10-06T20:03:14.672" v="2509" actId="1036"/>
          <ac:spMkLst>
            <pc:docMk/>
            <pc:sldMk cId="4121415553" sldId="2134804414"/>
            <ac:spMk id="28" creationId="{F6A39EDD-4AB2-4CDE-9781-439D59B8706D}"/>
          </ac:spMkLst>
        </pc:spChg>
        <pc:spChg chg="mod">
          <ac:chgData name="Mariam Daniela Tristancho Pineda (PTA SAS)" userId="a45a17f7-7950-4cb5-bfab-f5c894f959a9" providerId="ADAL" clId="{7EBB4E1E-93A9-4035-834A-9A0B60182E9F}" dt="2020-10-06T20:03:14.672" v="2509" actId="1036"/>
          <ac:spMkLst>
            <pc:docMk/>
            <pc:sldMk cId="4121415553" sldId="2134804414"/>
            <ac:spMk id="30" creationId="{1B95667F-06E7-4C43-95A7-8F31DCEDA1B7}"/>
          </ac:spMkLst>
        </pc:spChg>
        <pc:spChg chg="mod">
          <ac:chgData name="Mariam Daniela Tristancho Pineda (PTA SAS)" userId="a45a17f7-7950-4cb5-bfab-f5c894f959a9" providerId="ADAL" clId="{7EBB4E1E-93A9-4035-834A-9A0B60182E9F}" dt="2020-10-06T20:03:14.672" v="2509" actId="1036"/>
          <ac:spMkLst>
            <pc:docMk/>
            <pc:sldMk cId="4121415553" sldId="2134804414"/>
            <ac:spMk id="32" creationId="{73499DFB-4B17-4744-B739-07C38AA846BF}"/>
          </ac:spMkLst>
        </pc:spChg>
        <pc:graphicFrameChg chg="mod">
          <ac:chgData name="Mariam Daniela Tristancho Pineda (PTA SAS)" userId="a45a17f7-7950-4cb5-bfab-f5c894f959a9" providerId="ADAL" clId="{7EBB4E1E-93A9-4035-834A-9A0B60182E9F}" dt="2020-10-06T20:03:14.672" v="2509" actId="1036"/>
          <ac:graphicFrameMkLst>
            <pc:docMk/>
            <pc:sldMk cId="4121415553" sldId="2134804414"/>
            <ac:graphicFrameMk id="14" creationId="{FC912B18-D631-4203-8148-C29D5E8932C4}"/>
          </ac:graphicFrameMkLst>
        </pc:graphicFrameChg>
        <pc:graphicFrameChg chg="mod">
          <ac:chgData name="Mariam Daniela Tristancho Pineda (PTA SAS)" userId="a45a17f7-7950-4cb5-bfab-f5c894f959a9" providerId="ADAL" clId="{7EBB4E1E-93A9-4035-834A-9A0B60182E9F}" dt="2020-10-06T14:00:43.041" v="737" actId="1076"/>
          <ac:graphicFrameMkLst>
            <pc:docMk/>
            <pc:sldMk cId="4121415553" sldId="2134804414"/>
            <ac:graphicFrameMk id="16" creationId="{5D4BBD0F-5069-4E96-9460-B89DFC747D71}"/>
          </ac:graphicFrameMkLst>
        </pc:graphicFrameChg>
      </pc:sldChg>
      <pc:sldChg chg="modSp add mod">
        <pc:chgData name="Mariam Daniela Tristancho Pineda (PTA SAS)" userId="a45a17f7-7950-4cb5-bfab-f5c894f959a9" providerId="ADAL" clId="{7EBB4E1E-93A9-4035-834A-9A0B60182E9F}" dt="2020-10-06T20:02:56.595" v="2488" actId="1036"/>
        <pc:sldMkLst>
          <pc:docMk/>
          <pc:sldMk cId="4264100340" sldId="2134804415"/>
        </pc:sldMkLst>
        <pc:spChg chg="mod">
          <ac:chgData name="Mariam Daniela Tristancho Pineda (PTA SAS)" userId="a45a17f7-7950-4cb5-bfab-f5c894f959a9" providerId="ADAL" clId="{7EBB4E1E-93A9-4035-834A-9A0B60182E9F}" dt="2020-10-06T20:02:49.981" v="2482" actId="1036"/>
          <ac:spMkLst>
            <pc:docMk/>
            <pc:sldMk cId="4264100340" sldId="2134804415"/>
            <ac:spMk id="2" creationId="{B949D370-FD96-4073-8FBF-7D2C6B5429E3}"/>
          </ac:spMkLst>
        </pc:spChg>
        <pc:spChg chg="mod">
          <ac:chgData name="Mariam Daniela Tristancho Pineda (PTA SAS)" userId="a45a17f7-7950-4cb5-bfab-f5c894f959a9" providerId="ADAL" clId="{7EBB4E1E-93A9-4035-834A-9A0B60182E9F}" dt="2020-10-06T20:02:46.412" v="2463" actId="1036"/>
          <ac:spMkLst>
            <pc:docMk/>
            <pc:sldMk cId="4264100340" sldId="2134804415"/>
            <ac:spMk id="3" creationId="{A224A260-4D01-431A-9C97-58F4C63B844C}"/>
          </ac:spMkLst>
        </pc:spChg>
        <pc:spChg chg="mod">
          <ac:chgData name="Mariam Daniela Tristancho Pineda (PTA SAS)" userId="a45a17f7-7950-4cb5-bfab-f5c894f959a9" providerId="ADAL" clId="{7EBB4E1E-93A9-4035-834A-9A0B60182E9F}" dt="2020-10-06T20:02:43.629" v="2450" actId="1036"/>
          <ac:spMkLst>
            <pc:docMk/>
            <pc:sldMk cId="4264100340" sldId="2134804415"/>
            <ac:spMk id="4" creationId="{C1BC9276-84D1-4D8C-A08E-3C1950622352}"/>
          </ac:spMkLst>
        </pc:spChg>
        <pc:spChg chg="mod">
          <ac:chgData name="Mariam Daniela Tristancho Pineda (PTA SAS)" userId="a45a17f7-7950-4cb5-bfab-f5c894f959a9" providerId="ADAL" clId="{7EBB4E1E-93A9-4035-834A-9A0B60182E9F}" dt="2020-10-06T20:02:40.738" v="2437" actId="1035"/>
          <ac:spMkLst>
            <pc:docMk/>
            <pc:sldMk cId="4264100340" sldId="2134804415"/>
            <ac:spMk id="5" creationId="{75B80B9B-A974-49C9-BD64-C7E5DC3FA411}"/>
          </ac:spMkLst>
        </pc:spChg>
        <pc:spChg chg="mod">
          <ac:chgData name="Mariam Daniela Tristancho Pineda (PTA SAS)" userId="a45a17f7-7950-4cb5-bfab-f5c894f959a9" providerId="ADAL" clId="{7EBB4E1E-93A9-4035-834A-9A0B60182E9F}" dt="2020-10-06T20:02:34.284" v="2410" actId="1036"/>
          <ac:spMkLst>
            <pc:docMk/>
            <pc:sldMk cId="4264100340" sldId="2134804415"/>
            <ac:spMk id="6" creationId="{6484815E-883F-4F26-9F38-1E1545D135B1}"/>
          </ac:spMkLst>
        </pc:spChg>
        <pc:spChg chg="mod">
          <ac:chgData name="Mariam Daniela Tristancho Pineda (PTA SAS)" userId="a45a17f7-7950-4cb5-bfab-f5c894f959a9" providerId="ADAL" clId="{7EBB4E1E-93A9-4035-834A-9A0B60182E9F}" dt="2020-10-06T20:02:32.234" v="2401" actId="1036"/>
          <ac:spMkLst>
            <pc:docMk/>
            <pc:sldMk cId="4264100340" sldId="2134804415"/>
            <ac:spMk id="7" creationId="{F7860A4C-21A2-48E0-B165-4649723658F8}"/>
          </ac:spMkLst>
        </pc:spChg>
        <pc:spChg chg="mod">
          <ac:chgData name="Mariam Daniela Tristancho Pineda (PTA SAS)" userId="a45a17f7-7950-4cb5-bfab-f5c894f959a9" providerId="ADAL" clId="{7EBB4E1E-93A9-4035-834A-9A0B60182E9F}" dt="2020-10-06T14:02:52.445" v="760" actId="1036"/>
          <ac:spMkLst>
            <pc:docMk/>
            <pc:sldMk cId="4264100340" sldId="2134804415"/>
            <ac:spMk id="8" creationId="{11525450-D68D-447A-A865-2352CB094B9D}"/>
          </ac:spMkLst>
        </pc:spChg>
        <pc:spChg chg="mod">
          <ac:chgData name="Mariam Daniela Tristancho Pineda (PTA SAS)" userId="a45a17f7-7950-4cb5-bfab-f5c894f959a9" providerId="ADAL" clId="{7EBB4E1E-93A9-4035-834A-9A0B60182E9F}" dt="2020-10-06T20:02:37.380" v="2425" actId="1036"/>
          <ac:spMkLst>
            <pc:docMk/>
            <pc:sldMk cId="4264100340" sldId="2134804415"/>
            <ac:spMk id="10" creationId="{89C4FE79-F166-433C-924B-FADC5DB0B0DF}"/>
          </ac:spMkLst>
        </pc:spChg>
        <pc:spChg chg="mod">
          <ac:chgData name="Mariam Daniela Tristancho Pineda (PTA SAS)" userId="a45a17f7-7950-4cb5-bfab-f5c894f959a9" providerId="ADAL" clId="{7EBB4E1E-93A9-4035-834A-9A0B60182E9F}" dt="2020-10-06T20:02:56.595" v="2488" actId="1036"/>
          <ac:spMkLst>
            <pc:docMk/>
            <pc:sldMk cId="4264100340" sldId="2134804415"/>
            <ac:spMk id="13" creationId="{3A02962D-5907-45C1-8961-A2C27E9820A2}"/>
          </ac:spMkLst>
        </pc:spChg>
        <pc:graphicFrameChg chg="mod modGraphic">
          <ac:chgData name="Mariam Daniela Tristancho Pineda (PTA SAS)" userId="a45a17f7-7950-4cb5-bfab-f5c894f959a9" providerId="ADAL" clId="{7EBB4E1E-93A9-4035-834A-9A0B60182E9F}" dt="2020-10-06T20:02:23.381" v="2397" actId="14100"/>
          <ac:graphicFrameMkLst>
            <pc:docMk/>
            <pc:sldMk cId="4264100340" sldId="2134804415"/>
            <ac:graphicFrameMk id="9" creationId="{2D37FFEA-FB45-443E-A71F-D88EA491681F}"/>
          </ac:graphicFrameMkLst>
        </pc:graphicFrameChg>
      </pc:sldChg>
      <pc:sldChg chg="modSp add mod ord">
        <pc:chgData name="Mariam Daniela Tristancho Pineda (PTA SAS)" userId="a45a17f7-7950-4cb5-bfab-f5c894f959a9" providerId="ADAL" clId="{7EBB4E1E-93A9-4035-834A-9A0B60182E9F}" dt="2020-10-14T13:12:24.413" v="3861"/>
        <pc:sldMkLst>
          <pc:docMk/>
          <pc:sldMk cId="808228179" sldId="2134804416"/>
        </pc:sldMkLst>
        <pc:spChg chg="mod">
          <ac:chgData name="Mariam Daniela Tristancho Pineda (PTA SAS)" userId="a45a17f7-7950-4cb5-bfab-f5c894f959a9" providerId="ADAL" clId="{7EBB4E1E-93A9-4035-834A-9A0B60182E9F}" dt="2020-10-06T20:03:06.942" v="2502" actId="1036"/>
          <ac:spMkLst>
            <pc:docMk/>
            <pc:sldMk cId="808228179" sldId="2134804416"/>
            <ac:spMk id="12" creationId="{416BA93B-5220-4DF4-B1AE-25C2B9AF5010}"/>
          </ac:spMkLst>
        </pc:spChg>
        <pc:spChg chg="mod">
          <ac:chgData name="Mariam Daniela Tristancho Pineda (PTA SAS)" userId="a45a17f7-7950-4cb5-bfab-f5c894f959a9" providerId="ADAL" clId="{7EBB4E1E-93A9-4035-834A-9A0B60182E9F}" dt="2020-10-06T20:03:05.326" v="2499" actId="1036"/>
          <ac:spMkLst>
            <pc:docMk/>
            <pc:sldMk cId="808228179" sldId="2134804416"/>
            <ac:spMk id="17" creationId="{89D6B7EB-F12A-423E-AB8A-8BA9E3386B25}"/>
          </ac:spMkLst>
        </pc:spChg>
        <pc:spChg chg="mod">
          <ac:chgData name="Mariam Daniela Tristancho Pineda (PTA SAS)" userId="a45a17f7-7950-4cb5-bfab-f5c894f959a9" providerId="ADAL" clId="{7EBB4E1E-93A9-4035-834A-9A0B60182E9F}" dt="2020-10-06T20:03:05.326" v="2499" actId="1036"/>
          <ac:spMkLst>
            <pc:docMk/>
            <pc:sldMk cId="808228179" sldId="2134804416"/>
            <ac:spMk id="19" creationId="{CA8612C3-18F8-43E4-A7EB-A3F175606542}"/>
          </ac:spMkLst>
        </pc:spChg>
        <pc:spChg chg="mod">
          <ac:chgData name="Mariam Daniela Tristancho Pineda (PTA SAS)" userId="a45a17f7-7950-4cb5-bfab-f5c894f959a9" providerId="ADAL" clId="{7EBB4E1E-93A9-4035-834A-9A0B60182E9F}" dt="2020-10-06T20:03:05.326" v="2499" actId="1036"/>
          <ac:spMkLst>
            <pc:docMk/>
            <pc:sldMk cId="808228179" sldId="2134804416"/>
            <ac:spMk id="21" creationId="{4085785B-5E65-44C0-9185-52975CCC88CC}"/>
          </ac:spMkLst>
        </pc:spChg>
        <pc:spChg chg="mod">
          <ac:chgData name="Mariam Daniela Tristancho Pineda (PTA SAS)" userId="a45a17f7-7950-4cb5-bfab-f5c894f959a9" providerId="ADAL" clId="{7EBB4E1E-93A9-4035-834A-9A0B60182E9F}" dt="2020-10-06T20:03:05.326" v="2499" actId="1036"/>
          <ac:spMkLst>
            <pc:docMk/>
            <pc:sldMk cId="808228179" sldId="2134804416"/>
            <ac:spMk id="23" creationId="{B2ADA33F-8974-4F1B-977A-E7B0056A5635}"/>
          </ac:spMkLst>
        </pc:spChg>
        <pc:spChg chg="mod">
          <ac:chgData name="Mariam Daniela Tristancho Pineda (PTA SAS)" userId="a45a17f7-7950-4cb5-bfab-f5c894f959a9" providerId="ADAL" clId="{7EBB4E1E-93A9-4035-834A-9A0B60182E9F}" dt="2020-10-06T20:03:05.326" v="2499" actId="1036"/>
          <ac:spMkLst>
            <pc:docMk/>
            <pc:sldMk cId="808228179" sldId="2134804416"/>
            <ac:spMk id="25" creationId="{0D7AAB2D-1B32-4AA6-9D1F-094345CFBCA6}"/>
          </ac:spMkLst>
        </pc:spChg>
        <pc:spChg chg="mod">
          <ac:chgData name="Mariam Daniela Tristancho Pineda (PTA SAS)" userId="a45a17f7-7950-4cb5-bfab-f5c894f959a9" providerId="ADAL" clId="{7EBB4E1E-93A9-4035-834A-9A0B60182E9F}" dt="2020-10-06T20:03:05.326" v="2499" actId="1036"/>
          <ac:spMkLst>
            <pc:docMk/>
            <pc:sldMk cId="808228179" sldId="2134804416"/>
            <ac:spMk id="27" creationId="{5B6EBF9B-A167-436E-A0E4-351E8ADFD0C7}"/>
          </ac:spMkLst>
        </pc:spChg>
        <pc:spChg chg="mod">
          <ac:chgData name="Mariam Daniela Tristancho Pineda (PTA SAS)" userId="a45a17f7-7950-4cb5-bfab-f5c894f959a9" providerId="ADAL" clId="{7EBB4E1E-93A9-4035-834A-9A0B60182E9F}" dt="2020-10-06T20:03:05.326" v="2499" actId="1036"/>
          <ac:spMkLst>
            <pc:docMk/>
            <pc:sldMk cId="808228179" sldId="2134804416"/>
            <ac:spMk id="29" creationId="{508BBA46-6B52-4007-93AE-9FB70CB09202}"/>
          </ac:spMkLst>
        </pc:spChg>
        <pc:graphicFrameChg chg="mod">
          <ac:chgData name="Mariam Daniela Tristancho Pineda (PTA SAS)" userId="a45a17f7-7950-4cb5-bfab-f5c894f959a9" providerId="ADAL" clId="{7EBB4E1E-93A9-4035-834A-9A0B60182E9F}" dt="2020-10-06T20:03:05.326" v="2499" actId="1036"/>
          <ac:graphicFrameMkLst>
            <pc:docMk/>
            <pc:sldMk cId="808228179" sldId="2134804416"/>
            <ac:graphicFrameMk id="15" creationId="{0DE618DD-F247-46AF-8DFA-20E3E3699393}"/>
          </ac:graphicFrameMkLst>
        </pc:graphicFrameChg>
      </pc:sldChg>
      <pc:sldChg chg="addSp modSp add mod ord">
        <pc:chgData name="Mariam Daniela Tristancho Pineda (PTA SAS)" userId="a45a17f7-7950-4cb5-bfab-f5c894f959a9" providerId="ADAL" clId="{7EBB4E1E-93A9-4035-834A-9A0B60182E9F}" dt="2020-10-08T15:30:35.413" v="3630"/>
        <pc:sldMkLst>
          <pc:docMk/>
          <pc:sldMk cId="3371544068" sldId="2134804419"/>
        </pc:sldMkLst>
        <pc:spChg chg="mod">
          <ac:chgData name="Mariam Daniela Tristancho Pineda (PTA SAS)" userId="a45a17f7-7950-4cb5-bfab-f5c894f959a9" providerId="ADAL" clId="{7EBB4E1E-93A9-4035-834A-9A0B60182E9F}" dt="2020-10-06T13:43:26.849" v="483" actId="1076"/>
          <ac:spMkLst>
            <pc:docMk/>
            <pc:sldMk cId="3371544068" sldId="2134804419"/>
            <ac:spMk id="3" creationId="{F68A17DE-3ACC-4C72-8ED3-CE0F518FDBA1}"/>
          </ac:spMkLst>
        </pc:spChg>
        <pc:grpChg chg="add mod">
          <ac:chgData name="Mariam Daniela Tristancho Pineda (PTA SAS)" userId="a45a17f7-7950-4cb5-bfab-f5c894f959a9" providerId="ADAL" clId="{7EBB4E1E-93A9-4035-834A-9A0B60182E9F}" dt="2020-10-06T16:25:09.498" v="925" actId="1076"/>
          <ac:grpSpMkLst>
            <pc:docMk/>
            <pc:sldMk cId="3371544068" sldId="2134804419"/>
            <ac:grpSpMk id="5" creationId="{FBA90C9C-3FAC-4A5B-AC56-9A7D5883C5D2}"/>
          </ac:grpSpMkLst>
        </pc:grpChg>
        <pc:picChg chg="add mod modCrop">
          <ac:chgData name="Mariam Daniela Tristancho Pineda (PTA SAS)" userId="a45a17f7-7950-4cb5-bfab-f5c894f959a9" providerId="ADAL" clId="{7EBB4E1E-93A9-4035-834A-9A0B60182E9F}" dt="2020-10-06T13:42:52.910" v="460" actId="164"/>
          <ac:picMkLst>
            <pc:docMk/>
            <pc:sldMk cId="3371544068" sldId="2134804419"/>
            <ac:picMk id="2" creationId="{927373F5-E52D-4BED-980C-BE41574CA2A9}"/>
          </ac:picMkLst>
        </pc:picChg>
        <pc:picChg chg="mod modCrop">
          <ac:chgData name="Mariam Daniela Tristancho Pineda (PTA SAS)" userId="a45a17f7-7950-4cb5-bfab-f5c894f959a9" providerId="ADAL" clId="{7EBB4E1E-93A9-4035-834A-9A0B60182E9F}" dt="2020-10-06T13:42:52.910" v="460" actId="164"/>
          <ac:picMkLst>
            <pc:docMk/>
            <pc:sldMk cId="3371544068" sldId="2134804419"/>
            <ac:picMk id="6" creationId="{05734922-739A-4487-BAEC-818B336FAED2}"/>
          </ac:picMkLst>
        </pc:picChg>
        <pc:picChg chg="mod ord">
          <ac:chgData name="Mariam Daniela Tristancho Pineda (PTA SAS)" userId="a45a17f7-7950-4cb5-bfab-f5c894f959a9" providerId="ADAL" clId="{7EBB4E1E-93A9-4035-834A-9A0B60182E9F}" dt="2020-10-06T13:43:24.396" v="482" actId="167"/>
          <ac:picMkLst>
            <pc:docMk/>
            <pc:sldMk cId="3371544068" sldId="2134804419"/>
            <ac:picMk id="21" creationId="{926A4ABC-B403-41BD-B93A-8D5B4A44D5E9}"/>
          </ac:picMkLst>
        </pc:picChg>
        <pc:cxnChg chg="mod">
          <ac:chgData name="Mariam Daniela Tristancho Pineda (PTA SAS)" userId="a45a17f7-7950-4cb5-bfab-f5c894f959a9" providerId="ADAL" clId="{7EBB4E1E-93A9-4035-834A-9A0B60182E9F}" dt="2020-10-06T13:43:04.001" v="467" actId="1036"/>
          <ac:cxnSpMkLst>
            <pc:docMk/>
            <pc:sldMk cId="3371544068" sldId="2134804419"/>
            <ac:cxnSpMk id="9" creationId="{96370D2B-2C99-47FB-977A-1BACABA0448E}"/>
          </ac:cxnSpMkLst>
        </pc:cxnChg>
        <pc:cxnChg chg="mod">
          <ac:chgData name="Mariam Daniela Tristancho Pineda (PTA SAS)" userId="a45a17f7-7950-4cb5-bfab-f5c894f959a9" providerId="ADAL" clId="{7EBB4E1E-93A9-4035-834A-9A0B60182E9F}" dt="2020-10-06T13:43:04.001" v="467" actId="1036"/>
          <ac:cxnSpMkLst>
            <pc:docMk/>
            <pc:sldMk cId="3371544068" sldId="2134804419"/>
            <ac:cxnSpMk id="17" creationId="{A57EE03D-AD0E-42FF-8004-ACF44D511717}"/>
          </ac:cxnSpMkLst>
        </pc:cxnChg>
      </pc:sldChg>
      <pc:sldChg chg="delSp add mod">
        <pc:chgData name="Mariam Daniela Tristancho Pineda (PTA SAS)" userId="a45a17f7-7950-4cb5-bfab-f5c894f959a9" providerId="ADAL" clId="{7EBB4E1E-93A9-4035-834A-9A0B60182E9F}" dt="2020-10-06T13:38:42.822" v="427" actId="478"/>
        <pc:sldMkLst>
          <pc:docMk/>
          <pc:sldMk cId="1620305538" sldId="2134804428"/>
        </pc:sldMkLst>
        <pc:spChg chg="del">
          <ac:chgData name="Mariam Daniela Tristancho Pineda (PTA SAS)" userId="a45a17f7-7950-4cb5-bfab-f5c894f959a9" providerId="ADAL" clId="{7EBB4E1E-93A9-4035-834A-9A0B60182E9F}" dt="2020-10-06T13:38:42.822" v="427" actId="478"/>
          <ac:spMkLst>
            <pc:docMk/>
            <pc:sldMk cId="1620305538" sldId="2134804428"/>
            <ac:spMk id="3" creationId="{8EC80E4D-E850-4DC7-AD65-E3143D79EA50}"/>
          </ac:spMkLst>
        </pc:spChg>
      </pc:sldChg>
      <pc:sldChg chg="addSp delSp modSp add mod modAnim">
        <pc:chgData name="Mariam Daniela Tristancho Pineda (PTA SAS)" userId="a45a17f7-7950-4cb5-bfab-f5c894f959a9" providerId="ADAL" clId="{7EBB4E1E-93A9-4035-834A-9A0B60182E9F}" dt="2020-10-14T01:06:28.622" v="3843"/>
        <pc:sldMkLst>
          <pc:docMk/>
          <pc:sldMk cId="161251094" sldId="2134804429"/>
        </pc:sldMkLst>
        <pc:spChg chg="del">
          <ac:chgData name="Mariam Daniela Tristancho Pineda (PTA SAS)" userId="a45a17f7-7950-4cb5-bfab-f5c894f959a9" providerId="ADAL" clId="{7EBB4E1E-93A9-4035-834A-9A0B60182E9F}" dt="2020-10-06T13:38:59.601" v="429" actId="478"/>
          <ac:spMkLst>
            <pc:docMk/>
            <pc:sldMk cId="161251094" sldId="2134804429"/>
            <ac:spMk id="2" creationId="{FAE263E7-113A-4866-A48B-2203DEF64BD8}"/>
          </ac:spMkLst>
        </pc:spChg>
        <pc:spChg chg="del">
          <ac:chgData name="Mariam Daniela Tristancho Pineda (PTA SAS)" userId="a45a17f7-7950-4cb5-bfab-f5c894f959a9" providerId="ADAL" clId="{7EBB4E1E-93A9-4035-834A-9A0B60182E9F}" dt="2020-10-06T13:38:45.588" v="428" actId="478"/>
          <ac:spMkLst>
            <pc:docMk/>
            <pc:sldMk cId="161251094" sldId="2134804429"/>
            <ac:spMk id="3" creationId="{D45697AB-D646-4CB4-8AB3-314E480C498A}"/>
          </ac:spMkLst>
        </pc:spChg>
        <pc:spChg chg="add del mod">
          <ac:chgData name="Mariam Daniela Tristancho Pineda (PTA SAS)" userId="a45a17f7-7950-4cb5-bfab-f5c894f959a9" providerId="ADAL" clId="{7EBB4E1E-93A9-4035-834A-9A0B60182E9F}" dt="2020-10-06T13:39:01.471" v="430" actId="478"/>
          <ac:spMkLst>
            <pc:docMk/>
            <pc:sldMk cId="161251094" sldId="2134804429"/>
            <ac:spMk id="6" creationId="{C725CA4A-5729-4B6D-BCB5-7192AA7613D4}"/>
          </ac:spMkLst>
        </pc:spChg>
        <pc:picChg chg="add mod">
          <ac:chgData name="Mariam Daniela Tristancho Pineda (PTA SAS)" userId="a45a17f7-7950-4cb5-bfab-f5c894f959a9" providerId="ADAL" clId="{7EBB4E1E-93A9-4035-834A-9A0B60182E9F}" dt="2020-10-14T00:51:56.296" v="3842"/>
          <ac:picMkLst>
            <pc:docMk/>
            <pc:sldMk cId="161251094" sldId="2134804429"/>
            <ac:picMk id="2" creationId="{35ECAD37-C523-42F2-9C4F-6759370D2F2B}"/>
          </ac:picMkLst>
        </pc:picChg>
        <pc:picChg chg="add mod">
          <ac:chgData name="Mariam Daniela Tristancho Pineda (PTA SAS)" userId="a45a17f7-7950-4cb5-bfab-f5c894f959a9" providerId="ADAL" clId="{7EBB4E1E-93A9-4035-834A-9A0B60182E9F}" dt="2020-10-14T01:06:28.622" v="3843"/>
          <ac:picMkLst>
            <pc:docMk/>
            <pc:sldMk cId="161251094" sldId="2134804429"/>
            <ac:picMk id="3" creationId="{C4A8EB8B-7E0F-4094-9A33-123F6F27F699}"/>
          </ac:picMkLst>
        </pc:picChg>
        <pc:picChg chg="add mod">
          <ac:chgData name="Mariam Daniela Tristancho Pineda (PTA SAS)" userId="a45a17f7-7950-4cb5-bfab-f5c894f959a9" providerId="ADAL" clId="{7EBB4E1E-93A9-4035-834A-9A0B60182E9F}" dt="2020-10-06T13:39:56.250" v="433" actId="14100"/>
          <ac:picMkLst>
            <pc:docMk/>
            <pc:sldMk cId="161251094" sldId="2134804429"/>
            <ac:picMk id="7" creationId="{7CB0AB39-5FB0-44B7-9E72-AD35003D41B4}"/>
          </ac:picMkLst>
        </pc:picChg>
      </pc:sldChg>
      <pc:sldChg chg="addSp delSp modSp add mod">
        <pc:chgData name="Mariam Daniela Tristancho Pineda (PTA SAS)" userId="a45a17f7-7950-4cb5-bfab-f5c894f959a9" providerId="ADAL" clId="{7EBB4E1E-93A9-4035-834A-9A0B60182E9F}" dt="2020-10-13T23:32:24.011" v="3838"/>
        <pc:sldMkLst>
          <pc:docMk/>
          <pc:sldMk cId="1824368250" sldId="2134804430"/>
        </pc:sldMkLst>
        <pc:spChg chg="del">
          <ac:chgData name="Mariam Daniela Tristancho Pineda (PTA SAS)" userId="a45a17f7-7950-4cb5-bfab-f5c894f959a9" providerId="ADAL" clId="{7EBB4E1E-93A9-4035-834A-9A0B60182E9F}" dt="2020-10-06T13:40:56.887" v="434" actId="478"/>
          <ac:spMkLst>
            <pc:docMk/>
            <pc:sldMk cId="1824368250" sldId="2134804430"/>
            <ac:spMk id="3" creationId="{CEDCB411-9265-46CA-9ECA-632588775FC2}"/>
          </ac:spMkLst>
        </pc:spChg>
        <pc:spChg chg="mod">
          <ac:chgData name="Mariam Daniela Tristancho Pineda (PTA SAS)" userId="a45a17f7-7950-4cb5-bfab-f5c894f959a9" providerId="ADAL" clId="{7EBB4E1E-93A9-4035-834A-9A0B60182E9F}" dt="2020-10-06T13:41:20.739" v="447" actId="13926"/>
          <ac:spMkLst>
            <pc:docMk/>
            <pc:sldMk cId="1824368250" sldId="2134804430"/>
            <ac:spMk id="5" creationId="{51A82B88-BD7B-415F-B307-FEF91692A7F7}"/>
          </ac:spMkLst>
        </pc:spChg>
        <pc:picChg chg="add del">
          <ac:chgData name="Mariam Daniela Tristancho Pineda (PTA SAS)" userId="a45a17f7-7950-4cb5-bfab-f5c894f959a9" providerId="ADAL" clId="{7EBB4E1E-93A9-4035-834A-9A0B60182E9F}" dt="2020-10-13T23:32:24.011" v="3838"/>
          <ac:picMkLst>
            <pc:docMk/>
            <pc:sldMk cId="1824368250" sldId="2134804430"/>
            <ac:picMk id="2" creationId="{4B706A69-1468-4D0E-9A40-403E2ABD2B6D}"/>
          </ac:picMkLst>
        </pc:picChg>
      </pc:sldChg>
      <pc:sldChg chg="addSp modSp new del mod">
        <pc:chgData name="Mariam Daniela Tristancho Pineda (PTA SAS)" userId="a45a17f7-7950-4cb5-bfab-f5c894f959a9" providerId="ADAL" clId="{7EBB4E1E-93A9-4035-834A-9A0B60182E9F}" dt="2020-10-06T16:46:38.579" v="1115" actId="47"/>
        <pc:sldMkLst>
          <pc:docMk/>
          <pc:sldMk cId="1104434092" sldId="2134804431"/>
        </pc:sldMkLst>
        <pc:spChg chg="add mod">
          <ac:chgData name="Mariam Daniela Tristancho Pineda (PTA SAS)" userId="a45a17f7-7950-4cb5-bfab-f5c894f959a9" providerId="ADAL" clId="{7EBB4E1E-93A9-4035-834A-9A0B60182E9F}" dt="2020-10-06T13:43:56.955" v="521" actId="13926"/>
          <ac:spMkLst>
            <pc:docMk/>
            <pc:sldMk cId="1104434092" sldId="2134804431"/>
            <ac:spMk id="2" creationId="{957EAA4A-611C-4244-89F5-F39EF823DE08}"/>
          </ac:spMkLst>
        </pc:spChg>
      </pc:sldChg>
      <pc:sldChg chg="addSp delSp modSp add mod">
        <pc:chgData name="Mariam Daniela Tristancho Pineda (PTA SAS)" userId="a45a17f7-7950-4cb5-bfab-f5c894f959a9" providerId="ADAL" clId="{7EBB4E1E-93A9-4035-834A-9A0B60182E9F}" dt="2020-10-13T21:57:04.864" v="3771" actId="767"/>
        <pc:sldMkLst>
          <pc:docMk/>
          <pc:sldMk cId="3277803813" sldId="2134804432"/>
        </pc:sldMkLst>
        <pc:spChg chg="add mod">
          <ac:chgData name="Mariam Daniela Tristancho Pineda (PTA SAS)" userId="a45a17f7-7950-4cb5-bfab-f5c894f959a9" providerId="ADAL" clId="{7EBB4E1E-93A9-4035-834A-9A0B60182E9F}" dt="2020-10-06T13:58:13.314" v="635" actId="1076"/>
          <ac:spMkLst>
            <pc:docMk/>
            <pc:sldMk cId="3277803813" sldId="2134804432"/>
            <ac:spMk id="3" creationId="{C323CD2A-C7CE-48B5-9038-35540F0B8B16}"/>
          </ac:spMkLst>
        </pc:spChg>
        <pc:spChg chg="add mod">
          <ac:chgData name="Mariam Daniela Tristancho Pineda (PTA SAS)" userId="a45a17f7-7950-4cb5-bfab-f5c894f959a9" providerId="ADAL" clId="{7EBB4E1E-93A9-4035-834A-9A0B60182E9F}" dt="2020-10-13T21:56:02.717" v="3770" actId="767"/>
          <ac:spMkLst>
            <pc:docMk/>
            <pc:sldMk cId="3277803813" sldId="2134804432"/>
            <ac:spMk id="4" creationId="{58CF03C5-FDB0-42EF-BD07-9F54059302D6}"/>
          </ac:spMkLst>
        </pc:spChg>
        <pc:spChg chg="del mod">
          <ac:chgData name="Mariam Daniela Tristancho Pineda (PTA SAS)" userId="a45a17f7-7950-4cb5-bfab-f5c894f959a9" providerId="ADAL" clId="{7EBB4E1E-93A9-4035-834A-9A0B60182E9F}" dt="2020-10-06T19:41:16.251" v="2255" actId="478"/>
          <ac:spMkLst>
            <pc:docMk/>
            <pc:sldMk cId="3277803813" sldId="2134804432"/>
            <ac:spMk id="4" creationId="{C47780CB-210E-480D-AF15-355BDC7F6E93}"/>
          </ac:spMkLst>
        </pc:spChg>
        <pc:spChg chg="del">
          <ac:chgData name="Mariam Daniela Tristancho Pineda (PTA SAS)" userId="a45a17f7-7950-4cb5-bfab-f5c894f959a9" providerId="ADAL" clId="{7EBB4E1E-93A9-4035-834A-9A0B60182E9F}" dt="2020-10-06T13:59:00.619" v="641" actId="478"/>
          <ac:spMkLst>
            <pc:docMk/>
            <pc:sldMk cId="3277803813" sldId="2134804432"/>
            <ac:spMk id="5" creationId="{60144380-CBE4-4263-86E5-F4A7E5CEC0BB}"/>
          </ac:spMkLst>
        </pc:spChg>
        <pc:spChg chg="mod">
          <ac:chgData name="Mariam Daniela Tristancho Pineda (PTA SAS)" userId="a45a17f7-7950-4cb5-bfab-f5c894f959a9" providerId="ADAL" clId="{7EBB4E1E-93A9-4035-834A-9A0B60182E9F}" dt="2020-10-06T13:59:05.649" v="642" actId="20577"/>
          <ac:spMkLst>
            <pc:docMk/>
            <pc:sldMk cId="3277803813" sldId="2134804432"/>
            <ac:spMk id="6" creationId="{935E60B3-FFBE-4EF9-967C-09104A4E6C2E}"/>
          </ac:spMkLst>
        </pc:spChg>
        <pc:spChg chg="add mod">
          <ac:chgData name="Mariam Daniela Tristancho Pineda (PTA SAS)" userId="a45a17f7-7950-4cb5-bfab-f5c894f959a9" providerId="ADAL" clId="{7EBB4E1E-93A9-4035-834A-9A0B60182E9F}" dt="2020-10-06T13:58:13.314" v="635" actId="1076"/>
          <ac:spMkLst>
            <pc:docMk/>
            <pc:sldMk cId="3277803813" sldId="2134804432"/>
            <ac:spMk id="9" creationId="{F855105E-2EA7-4BD1-84BB-57C947558BF0}"/>
          </ac:spMkLst>
        </pc:spChg>
        <pc:spChg chg="mod">
          <ac:chgData name="Mariam Daniela Tristancho Pineda (PTA SAS)" userId="a45a17f7-7950-4cb5-bfab-f5c894f959a9" providerId="ADAL" clId="{7EBB4E1E-93A9-4035-834A-9A0B60182E9F}" dt="2020-10-06T13:58:31.286" v="639" actId="20577"/>
          <ac:spMkLst>
            <pc:docMk/>
            <pc:sldMk cId="3277803813" sldId="2134804432"/>
            <ac:spMk id="14" creationId="{0572F48F-01C6-4118-B2F6-94C3B890E625}"/>
          </ac:spMkLst>
        </pc:spChg>
        <pc:spChg chg="mod">
          <ac:chgData name="Mariam Daniela Tristancho Pineda (PTA SAS)" userId="a45a17f7-7950-4cb5-bfab-f5c894f959a9" providerId="ADAL" clId="{7EBB4E1E-93A9-4035-834A-9A0B60182E9F}" dt="2020-10-06T13:58:44.896" v="640" actId="1582"/>
          <ac:spMkLst>
            <pc:docMk/>
            <pc:sldMk cId="3277803813" sldId="2134804432"/>
            <ac:spMk id="15" creationId="{014142AC-2908-4954-A6DA-9352A6184407}"/>
          </ac:spMkLst>
        </pc:spChg>
        <pc:spChg chg="mod">
          <ac:chgData name="Mariam Daniela Tristancho Pineda (PTA SAS)" userId="a45a17f7-7950-4cb5-bfab-f5c894f959a9" providerId="ADAL" clId="{7EBB4E1E-93A9-4035-834A-9A0B60182E9F}" dt="2020-10-06T13:58:44.896" v="640" actId="1582"/>
          <ac:spMkLst>
            <pc:docMk/>
            <pc:sldMk cId="3277803813" sldId="2134804432"/>
            <ac:spMk id="17" creationId="{BE9E913E-CEFB-487F-900F-53524CA30F4C}"/>
          </ac:spMkLst>
        </pc:spChg>
        <pc:spChg chg="add mod">
          <ac:chgData name="Mariam Daniela Tristancho Pineda (PTA SAS)" userId="a45a17f7-7950-4cb5-bfab-f5c894f959a9" providerId="ADAL" clId="{7EBB4E1E-93A9-4035-834A-9A0B60182E9F}" dt="2020-10-06T13:58:44.896" v="640" actId="1582"/>
          <ac:spMkLst>
            <pc:docMk/>
            <pc:sldMk cId="3277803813" sldId="2134804432"/>
            <ac:spMk id="20" creationId="{69A357A1-A0B3-4721-9B22-54BA1BA9699C}"/>
          </ac:spMkLst>
        </pc:spChg>
        <pc:spChg chg="add mod">
          <ac:chgData name="Mariam Daniela Tristancho Pineda (PTA SAS)" userId="a45a17f7-7950-4cb5-bfab-f5c894f959a9" providerId="ADAL" clId="{7EBB4E1E-93A9-4035-834A-9A0B60182E9F}" dt="2020-10-06T13:58:44.896" v="640" actId="1582"/>
          <ac:spMkLst>
            <pc:docMk/>
            <pc:sldMk cId="3277803813" sldId="2134804432"/>
            <ac:spMk id="22" creationId="{FDEC4BBC-00BA-4365-BA0B-D6194626272C}"/>
          </ac:spMkLst>
        </pc:spChg>
        <pc:spChg chg="add mod">
          <ac:chgData name="Mariam Daniela Tristancho Pineda (PTA SAS)" userId="a45a17f7-7950-4cb5-bfab-f5c894f959a9" providerId="ADAL" clId="{7EBB4E1E-93A9-4035-834A-9A0B60182E9F}" dt="2020-10-06T19:41:28.808" v="2287" actId="1036"/>
          <ac:spMkLst>
            <pc:docMk/>
            <pc:sldMk cId="3277803813" sldId="2134804432"/>
            <ac:spMk id="23" creationId="{572E8F32-09B5-4BDC-BD13-0C6674C402CF}"/>
          </ac:spMkLst>
        </pc:spChg>
        <pc:spChg chg="mod">
          <ac:chgData name="Mariam Daniela Tristancho Pineda (PTA SAS)" userId="a45a17f7-7950-4cb5-bfab-f5c894f959a9" providerId="ADAL" clId="{7EBB4E1E-93A9-4035-834A-9A0B60182E9F}" dt="2020-10-06T13:58:44.896" v="640" actId="1582"/>
          <ac:spMkLst>
            <pc:docMk/>
            <pc:sldMk cId="3277803813" sldId="2134804432"/>
            <ac:spMk id="24" creationId="{F9E0BFC6-987C-4213-B33E-89FCFF3232B1}"/>
          </ac:spMkLst>
        </pc:spChg>
        <pc:spChg chg="add mod">
          <ac:chgData name="Mariam Daniela Tristancho Pineda (PTA SAS)" userId="a45a17f7-7950-4cb5-bfab-f5c894f959a9" providerId="ADAL" clId="{7EBB4E1E-93A9-4035-834A-9A0B60182E9F}" dt="2020-10-13T21:57:04.864" v="3771" actId="767"/>
          <ac:spMkLst>
            <pc:docMk/>
            <pc:sldMk cId="3277803813" sldId="2134804432"/>
            <ac:spMk id="25" creationId="{0A8C7C06-9E0D-4347-8A0E-E5724F2DBA43}"/>
          </ac:spMkLst>
        </pc:spChg>
        <pc:spChg chg="mod">
          <ac:chgData name="Mariam Daniela Tristancho Pineda (PTA SAS)" userId="a45a17f7-7950-4cb5-bfab-f5c894f959a9" providerId="ADAL" clId="{7EBB4E1E-93A9-4035-834A-9A0B60182E9F}" dt="2020-10-06T13:58:13.314" v="635" actId="1076"/>
          <ac:spMkLst>
            <pc:docMk/>
            <pc:sldMk cId="3277803813" sldId="2134804432"/>
            <ac:spMk id="26" creationId="{BA888F7A-22EA-4948-B764-AEADC8AA1065}"/>
          </ac:spMkLst>
        </pc:spChg>
        <pc:spChg chg="mod">
          <ac:chgData name="Mariam Daniela Tristancho Pineda (PTA SAS)" userId="a45a17f7-7950-4cb5-bfab-f5c894f959a9" providerId="ADAL" clId="{7EBB4E1E-93A9-4035-834A-9A0B60182E9F}" dt="2020-10-06T13:58:13.314" v="635" actId="1076"/>
          <ac:spMkLst>
            <pc:docMk/>
            <pc:sldMk cId="3277803813" sldId="2134804432"/>
            <ac:spMk id="27" creationId="{B31E688C-D405-4E80-B66A-6AFA9B948394}"/>
          </ac:spMkLst>
        </pc:spChg>
        <pc:spChg chg="mod">
          <ac:chgData name="Mariam Daniela Tristancho Pineda (PTA SAS)" userId="a45a17f7-7950-4cb5-bfab-f5c894f959a9" providerId="ADAL" clId="{7EBB4E1E-93A9-4035-834A-9A0B60182E9F}" dt="2020-10-06T13:58:13.314" v="635" actId="1076"/>
          <ac:spMkLst>
            <pc:docMk/>
            <pc:sldMk cId="3277803813" sldId="2134804432"/>
            <ac:spMk id="29" creationId="{CD41D6C0-AB04-4207-8F4B-1EAAF2134987}"/>
          </ac:spMkLst>
        </pc:spChg>
        <pc:spChg chg="mod">
          <ac:chgData name="Mariam Daniela Tristancho Pineda (PTA SAS)" userId="a45a17f7-7950-4cb5-bfab-f5c894f959a9" providerId="ADAL" clId="{7EBB4E1E-93A9-4035-834A-9A0B60182E9F}" dt="2020-10-06T13:58:44.896" v="640" actId="1582"/>
          <ac:spMkLst>
            <pc:docMk/>
            <pc:sldMk cId="3277803813" sldId="2134804432"/>
            <ac:spMk id="31" creationId="{A6059FAA-59E2-4370-8D9F-502EDF98EB54}"/>
          </ac:spMkLst>
        </pc:spChg>
        <pc:spChg chg="mod">
          <ac:chgData name="Mariam Daniela Tristancho Pineda (PTA SAS)" userId="a45a17f7-7950-4cb5-bfab-f5c894f959a9" providerId="ADAL" clId="{7EBB4E1E-93A9-4035-834A-9A0B60182E9F}" dt="2020-10-06T13:58:44.896" v="640" actId="1582"/>
          <ac:spMkLst>
            <pc:docMk/>
            <pc:sldMk cId="3277803813" sldId="2134804432"/>
            <ac:spMk id="33" creationId="{9D3E83CA-C0E4-465D-BC70-1B6E88C46DBD}"/>
          </ac:spMkLst>
        </pc:spChg>
        <pc:spChg chg="mod">
          <ac:chgData name="Mariam Daniela Tristancho Pineda (PTA SAS)" userId="a45a17f7-7950-4cb5-bfab-f5c894f959a9" providerId="ADAL" clId="{7EBB4E1E-93A9-4035-834A-9A0B60182E9F}" dt="2020-10-06T13:58:13.314" v="635" actId="1076"/>
          <ac:spMkLst>
            <pc:docMk/>
            <pc:sldMk cId="3277803813" sldId="2134804432"/>
            <ac:spMk id="35" creationId="{CA448AA3-F23B-4FA4-AD73-8665CCB673F0}"/>
          </ac:spMkLst>
        </pc:spChg>
        <pc:grpChg chg="mod">
          <ac:chgData name="Mariam Daniela Tristancho Pineda (PTA SAS)" userId="a45a17f7-7950-4cb5-bfab-f5c894f959a9" providerId="ADAL" clId="{7EBB4E1E-93A9-4035-834A-9A0B60182E9F}" dt="2020-10-06T16:54:50.024" v="1137" actId="1076"/>
          <ac:grpSpMkLst>
            <pc:docMk/>
            <pc:sldMk cId="3277803813" sldId="2134804432"/>
            <ac:grpSpMk id="12" creationId="{97A64B71-2068-4384-8243-F4ED1BE3BD64}"/>
          </ac:grpSpMkLst>
        </pc:grpChg>
        <pc:grpChg chg="mod">
          <ac:chgData name="Mariam Daniela Tristancho Pineda (PTA SAS)" userId="a45a17f7-7950-4cb5-bfab-f5c894f959a9" providerId="ADAL" clId="{7EBB4E1E-93A9-4035-834A-9A0B60182E9F}" dt="2020-10-06T16:54:50.024" v="1137" actId="1076"/>
          <ac:grpSpMkLst>
            <pc:docMk/>
            <pc:sldMk cId="3277803813" sldId="2134804432"/>
            <ac:grpSpMk id="13" creationId="{A8D5E88D-0623-41AE-9881-9D4BA0197AEA}"/>
          </ac:grpSpMkLst>
        </pc:grpChg>
        <pc:grpChg chg="mod">
          <ac:chgData name="Mariam Daniela Tristancho Pineda (PTA SAS)" userId="a45a17f7-7950-4cb5-bfab-f5c894f959a9" providerId="ADAL" clId="{7EBB4E1E-93A9-4035-834A-9A0B60182E9F}" dt="2020-10-06T16:54:50.024" v="1137" actId="1076"/>
          <ac:grpSpMkLst>
            <pc:docMk/>
            <pc:sldMk cId="3277803813" sldId="2134804432"/>
            <ac:grpSpMk id="16" creationId="{0B2E59AD-3929-43C2-8F9D-A17671E2843E}"/>
          </ac:grpSpMkLst>
        </pc:grpChg>
      </pc:sldChg>
      <pc:sldChg chg="new del">
        <pc:chgData name="Mariam Daniela Tristancho Pineda (PTA SAS)" userId="a45a17f7-7950-4cb5-bfab-f5c894f959a9" providerId="ADAL" clId="{7EBB4E1E-93A9-4035-834A-9A0B60182E9F}" dt="2020-10-06T13:45:13.211" v="526" actId="47"/>
        <pc:sldMkLst>
          <pc:docMk/>
          <pc:sldMk cId="3474773225" sldId="2134804432"/>
        </pc:sldMkLst>
      </pc:sldChg>
      <pc:sldChg chg="modSp add del mod ord">
        <pc:chgData name="Mariam Daniela Tristancho Pineda (PTA SAS)" userId="a45a17f7-7950-4cb5-bfab-f5c894f959a9" providerId="ADAL" clId="{7EBB4E1E-93A9-4035-834A-9A0B60182E9F}" dt="2020-10-06T19:32:25.965" v="1593"/>
        <pc:sldMkLst>
          <pc:docMk/>
          <pc:sldMk cId="1658945044" sldId="2134804433"/>
        </pc:sldMkLst>
        <pc:spChg chg="mod">
          <ac:chgData name="Mariam Daniela Tristancho Pineda (PTA SAS)" userId="a45a17f7-7950-4cb5-bfab-f5c894f959a9" providerId="ADAL" clId="{7EBB4E1E-93A9-4035-834A-9A0B60182E9F}" dt="2020-10-06T13:59:37.961" v="670" actId="20577"/>
          <ac:spMkLst>
            <pc:docMk/>
            <pc:sldMk cId="1658945044" sldId="2134804433"/>
            <ac:spMk id="2" creationId="{957EAA4A-611C-4244-89F5-F39EF823DE08}"/>
          </ac:spMkLst>
        </pc:spChg>
      </pc:sldChg>
      <pc:sldChg chg="modSp add mod ord">
        <pc:chgData name="Mariam Daniela Tristancho Pineda (PTA SAS)" userId="a45a17f7-7950-4cb5-bfab-f5c894f959a9" providerId="ADAL" clId="{7EBB4E1E-93A9-4035-834A-9A0B60182E9F}" dt="2020-10-06T17:13:00.727" v="1574" actId="20577"/>
        <pc:sldMkLst>
          <pc:docMk/>
          <pc:sldMk cId="3766831251" sldId="2134804434"/>
        </pc:sldMkLst>
        <pc:spChg chg="mod">
          <ac:chgData name="Mariam Daniela Tristancho Pineda (PTA SAS)" userId="a45a17f7-7950-4cb5-bfab-f5c894f959a9" providerId="ADAL" clId="{7EBB4E1E-93A9-4035-834A-9A0B60182E9F}" dt="2020-10-06T17:13:00.727" v="1574" actId="20577"/>
          <ac:spMkLst>
            <pc:docMk/>
            <pc:sldMk cId="3766831251" sldId="2134804434"/>
            <ac:spMk id="2" creationId="{957EAA4A-611C-4244-89F5-F39EF823DE08}"/>
          </ac:spMkLst>
        </pc:spChg>
      </pc:sldChg>
      <pc:sldChg chg="addSp delSp modSp add mod">
        <pc:chgData name="Mariam Daniela Tristancho Pineda (PTA SAS)" userId="a45a17f7-7950-4cb5-bfab-f5c894f959a9" providerId="ADAL" clId="{7EBB4E1E-93A9-4035-834A-9A0B60182E9F}" dt="2020-10-07T23:29:07.350" v="3576" actId="20577"/>
        <pc:sldMkLst>
          <pc:docMk/>
          <pc:sldMk cId="3956612652" sldId="2134804435"/>
        </pc:sldMkLst>
        <pc:spChg chg="del">
          <ac:chgData name="Mariam Daniela Tristancho Pineda (PTA SAS)" userId="a45a17f7-7950-4cb5-bfab-f5c894f959a9" providerId="ADAL" clId="{7EBB4E1E-93A9-4035-834A-9A0B60182E9F}" dt="2020-10-07T22:51:41.131" v="2530" actId="478"/>
          <ac:spMkLst>
            <pc:docMk/>
            <pc:sldMk cId="3956612652" sldId="2134804435"/>
            <ac:spMk id="2" creationId="{957EAA4A-611C-4244-89F5-F39EF823DE08}"/>
          </ac:spMkLst>
        </pc:spChg>
        <pc:spChg chg="add del mod">
          <ac:chgData name="Mariam Daniela Tristancho Pineda (PTA SAS)" userId="a45a17f7-7950-4cb5-bfab-f5c894f959a9" providerId="ADAL" clId="{7EBB4E1E-93A9-4035-834A-9A0B60182E9F}" dt="2020-10-07T22:55:12.999" v="2709" actId="478"/>
          <ac:spMkLst>
            <pc:docMk/>
            <pc:sldMk cId="3956612652" sldId="2134804435"/>
            <ac:spMk id="3" creationId="{533A0FBE-8285-4276-BCC9-437DD7D9F7D0}"/>
          </ac:spMkLst>
        </pc:spChg>
        <pc:spChg chg="add mod">
          <ac:chgData name="Mariam Daniela Tristancho Pineda (PTA SAS)" userId="a45a17f7-7950-4cb5-bfab-f5c894f959a9" providerId="ADAL" clId="{7EBB4E1E-93A9-4035-834A-9A0B60182E9F}" dt="2020-10-07T23:21:33.447" v="3293" actId="207"/>
          <ac:spMkLst>
            <pc:docMk/>
            <pc:sldMk cId="3956612652" sldId="2134804435"/>
            <ac:spMk id="4" creationId="{68041FCA-D056-443E-AFB1-6878132F3E5F}"/>
          </ac:spMkLst>
        </pc:spChg>
        <pc:spChg chg="add mod ord">
          <ac:chgData name="Mariam Daniela Tristancho Pineda (PTA SAS)" userId="a45a17f7-7950-4cb5-bfab-f5c894f959a9" providerId="ADAL" clId="{7EBB4E1E-93A9-4035-834A-9A0B60182E9F}" dt="2020-10-07T23:21:29.904" v="3292" actId="207"/>
          <ac:spMkLst>
            <pc:docMk/>
            <pc:sldMk cId="3956612652" sldId="2134804435"/>
            <ac:spMk id="5" creationId="{F5700C51-F66A-449D-BCA0-B494FA67DF03}"/>
          </ac:spMkLst>
        </pc:spChg>
        <pc:spChg chg="add del mod">
          <ac:chgData name="Mariam Daniela Tristancho Pineda (PTA SAS)" userId="a45a17f7-7950-4cb5-bfab-f5c894f959a9" providerId="ADAL" clId="{7EBB4E1E-93A9-4035-834A-9A0B60182E9F}" dt="2020-10-07T23:21:59.088" v="3299" actId="478"/>
          <ac:spMkLst>
            <pc:docMk/>
            <pc:sldMk cId="3956612652" sldId="2134804435"/>
            <ac:spMk id="7" creationId="{F3938F8C-4DDE-48BF-9386-8ED0D0CD22D8}"/>
          </ac:spMkLst>
        </pc:spChg>
        <pc:spChg chg="add del mod">
          <ac:chgData name="Mariam Daniela Tristancho Pineda (PTA SAS)" userId="a45a17f7-7950-4cb5-bfab-f5c894f959a9" providerId="ADAL" clId="{7EBB4E1E-93A9-4035-834A-9A0B60182E9F}" dt="2020-10-07T23:21:58.006" v="3298" actId="478"/>
          <ac:spMkLst>
            <pc:docMk/>
            <pc:sldMk cId="3956612652" sldId="2134804435"/>
            <ac:spMk id="9" creationId="{4C947B61-3DE7-4A74-AD05-2162533E5F96}"/>
          </ac:spMkLst>
        </pc:spChg>
        <pc:spChg chg="add del mod">
          <ac:chgData name="Mariam Daniela Tristancho Pineda (PTA SAS)" userId="a45a17f7-7950-4cb5-bfab-f5c894f959a9" providerId="ADAL" clId="{7EBB4E1E-93A9-4035-834A-9A0B60182E9F}" dt="2020-10-07T23:22:00.245" v="3301" actId="478"/>
          <ac:spMkLst>
            <pc:docMk/>
            <pc:sldMk cId="3956612652" sldId="2134804435"/>
            <ac:spMk id="11" creationId="{739A4DE6-60D5-421F-AAB7-F275F694CB3B}"/>
          </ac:spMkLst>
        </pc:spChg>
        <pc:spChg chg="add del mod">
          <ac:chgData name="Mariam Daniela Tristancho Pineda (PTA SAS)" userId="a45a17f7-7950-4cb5-bfab-f5c894f959a9" providerId="ADAL" clId="{7EBB4E1E-93A9-4035-834A-9A0B60182E9F}" dt="2020-10-07T23:22:02.816" v="3302" actId="478"/>
          <ac:spMkLst>
            <pc:docMk/>
            <pc:sldMk cId="3956612652" sldId="2134804435"/>
            <ac:spMk id="13" creationId="{5C7D914C-F193-4991-AA74-B51A44066F90}"/>
          </ac:spMkLst>
        </pc:spChg>
        <pc:spChg chg="add mod">
          <ac:chgData name="Mariam Daniela Tristancho Pineda (PTA SAS)" userId="a45a17f7-7950-4cb5-bfab-f5c894f959a9" providerId="ADAL" clId="{7EBB4E1E-93A9-4035-834A-9A0B60182E9F}" dt="2020-10-07T23:19:02.004" v="3259" actId="1076"/>
          <ac:spMkLst>
            <pc:docMk/>
            <pc:sldMk cId="3956612652" sldId="2134804435"/>
            <ac:spMk id="14" creationId="{77C3B44D-CCD9-4C34-A6C9-08FB7C10E08A}"/>
          </ac:spMkLst>
        </pc:spChg>
        <pc:spChg chg="add mod">
          <ac:chgData name="Mariam Daniela Tristancho Pineda (PTA SAS)" userId="a45a17f7-7950-4cb5-bfab-f5c894f959a9" providerId="ADAL" clId="{7EBB4E1E-93A9-4035-834A-9A0B60182E9F}" dt="2020-10-07T23:19:55.832" v="3282" actId="313"/>
          <ac:spMkLst>
            <pc:docMk/>
            <pc:sldMk cId="3956612652" sldId="2134804435"/>
            <ac:spMk id="15" creationId="{AE5BBE52-90F9-41C6-8AAA-C990BB6E5D59}"/>
          </ac:spMkLst>
        </pc:spChg>
        <pc:spChg chg="add mod">
          <ac:chgData name="Mariam Daniela Tristancho Pineda (PTA SAS)" userId="a45a17f7-7950-4cb5-bfab-f5c894f959a9" providerId="ADAL" clId="{7EBB4E1E-93A9-4035-834A-9A0B60182E9F}" dt="2020-10-07T23:21:47.388" v="3294" actId="1076"/>
          <ac:spMkLst>
            <pc:docMk/>
            <pc:sldMk cId="3956612652" sldId="2134804435"/>
            <ac:spMk id="17" creationId="{460B3078-8B96-4723-A94E-AF0DEDF6104B}"/>
          </ac:spMkLst>
        </pc:spChg>
        <pc:spChg chg="add mod">
          <ac:chgData name="Mariam Daniela Tristancho Pineda (PTA SAS)" userId="a45a17f7-7950-4cb5-bfab-f5c894f959a9" providerId="ADAL" clId="{7EBB4E1E-93A9-4035-834A-9A0B60182E9F}" dt="2020-10-07T23:21:49.292" v="3295" actId="1076"/>
          <ac:spMkLst>
            <pc:docMk/>
            <pc:sldMk cId="3956612652" sldId="2134804435"/>
            <ac:spMk id="19" creationId="{50494279-62DB-4797-8A09-AAECFB1D7A11}"/>
          </ac:spMkLst>
        </pc:spChg>
        <pc:spChg chg="add mod">
          <ac:chgData name="Mariam Daniela Tristancho Pineda (PTA SAS)" userId="a45a17f7-7950-4cb5-bfab-f5c894f959a9" providerId="ADAL" clId="{7EBB4E1E-93A9-4035-834A-9A0B60182E9F}" dt="2020-10-07T23:20:24.555" v="3287" actId="408"/>
          <ac:spMkLst>
            <pc:docMk/>
            <pc:sldMk cId="3956612652" sldId="2134804435"/>
            <ac:spMk id="21" creationId="{4909E1B8-3B50-4AEE-B6FD-970EC2C3FA78}"/>
          </ac:spMkLst>
        </pc:spChg>
        <pc:spChg chg="add mod">
          <ac:chgData name="Mariam Daniela Tristancho Pineda (PTA SAS)" userId="a45a17f7-7950-4cb5-bfab-f5c894f959a9" providerId="ADAL" clId="{7EBB4E1E-93A9-4035-834A-9A0B60182E9F}" dt="2020-10-07T23:20:24.555" v="3287" actId="408"/>
          <ac:spMkLst>
            <pc:docMk/>
            <pc:sldMk cId="3956612652" sldId="2134804435"/>
            <ac:spMk id="23" creationId="{99EBD500-3DAE-4966-82E2-1A7046E22981}"/>
          </ac:spMkLst>
        </pc:spChg>
        <pc:spChg chg="add mod">
          <ac:chgData name="Mariam Daniela Tristancho Pineda (PTA SAS)" userId="a45a17f7-7950-4cb5-bfab-f5c894f959a9" providerId="ADAL" clId="{7EBB4E1E-93A9-4035-834A-9A0B60182E9F}" dt="2020-10-07T23:21:51.716" v="3296" actId="1076"/>
          <ac:spMkLst>
            <pc:docMk/>
            <pc:sldMk cId="3956612652" sldId="2134804435"/>
            <ac:spMk id="25" creationId="{EEBF55FB-5D62-4BE9-9514-82016B4ADD76}"/>
          </ac:spMkLst>
        </pc:spChg>
        <pc:spChg chg="add mod">
          <ac:chgData name="Mariam Daniela Tristancho Pineda (PTA SAS)" userId="a45a17f7-7950-4cb5-bfab-f5c894f959a9" providerId="ADAL" clId="{7EBB4E1E-93A9-4035-834A-9A0B60182E9F}" dt="2020-10-07T23:20:24.555" v="3287" actId="408"/>
          <ac:spMkLst>
            <pc:docMk/>
            <pc:sldMk cId="3956612652" sldId="2134804435"/>
            <ac:spMk id="27" creationId="{58059B60-3380-482E-92E9-4DC79C8641DC}"/>
          </ac:spMkLst>
        </pc:spChg>
        <pc:spChg chg="add mod">
          <ac:chgData name="Mariam Daniela Tristancho Pineda (PTA SAS)" userId="a45a17f7-7950-4cb5-bfab-f5c894f959a9" providerId="ADAL" clId="{7EBB4E1E-93A9-4035-834A-9A0B60182E9F}" dt="2020-10-07T23:21:54.141" v="3297" actId="1076"/>
          <ac:spMkLst>
            <pc:docMk/>
            <pc:sldMk cId="3956612652" sldId="2134804435"/>
            <ac:spMk id="29" creationId="{BEF628AD-0942-4C01-BC26-D586C9D91257}"/>
          </ac:spMkLst>
        </pc:spChg>
        <pc:spChg chg="add mod">
          <ac:chgData name="Mariam Daniela Tristancho Pineda (PTA SAS)" userId="a45a17f7-7950-4cb5-bfab-f5c894f959a9" providerId="ADAL" clId="{7EBB4E1E-93A9-4035-834A-9A0B60182E9F}" dt="2020-10-07T23:20:20.019" v="3286" actId="1076"/>
          <ac:spMkLst>
            <pc:docMk/>
            <pc:sldMk cId="3956612652" sldId="2134804435"/>
            <ac:spMk id="31" creationId="{140A407D-9E14-4183-9A28-56D03D38D4E6}"/>
          </ac:spMkLst>
        </pc:spChg>
        <pc:spChg chg="add del mod">
          <ac:chgData name="Mariam Daniela Tristancho Pineda (PTA SAS)" userId="a45a17f7-7950-4cb5-bfab-f5c894f959a9" providerId="ADAL" clId="{7EBB4E1E-93A9-4035-834A-9A0B60182E9F}" dt="2020-10-07T23:27:40.836" v="3523" actId="478"/>
          <ac:spMkLst>
            <pc:docMk/>
            <pc:sldMk cId="3956612652" sldId="2134804435"/>
            <ac:spMk id="32" creationId="{CD12B71F-1DA3-4B04-8B74-A1A1DF91F4C3}"/>
          </ac:spMkLst>
        </pc:spChg>
        <pc:spChg chg="mod">
          <ac:chgData name="Mariam Daniela Tristancho Pineda (PTA SAS)" userId="a45a17f7-7950-4cb5-bfab-f5c894f959a9" providerId="ADAL" clId="{7EBB4E1E-93A9-4035-834A-9A0B60182E9F}" dt="2020-10-07T23:28:34.628" v="3563" actId="1076"/>
          <ac:spMkLst>
            <pc:docMk/>
            <pc:sldMk cId="3956612652" sldId="2134804435"/>
            <ac:spMk id="34" creationId="{47DA60D5-3D84-4BAB-BD68-44FC3285BEAF}"/>
          </ac:spMkLst>
        </pc:spChg>
        <pc:spChg chg="mod">
          <ac:chgData name="Mariam Daniela Tristancho Pineda (PTA SAS)" userId="a45a17f7-7950-4cb5-bfab-f5c894f959a9" providerId="ADAL" clId="{7EBB4E1E-93A9-4035-834A-9A0B60182E9F}" dt="2020-10-07T23:28:34.628" v="3563" actId="1076"/>
          <ac:spMkLst>
            <pc:docMk/>
            <pc:sldMk cId="3956612652" sldId="2134804435"/>
            <ac:spMk id="35" creationId="{2C17A24B-BD11-49EB-9224-F4FA8B4A712A}"/>
          </ac:spMkLst>
        </pc:spChg>
        <pc:spChg chg="mod">
          <ac:chgData name="Mariam Daniela Tristancho Pineda (PTA SAS)" userId="a45a17f7-7950-4cb5-bfab-f5c894f959a9" providerId="ADAL" clId="{7EBB4E1E-93A9-4035-834A-9A0B60182E9F}" dt="2020-10-07T23:28:34.628" v="3563" actId="1076"/>
          <ac:spMkLst>
            <pc:docMk/>
            <pc:sldMk cId="3956612652" sldId="2134804435"/>
            <ac:spMk id="36" creationId="{E9F7A411-F89A-40AF-B882-D161C24B0F16}"/>
          </ac:spMkLst>
        </pc:spChg>
        <pc:spChg chg="add del mod">
          <ac:chgData name="Mariam Daniela Tristancho Pineda (PTA SAS)" userId="a45a17f7-7950-4cb5-bfab-f5c894f959a9" providerId="ADAL" clId="{7EBB4E1E-93A9-4035-834A-9A0B60182E9F}" dt="2020-10-07T23:29:07.350" v="3576" actId="20577"/>
          <ac:spMkLst>
            <pc:docMk/>
            <pc:sldMk cId="3956612652" sldId="2134804435"/>
            <ac:spMk id="37" creationId="{A9E643A9-33C0-4C11-B57E-9BDCB4A74251}"/>
          </ac:spMkLst>
        </pc:spChg>
        <pc:spChg chg="mod">
          <ac:chgData name="Mariam Daniela Tristancho Pineda (PTA SAS)" userId="a45a17f7-7950-4cb5-bfab-f5c894f959a9" providerId="ADAL" clId="{7EBB4E1E-93A9-4035-834A-9A0B60182E9F}" dt="2020-10-07T23:28:34.628" v="3563" actId="1076"/>
          <ac:spMkLst>
            <pc:docMk/>
            <pc:sldMk cId="3956612652" sldId="2134804435"/>
            <ac:spMk id="38" creationId="{708D3005-5E4B-42D6-B21C-45BA99039DF1}"/>
          </ac:spMkLst>
        </pc:spChg>
        <pc:spChg chg="mod">
          <ac:chgData name="Mariam Daniela Tristancho Pineda (PTA SAS)" userId="a45a17f7-7950-4cb5-bfab-f5c894f959a9" providerId="ADAL" clId="{7EBB4E1E-93A9-4035-834A-9A0B60182E9F}" dt="2020-10-07T23:28:34.628" v="3563" actId="1076"/>
          <ac:spMkLst>
            <pc:docMk/>
            <pc:sldMk cId="3956612652" sldId="2134804435"/>
            <ac:spMk id="39" creationId="{D762C4B6-91A8-41DD-8C6F-395C608E790A}"/>
          </ac:spMkLst>
        </pc:spChg>
        <pc:spChg chg="mod">
          <ac:chgData name="Mariam Daniela Tristancho Pineda (PTA SAS)" userId="a45a17f7-7950-4cb5-bfab-f5c894f959a9" providerId="ADAL" clId="{7EBB4E1E-93A9-4035-834A-9A0B60182E9F}" dt="2020-10-07T23:28:34.628" v="3563" actId="1076"/>
          <ac:spMkLst>
            <pc:docMk/>
            <pc:sldMk cId="3956612652" sldId="2134804435"/>
            <ac:spMk id="40" creationId="{A83032BF-3B85-4CFA-A16B-3DB3F0475B69}"/>
          </ac:spMkLst>
        </pc:spChg>
        <pc:spChg chg="mod">
          <ac:chgData name="Mariam Daniela Tristancho Pineda (PTA SAS)" userId="a45a17f7-7950-4cb5-bfab-f5c894f959a9" providerId="ADAL" clId="{7EBB4E1E-93A9-4035-834A-9A0B60182E9F}" dt="2020-10-07T23:28:34.628" v="3563" actId="1076"/>
          <ac:spMkLst>
            <pc:docMk/>
            <pc:sldMk cId="3956612652" sldId="2134804435"/>
            <ac:spMk id="41" creationId="{4A342096-8E02-4924-BFF0-0D3F1169CD03}"/>
          </ac:spMkLst>
        </pc:spChg>
        <pc:spChg chg="mod">
          <ac:chgData name="Mariam Daniela Tristancho Pineda (PTA SAS)" userId="a45a17f7-7950-4cb5-bfab-f5c894f959a9" providerId="ADAL" clId="{7EBB4E1E-93A9-4035-834A-9A0B60182E9F}" dt="2020-10-07T23:25:26.361" v="3371" actId="20577"/>
          <ac:spMkLst>
            <pc:docMk/>
            <pc:sldMk cId="3956612652" sldId="2134804435"/>
            <ac:spMk id="44" creationId="{31B0BFE2-421C-46B3-83A7-AD5B8A72F6A9}"/>
          </ac:spMkLst>
        </pc:spChg>
        <pc:spChg chg="mod">
          <ac:chgData name="Mariam Daniela Tristancho Pineda (PTA SAS)" userId="a45a17f7-7950-4cb5-bfab-f5c894f959a9" providerId="ADAL" clId="{7EBB4E1E-93A9-4035-834A-9A0B60182E9F}" dt="2020-10-07T23:28:43.780" v="3564" actId="313"/>
          <ac:spMkLst>
            <pc:docMk/>
            <pc:sldMk cId="3956612652" sldId="2134804435"/>
            <ac:spMk id="45" creationId="{683E2618-7B62-4887-92D0-DE6E9D28CE26}"/>
          </ac:spMkLst>
        </pc:spChg>
        <pc:spChg chg="mod">
          <ac:chgData name="Mariam Daniela Tristancho Pineda (PTA SAS)" userId="a45a17f7-7950-4cb5-bfab-f5c894f959a9" providerId="ADAL" clId="{7EBB4E1E-93A9-4035-834A-9A0B60182E9F}" dt="2020-10-07T23:27:03.148" v="3471" actId="1076"/>
          <ac:spMkLst>
            <pc:docMk/>
            <pc:sldMk cId="3956612652" sldId="2134804435"/>
            <ac:spMk id="46" creationId="{8C23E0A2-037D-4634-BC72-4BEA56E15133}"/>
          </ac:spMkLst>
        </pc:spChg>
        <pc:spChg chg="mod">
          <ac:chgData name="Mariam Daniela Tristancho Pineda (PTA SAS)" userId="a45a17f7-7950-4cb5-bfab-f5c894f959a9" providerId="ADAL" clId="{7EBB4E1E-93A9-4035-834A-9A0B60182E9F}" dt="2020-10-07T23:27:37.772" v="3522" actId="1076"/>
          <ac:spMkLst>
            <pc:docMk/>
            <pc:sldMk cId="3956612652" sldId="2134804435"/>
            <ac:spMk id="47" creationId="{6538A16C-BDC4-434F-9828-22749E2E25AE}"/>
          </ac:spMkLst>
        </pc:spChg>
        <pc:spChg chg="del mod">
          <ac:chgData name="Mariam Daniela Tristancho Pineda (PTA SAS)" userId="a45a17f7-7950-4cb5-bfab-f5c894f959a9" providerId="ADAL" clId="{7EBB4E1E-93A9-4035-834A-9A0B60182E9F}" dt="2020-10-07T23:25:31.556" v="3372" actId="478"/>
          <ac:spMkLst>
            <pc:docMk/>
            <pc:sldMk cId="3956612652" sldId="2134804435"/>
            <ac:spMk id="48" creationId="{BB03525E-0F76-4C76-A8DE-0DB43D0E091F}"/>
          </ac:spMkLst>
        </pc:spChg>
        <pc:spChg chg="del mod">
          <ac:chgData name="Mariam Daniela Tristancho Pineda (PTA SAS)" userId="a45a17f7-7950-4cb5-bfab-f5c894f959a9" providerId="ADAL" clId="{7EBB4E1E-93A9-4035-834A-9A0B60182E9F}" dt="2020-10-07T23:25:37.674" v="3374" actId="478"/>
          <ac:spMkLst>
            <pc:docMk/>
            <pc:sldMk cId="3956612652" sldId="2134804435"/>
            <ac:spMk id="49" creationId="{054B86D6-7C3A-4E9D-9024-A3DEBE75A5E7}"/>
          </ac:spMkLst>
        </pc:spChg>
        <pc:spChg chg="del mod">
          <ac:chgData name="Mariam Daniela Tristancho Pineda (PTA SAS)" userId="a45a17f7-7950-4cb5-bfab-f5c894f959a9" providerId="ADAL" clId="{7EBB4E1E-93A9-4035-834A-9A0B60182E9F}" dt="2020-10-07T23:27:04.869" v="3472" actId="478"/>
          <ac:spMkLst>
            <pc:docMk/>
            <pc:sldMk cId="3956612652" sldId="2134804435"/>
            <ac:spMk id="50" creationId="{888CE834-F22B-4DB4-B55F-D1B64746D5D1}"/>
          </ac:spMkLst>
        </pc:spChg>
        <pc:spChg chg="del mod">
          <ac:chgData name="Mariam Daniela Tristancho Pineda (PTA SAS)" userId="a45a17f7-7950-4cb5-bfab-f5c894f959a9" providerId="ADAL" clId="{7EBB4E1E-93A9-4035-834A-9A0B60182E9F}" dt="2020-10-07T23:24:03.608" v="3308" actId="478"/>
          <ac:spMkLst>
            <pc:docMk/>
            <pc:sldMk cId="3956612652" sldId="2134804435"/>
            <ac:spMk id="51" creationId="{DC157ABC-17F8-4297-AEDF-047D994ABC76}"/>
          </ac:spMkLst>
        </pc:spChg>
        <pc:spChg chg="del mod">
          <ac:chgData name="Mariam Daniela Tristancho Pineda (PTA SAS)" userId="a45a17f7-7950-4cb5-bfab-f5c894f959a9" providerId="ADAL" clId="{7EBB4E1E-93A9-4035-834A-9A0B60182E9F}" dt="2020-10-07T23:24:05.776" v="3310" actId="478"/>
          <ac:spMkLst>
            <pc:docMk/>
            <pc:sldMk cId="3956612652" sldId="2134804435"/>
            <ac:spMk id="52" creationId="{4D9BB7FE-4AFD-4D6B-995B-6E33E3DD5ADB}"/>
          </ac:spMkLst>
        </pc:spChg>
        <pc:spChg chg="del mod">
          <ac:chgData name="Mariam Daniela Tristancho Pineda (PTA SAS)" userId="a45a17f7-7950-4cb5-bfab-f5c894f959a9" providerId="ADAL" clId="{7EBB4E1E-93A9-4035-834A-9A0B60182E9F}" dt="2020-10-07T23:24:11.648" v="3311" actId="478"/>
          <ac:spMkLst>
            <pc:docMk/>
            <pc:sldMk cId="3956612652" sldId="2134804435"/>
            <ac:spMk id="53" creationId="{CD8A13B4-8A10-4781-801A-8A68BDA43580}"/>
          </ac:spMkLst>
        </pc:spChg>
        <pc:spChg chg="del mod">
          <ac:chgData name="Mariam Daniela Tristancho Pineda (PTA SAS)" userId="a45a17f7-7950-4cb5-bfab-f5c894f959a9" providerId="ADAL" clId="{7EBB4E1E-93A9-4035-834A-9A0B60182E9F}" dt="2020-10-07T23:24:11.648" v="3311" actId="478"/>
          <ac:spMkLst>
            <pc:docMk/>
            <pc:sldMk cId="3956612652" sldId="2134804435"/>
            <ac:spMk id="54" creationId="{D21EFE93-6C5F-4E7F-AE99-D19D0033BF2B}"/>
          </ac:spMkLst>
        </pc:spChg>
        <pc:spChg chg="del mod">
          <ac:chgData name="Mariam Daniela Tristancho Pineda (PTA SAS)" userId="a45a17f7-7950-4cb5-bfab-f5c894f959a9" providerId="ADAL" clId="{7EBB4E1E-93A9-4035-834A-9A0B60182E9F}" dt="2020-10-07T23:24:02.622" v="3307" actId="478"/>
          <ac:spMkLst>
            <pc:docMk/>
            <pc:sldMk cId="3956612652" sldId="2134804435"/>
            <ac:spMk id="55" creationId="{300252C7-CEED-4ABE-A132-BE18172791F1}"/>
          </ac:spMkLst>
        </pc:spChg>
        <pc:spChg chg="del mod">
          <ac:chgData name="Mariam Daniela Tristancho Pineda (PTA SAS)" userId="a45a17f7-7950-4cb5-bfab-f5c894f959a9" providerId="ADAL" clId="{7EBB4E1E-93A9-4035-834A-9A0B60182E9F}" dt="2020-10-07T23:24:04.957" v="3309" actId="478"/>
          <ac:spMkLst>
            <pc:docMk/>
            <pc:sldMk cId="3956612652" sldId="2134804435"/>
            <ac:spMk id="56" creationId="{9F73F02E-00CE-4AB6-B3D1-EF41C67303F7}"/>
          </ac:spMkLst>
        </pc:spChg>
        <pc:spChg chg="del mod">
          <ac:chgData name="Mariam Daniela Tristancho Pineda (PTA SAS)" userId="a45a17f7-7950-4cb5-bfab-f5c894f959a9" providerId="ADAL" clId="{7EBB4E1E-93A9-4035-834A-9A0B60182E9F}" dt="2020-10-07T23:24:11.648" v="3311" actId="478"/>
          <ac:spMkLst>
            <pc:docMk/>
            <pc:sldMk cId="3956612652" sldId="2134804435"/>
            <ac:spMk id="57" creationId="{36FCE74A-DBB5-4D4D-9280-ABEEBA952776}"/>
          </ac:spMkLst>
        </pc:spChg>
        <pc:spChg chg="del mod">
          <ac:chgData name="Mariam Daniela Tristancho Pineda (PTA SAS)" userId="a45a17f7-7950-4cb5-bfab-f5c894f959a9" providerId="ADAL" clId="{7EBB4E1E-93A9-4035-834A-9A0B60182E9F}" dt="2020-10-07T23:24:11.648" v="3311" actId="478"/>
          <ac:spMkLst>
            <pc:docMk/>
            <pc:sldMk cId="3956612652" sldId="2134804435"/>
            <ac:spMk id="58" creationId="{4CB46433-8761-400B-96FE-7BF17D2B6EA1}"/>
          </ac:spMkLst>
        </pc:spChg>
        <pc:spChg chg="mod">
          <ac:chgData name="Mariam Daniela Tristancho Pineda (PTA SAS)" userId="a45a17f7-7950-4cb5-bfab-f5c894f959a9" providerId="ADAL" clId="{7EBB4E1E-93A9-4035-834A-9A0B60182E9F}" dt="2020-10-07T23:23:58.373" v="3306" actId="14100"/>
          <ac:spMkLst>
            <pc:docMk/>
            <pc:sldMk cId="3956612652" sldId="2134804435"/>
            <ac:spMk id="59" creationId="{B0240DC6-2737-4621-B3DB-4C10415C85EA}"/>
          </ac:spMkLst>
        </pc:spChg>
        <pc:spChg chg="mod">
          <ac:chgData name="Mariam Daniela Tristancho Pineda (PTA SAS)" userId="a45a17f7-7950-4cb5-bfab-f5c894f959a9" providerId="ADAL" clId="{7EBB4E1E-93A9-4035-834A-9A0B60182E9F}" dt="2020-10-07T23:23:58.373" v="3306" actId="14100"/>
          <ac:spMkLst>
            <pc:docMk/>
            <pc:sldMk cId="3956612652" sldId="2134804435"/>
            <ac:spMk id="60" creationId="{1E98B0D9-7004-46B9-8451-8C057B00D302}"/>
          </ac:spMkLst>
        </pc:spChg>
        <pc:spChg chg="mod">
          <ac:chgData name="Mariam Daniela Tristancho Pineda (PTA SAS)" userId="a45a17f7-7950-4cb5-bfab-f5c894f959a9" providerId="ADAL" clId="{7EBB4E1E-93A9-4035-834A-9A0B60182E9F}" dt="2020-10-07T23:23:58.373" v="3306" actId="14100"/>
          <ac:spMkLst>
            <pc:docMk/>
            <pc:sldMk cId="3956612652" sldId="2134804435"/>
            <ac:spMk id="61" creationId="{63E1E77E-E823-4B95-A066-445C36FFA4AC}"/>
          </ac:spMkLst>
        </pc:spChg>
        <pc:spChg chg="mod">
          <ac:chgData name="Mariam Daniela Tristancho Pineda (PTA SAS)" userId="a45a17f7-7950-4cb5-bfab-f5c894f959a9" providerId="ADAL" clId="{7EBB4E1E-93A9-4035-834A-9A0B60182E9F}" dt="2020-10-07T23:23:58.373" v="3306" actId="14100"/>
          <ac:spMkLst>
            <pc:docMk/>
            <pc:sldMk cId="3956612652" sldId="2134804435"/>
            <ac:spMk id="62" creationId="{1AB96CFD-4E64-4D75-86F3-E119B0426024}"/>
          </ac:spMkLst>
        </pc:spChg>
        <pc:spChg chg="mod">
          <ac:chgData name="Mariam Daniela Tristancho Pineda (PTA SAS)" userId="a45a17f7-7950-4cb5-bfab-f5c894f959a9" providerId="ADAL" clId="{7EBB4E1E-93A9-4035-834A-9A0B60182E9F}" dt="2020-10-07T23:23:58.373" v="3306" actId="14100"/>
          <ac:spMkLst>
            <pc:docMk/>
            <pc:sldMk cId="3956612652" sldId="2134804435"/>
            <ac:spMk id="63" creationId="{76A818F1-1E2F-4E3E-8E30-5D9FD45711F3}"/>
          </ac:spMkLst>
        </pc:spChg>
        <pc:spChg chg="mod">
          <ac:chgData name="Mariam Daniela Tristancho Pineda (PTA SAS)" userId="a45a17f7-7950-4cb5-bfab-f5c894f959a9" providerId="ADAL" clId="{7EBB4E1E-93A9-4035-834A-9A0B60182E9F}" dt="2020-10-07T23:23:58.373" v="3306" actId="14100"/>
          <ac:spMkLst>
            <pc:docMk/>
            <pc:sldMk cId="3956612652" sldId="2134804435"/>
            <ac:spMk id="64" creationId="{56BEB846-3F93-46A4-A1B2-9E80AD2A8550}"/>
          </ac:spMkLst>
        </pc:spChg>
        <pc:spChg chg="mod">
          <ac:chgData name="Mariam Daniela Tristancho Pineda (PTA SAS)" userId="a45a17f7-7950-4cb5-bfab-f5c894f959a9" providerId="ADAL" clId="{7EBB4E1E-93A9-4035-834A-9A0B60182E9F}" dt="2020-10-07T23:23:58.373" v="3306" actId="14100"/>
          <ac:spMkLst>
            <pc:docMk/>
            <pc:sldMk cId="3956612652" sldId="2134804435"/>
            <ac:spMk id="65" creationId="{10D32905-0921-4A12-ABDB-0CC6F77DA964}"/>
          </ac:spMkLst>
        </pc:spChg>
        <pc:spChg chg="mod">
          <ac:chgData name="Mariam Daniela Tristancho Pineda (PTA SAS)" userId="a45a17f7-7950-4cb5-bfab-f5c894f959a9" providerId="ADAL" clId="{7EBB4E1E-93A9-4035-834A-9A0B60182E9F}" dt="2020-10-07T23:23:58.373" v="3306" actId="14100"/>
          <ac:spMkLst>
            <pc:docMk/>
            <pc:sldMk cId="3956612652" sldId="2134804435"/>
            <ac:spMk id="66" creationId="{2C3E7187-2A73-459C-B24B-D6535BAA435A}"/>
          </ac:spMkLst>
        </pc:spChg>
        <pc:spChg chg="mod">
          <ac:chgData name="Mariam Daniela Tristancho Pineda (PTA SAS)" userId="a45a17f7-7950-4cb5-bfab-f5c894f959a9" providerId="ADAL" clId="{7EBB4E1E-93A9-4035-834A-9A0B60182E9F}" dt="2020-10-07T23:25:21.917" v="3369" actId="14100"/>
          <ac:spMkLst>
            <pc:docMk/>
            <pc:sldMk cId="3956612652" sldId="2134804435"/>
            <ac:spMk id="67" creationId="{93E44472-F58E-45E5-AFC8-82472B7B096C}"/>
          </ac:spMkLst>
        </pc:spChg>
        <pc:spChg chg="mod">
          <ac:chgData name="Mariam Daniela Tristancho Pineda (PTA SAS)" userId="a45a17f7-7950-4cb5-bfab-f5c894f959a9" providerId="ADAL" clId="{7EBB4E1E-93A9-4035-834A-9A0B60182E9F}" dt="2020-10-07T23:23:58.373" v="3306" actId="14100"/>
          <ac:spMkLst>
            <pc:docMk/>
            <pc:sldMk cId="3956612652" sldId="2134804435"/>
            <ac:spMk id="68" creationId="{F0D2DA07-073A-4D40-AF3A-2851D484762B}"/>
          </ac:spMkLst>
        </pc:spChg>
        <pc:spChg chg="mod">
          <ac:chgData name="Mariam Daniela Tristancho Pineda (PTA SAS)" userId="a45a17f7-7950-4cb5-bfab-f5c894f959a9" providerId="ADAL" clId="{7EBB4E1E-93A9-4035-834A-9A0B60182E9F}" dt="2020-10-07T23:23:58.373" v="3306" actId="14100"/>
          <ac:spMkLst>
            <pc:docMk/>
            <pc:sldMk cId="3956612652" sldId="2134804435"/>
            <ac:spMk id="69" creationId="{B121D910-1345-43EA-B78E-95DC149D8530}"/>
          </ac:spMkLst>
        </pc:spChg>
        <pc:spChg chg="mod">
          <ac:chgData name="Mariam Daniela Tristancho Pineda (PTA SAS)" userId="a45a17f7-7950-4cb5-bfab-f5c894f959a9" providerId="ADAL" clId="{7EBB4E1E-93A9-4035-834A-9A0B60182E9F}" dt="2020-10-07T23:23:58.373" v="3306" actId="14100"/>
          <ac:spMkLst>
            <pc:docMk/>
            <pc:sldMk cId="3956612652" sldId="2134804435"/>
            <ac:spMk id="70" creationId="{3561C933-9F14-4F0B-9166-8C0A7DCB1967}"/>
          </ac:spMkLst>
        </pc:spChg>
        <pc:grpChg chg="add mod">
          <ac:chgData name="Mariam Daniela Tristancho Pineda (PTA SAS)" userId="a45a17f7-7950-4cb5-bfab-f5c894f959a9" providerId="ADAL" clId="{7EBB4E1E-93A9-4035-834A-9A0B60182E9F}" dt="2020-10-07T23:28:34.628" v="3563" actId="1076"/>
          <ac:grpSpMkLst>
            <pc:docMk/>
            <pc:sldMk cId="3956612652" sldId="2134804435"/>
            <ac:grpSpMk id="33" creationId="{7070BB4B-4B91-4480-825D-68EB4275DC67}"/>
          </ac:grpSpMkLst>
        </pc:grpChg>
        <pc:grpChg chg="add mod">
          <ac:chgData name="Mariam Daniela Tristancho Pineda (PTA SAS)" userId="a45a17f7-7950-4cb5-bfab-f5c894f959a9" providerId="ADAL" clId="{7EBB4E1E-93A9-4035-834A-9A0B60182E9F}" dt="2020-10-07T23:27:47.764" v="3524" actId="1076"/>
          <ac:grpSpMkLst>
            <pc:docMk/>
            <pc:sldMk cId="3956612652" sldId="2134804435"/>
            <ac:grpSpMk id="42" creationId="{8E981FAA-77CE-4F2A-A5DC-5CDE95F3D2CC}"/>
          </ac:grpSpMkLst>
        </pc:grpChg>
        <pc:grpChg chg="mod">
          <ac:chgData name="Mariam Daniela Tristancho Pineda (PTA SAS)" userId="a45a17f7-7950-4cb5-bfab-f5c894f959a9" providerId="ADAL" clId="{7EBB4E1E-93A9-4035-834A-9A0B60182E9F}" dt="2020-10-07T23:23:58.373" v="3306" actId="14100"/>
          <ac:grpSpMkLst>
            <pc:docMk/>
            <pc:sldMk cId="3956612652" sldId="2134804435"/>
            <ac:grpSpMk id="43" creationId="{D2691887-98CE-4727-B080-28C283C42CDC}"/>
          </ac:grpSpMkLst>
        </pc:grpChg>
      </pc:sldChg>
      <pc:sldChg chg="addSp modSp add del">
        <pc:chgData name="Mariam Daniela Tristancho Pineda (PTA SAS)" userId="a45a17f7-7950-4cb5-bfab-f5c894f959a9" providerId="ADAL" clId="{7EBB4E1E-93A9-4035-834A-9A0B60182E9F}" dt="2020-10-14T13:45:15.613" v="3904"/>
        <pc:sldMkLst>
          <pc:docMk/>
          <pc:sldMk cId="2104857576" sldId="2134804436"/>
        </pc:sldMkLst>
        <pc:picChg chg="add mod">
          <ac:chgData name="Mariam Daniela Tristancho Pineda (PTA SAS)" userId="a45a17f7-7950-4cb5-bfab-f5c894f959a9" providerId="ADAL" clId="{7EBB4E1E-93A9-4035-834A-9A0B60182E9F}" dt="2020-10-14T13:45:15.613" v="3904"/>
          <ac:picMkLst>
            <pc:docMk/>
            <pc:sldMk cId="2104857576" sldId="2134804436"/>
            <ac:picMk id="5" creationId="{933561B2-ABFE-48FC-8FCA-595FA8EBDF99}"/>
          </ac:picMkLst>
        </pc:picChg>
      </pc:sldChg>
      <pc:sldChg chg="modSp add del mod ord">
        <pc:chgData name="Mariam Daniela Tristancho Pineda (PTA SAS)" userId="a45a17f7-7950-4cb5-bfab-f5c894f959a9" providerId="ADAL" clId="{7EBB4E1E-93A9-4035-834A-9A0B60182E9F}" dt="2020-10-06T19:31:11.432" v="1581" actId="47"/>
        <pc:sldMkLst>
          <pc:docMk/>
          <pc:sldMk cId="2977307937" sldId="2134804436"/>
        </pc:sldMkLst>
        <pc:spChg chg="mod">
          <ac:chgData name="Mariam Daniela Tristancho Pineda (PTA SAS)" userId="a45a17f7-7950-4cb5-bfab-f5c894f959a9" providerId="ADAL" clId="{7EBB4E1E-93A9-4035-834A-9A0B60182E9F}" dt="2020-10-06T16:47:14.655" v="1122" actId="1076"/>
          <ac:spMkLst>
            <pc:docMk/>
            <pc:sldMk cId="2977307937" sldId="2134804436"/>
            <ac:spMk id="2" creationId="{957EAA4A-611C-4244-89F5-F39EF823DE08}"/>
          </ac:spMkLst>
        </pc:spChg>
      </pc:sldChg>
      <pc:sldChg chg="modSp new del mod">
        <pc:chgData name="Mariam Daniela Tristancho Pineda (PTA SAS)" userId="a45a17f7-7950-4cb5-bfab-f5c894f959a9" providerId="ADAL" clId="{7EBB4E1E-93A9-4035-834A-9A0B60182E9F}" dt="2020-10-06T19:35:05.815" v="1648" actId="47"/>
        <pc:sldMkLst>
          <pc:docMk/>
          <pc:sldMk cId="2527604684" sldId="2134804437"/>
        </pc:sldMkLst>
        <pc:spChg chg="mod">
          <ac:chgData name="Mariam Daniela Tristancho Pineda (PTA SAS)" userId="a45a17f7-7950-4cb5-bfab-f5c894f959a9" providerId="ADAL" clId="{7EBB4E1E-93A9-4035-834A-9A0B60182E9F}" dt="2020-10-06T17:08:32.494" v="1532" actId="14100"/>
          <ac:spMkLst>
            <pc:docMk/>
            <pc:sldMk cId="2527604684" sldId="2134804437"/>
            <ac:spMk id="2" creationId="{8B25782C-FE64-424B-A564-D4A8ADCE0568}"/>
          </ac:spMkLst>
        </pc:spChg>
      </pc:sldChg>
      <pc:sldChg chg="addSp modSp add mod modAnim">
        <pc:chgData name="Mariam Daniela Tristancho Pineda (PTA SAS)" userId="a45a17f7-7950-4cb5-bfab-f5c894f959a9" providerId="ADAL" clId="{7EBB4E1E-93A9-4035-834A-9A0B60182E9F}" dt="2020-10-13T19:33:25.815" v="3695"/>
        <pc:sldMkLst>
          <pc:docMk/>
          <pc:sldMk cId="459037398" sldId="2134804438"/>
        </pc:sldMkLst>
        <pc:spChg chg="mod">
          <ac:chgData name="Mariam Daniela Tristancho Pineda (PTA SAS)" userId="a45a17f7-7950-4cb5-bfab-f5c894f959a9" providerId="ADAL" clId="{7EBB4E1E-93A9-4035-834A-9A0B60182E9F}" dt="2020-10-06T17:10:28.294" v="1560" actId="1076"/>
          <ac:spMkLst>
            <pc:docMk/>
            <pc:sldMk cId="459037398" sldId="2134804438"/>
            <ac:spMk id="2" creationId="{957EAA4A-611C-4244-89F5-F39EF823DE08}"/>
          </ac:spMkLst>
        </pc:spChg>
        <pc:picChg chg="add mod">
          <ac:chgData name="Mariam Daniela Tristancho Pineda (PTA SAS)" userId="a45a17f7-7950-4cb5-bfab-f5c894f959a9" providerId="ADAL" clId="{7EBB4E1E-93A9-4035-834A-9A0B60182E9F}" dt="2020-10-13T19:33:25.815" v="3695"/>
          <ac:picMkLst>
            <pc:docMk/>
            <pc:sldMk cId="459037398" sldId="2134804438"/>
            <ac:picMk id="3" creationId="{DB083840-BD0B-4E5D-B9C8-3535B3AAB685}"/>
          </ac:picMkLst>
        </pc:picChg>
      </pc:sldChg>
      <pc:sldChg chg="new del">
        <pc:chgData name="Mariam Daniela Tristancho Pineda (PTA SAS)" userId="a45a17f7-7950-4cb5-bfab-f5c894f959a9" providerId="ADAL" clId="{7EBB4E1E-93A9-4035-834A-9A0B60182E9F}" dt="2020-10-06T19:29:27.558" v="1576" actId="47"/>
        <pc:sldMkLst>
          <pc:docMk/>
          <pc:sldMk cId="1475340378" sldId="2134804439"/>
        </pc:sldMkLst>
      </pc:sldChg>
      <pc:sldChg chg="addSp delSp modSp new mod ord">
        <pc:chgData name="Mariam Daniela Tristancho Pineda (PTA SAS)" userId="a45a17f7-7950-4cb5-bfab-f5c894f959a9" providerId="ADAL" clId="{7EBB4E1E-93A9-4035-834A-9A0B60182E9F}" dt="2020-10-06T19:47:32.463" v="2343" actId="1038"/>
        <pc:sldMkLst>
          <pc:docMk/>
          <pc:sldMk cId="3539712875" sldId="2134804439"/>
        </pc:sldMkLst>
        <pc:spChg chg="add mod">
          <ac:chgData name="Mariam Daniela Tristancho Pineda (PTA SAS)" userId="a45a17f7-7950-4cb5-bfab-f5c894f959a9" providerId="ADAL" clId="{7EBB4E1E-93A9-4035-834A-9A0B60182E9F}" dt="2020-10-06T19:40:15.601" v="2235" actId="1076"/>
          <ac:spMkLst>
            <pc:docMk/>
            <pc:sldMk cId="3539712875" sldId="2134804439"/>
            <ac:spMk id="4" creationId="{CAAFEDC1-4B58-4913-A2A5-D711039A33B5}"/>
          </ac:spMkLst>
        </pc:spChg>
        <pc:spChg chg="add del mod">
          <ac:chgData name="Mariam Daniela Tristancho Pineda (PTA SAS)" userId="a45a17f7-7950-4cb5-bfab-f5c894f959a9" providerId="ADAL" clId="{7EBB4E1E-93A9-4035-834A-9A0B60182E9F}" dt="2020-10-06T19:37:17.133" v="2086" actId="478"/>
          <ac:spMkLst>
            <pc:docMk/>
            <pc:sldMk cId="3539712875" sldId="2134804439"/>
            <ac:spMk id="5" creationId="{64BEA858-75F7-41E3-9A39-7BF2F8C221DD}"/>
          </ac:spMkLst>
        </pc:spChg>
        <pc:spChg chg="add mod">
          <ac:chgData name="Mariam Daniela Tristancho Pineda (PTA SAS)" userId="a45a17f7-7950-4cb5-bfab-f5c894f959a9" providerId="ADAL" clId="{7EBB4E1E-93A9-4035-834A-9A0B60182E9F}" dt="2020-10-06T19:47:27.854" v="2334" actId="1037"/>
          <ac:spMkLst>
            <pc:docMk/>
            <pc:sldMk cId="3539712875" sldId="2134804439"/>
            <ac:spMk id="6" creationId="{58799CC0-6873-4D0B-983C-048852038A37}"/>
          </ac:spMkLst>
        </pc:spChg>
        <pc:spChg chg="add mod">
          <ac:chgData name="Mariam Daniela Tristancho Pineda (PTA SAS)" userId="a45a17f7-7950-4cb5-bfab-f5c894f959a9" providerId="ADAL" clId="{7EBB4E1E-93A9-4035-834A-9A0B60182E9F}" dt="2020-10-06T19:47:27.854" v="2334" actId="1037"/>
          <ac:spMkLst>
            <pc:docMk/>
            <pc:sldMk cId="3539712875" sldId="2134804439"/>
            <ac:spMk id="8" creationId="{6265FC2E-2616-458D-8F45-C7281CBBB60B}"/>
          </ac:spMkLst>
        </pc:spChg>
        <pc:spChg chg="add mod">
          <ac:chgData name="Mariam Daniela Tristancho Pineda (PTA SAS)" userId="a45a17f7-7950-4cb5-bfab-f5c894f959a9" providerId="ADAL" clId="{7EBB4E1E-93A9-4035-834A-9A0B60182E9F}" dt="2020-10-06T19:47:27.854" v="2334" actId="1037"/>
          <ac:spMkLst>
            <pc:docMk/>
            <pc:sldMk cId="3539712875" sldId="2134804439"/>
            <ac:spMk id="10" creationId="{9E8D26C4-10B6-4A63-81EA-2EC8E1697D7A}"/>
          </ac:spMkLst>
        </pc:spChg>
        <pc:picChg chg="add mod">
          <ac:chgData name="Mariam Daniela Tristancho Pineda (PTA SAS)" userId="a45a17f7-7950-4cb5-bfab-f5c894f959a9" providerId="ADAL" clId="{7EBB4E1E-93A9-4035-834A-9A0B60182E9F}" dt="2020-10-06T19:47:32.463" v="2343" actId="1038"/>
          <ac:picMkLst>
            <pc:docMk/>
            <pc:sldMk cId="3539712875" sldId="2134804439"/>
            <ac:picMk id="12" creationId="{CF63326B-3540-4D2D-BAC8-E76D4EDF8B62}"/>
          </ac:picMkLst>
        </pc:picChg>
        <pc:picChg chg="add mod">
          <ac:chgData name="Mariam Daniela Tristancho Pineda (PTA SAS)" userId="a45a17f7-7950-4cb5-bfab-f5c894f959a9" providerId="ADAL" clId="{7EBB4E1E-93A9-4035-834A-9A0B60182E9F}" dt="2020-10-06T19:47:32.463" v="2343" actId="1038"/>
          <ac:picMkLst>
            <pc:docMk/>
            <pc:sldMk cId="3539712875" sldId="2134804439"/>
            <ac:picMk id="14" creationId="{4B2B16C1-B03A-447A-B036-46010E4CBFC2}"/>
          </ac:picMkLst>
        </pc:picChg>
        <pc:picChg chg="add mod">
          <ac:chgData name="Mariam Daniela Tristancho Pineda (PTA SAS)" userId="a45a17f7-7950-4cb5-bfab-f5c894f959a9" providerId="ADAL" clId="{7EBB4E1E-93A9-4035-834A-9A0B60182E9F}" dt="2020-10-06T19:47:32.463" v="2343" actId="1038"/>
          <ac:picMkLst>
            <pc:docMk/>
            <pc:sldMk cId="3539712875" sldId="2134804439"/>
            <ac:picMk id="16" creationId="{5A9EC01C-8F83-427F-91E3-7B8D3399493E}"/>
          </ac:picMkLst>
        </pc:picChg>
      </pc:sldChg>
      <pc:sldChg chg="add del setBg">
        <pc:chgData name="Mariam Daniela Tristancho Pineda (PTA SAS)" userId="a45a17f7-7950-4cb5-bfab-f5c894f959a9" providerId="ADAL" clId="{7EBB4E1E-93A9-4035-834A-9A0B60182E9F}" dt="2020-10-08T15:26:14.434" v="3579" actId="47"/>
        <pc:sldMkLst>
          <pc:docMk/>
          <pc:sldMk cId="2389243278" sldId="2134804440"/>
        </pc:sldMkLst>
      </pc:sldChg>
      <pc:sldChg chg="add">
        <pc:chgData name="Mariam Daniela Tristancho Pineda (PTA SAS)" userId="a45a17f7-7950-4cb5-bfab-f5c894f959a9" providerId="ADAL" clId="{7EBB4E1E-93A9-4035-834A-9A0B60182E9F}" dt="2020-10-13T21:39:46.904" v="3697"/>
        <pc:sldMkLst>
          <pc:docMk/>
          <pc:sldMk cId="1999149945" sldId="2134804441"/>
        </pc:sldMkLst>
      </pc:sldChg>
      <pc:sldChg chg="addSp modSp add">
        <pc:chgData name="Mariam Daniela Tristancho Pineda (PTA SAS)" userId="a45a17f7-7950-4cb5-bfab-f5c894f959a9" providerId="ADAL" clId="{7EBB4E1E-93A9-4035-834A-9A0B60182E9F}" dt="2020-10-13T21:50:11.220" v="3737" actId="767"/>
        <pc:sldMkLst>
          <pc:docMk/>
          <pc:sldMk cId="2555619992" sldId="2134804442"/>
        </pc:sldMkLst>
        <pc:spChg chg="add mod">
          <ac:chgData name="Mariam Daniela Tristancho Pineda (PTA SAS)" userId="a45a17f7-7950-4cb5-bfab-f5c894f959a9" providerId="ADAL" clId="{7EBB4E1E-93A9-4035-834A-9A0B60182E9F}" dt="2020-10-13T21:50:11.220" v="3737" actId="767"/>
          <ac:spMkLst>
            <pc:docMk/>
            <pc:sldMk cId="2555619992" sldId="2134804442"/>
            <ac:spMk id="2" creationId="{4F9D5C0E-30CE-4DF6-B995-5DD06F35DA3A}"/>
          </ac:spMkLst>
        </pc:spChg>
      </pc:sldChg>
      <pc:sldChg chg="addSp modSp">
        <pc:chgData name="Mariam Daniela Tristancho Pineda (PTA SAS)" userId="a45a17f7-7950-4cb5-bfab-f5c894f959a9" providerId="ADAL" clId="{7EBB4E1E-93A9-4035-834A-9A0B60182E9F}" dt="2020-10-13T21:47:22.976" v="3736" actId="767"/>
        <pc:sldMkLst>
          <pc:docMk/>
          <pc:sldMk cId="1812532839" sldId="2134804443"/>
        </pc:sldMkLst>
        <pc:spChg chg="add mod">
          <ac:chgData name="Mariam Daniela Tristancho Pineda (PTA SAS)" userId="a45a17f7-7950-4cb5-bfab-f5c894f959a9" providerId="ADAL" clId="{7EBB4E1E-93A9-4035-834A-9A0B60182E9F}" dt="2020-10-13T21:45:37.893" v="3735" actId="767"/>
          <ac:spMkLst>
            <pc:docMk/>
            <pc:sldMk cId="1812532839" sldId="2134804443"/>
            <ac:spMk id="2" creationId="{180D508D-FB9B-40C9-B5EE-E4994A6E477C}"/>
          </ac:spMkLst>
        </pc:spChg>
        <pc:spChg chg="add mod">
          <ac:chgData name="Mariam Daniela Tristancho Pineda (PTA SAS)" userId="a45a17f7-7950-4cb5-bfab-f5c894f959a9" providerId="ADAL" clId="{7EBB4E1E-93A9-4035-834A-9A0B60182E9F}" dt="2020-10-13T21:47:22.976" v="3736" actId="767"/>
          <ac:spMkLst>
            <pc:docMk/>
            <pc:sldMk cId="1812532839" sldId="2134804443"/>
            <ac:spMk id="13" creationId="{B75A84F1-E644-4A70-8E59-FD5D117EBF63}"/>
          </ac:spMkLst>
        </pc:spChg>
      </pc:sldChg>
      <pc:sldChg chg="delSp modSp add">
        <pc:chgData name="Mariam Daniela Tristancho Pineda (PTA SAS)" userId="a45a17f7-7950-4cb5-bfab-f5c894f959a9" providerId="ADAL" clId="{7EBB4E1E-93A9-4035-834A-9A0B60182E9F}" dt="2020-10-13T22:03:32.994" v="3785" actId="478"/>
        <pc:sldMkLst>
          <pc:docMk/>
          <pc:sldMk cId="3167452426" sldId="2134804444"/>
        </pc:sldMkLst>
        <pc:spChg chg="mod">
          <ac:chgData name="Mariam Daniela Tristancho Pineda (PTA SAS)" userId="a45a17f7-7950-4cb5-bfab-f5c894f959a9" providerId="ADAL" clId="{7EBB4E1E-93A9-4035-834A-9A0B60182E9F}" dt="2020-10-13T22:02:40.306" v="3783" actId="1076"/>
          <ac:spMkLst>
            <pc:docMk/>
            <pc:sldMk cId="3167452426" sldId="2134804444"/>
            <ac:spMk id="2" creationId="{7D76A58A-375F-4061-9D4C-651C14864658}"/>
          </ac:spMkLst>
        </pc:spChg>
        <pc:spChg chg="del">
          <ac:chgData name="Mariam Daniela Tristancho Pineda (PTA SAS)" userId="a45a17f7-7950-4cb5-bfab-f5c894f959a9" providerId="ADAL" clId="{7EBB4E1E-93A9-4035-834A-9A0B60182E9F}" dt="2020-10-13T22:01:53.565" v="3773" actId="478"/>
          <ac:spMkLst>
            <pc:docMk/>
            <pc:sldMk cId="3167452426" sldId="2134804444"/>
            <ac:spMk id="76" creationId="{EEF9D3BD-0FCD-4E3B-A30D-451C7AAF6633}"/>
          </ac:spMkLst>
        </pc:spChg>
        <pc:spChg chg="mod">
          <ac:chgData name="Mariam Daniela Tristancho Pineda (PTA SAS)" userId="a45a17f7-7950-4cb5-bfab-f5c894f959a9" providerId="ADAL" clId="{7EBB4E1E-93A9-4035-834A-9A0B60182E9F}" dt="2020-10-13T22:02:40.306" v="3783" actId="1076"/>
          <ac:spMkLst>
            <pc:docMk/>
            <pc:sldMk cId="3167452426" sldId="2134804444"/>
            <ac:spMk id="77" creationId="{44DAAF07-704B-4AD2-9029-4FE6270429E3}"/>
          </ac:spMkLst>
        </pc:spChg>
        <pc:spChg chg="mod">
          <ac:chgData name="Mariam Daniela Tristancho Pineda (PTA SAS)" userId="a45a17f7-7950-4cb5-bfab-f5c894f959a9" providerId="ADAL" clId="{7EBB4E1E-93A9-4035-834A-9A0B60182E9F}" dt="2020-10-13T22:02:40.306" v="3783" actId="1076"/>
          <ac:spMkLst>
            <pc:docMk/>
            <pc:sldMk cId="3167452426" sldId="2134804444"/>
            <ac:spMk id="80" creationId="{E4642C6D-F1C3-451F-AEC6-3440A3FD291D}"/>
          </ac:spMkLst>
        </pc:spChg>
        <pc:spChg chg="mod topLvl">
          <ac:chgData name="Mariam Daniela Tristancho Pineda (PTA SAS)" userId="a45a17f7-7950-4cb5-bfab-f5c894f959a9" providerId="ADAL" clId="{7EBB4E1E-93A9-4035-834A-9A0B60182E9F}" dt="2020-10-13T22:02:40.306" v="3783" actId="1076"/>
          <ac:spMkLst>
            <pc:docMk/>
            <pc:sldMk cId="3167452426" sldId="2134804444"/>
            <ac:spMk id="108" creationId="{0DFAE232-C03A-4447-AF4F-2FEEE826CF8A}"/>
          </ac:spMkLst>
        </pc:spChg>
        <pc:spChg chg="mod topLvl">
          <ac:chgData name="Mariam Daniela Tristancho Pineda (PTA SAS)" userId="a45a17f7-7950-4cb5-bfab-f5c894f959a9" providerId="ADAL" clId="{7EBB4E1E-93A9-4035-834A-9A0B60182E9F}" dt="2020-10-13T22:02:02.118" v="3776" actId="165"/>
          <ac:spMkLst>
            <pc:docMk/>
            <pc:sldMk cId="3167452426" sldId="2134804444"/>
            <ac:spMk id="111" creationId="{238FD54F-35A5-4122-9015-D197608097DD}"/>
          </ac:spMkLst>
        </pc:spChg>
        <pc:spChg chg="mod topLvl">
          <ac:chgData name="Mariam Daniela Tristancho Pineda (PTA SAS)" userId="a45a17f7-7950-4cb5-bfab-f5c894f959a9" providerId="ADAL" clId="{7EBB4E1E-93A9-4035-834A-9A0B60182E9F}" dt="2020-10-13T22:02:02.118" v="3776" actId="165"/>
          <ac:spMkLst>
            <pc:docMk/>
            <pc:sldMk cId="3167452426" sldId="2134804444"/>
            <ac:spMk id="112" creationId="{0DC8B8DA-3D9B-4936-81F1-CE85FFE781C2}"/>
          </ac:spMkLst>
        </pc:spChg>
        <pc:spChg chg="mod topLvl">
          <ac:chgData name="Mariam Daniela Tristancho Pineda (PTA SAS)" userId="a45a17f7-7950-4cb5-bfab-f5c894f959a9" providerId="ADAL" clId="{7EBB4E1E-93A9-4035-834A-9A0B60182E9F}" dt="2020-10-13T22:02:40.306" v="3783" actId="1076"/>
          <ac:spMkLst>
            <pc:docMk/>
            <pc:sldMk cId="3167452426" sldId="2134804444"/>
            <ac:spMk id="115" creationId="{DB35C4D3-61DC-4194-A530-0CD186587533}"/>
          </ac:spMkLst>
        </pc:spChg>
        <pc:spChg chg="mod topLvl">
          <ac:chgData name="Mariam Daniela Tristancho Pineda (PTA SAS)" userId="a45a17f7-7950-4cb5-bfab-f5c894f959a9" providerId="ADAL" clId="{7EBB4E1E-93A9-4035-834A-9A0B60182E9F}" dt="2020-10-13T22:02:40.306" v="3783" actId="1076"/>
          <ac:spMkLst>
            <pc:docMk/>
            <pc:sldMk cId="3167452426" sldId="2134804444"/>
            <ac:spMk id="144" creationId="{9A40AC9D-F2DE-429E-B1E7-87793BEF9411}"/>
          </ac:spMkLst>
        </pc:spChg>
        <pc:spChg chg="mod topLvl">
          <ac:chgData name="Mariam Daniela Tristancho Pineda (PTA SAS)" userId="a45a17f7-7950-4cb5-bfab-f5c894f959a9" providerId="ADAL" clId="{7EBB4E1E-93A9-4035-834A-9A0B60182E9F}" dt="2020-10-13T22:01:59.976" v="3775" actId="165"/>
          <ac:spMkLst>
            <pc:docMk/>
            <pc:sldMk cId="3167452426" sldId="2134804444"/>
            <ac:spMk id="145" creationId="{CFD7A2B8-7760-4F47-9755-80C90649B2FD}"/>
          </ac:spMkLst>
        </pc:spChg>
        <pc:spChg chg="mod topLvl">
          <ac:chgData name="Mariam Daniela Tristancho Pineda (PTA SAS)" userId="a45a17f7-7950-4cb5-bfab-f5c894f959a9" providerId="ADAL" clId="{7EBB4E1E-93A9-4035-834A-9A0B60182E9F}" dt="2020-10-13T22:01:59.976" v="3775" actId="165"/>
          <ac:spMkLst>
            <pc:docMk/>
            <pc:sldMk cId="3167452426" sldId="2134804444"/>
            <ac:spMk id="146" creationId="{288966CF-A2CB-4920-8B6E-870D67CE8DB4}"/>
          </ac:spMkLst>
        </pc:spChg>
        <pc:spChg chg="mod topLvl">
          <ac:chgData name="Mariam Daniela Tristancho Pineda (PTA SAS)" userId="a45a17f7-7950-4cb5-bfab-f5c894f959a9" providerId="ADAL" clId="{7EBB4E1E-93A9-4035-834A-9A0B60182E9F}" dt="2020-10-13T22:02:40.306" v="3783" actId="1076"/>
          <ac:spMkLst>
            <pc:docMk/>
            <pc:sldMk cId="3167452426" sldId="2134804444"/>
            <ac:spMk id="147" creationId="{7B9ED864-7CF7-4FC1-AAEB-6C50E8128BD6}"/>
          </ac:spMkLst>
        </pc:spChg>
        <pc:grpChg chg="del">
          <ac:chgData name="Mariam Daniela Tristancho Pineda (PTA SAS)" userId="a45a17f7-7950-4cb5-bfab-f5c894f959a9" providerId="ADAL" clId="{7EBB4E1E-93A9-4035-834A-9A0B60182E9F}" dt="2020-10-13T22:02:02.118" v="3776" actId="165"/>
          <ac:grpSpMkLst>
            <pc:docMk/>
            <pc:sldMk cId="3167452426" sldId="2134804444"/>
            <ac:grpSpMk id="87" creationId="{2048A83A-AA05-4B15-BF12-590132B0B976}"/>
          </ac:grpSpMkLst>
        </pc:grpChg>
        <pc:grpChg chg="del">
          <ac:chgData name="Mariam Daniela Tristancho Pineda (PTA SAS)" userId="a45a17f7-7950-4cb5-bfab-f5c894f959a9" providerId="ADAL" clId="{7EBB4E1E-93A9-4035-834A-9A0B60182E9F}" dt="2020-10-13T22:01:53.565" v="3773" actId="478"/>
          <ac:grpSpMkLst>
            <pc:docMk/>
            <pc:sldMk cId="3167452426" sldId="2134804444"/>
            <ac:grpSpMk id="117" creationId="{6B2613F8-F744-454D-91E2-AEE6A9F29C43}"/>
          </ac:grpSpMkLst>
        </pc:grpChg>
        <pc:grpChg chg="del">
          <ac:chgData name="Mariam Daniela Tristancho Pineda (PTA SAS)" userId="a45a17f7-7950-4cb5-bfab-f5c894f959a9" providerId="ADAL" clId="{7EBB4E1E-93A9-4035-834A-9A0B60182E9F}" dt="2020-10-13T22:01:53.565" v="3773" actId="478"/>
          <ac:grpSpMkLst>
            <pc:docMk/>
            <pc:sldMk cId="3167452426" sldId="2134804444"/>
            <ac:grpSpMk id="127" creationId="{60702B56-DECD-447B-A9E3-E75220CE6451}"/>
          </ac:grpSpMkLst>
        </pc:grpChg>
        <pc:grpChg chg="del">
          <ac:chgData name="Mariam Daniela Tristancho Pineda (PTA SAS)" userId="a45a17f7-7950-4cb5-bfab-f5c894f959a9" providerId="ADAL" clId="{7EBB4E1E-93A9-4035-834A-9A0B60182E9F}" dt="2020-10-13T22:01:53.565" v="3773" actId="478"/>
          <ac:grpSpMkLst>
            <pc:docMk/>
            <pc:sldMk cId="3167452426" sldId="2134804444"/>
            <ac:grpSpMk id="133" creationId="{230FEFAE-02E8-496A-B8AD-506B3F9F1126}"/>
          </ac:grpSpMkLst>
        </pc:grpChg>
        <pc:grpChg chg="del">
          <ac:chgData name="Mariam Daniela Tristancho Pineda (PTA SAS)" userId="a45a17f7-7950-4cb5-bfab-f5c894f959a9" providerId="ADAL" clId="{7EBB4E1E-93A9-4035-834A-9A0B60182E9F}" dt="2020-10-13T22:01:59.976" v="3775" actId="165"/>
          <ac:grpSpMkLst>
            <pc:docMk/>
            <pc:sldMk cId="3167452426" sldId="2134804444"/>
            <ac:grpSpMk id="143" creationId="{C2B0831D-672E-4270-8739-782D42787680}"/>
          </ac:grpSpMkLst>
        </pc:grpChg>
        <pc:grpChg chg="del">
          <ac:chgData name="Mariam Daniela Tristancho Pineda (PTA SAS)" userId="a45a17f7-7950-4cb5-bfab-f5c894f959a9" providerId="ADAL" clId="{7EBB4E1E-93A9-4035-834A-9A0B60182E9F}" dt="2020-10-13T22:01:55.584" v="3774" actId="478"/>
          <ac:grpSpMkLst>
            <pc:docMk/>
            <pc:sldMk cId="3167452426" sldId="2134804444"/>
            <ac:grpSpMk id="153" creationId="{C74AA7BD-0482-4430-AE80-88955BE81BD6}"/>
          </ac:grpSpMkLst>
        </pc:grpChg>
        <pc:grpChg chg="del">
          <ac:chgData name="Mariam Daniela Tristancho Pineda (PTA SAS)" userId="a45a17f7-7950-4cb5-bfab-f5c894f959a9" providerId="ADAL" clId="{7EBB4E1E-93A9-4035-834A-9A0B60182E9F}" dt="2020-10-13T22:01:53.565" v="3773" actId="478"/>
          <ac:grpSpMkLst>
            <pc:docMk/>
            <pc:sldMk cId="3167452426" sldId="2134804444"/>
            <ac:grpSpMk id="163" creationId="{4C04BC2E-3186-4C80-B37F-E5B305AAC1ED}"/>
          </ac:grpSpMkLst>
        </pc:grpChg>
        <pc:picChg chg="del mod topLvl">
          <ac:chgData name="Mariam Daniela Tristancho Pineda (PTA SAS)" userId="a45a17f7-7950-4cb5-bfab-f5c894f959a9" providerId="ADAL" clId="{7EBB4E1E-93A9-4035-834A-9A0B60182E9F}" dt="2020-10-13T22:03:32.994" v="3785" actId="478"/>
          <ac:picMkLst>
            <pc:docMk/>
            <pc:sldMk cId="3167452426" sldId="2134804444"/>
            <ac:picMk id="116" creationId="{5BC46F26-8961-4F34-9760-89437609076D}"/>
          </ac:picMkLst>
        </pc:picChg>
        <pc:picChg chg="del mod topLvl">
          <ac:chgData name="Mariam Daniela Tristancho Pineda (PTA SAS)" userId="a45a17f7-7950-4cb5-bfab-f5c894f959a9" providerId="ADAL" clId="{7EBB4E1E-93A9-4035-834A-9A0B60182E9F}" dt="2020-10-13T22:03:32.420" v="3784" actId="478"/>
          <ac:picMkLst>
            <pc:docMk/>
            <pc:sldMk cId="3167452426" sldId="2134804444"/>
            <ac:picMk id="148" creationId="{4B1C7764-E939-4F67-A9D8-34E249741996}"/>
          </ac:picMkLst>
        </pc:picChg>
        <pc:cxnChg chg="mod topLvl">
          <ac:chgData name="Mariam Daniela Tristancho Pineda (PTA SAS)" userId="a45a17f7-7950-4cb5-bfab-f5c894f959a9" providerId="ADAL" clId="{7EBB4E1E-93A9-4035-834A-9A0B60182E9F}" dt="2020-10-13T22:02:40.306" v="3783" actId="1076"/>
          <ac:cxnSpMkLst>
            <pc:docMk/>
            <pc:sldMk cId="3167452426" sldId="2134804444"/>
            <ac:cxnSpMk id="109" creationId="{7434769E-8F5B-4CDA-AFEA-2FA908180F28}"/>
          </ac:cxnSpMkLst>
        </pc:cxnChg>
        <pc:cxnChg chg="mod topLvl">
          <ac:chgData name="Mariam Daniela Tristancho Pineda (PTA SAS)" userId="a45a17f7-7950-4cb5-bfab-f5c894f959a9" providerId="ADAL" clId="{7EBB4E1E-93A9-4035-834A-9A0B60182E9F}" dt="2020-10-13T22:02:02.118" v="3776" actId="165"/>
          <ac:cxnSpMkLst>
            <pc:docMk/>
            <pc:sldMk cId="3167452426" sldId="2134804444"/>
            <ac:cxnSpMk id="110" creationId="{C0926ED7-6C71-4132-9062-E0B720E03046}"/>
          </ac:cxnSpMkLst>
        </pc:cxnChg>
        <pc:cxnChg chg="mod topLvl">
          <ac:chgData name="Mariam Daniela Tristancho Pineda (PTA SAS)" userId="a45a17f7-7950-4cb5-bfab-f5c894f959a9" providerId="ADAL" clId="{7EBB4E1E-93A9-4035-834A-9A0B60182E9F}" dt="2020-10-13T22:02:40.306" v="3783" actId="1076"/>
          <ac:cxnSpMkLst>
            <pc:docMk/>
            <pc:sldMk cId="3167452426" sldId="2134804444"/>
            <ac:cxnSpMk id="113" creationId="{59088CD4-BBE7-483B-9FF9-1D62F9236779}"/>
          </ac:cxnSpMkLst>
        </pc:cxnChg>
        <pc:cxnChg chg="mod topLvl">
          <ac:chgData name="Mariam Daniela Tristancho Pineda (PTA SAS)" userId="a45a17f7-7950-4cb5-bfab-f5c894f959a9" providerId="ADAL" clId="{7EBB4E1E-93A9-4035-834A-9A0B60182E9F}" dt="2020-10-13T22:02:02.118" v="3776" actId="165"/>
          <ac:cxnSpMkLst>
            <pc:docMk/>
            <pc:sldMk cId="3167452426" sldId="2134804444"/>
            <ac:cxnSpMk id="114" creationId="{945F525E-96D6-4C2C-A528-6A902709A377}"/>
          </ac:cxnSpMkLst>
        </pc:cxnChg>
        <pc:cxnChg chg="mod topLvl">
          <ac:chgData name="Mariam Daniela Tristancho Pineda (PTA SAS)" userId="a45a17f7-7950-4cb5-bfab-f5c894f959a9" providerId="ADAL" clId="{7EBB4E1E-93A9-4035-834A-9A0B60182E9F}" dt="2020-10-13T22:02:40.306" v="3783" actId="1076"/>
          <ac:cxnSpMkLst>
            <pc:docMk/>
            <pc:sldMk cId="3167452426" sldId="2134804444"/>
            <ac:cxnSpMk id="149" creationId="{3DD257FE-0DBC-4BDE-8E41-F0693773C024}"/>
          </ac:cxnSpMkLst>
        </pc:cxnChg>
        <pc:cxnChg chg="mod topLvl">
          <ac:chgData name="Mariam Daniela Tristancho Pineda (PTA SAS)" userId="a45a17f7-7950-4cb5-bfab-f5c894f959a9" providerId="ADAL" clId="{7EBB4E1E-93A9-4035-834A-9A0B60182E9F}" dt="2020-10-13T22:01:59.976" v="3775" actId="165"/>
          <ac:cxnSpMkLst>
            <pc:docMk/>
            <pc:sldMk cId="3167452426" sldId="2134804444"/>
            <ac:cxnSpMk id="150" creationId="{6A192D05-FA68-4C91-B411-42299285EFCC}"/>
          </ac:cxnSpMkLst>
        </pc:cxnChg>
        <pc:cxnChg chg="mod topLvl">
          <ac:chgData name="Mariam Daniela Tristancho Pineda (PTA SAS)" userId="a45a17f7-7950-4cb5-bfab-f5c894f959a9" providerId="ADAL" clId="{7EBB4E1E-93A9-4035-834A-9A0B60182E9F}" dt="2020-10-13T22:01:59.976" v="3775" actId="165"/>
          <ac:cxnSpMkLst>
            <pc:docMk/>
            <pc:sldMk cId="3167452426" sldId="2134804444"/>
            <ac:cxnSpMk id="151" creationId="{70130B1F-D0F6-464E-B312-55BB85042484}"/>
          </ac:cxnSpMkLst>
        </pc:cxnChg>
        <pc:cxnChg chg="mod topLvl">
          <ac:chgData name="Mariam Daniela Tristancho Pineda (PTA SAS)" userId="a45a17f7-7950-4cb5-bfab-f5c894f959a9" providerId="ADAL" clId="{7EBB4E1E-93A9-4035-834A-9A0B60182E9F}" dt="2020-10-13T22:02:40.306" v="3783" actId="1076"/>
          <ac:cxnSpMkLst>
            <pc:docMk/>
            <pc:sldMk cId="3167452426" sldId="2134804444"/>
            <ac:cxnSpMk id="152" creationId="{C3DB8877-7BF3-4FAC-A3D2-5BA95D944800}"/>
          </ac:cxnSpMkLst>
        </pc:cxnChg>
      </pc:sldChg>
      <pc:sldChg chg="add">
        <pc:chgData name="Mariam Daniela Tristancho Pineda (PTA SAS)" userId="a45a17f7-7950-4cb5-bfab-f5c894f959a9" providerId="ADAL" clId="{7EBB4E1E-93A9-4035-834A-9A0B60182E9F}" dt="2020-10-13T22:05:35.757" v="3787"/>
        <pc:sldMkLst>
          <pc:docMk/>
          <pc:sldMk cId="183190707" sldId="2134804445"/>
        </pc:sldMkLst>
      </pc:sldChg>
      <pc:sldChg chg="add">
        <pc:chgData name="Mariam Daniela Tristancho Pineda (PTA SAS)" userId="a45a17f7-7950-4cb5-bfab-f5c894f959a9" providerId="ADAL" clId="{7EBB4E1E-93A9-4035-834A-9A0B60182E9F}" dt="2020-10-13T22:05:46.644" v="3788"/>
        <pc:sldMkLst>
          <pc:docMk/>
          <pc:sldMk cId="1942209629" sldId="2134804446"/>
        </pc:sldMkLst>
      </pc:sldChg>
      <pc:sldChg chg="add">
        <pc:chgData name="Mariam Daniela Tristancho Pineda (PTA SAS)" userId="a45a17f7-7950-4cb5-bfab-f5c894f959a9" providerId="ADAL" clId="{7EBB4E1E-93A9-4035-834A-9A0B60182E9F}" dt="2020-10-13T22:06:00.677" v="3789"/>
        <pc:sldMkLst>
          <pc:docMk/>
          <pc:sldMk cId="2029542479" sldId="2134804447"/>
        </pc:sldMkLst>
      </pc:sldChg>
      <pc:sldChg chg="add">
        <pc:chgData name="Mariam Daniela Tristancho Pineda (PTA SAS)" userId="a45a17f7-7950-4cb5-bfab-f5c894f959a9" providerId="ADAL" clId="{7EBB4E1E-93A9-4035-834A-9A0B60182E9F}" dt="2020-10-13T22:06:20.082" v="3790"/>
        <pc:sldMkLst>
          <pc:docMk/>
          <pc:sldMk cId="2741889524" sldId="2134804448"/>
        </pc:sldMkLst>
      </pc:sldChg>
      <pc:sldChg chg="add">
        <pc:chgData name="Mariam Daniela Tristancho Pineda (PTA SAS)" userId="a45a17f7-7950-4cb5-bfab-f5c894f959a9" providerId="ADAL" clId="{7EBB4E1E-93A9-4035-834A-9A0B60182E9F}" dt="2020-10-13T22:06:25.363" v="3791"/>
        <pc:sldMkLst>
          <pc:docMk/>
          <pc:sldMk cId="2831142137" sldId="2134804449"/>
        </pc:sldMkLst>
      </pc:sldChg>
      <pc:sldChg chg="add ord">
        <pc:chgData name="Mariam Daniela Tristancho Pineda (PTA SAS)" userId="a45a17f7-7950-4cb5-bfab-f5c894f959a9" providerId="ADAL" clId="{7EBB4E1E-93A9-4035-834A-9A0B60182E9F}" dt="2020-10-13T22:11:23.028" v="3820"/>
        <pc:sldMkLst>
          <pc:docMk/>
          <pc:sldMk cId="772567127" sldId="2134804450"/>
        </pc:sldMkLst>
      </pc:sldChg>
      <pc:sldChg chg="add">
        <pc:chgData name="Mariam Daniela Tristancho Pineda (PTA SAS)" userId="a45a17f7-7950-4cb5-bfab-f5c894f959a9" providerId="ADAL" clId="{7EBB4E1E-93A9-4035-834A-9A0B60182E9F}" dt="2020-10-13T22:11:38.736" v="3821"/>
        <pc:sldMkLst>
          <pc:docMk/>
          <pc:sldMk cId="3055864131" sldId="2134804451"/>
        </pc:sldMkLst>
      </pc:sldChg>
      <pc:sldChg chg="add">
        <pc:chgData name="Mariam Daniela Tristancho Pineda (PTA SAS)" userId="a45a17f7-7950-4cb5-bfab-f5c894f959a9" providerId="ADAL" clId="{7EBB4E1E-93A9-4035-834A-9A0B60182E9F}" dt="2020-10-13T22:11:48.508" v="3822"/>
        <pc:sldMkLst>
          <pc:docMk/>
          <pc:sldMk cId="1113101480" sldId="2134804452"/>
        </pc:sldMkLst>
      </pc:sldChg>
      <pc:sldChg chg="add">
        <pc:chgData name="Mariam Daniela Tristancho Pineda (PTA SAS)" userId="a45a17f7-7950-4cb5-bfab-f5c894f959a9" providerId="ADAL" clId="{7EBB4E1E-93A9-4035-834A-9A0B60182E9F}" dt="2020-10-13T22:13:15.545" v="3823"/>
        <pc:sldMkLst>
          <pc:docMk/>
          <pc:sldMk cId="97179531" sldId="2134804453"/>
        </pc:sldMkLst>
      </pc:sldChg>
      <pc:sldChg chg="add">
        <pc:chgData name="Mariam Daniela Tristancho Pineda (PTA SAS)" userId="a45a17f7-7950-4cb5-bfab-f5c894f959a9" providerId="ADAL" clId="{7EBB4E1E-93A9-4035-834A-9A0B60182E9F}" dt="2020-10-13T22:14:56.390" v="3824"/>
        <pc:sldMkLst>
          <pc:docMk/>
          <pc:sldMk cId="3817545952" sldId="2134804454"/>
        </pc:sldMkLst>
      </pc:sldChg>
      <pc:sldChg chg="addSp modSp add">
        <pc:chgData name="Mariam Daniela Tristancho Pineda (PTA SAS)" userId="a45a17f7-7950-4cb5-bfab-f5c894f959a9" providerId="ADAL" clId="{7EBB4E1E-93A9-4035-834A-9A0B60182E9F}" dt="2020-10-13T22:28:34.987" v="3827" actId="767"/>
        <pc:sldMkLst>
          <pc:docMk/>
          <pc:sldMk cId="1361857845" sldId="2134804455"/>
        </pc:sldMkLst>
        <pc:spChg chg="add mod">
          <ac:chgData name="Mariam Daniela Tristancho Pineda (PTA SAS)" userId="a45a17f7-7950-4cb5-bfab-f5c894f959a9" providerId="ADAL" clId="{7EBB4E1E-93A9-4035-834A-9A0B60182E9F}" dt="2020-10-13T22:28:34.987" v="3827" actId="767"/>
          <ac:spMkLst>
            <pc:docMk/>
            <pc:sldMk cId="1361857845" sldId="2134804455"/>
            <ac:spMk id="7" creationId="{89760CA3-2E42-4071-BC86-49680B258EFE}"/>
          </ac:spMkLst>
        </pc:spChg>
      </pc:sldChg>
      <pc:sldChg chg="addSp modSp add">
        <pc:chgData name="Mariam Daniela Tristancho Pineda (PTA SAS)" userId="a45a17f7-7950-4cb5-bfab-f5c894f959a9" providerId="ADAL" clId="{7EBB4E1E-93A9-4035-834A-9A0B60182E9F}" dt="2020-10-13T22:47:23.509" v="3835" actId="1076"/>
        <pc:sldMkLst>
          <pc:docMk/>
          <pc:sldMk cId="2714661680" sldId="2134804456"/>
        </pc:sldMkLst>
        <pc:spChg chg="add mod">
          <ac:chgData name="Mariam Daniela Tristancho Pineda (PTA SAS)" userId="a45a17f7-7950-4cb5-bfab-f5c894f959a9" providerId="ADAL" clId="{7EBB4E1E-93A9-4035-834A-9A0B60182E9F}" dt="2020-10-13T22:46:36.989" v="3834" actId="767"/>
          <ac:spMkLst>
            <pc:docMk/>
            <pc:sldMk cId="2714661680" sldId="2134804456"/>
            <ac:spMk id="2" creationId="{9D92175A-4036-47F0-A5FB-370657556A5D}"/>
          </ac:spMkLst>
        </pc:spChg>
        <pc:picChg chg="add mod">
          <ac:chgData name="Mariam Daniela Tristancho Pineda (PTA SAS)" userId="a45a17f7-7950-4cb5-bfab-f5c894f959a9" providerId="ADAL" clId="{7EBB4E1E-93A9-4035-834A-9A0B60182E9F}" dt="2020-10-13T22:47:23.509" v="3835" actId="1076"/>
          <ac:picMkLst>
            <pc:docMk/>
            <pc:sldMk cId="2714661680" sldId="2134804456"/>
            <ac:picMk id="5122" creationId="{70BC13DE-3B5A-45D5-BFB1-E94C1FED41D2}"/>
          </ac:picMkLst>
        </pc:picChg>
      </pc:sldChg>
      <pc:sldChg chg="add">
        <pc:chgData name="Mariam Daniela Tristancho Pineda (PTA SAS)" userId="a45a17f7-7950-4cb5-bfab-f5c894f959a9" providerId="ADAL" clId="{7EBB4E1E-93A9-4035-834A-9A0B60182E9F}" dt="2020-10-13T22:32:49.799" v="3829"/>
        <pc:sldMkLst>
          <pc:docMk/>
          <pc:sldMk cId="745438417" sldId="2134804458"/>
        </pc:sldMkLst>
      </pc:sldChg>
      <pc:sldChg chg="addSp modSp modAnim">
        <pc:chgData name="Mariam Daniela Tristancho Pineda (PTA SAS)" userId="a45a17f7-7950-4cb5-bfab-f5c894f959a9" providerId="ADAL" clId="{7EBB4E1E-93A9-4035-834A-9A0B60182E9F}" dt="2020-10-13T23:29:58.749" v="3836"/>
        <pc:sldMkLst>
          <pc:docMk/>
          <pc:sldMk cId="1778061897" sldId="2134804459"/>
        </pc:sldMkLst>
        <pc:picChg chg="add mod">
          <ac:chgData name="Mariam Daniela Tristancho Pineda (PTA SAS)" userId="a45a17f7-7950-4cb5-bfab-f5c894f959a9" providerId="ADAL" clId="{7EBB4E1E-93A9-4035-834A-9A0B60182E9F}" dt="2020-10-13T23:29:58.749" v="3836"/>
          <ac:picMkLst>
            <pc:docMk/>
            <pc:sldMk cId="1778061897" sldId="2134804459"/>
            <ac:picMk id="3" creationId="{CAB75D41-218D-4CDE-AAB8-0016BABBCAC4}"/>
          </ac:picMkLst>
        </pc:picChg>
      </pc:sldChg>
      <pc:sldChg chg="add ord">
        <pc:chgData name="Mariam Daniela Tristancho Pineda (PTA SAS)" userId="a45a17f7-7950-4cb5-bfab-f5c894f959a9" providerId="ADAL" clId="{7EBB4E1E-93A9-4035-834A-9A0B60182E9F}" dt="2020-10-14T13:28:27.050" v="3900"/>
        <pc:sldMkLst>
          <pc:docMk/>
          <pc:sldMk cId="4094647489" sldId="2134804460"/>
        </pc:sldMkLst>
      </pc:sldChg>
      <pc:sldChg chg="add del">
        <pc:chgData name="Mariam Daniela Tristancho Pineda (PTA SAS)" userId="a45a17f7-7950-4cb5-bfab-f5c894f959a9" providerId="ADAL" clId="{7EBB4E1E-93A9-4035-834A-9A0B60182E9F}" dt="2020-10-14T13:41:14.270" v="3902"/>
        <pc:sldMkLst>
          <pc:docMk/>
          <pc:sldMk cId="2749859457" sldId="2134804461"/>
        </pc:sldMkLst>
      </pc:sldChg>
      <pc:sldChg chg="add">
        <pc:chgData name="Mariam Daniela Tristancho Pineda (PTA SAS)" userId="a45a17f7-7950-4cb5-bfab-f5c894f959a9" providerId="ADAL" clId="{7EBB4E1E-93A9-4035-834A-9A0B60182E9F}" dt="2020-10-14T13:41:16.970" v="3903"/>
        <pc:sldMkLst>
          <pc:docMk/>
          <pc:sldMk cId="2771806295" sldId="2134804461"/>
        </pc:sldMkLst>
      </pc:sldChg>
      <pc:sldMasterChg chg="delSldLayout">
        <pc:chgData name="Mariam Daniela Tristancho Pineda (PTA SAS)" userId="a45a17f7-7950-4cb5-bfab-f5c894f959a9" providerId="ADAL" clId="{7EBB4E1E-93A9-4035-834A-9A0B60182E9F}" dt="2020-10-08T15:27:35.064" v="3582" actId="47"/>
        <pc:sldMasterMkLst>
          <pc:docMk/>
          <pc:sldMasterMk cId="2612954595" sldId="2147483660"/>
        </pc:sldMasterMkLst>
        <pc:sldLayoutChg chg="del">
          <pc:chgData name="Mariam Daniela Tristancho Pineda (PTA SAS)" userId="a45a17f7-7950-4cb5-bfab-f5c894f959a9" providerId="ADAL" clId="{7EBB4E1E-93A9-4035-834A-9A0B60182E9F}" dt="2020-10-06T13:36:37.778" v="355" actId="47"/>
          <pc:sldLayoutMkLst>
            <pc:docMk/>
            <pc:sldMasterMk cId="2612954595" sldId="2147483660"/>
            <pc:sldLayoutMk cId="1405623744" sldId="2147483667"/>
          </pc:sldLayoutMkLst>
        </pc:sldLayoutChg>
        <pc:sldLayoutChg chg="del">
          <pc:chgData name="Mariam Daniela Tristancho Pineda (PTA SAS)" userId="a45a17f7-7950-4cb5-bfab-f5c894f959a9" providerId="ADAL" clId="{7EBB4E1E-93A9-4035-834A-9A0B60182E9F}" dt="2020-10-08T15:27:35.064" v="3582" actId="47"/>
          <pc:sldLayoutMkLst>
            <pc:docMk/>
            <pc:sldMasterMk cId="2612954595" sldId="2147483660"/>
            <pc:sldLayoutMk cId="365575619" sldId="2147483670"/>
          </pc:sldLayoutMkLst>
        </pc:sldLayoutChg>
      </pc:sldMasterChg>
    </pc:docChg>
  </pc:docChgLst>
  <pc:docChgLst>
    <pc:chgData name="Mariam Daniela Tristancho Pineda (MISION TEMPORAL LTDA)" userId="a45a17f7-7950-4cb5-bfab-f5c894f959a9" providerId="ADAL" clId="{1440674F-A918-4BC9-A66E-0A6A8DD6A97A}"/>
    <pc:docChg chg="undo custSel addSld delSld modSld">
      <pc:chgData name="Mariam Daniela Tristancho Pineda (MISION TEMPORAL LTDA)" userId="a45a17f7-7950-4cb5-bfab-f5c894f959a9" providerId="ADAL" clId="{1440674F-A918-4BC9-A66E-0A6A8DD6A97A}" dt="2020-06-26T15:44:02.921" v="3672"/>
      <pc:docMkLst>
        <pc:docMk/>
      </pc:docMkLst>
      <pc:sldChg chg="modSp mod">
        <pc:chgData name="Mariam Daniela Tristancho Pineda (MISION TEMPORAL LTDA)" userId="a45a17f7-7950-4cb5-bfab-f5c894f959a9" providerId="ADAL" clId="{1440674F-A918-4BC9-A66E-0A6A8DD6A97A}" dt="2020-06-17T13:15:59.293" v="1259" actId="20577"/>
        <pc:sldMkLst>
          <pc:docMk/>
          <pc:sldMk cId="692789810" sldId="2134804140"/>
        </pc:sldMkLst>
        <pc:spChg chg="mod">
          <ac:chgData name="Mariam Daniela Tristancho Pineda (MISION TEMPORAL LTDA)" userId="a45a17f7-7950-4cb5-bfab-f5c894f959a9" providerId="ADAL" clId="{1440674F-A918-4BC9-A66E-0A6A8DD6A97A}" dt="2020-06-17T13:15:59.293" v="1259" actId="20577"/>
          <ac:spMkLst>
            <pc:docMk/>
            <pc:sldMk cId="692789810" sldId="2134804140"/>
            <ac:spMk id="2" creationId="{6431BBCF-96E5-45A7-B7E5-D44090D06329}"/>
          </ac:spMkLst>
        </pc:spChg>
      </pc:sldChg>
      <pc:sldChg chg="modTransition">
        <pc:chgData name="Mariam Daniela Tristancho Pineda (MISION TEMPORAL LTDA)" userId="a45a17f7-7950-4cb5-bfab-f5c894f959a9" providerId="ADAL" clId="{1440674F-A918-4BC9-A66E-0A6A8DD6A97A}" dt="2020-06-26T15:43:42.564" v="3660"/>
        <pc:sldMkLst>
          <pc:docMk/>
          <pc:sldMk cId="1994186015" sldId="2134804172"/>
        </pc:sldMkLst>
      </pc:sldChg>
      <pc:sldChg chg="modTransition">
        <pc:chgData name="Mariam Daniela Tristancho Pineda (MISION TEMPORAL LTDA)" userId="a45a17f7-7950-4cb5-bfab-f5c894f959a9" providerId="ADAL" clId="{1440674F-A918-4BC9-A66E-0A6A8DD6A97A}" dt="2020-06-26T15:44:01.065" v="3671"/>
        <pc:sldMkLst>
          <pc:docMk/>
          <pc:sldMk cId="2937157513" sldId="2134804242"/>
        </pc:sldMkLst>
      </pc:sldChg>
      <pc:sldChg chg="modSp mod">
        <pc:chgData name="Mariam Daniela Tristancho Pineda (MISION TEMPORAL LTDA)" userId="a45a17f7-7950-4cb5-bfab-f5c894f959a9" providerId="ADAL" clId="{1440674F-A918-4BC9-A66E-0A6A8DD6A97A}" dt="2020-06-16T21:04:24.002" v="80" actId="20577"/>
        <pc:sldMkLst>
          <pc:docMk/>
          <pc:sldMk cId="4180204205" sldId="2134804244"/>
        </pc:sldMkLst>
        <pc:spChg chg="mod">
          <ac:chgData name="Mariam Daniela Tristancho Pineda (MISION TEMPORAL LTDA)" userId="a45a17f7-7950-4cb5-bfab-f5c894f959a9" providerId="ADAL" clId="{1440674F-A918-4BC9-A66E-0A6A8DD6A97A}" dt="2020-06-16T21:04:24.002" v="80" actId="20577"/>
          <ac:spMkLst>
            <pc:docMk/>
            <pc:sldMk cId="4180204205" sldId="2134804244"/>
            <ac:spMk id="12" creationId="{96C9E76C-8C7F-489D-82CB-B2BD03852707}"/>
          </ac:spMkLst>
        </pc:spChg>
      </pc:sldChg>
      <pc:sldChg chg="modSp mod">
        <pc:chgData name="Mariam Daniela Tristancho Pineda (MISION TEMPORAL LTDA)" userId="a45a17f7-7950-4cb5-bfab-f5c894f959a9" providerId="ADAL" clId="{1440674F-A918-4BC9-A66E-0A6A8DD6A97A}" dt="2020-06-16T23:01:43.517" v="311" actId="1076"/>
        <pc:sldMkLst>
          <pc:docMk/>
          <pc:sldMk cId="1803203511" sldId="2134804247"/>
        </pc:sldMkLst>
        <pc:spChg chg="mod">
          <ac:chgData name="Mariam Daniela Tristancho Pineda (MISION TEMPORAL LTDA)" userId="a45a17f7-7950-4cb5-bfab-f5c894f959a9" providerId="ADAL" clId="{1440674F-A918-4BC9-A66E-0A6A8DD6A97A}" dt="2020-06-16T23:01:43.517" v="311" actId="1076"/>
          <ac:spMkLst>
            <pc:docMk/>
            <pc:sldMk cId="1803203511" sldId="2134804247"/>
            <ac:spMk id="3" creationId="{15CFEC12-2CE7-4890-A061-D679BF170691}"/>
          </ac:spMkLst>
        </pc:spChg>
        <pc:spChg chg="mod">
          <ac:chgData name="Mariam Daniela Tristancho Pineda (MISION TEMPORAL LTDA)" userId="a45a17f7-7950-4cb5-bfab-f5c894f959a9" providerId="ADAL" clId="{1440674F-A918-4BC9-A66E-0A6A8DD6A97A}" dt="2020-06-16T22:57:25.108" v="262" actId="1076"/>
          <ac:spMkLst>
            <pc:docMk/>
            <pc:sldMk cId="1803203511" sldId="2134804247"/>
            <ac:spMk id="49" creationId="{B08292AB-0988-4371-BF3C-40CAD9366A12}"/>
          </ac:spMkLst>
        </pc:spChg>
        <pc:spChg chg="mod">
          <ac:chgData name="Mariam Daniela Tristancho Pineda (MISION TEMPORAL LTDA)" userId="a45a17f7-7950-4cb5-bfab-f5c894f959a9" providerId="ADAL" clId="{1440674F-A918-4BC9-A66E-0A6A8DD6A97A}" dt="2020-06-16T22:57:27.437" v="264" actId="1035"/>
          <ac:spMkLst>
            <pc:docMk/>
            <pc:sldMk cId="1803203511" sldId="2134804247"/>
            <ac:spMk id="53" creationId="{F9C857D3-C5F6-4D00-8D9C-646D1DA60918}"/>
          </ac:spMkLst>
        </pc:spChg>
        <pc:spChg chg="mod">
          <ac:chgData name="Mariam Daniela Tristancho Pineda (MISION TEMPORAL LTDA)" userId="a45a17f7-7950-4cb5-bfab-f5c894f959a9" providerId="ADAL" clId="{1440674F-A918-4BC9-A66E-0A6A8DD6A97A}" dt="2020-06-16T22:57:36.141" v="265" actId="1076"/>
          <ac:spMkLst>
            <pc:docMk/>
            <pc:sldMk cId="1803203511" sldId="2134804247"/>
            <ac:spMk id="70" creationId="{B7775212-C797-4934-96C9-E7DE33ADEA63}"/>
          </ac:spMkLst>
        </pc:spChg>
        <pc:graphicFrameChg chg="mod modGraphic">
          <ac:chgData name="Mariam Daniela Tristancho Pineda (MISION TEMPORAL LTDA)" userId="a45a17f7-7950-4cb5-bfab-f5c894f959a9" providerId="ADAL" clId="{1440674F-A918-4BC9-A66E-0A6A8DD6A97A}" dt="2020-06-16T23:01:25.684" v="309" actId="1076"/>
          <ac:graphicFrameMkLst>
            <pc:docMk/>
            <pc:sldMk cId="1803203511" sldId="2134804247"/>
            <ac:graphicFrameMk id="11" creationId="{9D9D1D21-7943-4251-B296-312E588F0E7D}"/>
          </ac:graphicFrameMkLst>
        </pc:graphicFrameChg>
      </pc:sldChg>
      <pc:sldChg chg="modTransition">
        <pc:chgData name="Mariam Daniela Tristancho Pineda (MISION TEMPORAL LTDA)" userId="a45a17f7-7950-4cb5-bfab-f5c894f959a9" providerId="ADAL" clId="{1440674F-A918-4BC9-A66E-0A6A8DD6A97A}" dt="2020-06-26T15:43:59.521" v="3670"/>
        <pc:sldMkLst>
          <pc:docMk/>
          <pc:sldMk cId="1943757328" sldId="2134804249"/>
        </pc:sldMkLst>
      </pc:sldChg>
      <pc:sldChg chg="modTransition">
        <pc:chgData name="Mariam Daniela Tristancho Pineda (MISION TEMPORAL LTDA)" userId="a45a17f7-7950-4cb5-bfab-f5c894f959a9" providerId="ADAL" clId="{1440674F-A918-4BC9-A66E-0A6A8DD6A97A}" dt="2020-06-26T15:43:58.086" v="3669"/>
        <pc:sldMkLst>
          <pc:docMk/>
          <pc:sldMk cId="278280293" sldId="2134804251"/>
        </pc:sldMkLst>
      </pc:sldChg>
      <pc:sldChg chg="modTransition">
        <pc:chgData name="Mariam Daniela Tristancho Pineda (MISION TEMPORAL LTDA)" userId="a45a17f7-7950-4cb5-bfab-f5c894f959a9" providerId="ADAL" clId="{1440674F-A918-4BC9-A66E-0A6A8DD6A97A}" dt="2020-06-26T15:43:56.994" v="3668"/>
        <pc:sldMkLst>
          <pc:docMk/>
          <pc:sldMk cId="483722895" sldId="2134804252"/>
        </pc:sldMkLst>
      </pc:sldChg>
      <pc:sldChg chg="modTransition">
        <pc:chgData name="Mariam Daniela Tristancho Pineda (MISION TEMPORAL LTDA)" userId="a45a17f7-7950-4cb5-bfab-f5c894f959a9" providerId="ADAL" clId="{1440674F-A918-4BC9-A66E-0A6A8DD6A97A}" dt="2020-06-26T15:43:55.048" v="3667"/>
        <pc:sldMkLst>
          <pc:docMk/>
          <pc:sldMk cId="1431871395" sldId="2134804253"/>
        </pc:sldMkLst>
      </pc:sldChg>
      <pc:sldChg chg="modTransition">
        <pc:chgData name="Mariam Daniela Tristancho Pineda (MISION TEMPORAL LTDA)" userId="a45a17f7-7950-4cb5-bfab-f5c894f959a9" providerId="ADAL" clId="{1440674F-A918-4BC9-A66E-0A6A8DD6A97A}" dt="2020-06-26T15:43:53.742" v="3666"/>
        <pc:sldMkLst>
          <pc:docMk/>
          <pc:sldMk cId="1266487272" sldId="2134804254"/>
        </pc:sldMkLst>
      </pc:sldChg>
      <pc:sldChg chg="modTransition">
        <pc:chgData name="Mariam Daniela Tristancho Pineda (MISION TEMPORAL LTDA)" userId="a45a17f7-7950-4cb5-bfab-f5c894f959a9" providerId="ADAL" clId="{1440674F-A918-4BC9-A66E-0A6A8DD6A97A}" dt="2020-06-26T15:43:52.138" v="3665"/>
        <pc:sldMkLst>
          <pc:docMk/>
          <pc:sldMk cId="3130492061" sldId="2134804255"/>
        </pc:sldMkLst>
      </pc:sldChg>
      <pc:sldChg chg="modTransition">
        <pc:chgData name="Mariam Daniela Tristancho Pineda (MISION TEMPORAL LTDA)" userId="a45a17f7-7950-4cb5-bfab-f5c894f959a9" providerId="ADAL" clId="{1440674F-A918-4BC9-A66E-0A6A8DD6A97A}" dt="2020-06-26T15:43:47.348" v="3663"/>
        <pc:sldMkLst>
          <pc:docMk/>
          <pc:sldMk cId="1287012035" sldId="2134804256"/>
        </pc:sldMkLst>
      </pc:sldChg>
      <pc:sldChg chg="modTransition">
        <pc:chgData name="Mariam Daniela Tristancho Pineda (MISION TEMPORAL LTDA)" userId="a45a17f7-7950-4cb5-bfab-f5c894f959a9" providerId="ADAL" clId="{1440674F-A918-4BC9-A66E-0A6A8DD6A97A}" dt="2020-06-26T15:43:45.990" v="3662"/>
        <pc:sldMkLst>
          <pc:docMk/>
          <pc:sldMk cId="2054119121" sldId="2134804258"/>
        </pc:sldMkLst>
      </pc:sldChg>
      <pc:sldChg chg="modTransition">
        <pc:chgData name="Mariam Daniela Tristancho Pineda (MISION TEMPORAL LTDA)" userId="a45a17f7-7950-4cb5-bfab-f5c894f959a9" providerId="ADAL" clId="{1440674F-A918-4BC9-A66E-0A6A8DD6A97A}" dt="2020-06-26T15:43:44.176" v="3661"/>
        <pc:sldMkLst>
          <pc:docMk/>
          <pc:sldMk cId="1188541685" sldId="2134804260"/>
        </pc:sldMkLst>
      </pc:sldChg>
      <pc:sldChg chg="modTransition">
        <pc:chgData name="Mariam Daniela Tristancho Pineda (MISION TEMPORAL LTDA)" userId="a45a17f7-7950-4cb5-bfab-f5c894f959a9" providerId="ADAL" clId="{1440674F-A918-4BC9-A66E-0A6A8DD6A97A}" dt="2020-06-26T15:43:38.696" v="3658"/>
        <pc:sldMkLst>
          <pc:docMk/>
          <pc:sldMk cId="3627326567" sldId="2134804261"/>
        </pc:sldMkLst>
      </pc:sldChg>
      <pc:sldChg chg="modTransition">
        <pc:chgData name="Mariam Daniela Tristancho Pineda (MISION TEMPORAL LTDA)" userId="a45a17f7-7950-4cb5-bfab-f5c894f959a9" providerId="ADAL" clId="{1440674F-A918-4BC9-A66E-0A6A8DD6A97A}" dt="2020-06-26T15:43:37.251" v="3657"/>
        <pc:sldMkLst>
          <pc:docMk/>
          <pc:sldMk cId="279792768" sldId="2134804262"/>
        </pc:sldMkLst>
      </pc:sldChg>
      <pc:sldChg chg="modTransition">
        <pc:chgData name="Mariam Daniela Tristancho Pineda (MISION TEMPORAL LTDA)" userId="a45a17f7-7950-4cb5-bfab-f5c894f959a9" providerId="ADAL" clId="{1440674F-A918-4BC9-A66E-0A6A8DD6A97A}" dt="2020-06-26T15:43:34.649" v="3656"/>
        <pc:sldMkLst>
          <pc:docMk/>
          <pc:sldMk cId="3898735964" sldId="2134804263"/>
        </pc:sldMkLst>
      </pc:sldChg>
      <pc:sldChg chg="modSp mod">
        <pc:chgData name="Mariam Daniela Tristancho Pineda (MISION TEMPORAL LTDA)" userId="a45a17f7-7950-4cb5-bfab-f5c894f959a9" providerId="ADAL" clId="{1440674F-A918-4BC9-A66E-0A6A8DD6A97A}" dt="2020-06-25T23:14:31.549" v="3178" actId="1038"/>
        <pc:sldMkLst>
          <pc:docMk/>
          <pc:sldMk cId="2248502622" sldId="2134804265"/>
        </pc:sldMkLst>
        <pc:spChg chg="mod">
          <ac:chgData name="Mariam Daniela Tristancho Pineda (MISION TEMPORAL LTDA)" userId="a45a17f7-7950-4cb5-bfab-f5c894f959a9" providerId="ADAL" clId="{1440674F-A918-4BC9-A66E-0A6A8DD6A97A}" dt="2020-06-25T23:14:17.267" v="3170" actId="1038"/>
          <ac:spMkLst>
            <pc:docMk/>
            <pc:sldMk cId="2248502622" sldId="2134804265"/>
            <ac:spMk id="3" creationId="{3E81DF00-72F7-483D-86A7-B0742B7B72AA}"/>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30" creationId="{973F4DDB-893C-4EE6-BB59-D7584DDBE344}"/>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31" creationId="{495631AC-0C47-4D3B-90F6-0FE44D643E39}"/>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32" creationId="{B9E51ECF-B493-4F93-8726-818A717D9166}"/>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33" creationId="{103BDFFB-8D5D-4034-AE94-47A9DF5DCB76}"/>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34" creationId="{6E3CAD53-D658-40EE-AB4E-23403B8F6FEA}"/>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35" creationId="{1354E040-9E37-40B3-8E90-388E70E07C12}"/>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36" creationId="{4351D72F-F771-468B-9D35-804472761DB1}"/>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37" creationId="{C143C958-917B-4574-B784-47CCEE5F4D78}"/>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38" creationId="{DCB283D9-E8F8-4D6C-9F82-21FFF4B8860D}"/>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39" creationId="{4262DE27-389D-4F8C-8770-2E4D96159086}"/>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40" creationId="{888CD73B-EE43-4608-B711-B8B40EF02575}"/>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41" creationId="{DA39C026-7069-4B42-BD85-313576DDFB39}"/>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42" creationId="{8B0101E6-E02A-40F3-B17F-EED90EE75014}"/>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43" creationId="{DC538832-1FE3-4E8C-8CC6-D6F7C6D95F24}"/>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44" creationId="{A1F604F9-FE45-4D40-BCA1-DD793F47C130}"/>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45" creationId="{10115427-9687-461E-83B6-209293983EBE}"/>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46" creationId="{9C1BA4A3-ECCD-405A-BF51-BCA69D7ADD9E}"/>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47" creationId="{3D62294D-6FF1-4856-8147-499676392E6C}"/>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48" creationId="{98859224-61DD-429B-9347-E2DEF3319C4E}"/>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51" creationId="{8905A358-160B-4BB3-9F7B-51D42F4CE7AB}"/>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52" creationId="{7E21C2F9-578F-4537-A022-944A17845152}"/>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55" creationId="{36B63E54-7A07-43E7-9359-EE0978EE147E}"/>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56" creationId="{DE1CE7C4-B5AA-4B0B-8977-276EDE207860}"/>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58" creationId="{BB1E2630-A12D-49DC-9D0C-EAD1ADD233B9}"/>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59" creationId="{31E235DE-E075-4F32-9EC1-C08BC7C610AB}"/>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60" creationId="{F0614BAC-28DD-425C-B2FE-00C6578955EA}"/>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62" creationId="{4A24903F-CEEF-445C-8467-4021CBD707E4}"/>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63" creationId="{ECC2A5DC-6EB9-4696-A1E0-EDDE391508A2}"/>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64" creationId="{49F338AD-2373-43AE-BE92-6C934E9F535F}"/>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65" creationId="{AAA19413-97CE-4E50-8AA1-98AEC9E73C02}"/>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66" creationId="{9C19960A-BCCE-46BF-A151-E1388F3B6F2C}"/>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67" creationId="{47A59C6F-9973-4341-BA36-FAAAB43E4206}"/>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68" creationId="{714CDC28-F720-4BA7-B656-522A7E049D12}"/>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69" creationId="{FBB0588B-04B5-444D-92B8-330FB0EEF0C0}"/>
          </ac:spMkLst>
        </pc:spChg>
        <pc:spChg chg="mod">
          <ac:chgData name="Mariam Daniela Tristancho Pineda (MISION TEMPORAL LTDA)" userId="a45a17f7-7950-4cb5-bfab-f5c894f959a9" providerId="ADAL" clId="{1440674F-A918-4BC9-A66E-0A6A8DD6A97A}" dt="2020-06-25T23:14:31.549" v="3178" actId="1038"/>
          <ac:spMkLst>
            <pc:docMk/>
            <pc:sldMk cId="2248502622" sldId="2134804265"/>
            <ac:spMk id="71" creationId="{A389F395-95E3-49B0-9023-DC9F62C47682}"/>
          </ac:spMkLst>
        </pc:spChg>
        <pc:spChg chg="mod">
          <ac:chgData name="Mariam Daniela Tristancho Pineda (MISION TEMPORAL LTDA)" userId="a45a17f7-7950-4cb5-bfab-f5c894f959a9" providerId="ADAL" clId="{1440674F-A918-4BC9-A66E-0A6A8DD6A97A}" dt="2020-06-25T23:14:17.267" v="3170" actId="1038"/>
          <ac:spMkLst>
            <pc:docMk/>
            <pc:sldMk cId="2248502622" sldId="2134804265"/>
            <ac:spMk id="75" creationId="{7FB79087-3335-4E8E-A7DC-128FDD92B5EA}"/>
          </ac:spMkLst>
        </pc:spChg>
        <pc:grpChg chg="mod">
          <ac:chgData name="Mariam Daniela Tristancho Pineda (MISION TEMPORAL LTDA)" userId="a45a17f7-7950-4cb5-bfab-f5c894f959a9" providerId="ADAL" clId="{1440674F-A918-4BC9-A66E-0A6A8DD6A97A}" dt="2020-06-25T23:14:17.267" v="3170" actId="1038"/>
          <ac:grpSpMkLst>
            <pc:docMk/>
            <pc:sldMk cId="2248502622" sldId="2134804265"/>
            <ac:grpSpMk id="6" creationId="{B74CE5C7-9B98-4F51-BACA-2389596C81AC}"/>
          </ac:grpSpMkLst>
        </pc:grpChg>
        <pc:grpChg chg="mod">
          <ac:chgData name="Mariam Daniela Tristancho Pineda (MISION TEMPORAL LTDA)" userId="a45a17f7-7950-4cb5-bfab-f5c894f959a9" providerId="ADAL" clId="{1440674F-A918-4BC9-A66E-0A6A8DD6A97A}" dt="2020-06-25T23:14:17.267" v="3170" actId="1038"/>
          <ac:grpSpMkLst>
            <pc:docMk/>
            <pc:sldMk cId="2248502622" sldId="2134804265"/>
            <ac:grpSpMk id="7" creationId="{9F8B1301-4B8A-4C7B-B7CF-D6F5AC526A7A}"/>
          </ac:grpSpMkLst>
        </pc:grpChg>
        <pc:graphicFrameChg chg="mod">
          <ac:chgData name="Mariam Daniela Tristancho Pineda (MISION TEMPORAL LTDA)" userId="a45a17f7-7950-4cb5-bfab-f5c894f959a9" providerId="ADAL" clId="{1440674F-A918-4BC9-A66E-0A6A8DD6A97A}" dt="2020-06-25T23:14:17.267" v="3170" actId="1038"/>
          <ac:graphicFrameMkLst>
            <pc:docMk/>
            <pc:sldMk cId="2248502622" sldId="2134804265"/>
            <ac:graphicFrameMk id="54" creationId="{BAD881DD-0495-48BC-9BEB-E260F0007B2D}"/>
          </ac:graphicFrameMkLst>
        </pc:graphicFrameChg>
        <pc:graphicFrameChg chg="mod">
          <ac:chgData name="Mariam Daniela Tristancho Pineda (MISION TEMPORAL LTDA)" userId="a45a17f7-7950-4cb5-bfab-f5c894f959a9" providerId="ADAL" clId="{1440674F-A918-4BC9-A66E-0A6A8DD6A97A}" dt="2020-06-25T23:14:17.267" v="3170" actId="1038"/>
          <ac:graphicFrameMkLst>
            <pc:docMk/>
            <pc:sldMk cId="2248502622" sldId="2134804265"/>
            <ac:graphicFrameMk id="57" creationId="{9064C0F5-8DA3-4E4B-85A3-33DB3472E319}"/>
          </ac:graphicFrameMkLst>
        </pc:graphicFrameChg>
        <pc:graphicFrameChg chg="mod">
          <ac:chgData name="Mariam Daniela Tristancho Pineda (MISION TEMPORAL LTDA)" userId="a45a17f7-7950-4cb5-bfab-f5c894f959a9" providerId="ADAL" clId="{1440674F-A918-4BC9-A66E-0A6A8DD6A97A}" dt="2020-06-25T23:14:17.267" v="3170" actId="1038"/>
          <ac:graphicFrameMkLst>
            <pc:docMk/>
            <pc:sldMk cId="2248502622" sldId="2134804265"/>
            <ac:graphicFrameMk id="61" creationId="{703E986E-4E61-4209-A9C7-8B2FF3CA8496}"/>
          </ac:graphicFrameMkLst>
        </pc:graphicFrameChg>
        <pc:cxnChg chg="mod">
          <ac:chgData name="Mariam Daniela Tristancho Pineda (MISION TEMPORAL LTDA)" userId="a45a17f7-7950-4cb5-bfab-f5c894f959a9" providerId="ADAL" clId="{1440674F-A918-4BC9-A66E-0A6A8DD6A97A}" dt="2020-06-25T23:14:17.267" v="3170" actId="1038"/>
          <ac:cxnSpMkLst>
            <pc:docMk/>
            <pc:sldMk cId="2248502622" sldId="2134804265"/>
            <ac:cxnSpMk id="49" creationId="{486CCA09-F951-4FCD-A971-B862A67A6A98}"/>
          </ac:cxnSpMkLst>
        </pc:cxnChg>
        <pc:cxnChg chg="mod">
          <ac:chgData name="Mariam Daniela Tristancho Pineda (MISION TEMPORAL LTDA)" userId="a45a17f7-7950-4cb5-bfab-f5c894f959a9" providerId="ADAL" clId="{1440674F-A918-4BC9-A66E-0A6A8DD6A97A}" dt="2020-06-25T23:14:17.267" v="3170" actId="1038"/>
          <ac:cxnSpMkLst>
            <pc:docMk/>
            <pc:sldMk cId="2248502622" sldId="2134804265"/>
            <ac:cxnSpMk id="50" creationId="{4793C5C9-0BE0-4B32-B0ED-31853EF8C5DE}"/>
          </ac:cxnSpMkLst>
        </pc:cxnChg>
      </pc:sldChg>
      <pc:sldChg chg="modTransition">
        <pc:chgData name="Mariam Daniela Tristancho Pineda (MISION TEMPORAL LTDA)" userId="a45a17f7-7950-4cb5-bfab-f5c894f959a9" providerId="ADAL" clId="{1440674F-A918-4BC9-A66E-0A6A8DD6A97A}" dt="2020-06-26T15:43:40.470" v="3659"/>
        <pc:sldMkLst>
          <pc:docMk/>
          <pc:sldMk cId="2598350360" sldId="2134804266"/>
        </pc:sldMkLst>
      </pc:sldChg>
      <pc:sldChg chg="modSp mod">
        <pc:chgData name="Mariam Daniela Tristancho Pineda (MISION TEMPORAL LTDA)" userId="a45a17f7-7950-4cb5-bfab-f5c894f959a9" providerId="ADAL" clId="{1440674F-A918-4BC9-A66E-0A6A8DD6A97A}" dt="2020-06-18T19:47:33.488" v="1370" actId="20577"/>
        <pc:sldMkLst>
          <pc:docMk/>
          <pc:sldMk cId="5164804" sldId="2134804270"/>
        </pc:sldMkLst>
        <pc:spChg chg="mod">
          <ac:chgData name="Mariam Daniela Tristancho Pineda (MISION TEMPORAL LTDA)" userId="a45a17f7-7950-4cb5-bfab-f5c894f959a9" providerId="ADAL" clId="{1440674F-A918-4BC9-A66E-0A6A8DD6A97A}" dt="2020-06-18T19:47:33.488" v="1370" actId="20577"/>
          <ac:spMkLst>
            <pc:docMk/>
            <pc:sldMk cId="5164804" sldId="2134804270"/>
            <ac:spMk id="21" creationId="{FCFE65B7-3A35-4722-84A8-FEC6DADDBA49}"/>
          </ac:spMkLst>
        </pc:spChg>
      </pc:sldChg>
      <pc:sldChg chg="modTransition">
        <pc:chgData name="Mariam Daniela Tristancho Pineda (MISION TEMPORAL LTDA)" userId="a45a17f7-7950-4cb5-bfab-f5c894f959a9" providerId="ADAL" clId="{1440674F-A918-4BC9-A66E-0A6A8DD6A97A}" dt="2020-06-26T15:44:02.921" v="3672"/>
        <pc:sldMkLst>
          <pc:docMk/>
          <pc:sldMk cId="913735653" sldId="2134804271"/>
        </pc:sldMkLst>
      </pc:sldChg>
      <pc:sldChg chg="modTransition">
        <pc:chgData name="Mariam Daniela Tristancho Pineda (MISION TEMPORAL LTDA)" userId="a45a17f7-7950-4cb5-bfab-f5c894f959a9" providerId="ADAL" clId="{1440674F-A918-4BC9-A66E-0A6A8DD6A97A}" dt="2020-06-26T15:43:48.695" v="3664"/>
        <pc:sldMkLst>
          <pc:docMk/>
          <pc:sldMk cId="2802857335" sldId="2134804275"/>
        </pc:sldMkLst>
      </pc:sldChg>
      <pc:sldChg chg="addSp delSp modSp mod">
        <pc:chgData name="Mariam Daniela Tristancho Pineda (MISION TEMPORAL LTDA)" userId="a45a17f7-7950-4cb5-bfab-f5c894f959a9" providerId="ADAL" clId="{1440674F-A918-4BC9-A66E-0A6A8DD6A97A}" dt="2020-06-24T15:05:45.879" v="2392" actId="1035"/>
        <pc:sldMkLst>
          <pc:docMk/>
          <pc:sldMk cId="685398324" sldId="2134804277"/>
        </pc:sldMkLst>
        <pc:spChg chg="mod">
          <ac:chgData name="Mariam Daniela Tristancho Pineda (MISION TEMPORAL LTDA)" userId="a45a17f7-7950-4cb5-bfab-f5c894f959a9" providerId="ADAL" clId="{1440674F-A918-4BC9-A66E-0A6A8DD6A97A}" dt="2020-06-17T00:25:19.173" v="1152" actId="1076"/>
          <ac:spMkLst>
            <pc:docMk/>
            <pc:sldMk cId="685398324" sldId="2134804277"/>
            <ac:spMk id="6" creationId="{6F097E8B-274A-49AC-8761-8119E3C5B68F}"/>
          </ac:spMkLst>
        </pc:spChg>
        <pc:spChg chg="add del mod">
          <ac:chgData name="Mariam Daniela Tristancho Pineda (MISION TEMPORAL LTDA)" userId="a45a17f7-7950-4cb5-bfab-f5c894f959a9" providerId="ADAL" clId="{1440674F-A918-4BC9-A66E-0A6A8DD6A97A}" dt="2020-06-24T15:05:32.684" v="2388" actId="478"/>
          <ac:spMkLst>
            <pc:docMk/>
            <pc:sldMk cId="685398324" sldId="2134804277"/>
            <ac:spMk id="7" creationId="{52FE2391-690B-4D13-B0BE-AD54BD4AFEAA}"/>
          </ac:spMkLst>
        </pc:spChg>
        <pc:spChg chg="del">
          <ac:chgData name="Mariam Daniela Tristancho Pineda (MISION TEMPORAL LTDA)" userId="a45a17f7-7950-4cb5-bfab-f5c894f959a9" providerId="ADAL" clId="{1440674F-A918-4BC9-A66E-0A6A8DD6A97A}" dt="2020-06-17T00:29:34.961" v="1219" actId="478"/>
          <ac:spMkLst>
            <pc:docMk/>
            <pc:sldMk cId="685398324" sldId="2134804277"/>
            <ac:spMk id="8" creationId="{782E4B7C-0F35-45FE-B943-FBCAA2C30BC3}"/>
          </ac:spMkLst>
        </pc:spChg>
        <pc:spChg chg="mod">
          <ac:chgData name="Mariam Daniela Tristancho Pineda (MISION TEMPORAL LTDA)" userId="a45a17f7-7950-4cb5-bfab-f5c894f959a9" providerId="ADAL" clId="{1440674F-A918-4BC9-A66E-0A6A8DD6A97A}" dt="2020-06-24T14:14:00.350" v="1429" actId="1035"/>
          <ac:spMkLst>
            <pc:docMk/>
            <pc:sldMk cId="685398324" sldId="2134804277"/>
            <ac:spMk id="10" creationId="{581EF6D6-B646-4C41-9412-D3C8807256CB}"/>
          </ac:spMkLst>
        </pc:spChg>
        <pc:spChg chg="del">
          <ac:chgData name="Mariam Daniela Tristancho Pineda (MISION TEMPORAL LTDA)" userId="a45a17f7-7950-4cb5-bfab-f5c894f959a9" providerId="ADAL" clId="{1440674F-A918-4BC9-A66E-0A6A8DD6A97A}" dt="2020-06-17T00:29:34.961" v="1219" actId="478"/>
          <ac:spMkLst>
            <pc:docMk/>
            <pc:sldMk cId="685398324" sldId="2134804277"/>
            <ac:spMk id="11" creationId="{81DFC592-E154-4591-B5A9-F56C74872769}"/>
          </ac:spMkLst>
        </pc:spChg>
        <pc:spChg chg="mod">
          <ac:chgData name="Mariam Daniela Tristancho Pineda (MISION TEMPORAL LTDA)" userId="a45a17f7-7950-4cb5-bfab-f5c894f959a9" providerId="ADAL" clId="{1440674F-A918-4BC9-A66E-0A6A8DD6A97A}" dt="2020-06-24T14:12:57.125" v="1417" actId="1035"/>
          <ac:spMkLst>
            <pc:docMk/>
            <pc:sldMk cId="685398324" sldId="2134804277"/>
            <ac:spMk id="12" creationId="{C439253A-F324-4629-9301-79D1D68D6668}"/>
          </ac:spMkLst>
        </pc:spChg>
        <pc:spChg chg="mod">
          <ac:chgData name="Mariam Daniela Tristancho Pineda (MISION TEMPORAL LTDA)" userId="a45a17f7-7950-4cb5-bfab-f5c894f959a9" providerId="ADAL" clId="{1440674F-A918-4BC9-A66E-0A6A8DD6A97A}" dt="2020-06-24T14:53:47.891" v="2122" actId="12788"/>
          <ac:spMkLst>
            <pc:docMk/>
            <pc:sldMk cId="685398324" sldId="2134804277"/>
            <ac:spMk id="40" creationId="{2631D492-951C-4EB3-926A-C7A33457A10A}"/>
          </ac:spMkLst>
        </pc:spChg>
        <pc:spChg chg="del">
          <ac:chgData name="Mariam Daniela Tristancho Pineda (MISION TEMPORAL LTDA)" userId="a45a17f7-7950-4cb5-bfab-f5c894f959a9" providerId="ADAL" clId="{1440674F-A918-4BC9-A66E-0A6A8DD6A97A}" dt="2020-06-17T00:29:34.961" v="1219" actId="478"/>
          <ac:spMkLst>
            <pc:docMk/>
            <pc:sldMk cId="685398324" sldId="2134804277"/>
            <ac:spMk id="42" creationId="{4B77028B-8CAF-4678-ACA2-D711B0894F35}"/>
          </ac:spMkLst>
        </pc:spChg>
        <pc:spChg chg="del">
          <ac:chgData name="Mariam Daniela Tristancho Pineda (MISION TEMPORAL LTDA)" userId="a45a17f7-7950-4cb5-bfab-f5c894f959a9" providerId="ADAL" clId="{1440674F-A918-4BC9-A66E-0A6A8DD6A97A}" dt="2020-06-17T00:29:34.961" v="1219" actId="478"/>
          <ac:spMkLst>
            <pc:docMk/>
            <pc:sldMk cId="685398324" sldId="2134804277"/>
            <ac:spMk id="45" creationId="{8D1FB81A-0B27-4127-BC86-B03428D1F59A}"/>
          </ac:spMkLst>
        </pc:spChg>
        <pc:spChg chg="del mod">
          <ac:chgData name="Mariam Daniela Tristancho Pineda (MISION TEMPORAL LTDA)" userId="a45a17f7-7950-4cb5-bfab-f5c894f959a9" providerId="ADAL" clId="{1440674F-A918-4BC9-A66E-0A6A8DD6A97A}" dt="2020-06-24T14:08:36.334" v="1375" actId="21"/>
          <ac:spMkLst>
            <pc:docMk/>
            <pc:sldMk cId="685398324" sldId="2134804277"/>
            <ac:spMk id="46" creationId="{27981B7C-00A6-4188-89CE-D66C37A27448}"/>
          </ac:spMkLst>
        </pc:spChg>
        <pc:spChg chg="del">
          <ac:chgData name="Mariam Daniela Tristancho Pineda (MISION TEMPORAL LTDA)" userId="a45a17f7-7950-4cb5-bfab-f5c894f959a9" providerId="ADAL" clId="{1440674F-A918-4BC9-A66E-0A6A8DD6A97A}" dt="2020-06-24T14:08:36.334" v="1375" actId="21"/>
          <ac:spMkLst>
            <pc:docMk/>
            <pc:sldMk cId="685398324" sldId="2134804277"/>
            <ac:spMk id="47" creationId="{CEEB4B6C-D333-4CA0-857A-0570DA1879D6}"/>
          </ac:spMkLst>
        </pc:spChg>
        <pc:spChg chg="mod">
          <ac:chgData name="Mariam Daniela Tristancho Pineda (MISION TEMPORAL LTDA)" userId="a45a17f7-7950-4cb5-bfab-f5c894f959a9" providerId="ADAL" clId="{1440674F-A918-4BC9-A66E-0A6A8DD6A97A}" dt="2020-06-24T14:54:16.085" v="2130" actId="12788"/>
          <ac:spMkLst>
            <pc:docMk/>
            <pc:sldMk cId="685398324" sldId="2134804277"/>
            <ac:spMk id="51" creationId="{D1BBB9FD-BBB2-4DBE-B91B-1ABE54C48C86}"/>
          </ac:spMkLst>
        </pc:spChg>
        <pc:spChg chg="mod">
          <ac:chgData name="Mariam Daniela Tristancho Pineda (MISION TEMPORAL LTDA)" userId="a45a17f7-7950-4cb5-bfab-f5c894f959a9" providerId="ADAL" clId="{1440674F-A918-4BC9-A66E-0A6A8DD6A97A}" dt="2020-06-24T14:58:32.545" v="2192" actId="1076"/>
          <ac:spMkLst>
            <pc:docMk/>
            <pc:sldMk cId="685398324" sldId="2134804277"/>
            <ac:spMk id="52" creationId="{7B36949A-E22B-4AD5-9F62-88623E4F7646}"/>
          </ac:spMkLst>
        </pc:spChg>
        <pc:spChg chg="mod">
          <ac:chgData name="Mariam Daniela Tristancho Pineda (MISION TEMPORAL LTDA)" userId="a45a17f7-7950-4cb5-bfab-f5c894f959a9" providerId="ADAL" clId="{1440674F-A918-4BC9-A66E-0A6A8DD6A97A}" dt="2020-06-16T23:31:36.604" v="561" actId="108"/>
          <ac:spMkLst>
            <pc:docMk/>
            <pc:sldMk cId="685398324" sldId="2134804277"/>
            <ac:spMk id="57" creationId="{48380FA4-D73B-4203-B6A3-A6970B4FD90E}"/>
          </ac:spMkLst>
        </pc:spChg>
        <pc:spChg chg="mod">
          <ac:chgData name="Mariam Daniela Tristancho Pineda (MISION TEMPORAL LTDA)" userId="a45a17f7-7950-4cb5-bfab-f5c894f959a9" providerId="ADAL" clId="{1440674F-A918-4BC9-A66E-0A6A8DD6A97A}" dt="2020-06-16T23:31:39.086" v="562" actId="108"/>
          <ac:spMkLst>
            <pc:docMk/>
            <pc:sldMk cId="685398324" sldId="2134804277"/>
            <ac:spMk id="58" creationId="{B70591EC-E81F-4CD5-ACA8-E7BB012CA019}"/>
          </ac:spMkLst>
        </pc:spChg>
        <pc:spChg chg="add mod">
          <ac:chgData name="Mariam Daniela Tristancho Pineda (MISION TEMPORAL LTDA)" userId="a45a17f7-7950-4cb5-bfab-f5c894f959a9" providerId="ADAL" clId="{1440674F-A918-4BC9-A66E-0A6A8DD6A97A}" dt="2020-06-17T00:27:55.862" v="1199" actId="12788"/>
          <ac:spMkLst>
            <pc:docMk/>
            <pc:sldMk cId="685398324" sldId="2134804277"/>
            <ac:spMk id="69" creationId="{C8FFD2CE-E309-4072-9297-68D81274B40A}"/>
          </ac:spMkLst>
        </pc:spChg>
        <pc:spChg chg="add mod">
          <ac:chgData name="Mariam Daniela Tristancho Pineda (MISION TEMPORAL LTDA)" userId="a45a17f7-7950-4cb5-bfab-f5c894f959a9" providerId="ADAL" clId="{1440674F-A918-4BC9-A66E-0A6A8DD6A97A}" dt="2020-06-17T00:27:55.862" v="1199" actId="12788"/>
          <ac:spMkLst>
            <pc:docMk/>
            <pc:sldMk cId="685398324" sldId="2134804277"/>
            <ac:spMk id="70" creationId="{10CEAC64-42D3-4879-B6BE-C8E72BFE35E5}"/>
          </ac:spMkLst>
        </pc:spChg>
        <pc:spChg chg="add mod">
          <ac:chgData name="Mariam Daniela Tristancho Pineda (MISION TEMPORAL LTDA)" userId="a45a17f7-7950-4cb5-bfab-f5c894f959a9" providerId="ADAL" clId="{1440674F-A918-4BC9-A66E-0A6A8DD6A97A}" dt="2020-06-17T00:27:55.862" v="1199" actId="12788"/>
          <ac:spMkLst>
            <pc:docMk/>
            <pc:sldMk cId="685398324" sldId="2134804277"/>
            <ac:spMk id="71" creationId="{90F0F570-83E8-4E69-A9A0-FCCDD1A6305C}"/>
          </ac:spMkLst>
        </pc:spChg>
        <pc:spChg chg="add mod">
          <ac:chgData name="Mariam Daniela Tristancho Pineda (MISION TEMPORAL LTDA)" userId="a45a17f7-7950-4cb5-bfab-f5c894f959a9" providerId="ADAL" clId="{1440674F-A918-4BC9-A66E-0A6A8DD6A97A}" dt="2020-06-17T00:30:36.461" v="1248" actId="1038"/>
          <ac:spMkLst>
            <pc:docMk/>
            <pc:sldMk cId="685398324" sldId="2134804277"/>
            <ac:spMk id="72" creationId="{4260919B-02F7-4252-A8DC-A6A9A717EDBD}"/>
          </ac:spMkLst>
        </pc:spChg>
        <pc:spChg chg="add mod">
          <ac:chgData name="Mariam Daniela Tristancho Pineda (MISION TEMPORAL LTDA)" userId="a45a17f7-7950-4cb5-bfab-f5c894f959a9" providerId="ADAL" clId="{1440674F-A918-4BC9-A66E-0A6A8DD6A97A}" dt="2020-06-17T00:30:15.036" v="1242" actId="1038"/>
          <ac:spMkLst>
            <pc:docMk/>
            <pc:sldMk cId="685398324" sldId="2134804277"/>
            <ac:spMk id="73" creationId="{DC0659CB-DE42-44D1-B937-66C385216598}"/>
          </ac:spMkLst>
        </pc:spChg>
        <pc:spChg chg="add mod">
          <ac:chgData name="Mariam Daniela Tristancho Pineda (MISION TEMPORAL LTDA)" userId="a45a17f7-7950-4cb5-bfab-f5c894f959a9" providerId="ADAL" clId="{1440674F-A918-4BC9-A66E-0A6A8DD6A97A}" dt="2020-06-17T00:27:18.580" v="1191" actId="14100"/>
          <ac:spMkLst>
            <pc:docMk/>
            <pc:sldMk cId="685398324" sldId="2134804277"/>
            <ac:spMk id="74" creationId="{B33AE336-9430-49D7-A74B-E3F446F53353}"/>
          </ac:spMkLst>
        </pc:spChg>
        <pc:spChg chg="add mod">
          <ac:chgData name="Mariam Daniela Tristancho Pineda (MISION TEMPORAL LTDA)" userId="a45a17f7-7950-4cb5-bfab-f5c894f959a9" providerId="ADAL" clId="{1440674F-A918-4BC9-A66E-0A6A8DD6A97A}" dt="2020-06-24T14:54:40.939" v="2131" actId="12788"/>
          <ac:spMkLst>
            <pc:docMk/>
            <pc:sldMk cId="685398324" sldId="2134804277"/>
            <ac:spMk id="75" creationId="{10CA6977-1DFC-403C-A45F-5C7F8E4CD4C3}"/>
          </ac:spMkLst>
        </pc:spChg>
        <pc:spChg chg="add mod">
          <ac:chgData name="Mariam Daniela Tristancho Pineda (MISION TEMPORAL LTDA)" userId="a45a17f7-7950-4cb5-bfab-f5c894f959a9" providerId="ADAL" clId="{1440674F-A918-4BC9-A66E-0A6A8DD6A97A}" dt="2020-06-24T14:54:57.761" v="2139" actId="1035"/>
          <ac:spMkLst>
            <pc:docMk/>
            <pc:sldMk cId="685398324" sldId="2134804277"/>
            <ac:spMk id="76" creationId="{F6C39026-16E8-46B2-BBB2-C363EF966425}"/>
          </ac:spMkLst>
        </pc:spChg>
        <pc:spChg chg="add mod">
          <ac:chgData name="Mariam Daniela Tristancho Pineda (MISION TEMPORAL LTDA)" userId="a45a17f7-7950-4cb5-bfab-f5c894f959a9" providerId="ADAL" clId="{1440674F-A918-4BC9-A66E-0A6A8DD6A97A}" dt="2020-06-24T14:55:00.279" v="2143" actId="1035"/>
          <ac:spMkLst>
            <pc:docMk/>
            <pc:sldMk cId="685398324" sldId="2134804277"/>
            <ac:spMk id="77" creationId="{250DDC32-7399-472D-8369-461782ED2483}"/>
          </ac:spMkLst>
        </pc:spChg>
        <pc:spChg chg="add mod">
          <ac:chgData name="Mariam Daniela Tristancho Pineda (MISION TEMPORAL LTDA)" userId="a45a17f7-7950-4cb5-bfab-f5c894f959a9" providerId="ADAL" clId="{1440674F-A918-4BC9-A66E-0A6A8DD6A97A}" dt="2020-06-24T14:09:19.858" v="1384" actId="1038"/>
          <ac:spMkLst>
            <pc:docMk/>
            <pc:sldMk cId="685398324" sldId="2134804277"/>
            <ac:spMk id="78" creationId="{9207C83B-D9D1-4EF5-A6BA-47A0F83FCE5C}"/>
          </ac:spMkLst>
        </pc:spChg>
        <pc:spChg chg="add del mod">
          <ac:chgData name="Mariam Daniela Tristancho Pineda (MISION TEMPORAL LTDA)" userId="a45a17f7-7950-4cb5-bfab-f5c894f959a9" providerId="ADAL" clId="{1440674F-A918-4BC9-A66E-0A6A8DD6A97A}" dt="2020-06-24T14:08:36.334" v="1375" actId="21"/>
          <ac:spMkLst>
            <pc:docMk/>
            <pc:sldMk cId="685398324" sldId="2134804277"/>
            <ac:spMk id="79" creationId="{D1B5F9E2-B140-409E-964D-510149FDA0A6}"/>
          </ac:spMkLst>
        </pc:spChg>
        <pc:spChg chg="add mod">
          <ac:chgData name="Mariam Daniela Tristancho Pineda (MISION TEMPORAL LTDA)" userId="a45a17f7-7950-4cb5-bfab-f5c894f959a9" providerId="ADAL" clId="{1440674F-A918-4BC9-A66E-0A6A8DD6A97A}" dt="2020-06-24T14:54:49.724" v="2135" actId="1038"/>
          <ac:spMkLst>
            <pc:docMk/>
            <pc:sldMk cId="685398324" sldId="2134804277"/>
            <ac:spMk id="80" creationId="{EECEA763-7F2B-4DAF-B4D2-08130142AA14}"/>
          </ac:spMkLst>
        </pc:spChg>
        <pc:spChg chg="add mod">
          <ac:chgData name="Mariam Daniela Tristancho Pineda (MISION TEMPORAL LTDA)" userId="a45a17f7-7950-4cb5-bfab-f5c894f959a9" providerId="ADAL" clId="{1440674F-A918-4BC9-A66E-0A6A8DD6A97A}" dt="2020-06-24T14:54:40.939" v="2131" actId="12788"/>
          <ac:spMkLst>
            <pc:docMk/>
            <pc:sldMk cId="685398324" sldId="2134804277"/>
            <ac:spMk id="81" creationId="{C631E4FA-DE7B-421C-942A-141780DC78A4}"/>
          </ac:spMkLst>
        </pc:spChg>
        <pc:spChg chg="add mod">
          <ac:chgData name="Mariam Daniela Tristancho Pineda (MISION TEMPORAL LTDA)" userId="a45a17f7-7950-4cb5-bfab-f5c894f959a9" providerId="ADAL" clId="{1440674F-A918-4BC9-A66E-0A6A8DD6A97A}" dt="2020-06-24T14:54:40.939" v="2131" actId="12788"/>
          <ac:spMkLst>
            <pc:docMk/>
            <pc:sldMk cId="685398324" sldId="2134804277"/>
            <ac:spMk id="82" creationId="{A365855A-28E1-4840-82FA-0C3F7779753F}"/>
          </ac:spMkLst>
        </pc:spChg>
        <pc:spChg chg="add del mod">
          <ac:chgData name="Mariam Daniela Tristancho Pineda (MISION TEMPORAL LTDA)" userId="a45a17f7-7950-4cb5-bfab-f5c894f959a9" providerId="ADAL" clId="{1440674F-A918-4BC9-A66E-0A6A8DD6A97A}" dt="2020-06-24T14:08:36.334" v="1375" actId="21"/>
          <ac:spMkLst>
            <pc:docMk/>
            <pc:sldMk cId="685398324" sldId="2134804277"/>
            <ac:spMk id="83" creationId="{832E5B7E-355E-4CF8-BAC5-D34E4003AA45}"/>
          </ac:spMkLst>
        </pc:spChg>
        <pc:spChg chg="add del mod">
          <ac:chgData name="Mariam Daniela Tristancho Pineda (MISION TEMPORAL LTDA)" userId="a45a17f7-7950-4cb5-bfab-f5c894f959a9" providerId="ADAL" clId="{1440674F-A918-4BC9-A66E-0A6A8DD6A97A}" dt="2020-06-17T00:23:05.066" v="1106" actId="478"/>
          <ac:spMkLst>
            <pc:docMk/>
            <pc:sldMk cId="685398324" sldId="2134804277"/>
            <ac:spMk id="84" creationId="{9359B6F1-AF70-4C0E-8EBA-6E966081AFBE}"/>
          </ac:spMkLst>
        </pc:spChg>
        <pc:spChg chg="add del mod">
          <ac:chgData name="Mariam Daniela Tristancho Pineda (MISION TEMPORAL LTDA)" userId="a45a17f7-7950-4cb5-bfab-f5c894f959a9" providerId="ADAL" clId="{1440674F-A918-4BC9-A66E-0A6A8DD6A97A}" dt="2020-06-17T00:23:05.066" v="1106" actId="478"/>
          <ac:spMkLst>
            <pc:docMk/>
            <pc:sldMk cId="685398324" sldId="2134804277"/>
            <ac:spMk id="85" creationId="{98493EB8-0BF3-499F-A089-A21AD4C99CD4}"/>
          </ac:spMkLst>
        </pc:spChg>
        <pc:spChg chg="add del mod">
          <ac:chgData name="Mariam Daniela Tristancho Pineda (MISION TEMPORAL LTDA)" userId="a45a17f7-7950-4cb5-bfab-f5c894f959a9" providerId="ADAL" clId="{1440674F-A918-4BC9-A66E-0A6A8DD6A97A}" dt="2020-06-17T00:23:05.066" v="1106" actId="478"/>
          <ac:spMkLst>
            <pc:docMk/>
            <pc:sldMk cId="685398324" sldId="2134804277"/>
            <ac:spMk id="86" creationId="{C044FC9D-35EA-4E78-9889-8EC30B42DFD7}"/>
          </ac:spMkLst>
        </pc:spChg>
        <pc:spChg chg="add del mod">
          <ac:chgData name="Mariam Daniela Tristancho Pineda (MISION TEMPORAL LTDA)" userId="a45a17f7-7950-4cb5-bfab-f5c894f959a9" providerId="ADAL" clId="{1440674F-A918-4BC9-A66E-0A6A8DD6A97A}" dt="2020-06-17T00:23:05.066" v="1106" actId="478"/>
          <ac:spMkLst>
            <pc:docMk/>
            <pc:sldMk cId="685398324" sldId="2134804277"/>
            <ac:spMk id="87" creationId="{211D8486-BA49-440D-853D-DDAB1CA5B66C}"/>
          </ac:spMkLst>
        </pc:spChg>
        <pc:spChg chg="add del mod">
          <ac:chgData name="Mariam Daniela Tristancho Pineda (MISION TEMPORAL LTDA)" userId="a45a17f7-7950-4cb5-bfab-f5c894f959a9" providerId="ADAL" clId="{1440674F-A918-4BC9-A66E-0A6A8DD6A97A}" dt="2020-06-17T00:23:05.066" v="1106" actId="478"/>
          <ac:spMkLst>
            <pc:docMk/>
            <pc:sldMk cId="685398324" sldId="2134804277"/>
            <ac:spMk id="88" creationId="{2FD9E577-0D8F-41E8-84FC-E6D78F676DEA}"/>
          </ac:spMkLst>
        </pc:spChg>
        <pc:spChg chg="add del mod">
          <ac:chgData name="Mariam Daniela Tristancho Pineda (MISION TEMPORAL LTDA)" userId="a45a17f7-7950-4cb5-bfab-f5c894f959a9" providerId="ADAL" clId="{1440674F-A918-4BC9-A66E-0A6A8DD6A97A}" dt="2020-06-17T00:23:05.066" v="1106" actId="478"/>
          <ac:spMkLst>
            <pc:docMk/>
            <pc:sldMk cId="685398324" sldId="2134804277"/>
            <ac:spMk id="89" creationId="{A859D537-EE64-40AF-A57A-B0DFC260DE1A}"/>
          </ac:spMkLst>
        </pc:spChg>
        <pc:spChg chg="add del mod">
          <ac:chgData name="Mariam Daniela Tristancho Pineda (MISION TEMPORAL LTDA)" userId="a45a17f7-7950-4cb5-bfab-f5c894f959a9" providerId="ADAL" clId="{1440674F-A918-4BC9-A66E-0A6A8DD6A97A}" dt="2020-06-17T00:24:07.155" v="1130" actId="478"/>
          <ac:spMkLst>
            <pc:docMk/>
            <pc:sldMk cId="685398324" sldId="2134804277"/>
            <ac:spMk id="90" creationId="{E482743C-D8CE-4D85-8303-96B848F5CEE8}"/>
          </ac:spMkLst>
        </pc:spChg>
        <pc:spChg chg="add del mod">
          <ac:chgData name="Mariam Daniela Tristancho Pineda (MISION TEMPORAL LTDA)" userId="a45a17f7-7950-4cb5-bfab-f5c894f959a9" providerId="ADAL" clId="{1440674F-A918-4BC9-A66E-0A6A8DD6A97A}" dt="2020-06-17T00:24:06.241" v="1129" actId="478"/>
          <ac:spMkLst>
            <pc:docMk/>
            <pc:sldMk cId="685398324" sldId="2134804277"/>
            <ac:spMk id="91" creationId="{411C468F-AF17-408A-9E72-794CAAAB1E86}"/>
          </ac:spMkLst>
        </pc:spChg>
        <pc:spChg chg="add del mod">
          <ac:chgData name="Mariam Daniela Tristancho Pineda (MISION TEMPORAL LTDA)" userId="a45a17f7-7950-4cb5-bfab-f5c894f959a9" providerId="ADAL" clId="{1440674F-A918-4BC9-A66E-0A6A8DD6A97A}" dt="2020-06-17T00:24:05.108" v="1128" actId="478"/>
          <ac:spMkLst>
            <pc:docMk/>
            <pc:sldMk cId="685398324" sldId="2134804277"/>
            <ac:spMk id="92" creationId="{5320D064-EB54-45D6-A164-75D36B58B293}"/>
          </ac:spMkLst>
        </pc:spChg>
        <pc:spChg chg="add del mod">
          <ac:chgData name="Mariam Daniela Tristancho Pineda (MISION TEMPORAL LTDA)" userId="a45a17f7-7950-4cb5-bfab-f5c894f959a9" providerId="ADAL" clId="{1440674F-A918-4BC9-A66E-0A6A8DD6A97A}" dt="2020-06-17T00:24:04.437" v="1127" actId="478"/>
          <ac:spMkLst>
            <pc:docMk/>
            <pc:sldMk cId="685398324" sldId="2134804277"/>
            <ac:spMk id="93" creationId="{A7313B39-5338-4C76-9AC7-345D40EE509B}"/>
          </ac:spMkLst>
        </pc:spChg>
        <pc:spChg chg="add del mod">
          <ac:chgData name="Mariam Daniela Tristancho Pineda (MISION TEMPORAL LTDA)" userId="a45a17f7-7950-4cb5-bfab-f5c894f959a9" providerId="ADAL" clId="{1440674F-A918-4BC9-A66E-0A6A8DD6A97A}" dt="2020-06-17T00:24:03.716" v="1126" actId="478"/>
          <ac:spMkLst>
            <pc:docMk/>
            <pc:sldMk cId="685398324" sldId="2134804277"/>
            <ac:spMk id="94" creationId="{0BF6A8E9-4715-49E8-883E-C654E3B8212F}"/>
          </ac:spMkLst>
        </pc:spChg>
        <pc:spChg chg="mod">
          <ac:chgData name="Mariam Daniela Tristancho Pineda (MISION TEMPORAL LTDA)" userId="a45a17f7-7950-4cb5-bfab-f5c894f959a9" providerId="ADAL" clId="{1440674F-A918-4BC9-A66E-0A6A8DD6A97A}" dt="2020-06-24T14:53:58.957" v="2124" actId="12788"/>
          <ac:spMkLst>
            <pc:docMk/>
            <pc:sldMk cId="685398324" sldId="2134804277"/>
            <ac:spMk id="96" creationId="{1DFEF71A-A80A-4597-AAC9-DB256058084B}"/>
          </ac:spMkLst>
        </pc:spChg>
        <pc:spChg chg="add del mod">
          <ac:chgData name="Mariam Daniela Tristancho Pineda (MISION TEMPORAL LTDA)" userId="a45a17f7-7950-4cb5-bfab-f5c894f959a9" providerId="ADAL" clId="{1440674F-A918-4BC9-A66E-0A6A8DD6A97A}" dt="2020-06-17T00:24:01.236" v="1123" actId="478"/>
          <ac:spMkLst>
            <pc:docMk/>
            <pc:sldMk cId="685398324" sldId="2134804277"/>
            <ac:spMk id="98" creationId="{C5656D76-901A-473A-B4B4-83DD0478BBD4}"/>
          </ac:spMkLst>
        </pc:spChg>
        <pc:spChg chg="mod">
          <ac:chgData name="Mariam Daniela Tristancho Pineda (MISION TEMPORAL LTDA)" userId="a45a17f7-7950-4cb5-bfab-f5c894f959a9" providerId="ADAL" clId="{1440674F-A918-4BC9-A66E-0A6A8DD6A97A}" dt="2020-06-24T14:54:02.675" v="2125" actId="12788"/>
          <ac:spMkLst>
            <pc:docMk/>
            <pc:sldMk cId="685398324" sldId="2134804277"/>
            <ac:spMk id="99" creationId="{90CC82AC-D82E-4F89-AC67-093894759099}"/>
          </ac:spMkLst>
        </pc:spChg>
        <pc:spChg chg="mod">
          <ac:chgData name="Mariam Daniela Tristancho Pineda (MISION TEMPORAL LTDA)" userId="a45a17f7-7950-4cb5-bfab-f5c894f959a9" providerId="ADAL" clId="{1440674F-A918-4BC9-A66E-0A6A8DD6A97A}" dt="2020-06-24T14:53:47.891" v="2122" actId="12788"/>
          <ac:spMkLst>
            <pc:docMk/>
            <pc:sldMk cId="685398324" sldId="2134804277"/>
            <ac:spMk id="100" creationId="{1835F856-5B59-4AFF-86DE-2F0968B76CF7}"/>
          </ac:spMkLst>
        </pc:spChg>
        <pc:spChg chg="add del mod">
          <ac:chgData name="Mariam Daniela Tristancho Pineda (MISION TEMPORAL LTDA)" userId="a45a17f7-7950-4cb5-bfab-f5c894f959a9" providerId="ADAL" clId="{1440674F-A918-4BC9-A66E-0A6A8DD6A97A}" dt="2020-06-17T00:24:02.001" v="1124" actId="478"/>
          <ac:spMkLst>
            <pc:docMk/>
            <pc:sldMk cId="685398324" sldId="2134804277"/>
            <ac:spMk id="101" creationId="{B93742C1-408B-44D0-8FDF-A4F8CD3D357D}"/>
          </ac:spMkLst>
        </pc:spChg>
        <pc:spChg chg="mod">
          <ac:chgData name="Mariam Daniela Tristancho Pineda (MISION TEMPORAL LTDA)" userId="a45a17f7-7950-4cb5-bfab-f5c894f959a9" providerId="ADAL" clId="{1440674F-A918-4BC9-A66E-0A6A8DD6A97A}" dt="2020-06-24T14:54:09.853" v="2129" actId="1038"/>
          <ac:spMkLst>
            <pc:docMk/>
            <pc:sldMk cId="685398324" sldId="2134804277"/>
            <ac:spMk id="102" creationId="{101F3273-AA10-47F1-9872-07AD50130DF5}"/>
          </ac:spMkLst>
        </pc:spChg>
        <pc:spChg chg="mod">
          <ac:chgData name="Mariam Daniela Tristancho Pineda (MISION TEMPORAL LTDA)" userId="a45a17f7-7950-4cb5-bfab-f5c894f959a9" providerId="ADAL" clId="{1440674F-A918-4BC9-A66E-0A6A8DD6A97A}" dt="2020-06-24T14:54:16.085" v="2130" actId="12788"/>
          <ac:spMkLst>
            <pc:docMk/>
            <pc:sldMk cId="685398324" sldId="2134804277"/>
            <ac:spMk id="103" creationId="{BDBCDC72-F935-45A4-AE31-C045019965AF}"/>
          </ac:spMkLst>
        </pc:spChg>
        <pc:spChg chg="add mod">
          <ac:chgData name="Mariam Daniela Tristancho Pineda (MISION TEMPORAL LTDA)" userId="a45a17f7-7950-4cb5-bfab-f5c894f959a9" providerId="ADAL" clId="{1440674F-A918-4BC9-A66E-0A6A8DD6A97A}" dt="2020-06-24T14:10:24.357" v="1395" actId="571"/>
          <ac:spMkLst>
            <pc:docMk/>
            <pc:sldMk cId="685398324" sldId="2134804277"/>
            <ac:spMk id="107" creationId="{A76226DA-7737-4060-A8F9-DE47EA357C02}"/>
          </ac:spMkLst>
        </pc:spChg>
        <pc:spChg chg="add mod">
          <ac:chgData name="Mariam Daniela Tristancho Pineda (MISION TEMPORAL LTDA)" userId="a45a17f7-7950-4cb5-bfab-f5c894f959a9" providerId="ADAL" clId="{1440674F-A918-4BC9-A66E-0A6A8DD6A97A}" dt="2020-06-24T14:10:24.357" v="1395" actId="571"/>
          <ac:spMkLst>
            <pc:docMk/>
            <pc:sldMk cId="685398324" sldId="2134804277"/>
            <ac:spMk id="109" creationId="{413136F8-BD3A-404D-93ED-FF3F63E40B89}"/>
          </ac:spMkLst>
        </pc:spChg>
        <pc:spChg chg="add del mod">
          <ac:chgData name="Mariam Daniela Tristancho Pineda (MISION TEMPORAL LTDA)" userId="a45a17f7-7950-4cb5-bfab-f5c894f959a9" providerId="ADAL" clId="{1440674F-A918-4BC9-A66E-0A6A8DD6A97A}" dt="2020-06-17T00:24:24.243" v="1132" actId="478"/>
          <ac:spMkLst>
            <pc:docMk/>
            <pc:sldMk cId="685398324" sldId="2134804277"/>
            <ac:spMk id="109" creationId="{555DEAF1-0DCC-424B-983C-755F97E22378}"/>
          </ac:spMkLst>
        </pc:spChg>
        <pc:spChg chg="add mod">
          <ac:chgData name="Mariam Daniela Tristancho Pineda (MISION TEMPORAL LTDA)" userId="a45a17f7-7950-4cb5-bfab-f5c894f959a9" providerId="ADAL" clId="{1440674F-A918-4BC9-A66E-0A6A8DD6A97A}" dt="2020-06-24T14:10:24.357" v="1395" actId="571"/>
          <ac:spMkLst>
            <pc:docMk/>
            <pc:sldMk cId="685398324" sldId="2134804277"/>
            <ac:spMk id="110" creationId="{3F7E9DCC-FE0A-499E-B78A-7F2B8457D7EE}"/>
          </ac:spMkLst>
        </pc:spChg>
        <pc:spChg chg="add del mod">
          <ac:chgData name="Mariam Daniela Tristancho Pineda (MISION TEMPORAL LTDA)" userId="a45a17f7-7950-4cb5-bfab-f5c894f959a9" providerId="ADAL" clId="{1440674F-A918-4BC9-A66E-0A6A8DD6A97A}" dt="2020-06-17T00:24:00.706" v="1122" actId="478"/>
          <ac:spMkLst>
            <pc:docMk/>
            <pc:sldMk cId="685398324" sldId="2134804277"/>
            <ac:spMk id="110" creationId="{5C8DF325-0584-49A5-B12E-AF392A399F1B}"/>
          </ac:spMkLst>
        </pc:spChg>
        <pc:spChg chg="add del mod">
          <ac:chgData name="Mariam Daniela Tristancho Pineda (MISION TEMPORAL LTDA)" userId="a45a17f7-7950-4cb5-bfab-f5c894f959a9" providerId="ADAL" clId="{1440674F-A918-4BC9-A66E-0A6A8DD6A97A}" dt="2020-06-17T00:23:59.825" v="1121" actId="478"/>
          <ac:spMkLst>
            <pc:docMk/>
            <pc:sldMk cId="685398324" sldId="2134804277"/>
            <ac:spMk id="111" creationId="{1B35CC26-F653-4A5C-A0A7-375091731B17}"/>
          </ac:spMkLst>
        </pc:spChg>
        <pc:spChg chg="add mod">
          <ac:chgData name="Mariam Daniela Tristancho Pineda (MISION TEMPORAL LTDA)" userId="a45a17f7-7950-4cb5-bfab-f5c894f959a9" providerId="ADAL" clId="{1440674F-A918-4BC9-A66E-0A6A8DD6A97A}" dt="2020-06-24T14:13:22.485" v="1422" actId="14100"/>
          <ac:spMkLst>
            <pc:docMk/>
            <pc:sldMk cId="685398324" sldId="2134804277"/>
            <ac:spMk id="111" creationId="{33054A9A-549A-46EA-92C1-A009641F3BB9}"/>
          </ac:spMkLst>
        </pc:spChg>
        <pc:spChg chg="add mod">
          <ac:chgData name="Mariam Daniela Tristancho Pineda (MISION TEMPORAL LTDA)" userId="a45a17f7-7950-4cb5-bfab-f5c894f959a9" providerId="ADAL" clId="{1440674F-A918-4BC9-A66E-0A6A8DD6A97A}" dt="2020-06-24T14:13:54.749" v="1427" actId="1076"/>
          <ac:spMkLst>
            <pc:docMk/>
            <pc:sldMk cId="685398324" sldId="2134804277"/>
            <ac:spMk id="112" creationId="{22B5CFB4-BFDC-4A1D-A451-0270A649F5C0}"/>
          </ac:spMkLst>
        </pc:spChg>
        <pc:spChg chg="add del mod">
          <ac:chgData name="Mariam Daniela Tristancho Pineda (MISION TEMPORAL LTDA)" userId="a45a17f7-7950-4cb5-bfab-f5c894f959a9" providerId="ADAL" clId="{1440674F-A918-4BC9-A66E-0A6A8DD6A97A}" dt="2020-06-17T00:24:02.995" v="1125" actId="478"/>
          <ac:spMkLst>
            <pc:docMk/>
            <pc:sldMk cId="685398324" sldId="2134804277"/>
            <ac:spMk id="112" creationId="{F4099FDE-91D0-4B95-A21F-F9E6291CF80B}"/>
          </ac:spMkLst>
        </pc:spChg>
        <pc:spChg chg="add mod">
          <ac:chgData name="Mariam Daniela Tristancho Pineda (MISION TEMPORAL LTDA)" userId="a45a17f7-7950-4cb5-bfab-f5c894f959a9" providerId="ADAL" clId="{1440674F-A918-4BC9-A66E-0A6A8DD6A97A}" dt="2020-06-24T14:52:10.892" v="2109" actId="1038"/>
          <ac:spMkLst>
            <pc:docMk/>
            <pc:sldMk cId="685398324" sldId="2134804277"/>
            <ac:spMk id="113" creationId="{441FAA60-63AD-4CC5-AD45-5D9BA9F5B68B}"/>
          </ac:spMkLst>
        </pc:spChg>
        <pc:spChg chg="add mod">
          <ac:chgData name="Mariam Daniela Tristancho Pineda (MISION TEMPORAL LTDA)" userId="a45a17f7-7950-4cb5-bfab-f5c894f959a9" providerId="ADAL" clId="{1440674F-A918-4BC9-A66E-0A6A8DD6A97A}" dt="2020-06-24T14:52:10.892" v="2109" actId="1038"/>
          <ac:spMkLst>
            <pc:docMk/>
            <pc:sldMk cId="685398324" sldId="2134804277"/>
            <ac:spMk id="114" creationId="{D4928E43-184C-4F89-A5DB-B6007137710D}"/>
          </ac:spMkLst>
        </pc:spChg>
        <pc:spChg chg="add mod">
          <ac:chgData name="Mariam Daniela Tristancho Pineda (MISION TEMPORAL LTDA)" userId="a45a17f7-7950-4cb5-bfab-f5c894f959a9" providerId="ADAL" clId="{1440674F-A918-4BC9-A66E-0A6A8DD6A97A}" dt="2020-06-24T14:52:10.892" v="2109" actId="1038"/>
          <ac:spMkLst>
            <pc:docMk/>
            <pc:sldMk cId="685398324" sldId="2134804277"/>
            <ac:spMk id="115" creationId="{E26055A8-02B1-4ECA-9E20-4089928DF9EB}"/>
          </ac:spMkLst>
        </pc:spChg>
        <pc:spChg chg="add mod">
          <ac:chgData name="Mariam Daniela Tristancho Pineda (MISION TEMPORAL LTDA)" userId="a45a17f7-7950-4cb5-bfab-f5c894f959a9" providerId="ADAL" clId="{1440674F-A918-4BC9-A66E-0A6A8DD6A97A}" dt="2020-06-24T15:02:07.890" v="2234" actId="1076"/>
          <ac:spMkLst>
            <pc:docMk/>
            <pc:sldMk cId="685398324" sldId="2134804277"/>
            <ac:spMk id="116" creationId="{879B225E-11CB-48BD-B073-6718F5FD2747}"/>
          </ac:spMkLst>
        </pc:spChg>
        <pc:spChg chg="add del mod">
          <ac:chgData name="Mariam Daniela Tristancho Pineda (MISION TEMPORAL LTDA)" userId="a45a17f7-7950-4cb5-bfab-f5c894f959a9" providerId="ADAL" clId="{1440674F-A918-4BC9-A66E-0A6A8DD6A97A}" dt="2020-06-17T00:29:47.527" v="1223" actId="478"/>
          <ac:spMkLst>
            <pc:docMk/>
            <pc:sldMk cId="685398324" sldId="2134804277"/>
            <ac:spMk id="116" creationId="{F78209E1-8BA6-42EA-97B4-2B42804BCF8E}"/>
          </ac:spMkLst>
        </pc:spChg>
        <pc:spChg chg="add mod">
          <ac:chgData name="Mariam Daniela Tristancho Pineda (MISION TEMPORAL LTDA)" userId="a45a17f7-7950-4cb5-bfab-f5c894f959a9" providerId="ADAL" clId="{1440674F-A918-4BC9-A66E-0A6A8DD6A97A}" dt="2020-06-17T00:29:39.861" v="1221"/>
          <ac:spMkLst>
            <pc:docMk/>
            <pc:sldMk cId="685398324" sldId="2134804277"/>
            <ac:spMk id="117" creationId="{F61C864A-9A93-4E9F-9696-95BA709B906A}"/>
          </ac:spMkLst>
        </pc:spChg>
        <pc:spChg chg="add mod">
          <ac:chgData name="Mariam Daniela Tristancho Pineda (MISION TEMPORAL LTDA)" userId="a45a17f7-7950-4cb5-bfab-f5c894f959a9" providerId="ADAL" clId="{1440674F-A918-4BC9-A66E-0A6A8DD6A97A}" dt="2020-06-17T00:29:39.861" v="1221"/>
          <ac:spMkLst>
            <pc:docMk/>
            <pc:sldMk cId="685398324" sldId="2134804277"/>
            <ac:spMk id="118" creationId="{3E887259-9725-41DC-84F2-12618F2AEF5D}"/>
          </ac:spMkLst>
        </pc:spChg>
        <pc:spChg chg="add mod">
          <ac:chgData name="Mariam Daniela Tristancho Pineda (MISION TEMPORAL LTDA)" userId="a45a17f7-7950-4cb5-bfab-f5c894f959a9" providerId="ADAL" clId="{1440674F-A918-4BC9-A66E-0A6A8DD6A97A}" dt="2020-06-17T00:29:39.861" v="1221"/>
          <ac:spMkLst>
            <pc:docMk/>
            <pc:sldMk cId="685398324" sldId="2134804277"/>
            <ac:spMk id="119" creationId="{CF27F8C4-20D0-4D77-B45B-A4590944E79B}"/>
          </ac:spMkLst>
        </pc:spChg>
        <pc:spChg chg="add mod">
          <ac:chgData name="Mariam Daniela Tristancho Pineda (MISION TEMPORAL LTDA)" userId="a45a17f7-7950-4cb5-bfab-f5c894f959a9" providerId="ADAL" clId="{1440674F-A918-4BC9-A66E-0A6A8DD6A97A}" dt="2020-06-17T00:29:39.861" v="1221"/>
          <ac:spMkLst>
            <pc:docMk/>
            <pc:sldMk cId="685398324" sldId="2134804277"/>
            <ac:spMk id="120" creationId="{2531434F-E118-4E2D-88FB-E9F0792BE557}"/>
          </ac:spMkLst>
        </pc:spChg>
        <pc:spChg chg="mod">
          <ac:chgData name="Mariam Daniela Tristancho Pineda (MISION TEMPORAL LTDA)" userId="a45a17f7-7950-4cb5-bfab-f5c894f959a9" providerId="ADAL" clId="{1440674F-A918-4BC9-A66E-0A6A8DD6A97A}" dt="2020-06-24T14:52:10.892" v="2109" actId="1038"/>
          <ac:spMkLst>
            <pc:docMk/>
            <pc:sldMk cId="685398324" sldId="2134804277"/>
            <ac:spMk id="121" creationId="{B090BFCE-20D4-4C2E-AB13-0B67385FA7AD}"/>
          </ac:spMkLst>
        </pc:spChg>
        <pc:spChg chg="mod">
          <ac:chgData name="Mariam Daniela Tristancho Pineda (MISION TEMPORAL LTDA)" userId="a45a17f7-7950-4cb5-bfab-f5c894f959a9" providerId="ADAL" clId="{1440674F-A918-4BC9-A66E-0A6A8DD6A97A}" dt="2020-06-24T14:58:12.319" v="2187" actId="20577"/>
          <ac:spMkLst>
            <pc:docMk/>
            <pc:sldMk cId="685398324" sldId="2134804277"/>
            <ac:spMk id="122" creationId="{86903DE0-ADCA-4DC8-9E6D-E9AED1F442A0}"/>
          </ac:spMkLst>
        </pc:spChg>
        <pc:spChg chg="mod">
          <ac:chgData name="Mariam Daniela Tristancho Pineda (MISION TEMPORAL LTDA)" userId="a45a17f7-7950-4cb5-bfab-f5c894f959a9" providerId="ADAL" clId="{1440674F-A918-4BC9-A66E-0A6A8DD6A97A}" dt="2020-06-24T14:52:10.892" v="2109" actId="1038"/>
          <ac:spMkLst>
            <pc:docMk/>
            <pc:sldMk cId="685398324" sldId="2134804277"/>
            <ac:spMk id="123" creationId="{EA803C8F-BBB1-4354-90E8-720062F397E0}"/>
          </ac:spMkLst>
        </pc:spChg>
        <pc:spChg chg="mod">
          <ac:chgData name="Mariam Daniela Tristancho Pineda (MISION TEMPORAL LTDA)" userId="a45a17f7-7950-4cb5-bfab-f5c894f959a9" providerId="ADAL" clId="{1440674F-A918-4BC9-A66E-0A6A8DD6A97A}" dt="2020-06-24T15:02:53.082" v="2248" actId="20577"/>
          <ac:spMkLst>
            <pc:docMk/>
            <pc:sldMk cId="685398324" sldId="2134804277"/>
            <ac:spMk id="124" creationId="{E0A25213-98A0-4D9C-B905-69EC0D854861}"/>
          </ac:spMkLst>
        </pc:spChg>
        <pc:spChg chg="mod">
          <ac:chgData name="Mariam Daniela Tristancho Pineda (MISION TEMPORAL LTDA)" userId="a45a17f7-7950-4cb5-bfab-f5c894f959a9" providerId="ADAL" clId="{1440674F-A918-4BC9-A66E-0A6A8DD6A97A}" dt="2020-06-24T14:52:10.892" v="2109" actId="1038"/>
          <ac:spMkLst>
            <pc:docMk/>
            <pc:sldMk cId="685398324" sldId="2134804277"/>
            <ac:spMk id="125" creationId="{6EEE8AFC-471F-4452-9936-7BAF0D8C6B67}"/>
          </ac:spMkLst>
        </pc:spChg>
        <pc:spChg chg="mod">
          <ac:chgData name="Mariam Daniela Tristancho Pineda (MISION TEMPORAL LTDA)" userId="a45a17f7-7950-4cb5-bfab-f5c894f959a9" providerId="ADAL" clId="{1440674F-A918-4BC9-A66E-0A6A8DD6A97A}" dt="2020-06-24T15:02:51.733" v="2246" actId="20577"/>
          <ac:spMkLst>
            <pc:docMk/>
            <pc:sldMk cId="685398324" sldId="2134804277"/>
            <ac:spMk id="126" creationId="{B3717873-697F-451F-BA49-9F0AB4550A45}"/>
          </ac:spMkLst>
        </pc:spChg>
        <pc:spChg chg="mod">
          <ac:chgData name="Mariam Daniela Tristancho Pineda (MISION TEMPORAL LTDA)" userId="a45a17f7-7950-4cb5-bfab-f5c894f959a9" providerId="ADAL" clId="{1440674F-A918-4BC9-A66E-0A6A8DD6A97A}" dt="2020-06-24T15:02:56.304" v="2250" actId="20577"/>
          <ac:spMkLst>
            <pc:docMk/>
            <pc:sldMk cId="685398324" sldId="2134804277"/>
            <ac:spMk id="127" creationId="{21108AA1-2B9D-4188-BBCC-74BBBE9302C7}"/>
          </ac:spMkLst>
        </pc:spChg>
        <pc:spChg chg="mod">
          <ac:chgData name="Mariam Daniela Tristancho Pineda (MISION TEMPORAL LTDA)" userId="a45a17f7-7950-4cb5-bfab-f5c894f959a9" providerId="ADAL" clId="{1440674F-A918-4BC9-A66E-0A6A8DD6A97A}" dt="2020-06-24T14:52:10.892" v="2109" actId="1038"/>
          <ac:spMkLst>
            <pc:docMk/>
            <pc:sldMk cId="685398324" sldId="2134804277"/>
            <ac:spMk id="128" creationId="{DCF3D11F-3DD2-486A-8119-9C38A5A436D5}"/>
          </ac:spMkLst>
        </pc:spChg>
        <pc:spChg chg="mod">
          <ac:chgData name="Mariam Daniela Tristancho Pineda (MISION TEMPORAL LTDA)" userId="a45a17f7-7950-4cb5-bfab-f5c894f959a9" providerId="ADAL" clId="{1440674F-A918-4BC9-A66E-0A6A8DD6A97A}" dt="2020-06-24T15:03:44.803" v="2254" actId="20577"/>
          <ac:spMkLst>
            <pc:docMk/>
            <pc:sldMk cId="685398324" sldId="2134804277"/>
            <ac:spMk id="129" creationId="{AF127B43-599C-4DF7-9C76-8EFCDD84F269}"/>
          </ac:spMkLst>
        </pc:spChg>
        <pc:spChg chg="mod">
          <ac:chgData name="Mariam Daniela Tristancho Pineda (MISION TEMPORAL LTDA)" userId="a45a17f7-7950-4cb5-bfab-f5c894f959a9" providerId="ADAL" clId="{1440674F-A918-4BC9-A66E-0A6A8DD6A97A}" dt="2020-06-24T14:52:10.892" v="2109" actId="1038"/>
          <ac:spMkLst>
            <pc:docMk/>
            <pc:sldMk cId="685398324" sldId="2134804277"/>
            <ac:spMk id="130" creationId="{4EFB3025-4C2C-44FD-B2C8-39B360082221}"/>
          </ac:spMkLst>
        </pc:spChg>
        <pc:spChg chg="mod">
          <ac:chgData name="Mariam Daniela Tristancho Pineda (MISION TEMPORAL LTDA)" userId="a45a17f7-7950-4cb5-bfab-f5c894f959a9" providerId="ADAL" clId="{1440674F-A918-4BC9-A66E-0A6A8DD6A97A}" dt="2020-06-24T14:52:10.892" v="2109" actId="1038"/>
          <ac:spMkLst>
            <pc:docMk/>
            <pc:sldMk cId="685398324" sldId="2134804277"/>
            <ac:spMk id="131" creationId="{865EADF7-6A89-4769-AC5C-AA4FA77A6660}"/>
          </ac:spMkLst>
        </pc:spChg>
        <pc:spChg chg="mod">
          <ac:chgData name="Mariam Daniela Tristancho Pineda (MISION TEMPORAL LTDA)" userId="a45a17f7-7950-4cb5-bfab-f5c894f959a9" providerId="ADAL" clId="{1440674F-A918-4BC9-A66E-0A6A8DD6A97A}" dt="2020-06-24T14:52:10.892" v="2109" actId="1038"/>
          <ac:spMkLst>
            <pc:docMk/>
            <pc:sldMk cId="685398324" sldId="2134804277"/>
            <ac:spMk id="132" creationId="{FC03C305-04BA-46AF-B7D7-D94598B2FE83}"/>
          </ac:spMkLst>
        </pc:spChg>
        <pc:spChg chg="mod">
          <ac:chgData name="Mariam Daniela Tristancho Pineda (MISION TEMPORAL LTDA)" userId="a45a17f7-7950-4cb5-bfab-f5c894f959a9" providerId="ADAL" clId="{1440674F-A918-4BC9-A66E-0A6A8DD6A97A}" dt="2020-06-24T14:52:10.892" v="2109" actId="1038"/>
          <ac:spMkLst>
            <pc:docMk/>
            <pc:sldMk cId="685398324" sldId="2134804277"/>
            <ac:spMk id="133" creationId="{310CB3A5-C87B-4760-B9D3-E7FEB278DACA}"/>
          </ac:spMkLst>
        </pc:spChg>
        <pc:spChg chg="mod">
          <ac:chgData name="Mariam Daniela Tristancho Pineda (MISION TEMPORAL LTDA)" userId="a45a17f7-7950-4cb5-bfab-f5c894f959a9" providerId="ADAL" clId="{1440674F-A918-4BC9-A66E-0A6A8DD6A97A}" dt="2020-06-24T14:52:10.892" v="2109" actId="1038"/>
          <ac:spMkLst>
            <pc:docMk/>
            <pc:sldMk cId="685398324" sldId="2134804277"/>
            <ac:spMk id="134" creationId="{B2D44EE1-B15C-4463-8E05-2A1954C1E647}"/>
          </ac:spMkLst>
        </pc:spChg>
        <pc:spChg chg="del mod">
          <ac:chgData name="Mariam Daniela Tristancho Pineda (MISION TEMPORAL LTDA)" userId="a45a17f7-7950-4cb5-bfab-f5c894f959a9" providerId="ADAL" clId="{1440674F-A918-4BC9-A66E-0A6A8DD6A97A}" dt="2020-06-24T14:09:36.852" v="1387" actId="478"/>
          <ac:spMkLst>
            <pc:docMk/>
            <pc:sldMk cId="685398324" sldId="2134804277"/>
            <ac:spMk id="135" creationId="{94A77529-CA0E-46B5-943E-8812CDB7A78D}"/>
          </ac:spMkLst>
        </pc:spChg>
        <pc:spChg chg="del mod">
          <ac:chgData name="Mariam Daniela Tristancho Pineda (MISION TEMPORAL LTDA)" userId="a45a17f7-7950-4cb5-bfab-f5c894f959a9" providerId="ADAL" clId="{1440674F-A918-4BC9-A66E-0A6A8DD6A97A}" dt="2020-06-24T14:09:33.471" v="1386" actId="478"/>
          <ac:spMkLst>
            <pc:docMk/>
            <pc:sldMk cId="685398324" sldId="2134804277"/>
            <ac:spMk id="136" creationId="{CDAAE380-0192-4B9C-B37C-FE9CD8489A0A}"/>
          </ac:spMkLst>
        </pc:spChg>
        <pc:spChg chg="mod">
          <ac:chgData name="Mariam Daniela Tristancho Pineda (MISION TEMPORAL LTDA)" userId="a45a17f7-7950-4cb5-bfab-f5c894f959a9" providerId="ADAL" clId="{1440674F-A918-4BC9-A66E-0A6A8DD6A97A}" dt="2020-06-17T00:23:33.774" v="1109" actId="208"/>
          <ac:spMkLst>
            <pc:docMk/>
            <pc:sldMk cId="685398324" sldId="2134804277"/>
            <ac:spMk id="137" creationId="{F2F1441C-82E3-4978-ADB4-2E81AB714A12}"/>
          </ac:spMkLst>
        </pc:spChg>
        <pc:spChg chg="mod">
          <ac:chgData name="Mariam Daniela Tristancho Pineda (MISION TEMPORAL LTDA)" userId="a45a17f7-7950-4cb5-bfab-f5c894f959a9" providerId="ADAL" clId="{1440674F-A918-4BC9-A66E-0A6A8DD6A97A}" dt="2020-06-17T00:23:37.665" v="1110" actId="108"/>
          <ac:spMkLst>
            <pc:docMk/>
            <pc:sldMk cId="685398324" sldId="2134804277"/>
            <ac:spMk id="138" creationId="{B7572FF5-C3B2-41FB-AC8B-11068157874D}"/>
          </ac:spMkLst>
        </pc:spChg>
        <pc:spChg chg="mod">
          <ac:chgData name="Mariam Daniela Tristancho Pineda (MISION TEMPORAL LTDA)" userId="a45a17f7-7950-4cb5-bfab-f5c894f959a9" providerId="ADAL" clId="{1440674F-A918-4BC9-A66E-0A6A8DD6A97A}" dt="2020-06-17T00:23:39.503" v="1111" actId="108"/>
          <ac:spMkLst>
            <pc:docMk/>
            <pc:sldMk cId="685398324" sldId="2134804277"/>
            <ac:spMk id="139" creationId="{2227F15F-B01E-49E7-B6F1-35FB55117734}"/>
          </ac:spMkLst>
        </pc:spChg>
        <pc:spChg chg="mod">
          <ac:chgData name="Mariam Daniela Tristancho Pineda (MISION TEMPORAL LTDA)" userId="a45a17f7-7950-4cb5-bfab-f5c894f959a9" providerId="ADAL" clId="{1440674F-A918-4BC9-A66E-0A6A8DD6A97A}" dt="2020-06-24T15:05:45.879" v="2392" actId="1035"/>
          <ac:spMkLst>
            <pc:docMk/>
            <pc:sldMk cId="685398324" sldId="2134804277"/>
            <ac:spMk id="140" creationId="{2062ABD7-3E18-481C-BE0F-59304E710CAD}"/>
          </ac:spMkLst>
        </pc:spChg>
        <pc:spChg chg="mod">
          <ac:chgData name="Mariam Daniela Tristancho Pineda (MISION TEMPORAL LTDA)" userId="a45a17f7-7950-4cb5-bfab-f5c894f959a9" providerId="ADAL" clId="{1440674F-A918-4BC9-A66E-0A6A8DD6A97A}" dt="2020-06-24T14:54:02.675" v="2125" actId="12788"/>
          <ac:spMkLst>
            <pc:docMk/>
            <pc:sldMk cId="685398324" sldId="2134804277"/>
            <ac:spMk id="141" creationId="{6DFBB2A7-5F2D-4D91-9156-98CB032BD858}"/>
          </ac:spMkLst>
        </pc:spChg>
        <pc:spChg chg="mod">
          <ac:chgData name="Mariam Daniela Tristancho Pineda (MISION TEMPORAL LTDA)" userId="a45a17f7-7950-4cb5-bfab-f5c894f959a9" providerId="ADAL" clId="{1440674F-A918-4BC9-A66E-0A6A8DD6A97A}" dt="2020-06-24T14:53:58.957" v="2124" actId="12788"/>
          <ac:spMkLst>
            <pc:docMk/>
            <pc:sldMk cId="685398324" sldId="2134804277"/>
            <ac:spMk id="142" creationId="{9660C67C-C249-4C29-87B1-2E22B67DE74F}"/>
          </ac:spMkLst>
        </pc:spChg>
        <pc:spChg chg="add del mod">
          <ac:chgData name="Mariam Daniela Tristancho Pineda (MISION TEMPORAL LTDA)" userId="a45a17f7-7950-4cb5-bfab-f5c894f959a9" providerId="ADAL" clId="{1440674F-A918-4BC9-A66E-0A6A8DD6A97A}" dt="2020-06-24T15:01:03.720" v="2227" actId="1076"/>
          <ac:spMkLst>
            <pc:docMk/>
            <pc:sldMk cId="685398324" sldId="2134804277"/>
            <ac:spMk id="143" creationId="{92043131-3755-4946-AA99-1BAB416E79D7}"/>
          </ac:spMkLst>
        </pc:spChg>
        <pc:spChg chg="mod">
          <ac:chgData name="Mariam Daniela Tristancho Pineda (MISION TEMPORAL LTDA)" userId="a45a17f7-7950-4cb5-bfab-f5c894f959a9" providerId="ADAL" clId="{1440674F-A918-4BC9-A66E-0A6A8DD6A97A}" dt="2020-06-24T14:53:47.891" v="2122" actId="12788"/>
          <ac:spMkLst>
            <pc:docMk/>
            <pc:sldMk cId="685398324" sldId="2134804277"/>
            <ac:spMk id="144" creationId="{25AF8D90-7CF9-4004-AFE7-8FD9BCD562C6}"/>
          </ac:spMkLst>
        </pc:spChg>
        <pc:spChg chg="mod">
          <ac:chgData name="Mariam Daniela Tristancho Pineda (MISION TEMPORAL LTDA)" userId="a45a17f7-7950-4cb5-bfab-f5c894f959a9" providerId="ADAL" clId="{1440674F-A918-4BC9-A66E-0A6A8DD6A97A}" dt="2020-06-24T14:53:47.891" v="2122" actId="12788"/>
          <ac:spMkLst>
            <pc:docMk/>
            <pc:sldMk cId="685398324" sldId="2134804277"/>
            <ac:spMk id="145" creationId="{1FACAF7C-6304-4959-827F-E5EC80E0E805}"/>
          </ac:spMkLst>
        </pc:spChg>
        <pc:spChg chg="mod">
          <ac:chgData name="Mariam Daniela Tristancho Pineda (MISION TEMPORAL LTDA)" userId="a45a17f7-7950-4cb5-bfab-f5c894f959a9" providerId="ADAL" clId="{1440674F-A918-4BC9-A66E-0A6A8DD6A97A}" dt="2020-06-24T14:54:09.853" v="2129" actId="1038"/>
          <ac:spMkLst>
            <pc:docMk/>
            <pc:sldMk cId="685398324" sldId="2134804277"/>
            <ac:spMk id="146" creationId="{D86974CC-32BF-439F-A6E2-D1E82520294D}"/>
          </ac:spMkLst>
        </pc:spChg>
        <pc:spChg chg="mod">
          <ac:chgData name="Mariam Daniela Tristancho Pineda (MISION TEMPORAL LTDA)" userId="a45a17f7-7950-4cb5-bfab-f5c894f959a9" providerId="ADAL" clId="{1440674F-A918-4BC9-A66E-0A6A8DD6A97A}" dt="2020-06-24T14:54:09.853" v="2129" actId="1038"/>
          <ac:spMkLst>
            <pc:docMk/>
            <pc:sldMk cId="685398324" sldId="2134804277"/>
            <ac:spMk id="147" creationId="{58F0CDC2-9414-439E-A3CB-C4B6F7ADCE1B}"/>
          </ac:spMkLst>
        </pc:spChg>
        <pc:spChg chg="del mod">
          <ac:chgData name="Mariam Daniela Tristancho Pineda (MISION TEMPORAL LTDA)" userId="a45a17f7-7950-4cb5-bfab-f5c894f959a9" providerId="ADAL" clId="{1440674F-A918-4BC9-A66E-0A6A8DD6A97A}" dt="2020-06-24T14:08:36.334" v="1375" actId="21"/>
          <ac:spMkLst>
            <pc:docMk/>
            <pc:sldMk cId="685398324" sldId="2134804277"/>
            <ac:spMk id="148" creationId="{3D0EFFEA-E9FE-4053-B9D8-C9F8D8881270}"/>
          </ac:spMkLst>
        </pc:spChg>
        <pc:spChg chg="mod">
          <ac:chgData name="Mariam Daniela Tristancho Pineda (MISION TEMPORAL LTDA)" userId="a45a17f7-7950-4cb5-bfab-f5c894f959a9" providerId="ADAL" clId="{1440674F-A918-4BC9-A66E-0A6A8DD6A97A}" dt="2020-06-24T15:03:48.462" v="2256" actId="20577"/>
          <ac:spMkLst>
            <pc:docMk/>
            <pc:sldMk cId="685398324" sldId="2134804277"/>
            <ac:spMk id="149" creationId="{7DD301E2-FD8B-473E-AC06-7B1BEE6BC359}"/>
          </ac:spMkLst>
        </pc:spChg>
        <pc:spChg chg="add del mod">
          <ac:chgData name="Mariam Daniela Tristancho Pineda (MISION TEMPORAL LTDA)" userId="a45a17f7-7950-4cb5-bfab-f5c894f959a9" providerId="ADAL" clId="{1440674F-A918-4BC9-A66E-0A6A8DD6A97A}" dt="2020-06-24T15:00:52.921" v="2219" actId="1076"/>
          <ac:spMkLst>
            <pc:docMk/>
            <pc:sldMk cId="685398324" sldId="2134804277"/>
            <ac:spMk id="150" creationId="{18B0FAF4-B25E-430A-B44F-BB89581DF8C7}"/>
          </ac:spMkLst>
        </pc:spChg>
        <pc:spChg chg="mod">
          <ac:chgData name="Mariam Daniela Tristancho Pineda (MISION TEMPORAL LTDA)" userId="a45a17f7-7950-4cb5-bfab-f5c894f959a9" providerId="ADAL" clId="{1440674F-A918-4BC9-A66E-0A6A8DD6A97A}" dt="2020-06-24T15:01:55.792" v="2231" actId="1076"/>
          <ac:spMkLst>
            <pc:docMk/>
            <pc:sldMk cId="685398324" sldId="2134804277"/>
            <ac:spMk id="151" creationId="{6759F741-D2BA-47AD-9BE9-B5F911C114F3}"/>
          </ac:spMkLst>
        </pc:spChg>
        <pc:spChg chg="mod">
          <ac:chgData name="Mariam Daniela Tristancho Pineda (MISION TEMPORAL LTDA)" userId="a45a17f7-7950-4cb5-bfab-f5c894f959a9" providerId="ADAL" clId="{1440674F-A918-4BC9-A66E-0A6A8DD6A97A}" dt="2020-06-17T00:01:17.504" v="875" actId="1035"/>
          <ac:spMkLst>
            <pc:docMk/>
            <pc:sldMk cId="685398324" sldId="2134804277"/>
            <ac:spMk id="152" creationId="{7A395937-9DFA-4F55-91C6-913660069E89}"/>
          </ac:spMkLst>
        </pc:spChg>
        <pc:spChg chg="mod">
          <ac:chgData name="Mariam Daniela Tristancho Pineda (MISION TEMPORAL LTDA)" userId="a45a17f7-7950-4cb5-bfab-f5c894f959a9" providerId="ADAL" clId="{1440674F-A918-4BC9-A66E-0A6A8DD6A97A}" dt="2020-06-17T00:26:30.319" v="1177" actId="6549"/>
          <ac:spMkLst>
            <pc:docMk/>
            <pc:sldMk cId="685398324" sldId="2134804277"/>
            <ac:spMk id="153" creationId="{4D3DF7EF-4C67-47D9-B3B2-1EE8EBA2B408}"/>
          </ac:spMkLst>
        </pc:spChg>
        <pc:spChg chg="mod">
          <ac:chgData name="Mariam Daniela Tristancho Pineda (MISION TEMPORAL LTDA)" userId="a45a17f7-7950-4cb5-bfab-f5c894f959a9" providerId="ADAL" clId="{1440674F-A918-4BC9-A66E-0A6A8DD6A97A}" dt="2020-06-24T15:03:57.672" v="2259" actId="1076"/>
          <ac:spMkLst>
            <pc:docMk/>
            <pc:sldMk cId="685398324" sldId="2134804277"/>
            <ac:spMk id="154" creationId="{7CCA0A5A-A0E7-4CFD-87B3-1917D7D6D482}"/>
          </ac:spMkLst>
        </pc:spChg>
        <pc:spChg chg="mod">
          <ac:chgData name="Mariam Daniela Tristancho Pineda (MISION TEMPORAL LTDA)" userId="a45a17f7-7950-4cb5-bfab-f5c894f959a9" providerId="ADAL" clId="{1440674F-A918-4BC9-A66E-0A6A8DD6A97A}" dt="2020-06-24T14:52:24.039" v="2116" actId="1038"/>
          <ac:spMkLst>
            <pc:docMk/>
            <pc:sldMk cId="685398324" sldId="2134804277"/>
            <ac:spMk id="155" creationId="{35F89E97-6F48-4EEF-A953-195B7A0A5828}"/>
          </ac:spMkLst>
        </pc:spChg>
        <pc:spChg chg="add mod">
          <ac:chgData name="Mariam Daniela Tristancho Pineda (MISION TEMPORAL LTDA)" userId="a45a17f7-7950-4cb5-bfab-f5c894f959a9" providerId="ADAL" clId="{1440674F-A918-4BC9-A66E-0A6A8DD6A97A}" dt="2020-06-24T15:02:18.519" v="2237" actId="20577"/>
          <ac:spMkLst>
            <pc:docMk/>
            <pc:sldMk cId="685398324" sldId="2134804277"/>
            <ac:spMk id="157" creationId="{1F1CC25B-2BA4-4BD5-BA03-F2FA6AE36939}"/>
          </ac:spMkLst>
        </pc:spChg>
        <pc:spChg chg="add mod">
          <ac:chgData name="Mariam Daniela Tristancho Pineda (MISION TEMPORAL LTDA)" userId="a45a17f7-7950-4cb5-bfab-f5c894f959a9" providerId="ADAL" clId="{1440674F-A918-4BC9-A66E-0A6A8DD6A97A}" dt="2020-06-24T15:05:34.817" v="2390" actId="1076"/>
          <ac:spMkLst>
            <pc:docMk/>
            <pc:sldMk cId="685398324" sldId="2134804277"/>
            <ac:spMk id="158" creationId="{7580C1C1-1118-4E58-9C3A-0048861203FA}"/>
          </ac:spMkLst>
        </pc:spChg>
        <pc:spChg chg="mod">
          <ac:chgData name="Mariam Daniela Tristancho Pineda (MISION TEMPORAL LTDA)" userId="a45a17f7-7950-4cb5-bfab-f5c894f959a9" providerId="ADAL" clId="{1440674F-A918-4BC9-A66E-0A6A8DD6A97A}" dt="2020-06-24T15:04:43.175" v="2366" actId="1076"/>
          <ac:spMkLst>
            <pc:docMk/>
            <pc:sldMk cId="685398324" sldId="2134804277"/>
            <ac:spMk id="165" creationId="{5ECB6BAB-01A4-4031-AFF5-666CA1F7C303}"/>
          </ac:spMkLst>
        </pc:spChg>
        <pc:spChg chg="mod">
          <ac:chgData name="Mariam Daniela Tristancho Pineda (MISION TEMPORAL LTDA)" userId="a45a17f7-7950-4cb5-bfab-f5c894f959a9" providerId="ADAL" clId="{1440674F-A918-4BC9-A66E-0A6A8DD6A97A}" dt="2020-06-24T15:02:58.455" v="2252" actId="20577"/>
          <ac:spMkLst>
            <pc:docMk/>
            <pc:sldMk cId="685398324" sldId="2134804277"/>
            <ac:spMk id="166" creationId="{D622807D-0029-496D-9FF0-3E3E825043ED}"/>
          </ac:spMkLst>
        </pc:spChg>
        <pc:spChg chg="mod">
          <ac:chgData name="Mariam Daniela Tristancho Pineda (MISION TEMPORAL LTDA)" userId="a45a17f7-7950-4cb5-bfab-f5c894f959a9" providerId="ADAL" clId="{1440674F-A918-4BC9-A66E-0A6A8DD6A97A}" dt="2020-06-24T15:04:43.175" v="2366" actId="1076"/>
          <ac:spMkLst>
            <pc:docMk/>
            <pc:sldMk cId="685398324" sldId="2134804277"/>
            <ac:spMk id="167" creationId="{775B6AE0-CB44-4723-A497-8EAECD1943BD}"/>
          </ac:spMkLst>
        </pc:spChg>
        <pc:spChg chg="mod">
          <ac:chgData name="Mariam Daniela Tristancho Pineda (MISION TEMPORAL LTDA)" userId="a45a17f7-7950-4cb5-bfab-f5c894f959a9" providerId="ADAL" clId="{1440674F-A918-4BC9-A66E-0A6A8DD6A97A}" dt="2020-06-24T15:04:45.242" v="2368" actId="1037"/>
          <ac:spMkLst>
            <pc:docMk/>
            <pc:sldMk cId="685398324" sldId="2134804277"/>
            <ac:spMk id="168" creationId="{27CE3CF4-8552-4668-8C92-72492F9C7EDE}"/>
          </ac:spMkLst>
        </pc:spChg>
        <pc:spChg chg="del mod">
          <ac:chgData name="Mariam Daniela Tristancho Pineda (MISION TEMPORAL LTDA)" userId="a45a17f7-7950-4cb5-bfab-f5c894f959a9" providerId="ADAL" clId="{1440674F-A918-4BC9-A66E-0A6A8DD6A97A}" dt="2020-06-24T14:09:03.602" v="1379" actId="21"/>
          <ac:spMkLst>
            <pc:docMk/>
            <pc:sldMk cId="685398324" sldId="2134804277"/>
            <ac:spMk id="169" creationId="{815661F8-4E4B-455A-B8FB-8F4E2F66C8A0}"/>
          </ac:spMkLst>
        </pc:spChg>
        <pc:spChg chg="del">
          <ac:chgData name="Mariam Daniela Tristancho Pineda (MISION TEMPORAL LTDA)" userId="a45a17f7-7950-4cb5-bfab-f5c894f959a9" providerId="ADAL" clId="{1440674F-A918-4BC9-A66E-0A6A8DD6A97A}" dt="2020-06-24T14:10:05.881" v="1391" actId="478"/>
          <ac:spMkLst>
            <pc:docMk/>
            <pc:sldMk cId="685398324" sldId="2134804277"/>
            <ac:spMk id="170" creationId="{B2F3BBE0-6656-46AE-B393-9E0F8F4D849B}"/>
          </ac:spMkLst>
        </pc:spChg>
        <pc:spChg chg="del">
          <ac:chgData name="Mariam Daniela Tristancho Pineda (MISION TEMPORAL LTDA)" userId="a45a17f7-7950-4cb5-bfab-f5c894f959a9" providerId="ADAL" clId="{1440674F-A918-4BC9-A66E-0A6A8DD6A97A}" dt="2020-06-24T14:10:05.135" v="1390" actId="478"/>
          <ac:spMkLst>
            <pc:docMk/>
            <pc:sldMk cId="685398324" sldId="2134804277"/>
            <ac:spMk id="171" creationId="{E70F20BE-E504-47E7-80A0-49DF0D1CB34F}"/>
          </ac:spMkLst>
        </pc:spChg>
        <pc:spChg chg="del mod">
          <ac:chgData name="Mariam Daniela Tristancho Pineda (MISION TEMPORAL LTDA)" userId="a45a17f7-7950-4cb5-bfab-f5c894f959a9" providerId="ADAL" clId="{1440674F-A918-4BC9-A66E-0A6A8DD6A97A}" dt="2020-06-24T14:09:03.602" v="1379" actId="21"/>
          <ac:spMkLst>
            <pc:docMk/>
            <pc:sldMk cId="685398324" sldId="2134804277"/>
            <ac:spMk id="172" creationId="{170F7383-CBE6-4527-BD9C-0DABD3EFC817}"/>
          </ac:spMkLst>
        </pc:spChg>
        <pc:spChg chg="del mod">
          <ac:chgData name="Mariam Daniela Tristancho Pineda (MISION TEMPORAL LTDA)" userId="a45a17f7-7950-4cb5-bfab-f5c894f959a9" providerId="ADAL" clId="{1440674F-A918-4BC9-A66E-0A6A8DD6A97A}" dt="2020-06-24T14:09:03.602" v="1379" actId="21"/>
          <ac:spMkLst>
            <pc:docMk/>
            <pc:sldMk cId="685398324" sldId="2134804277"/>
            <ac:spMk id="174" creationId="{DC1FC889-7C64-4E13-8CA3-F2AA0C731F2C}"/>
          </ac:spMkLst>
        </pc:spChg>
        <pc:spChg chg="mod">
          <ac:chgData name="Mariam Daniela Tristancho Pineda (MISION TEMPORAL LTDA)" userId="a45a17f7-7950-4cb5-bfab-f5c894f959a9" providerId="ADAL" clId="{1440674F-A918-4BC9-A66E-0A6A8DD6A97A}" dt="2020-06-24T14:13:03.925" v="1418" actId="14100"/>
          <ac:spMkLst>
            <pc:docMk/>
            <pc:sldMk cId="685398324" sldId="2134804277"/>
            <ac:spMk id="175" creationId="{C6A85CE0-D516-4D47-80B2-B2B61C459D20}"/>
          </ac:spMkLst>
        </pc:spChg>
      </pc:sldChg>
      <pc:sldChg chg="addSp modSp mod">
        <pc:chgData name="Mariam Daniela Tristancho Pineda (MISION TEMPORAL LTDA)" userId="a45a17f7-7950-4cb5-bfab-f5c894f959a9" providerId="ADAL" clId="{1440674F-A918-4BC9-A66E-0A6A8DD6A97A}" dt="2020-06-16T21:14:31.880" v="243" actId="1076"/>
        <pc:sldMkLst>
          <pc:docMk/>
          <pc:sldMk cId="3831308622" sldId="2134804279"/>
        </pc:sldMkLst>
        <pc:spChg chg="mod">
          <ac:chgData name="Mariam Daniela Tristancho Pineda (MISION TEMPORAL LTDA)" userId="a45a17f7-7950-4cb5-bfab-f5c894f959a9" providerId="ADAL" clId="{1440674F-A918-4BC9-A66E-0A6A8DD6A97A}" dt="2020-06-16T21:14:09.188" v="239" actId="404"/>
          <ac:spMkLst>
            <pc:docMk/>
            <pc:sldMk cId="3831308622" sldId="2134804279"/>
            <ac:spMk id="8" creationId="{E1D3488A-08B6-49AA-A393-579F2EBB08DA}"/>
          </ac:spMkLst>
        </pc:spChg>
        <pc:spChg chg="add mod">
          <ac:chgData name="Mariam Daniela Tristancho Pineda (MISION TEMPORAL LTDA)" userId="a45a17f7-7950-4cb5-bfab-f5c894f959a9" providerId="ADAL" clId="{1440674F-A918-4BC9-A66E-0A6A8DD6A97A}" dt="2020-06-16T21:14:25.997" v="241" actId="1076"/>
          <ac:spMkLst>
            <pc:docMk/>
            <pc:sldMk cId="3831308622" sldId="2134804279"/>
            <ac:spMk id="15" creationId="{59AA0F43-31F0-4E03-B7EA-E108DEA265BA}"/>
          </ac:spMkLst>
        </pc:spChg>
        <pc:picChg chg="add mod">
          <ac:chgData name="Mariam Daniela Tristancho Pineda (MISION TEMPORAL LTDA)" userId="a45a17f7-7950-4cb5-bfab-f5c894f959a9" providerId="ADAL" clId="{1440674F-A918-4BC9-A66E-0A6A8DD6A97A}" dt="2020-06-16T21:14:31.880" v="243" actId="1076"/>
          <ac:picMkLst>
            <pc:docMk/>
            <pc:sldMk cId="3831308622" sldId="2134804279"/>
            <ac:picMk id="17" creationId="{53408C8D-C286-4C5B-8116-FF2B292DBE06}"/>
          </ac:picMkLst>
        </pc:picChg>
        <pc:picChg chg="add mod">
          <ac:chgData name="Mariam Daniela Tristancho Pineda (MISION TEMPORAL LTDA)" userId="a45a17f7-7950-4cb5-bfab-f5c894f959a9" providerId="ADAL" clId="{1440674F-A918-4BC9-A66E-0A6A8DD6A97A}" dt="2020-06-16T21:14:28.483" v="242" actId="1076"/>
          <ac:picMkLst>
            <pc:docMk/>
            <pc:sldMk cId="3831308622" sldId="2134804279"/>
            <ac:picMk id="18" creationId="{CFB0A51A-883E-4269-9A8D-DD4D063D8711}"/>
          </ac:picMkLst>
        </pc:picChg>
      </pc:sldChg>
      <pc:sldChg chg="modSp mod">
        <pc:chgData name="Mariam Daniela Tristancho Pineda (MISION TEMPORAL LTDA)" userId="a45a17f7-7950-4cb5-bfab-f5c894f959a9" providerId="ADAL" clId="{1440674F-A918-4BC9-A66E-0A6A8DD6A97A}" dt="2020-06-25T21:50:41.519" v="2685" actId="12"/>
        <pc:sldMkLst>
          <pc:docMk/>
          <pc:sldMk cId="383958496" sldId="2134804281"/>
        </pc:sldMkLst>
        <pc:spChg chg="mod">
          <ac:chgData name="Mariam Daniela Tristancho Pineda (MISION TEMPORAL LTDA)" userId="a45a17f7-7950-4cb5-bfab-f5c894f959a9" providerId="ADAL" clId="{1440674F-A918-4BC9-A66E-0A6A8DD6A97A}" dt="2020-06-25T21:50:41.519" v="2685" actId="12"/>
          <ac:spMkLst>
            <pc:docMk/>
            <pc:sldMk cId="383958496" sldId="2134804281"/>
            <ac:spMk id="4" creationId="{9B0CE30D-625A-4CD9-98D4-3AF33243D194}"/>
          </ac:spMkLst>
        </pc:spChg>
        <pc:spChg chg="mod">
          <ac:chgData name="Mariam Daniela Tristancho Pineda (MISION TEMPORAL LTDA)" userId="a45a17f7-7950-4cb5-bfab-f5c894f959a9" providerId="ADAL" clId="{1440674F-A918-4BC9-A66E-0A6A8DD6A97A}" dt="2020-06-24T15:07:58.685" v="2478" actId="20577"/>
          <ac:spMkLst>
            <pc:docMk/>
            <pc:sldMk cId="383958496" sldId="2134804281"/>
            <ac:spMk id="12" creationId="{96C9E76C-8C7F-489D-82CB-B2BD03852707}"/>
          </ac:spMkLst>
        </pc:spChg>
        <pc:spChg chg="mod">
          <ac:chgData name="Mariam Daniela Tristancho Pineda (MISION TEMPORAL LTDA)" userId="a45a17f7-7950-4cb5-bfab-f5c894f959a9" providerId="ADAL" clId="{1440674F-A918-4BC9-A66E-0A6A8DD6A97A}" dt="2020-06-25T21:50:28.381" v="2683" actId="14100"/>
          <ac:spMkLst>
            <pc:docMk/>
            <pc:sldMk cId="383958496" sldId="2134804281"/>
            <ac:spMk id="32" creationId="{2024A44D-6779-4D28-8793-5679E8EF3B12}"/>
          </ac:spMkLst>
        </pc:spChg>
        <pc:spChg chg="mod">
          <ac:chgData name="Mariam Daniela Tristancho Pineda (MISION TEMPORAL LTDA)" userId="a45a17f7-7950-4cb5-bfab-f5c894f959a9" providerId="ADAL" clId="{1440674F-A918-4BC9-A66E-0A6A8DD6A97A}" dt="2020-06-24T15:07:02.602" v="2453" actId="20577"/>
          <ac:spMkLst>
            <pc:docMk/>
            <pc:sldMk cId="383958496" sldId="2134804281"/>
            <ac:spMk id="33" creationId="{257A51C8-EB6E-4CAA-8ED7-3E4E7C0B3A8A}"/>
          </ac:spMkLst>
        </pc:spChg>
        <pc:spChg chg="mod">
          <ac:chgData name="Mariam Daniela Tristancho Pineda (MISION TEMPORAL LTDA)" userId="a45a17f7-7950-4cb5-bfab-f5c894f959a9" providerId="ADAL" clId="{1440674F-A918-4BC9-A66E-0A6A8DD6A97A}" dt="2020-06-24T15:07:21.532" v="2458" actId="20577"/>
          <ac:spMkLst>
            <pc:docMk/>
            <pc:sldMk cId="383958496" sldId="2134804281"/>
            <ac:spMk id="43" creationId="{E717706E-1A55-49C0-B079-6DE218F95FC7}"/>
          </ac:spMkLst>
        </pc:spChg>
        <pc:spChg chg="mod">
          <ac:chgData name="Mariam Daniela Tristancho Pineda (MISION TEMPORAL LTDA)" userId="a45a17f7-7950-4cb5-bfab-f5c894f959a9" providerId="ADAL" clId="{1440674F-A918-4BC9-A66E-0A6A8DD6A97A}" dt="2020-06-24T15:07:41.450" v="2466" actId="113"/>
          <ac:spMkLst>
            <pc:docMk/>
            <pc:sldMk cId="383958496" sldId="2134804281"/>
            <ac:spMk id="59" creationId="{59ACAE5A-D20F-4C0C-AF16-1F585FF5F4FE}"/>
          </ac:spMkLst>
        </pc:spChg>
        <pc:graphicFrameChg chg="modGraphic">
          <ac:chgData name="Mariam Daniela Tristancho Pineda (MISION TEMPORAL LTDA)" userId="a45a17f7-7950-4cb5-bfab-f5c894f959a9" providerId="ADAL" clId="{1440674F-A918-4BC9-A66E-0A6A8DD6A97A}" dt="2020-06-25T21:49:52.371" v="2566" actId="20577"/>
          <ac:graphicFrameMkLst>
            <pc:docMk/>
            <pc:sldMk cId="383958496" sldId="2134804281"/>
            <ac:graphicFrameMk id="8" creationId="{4BC9CEDC-F82B-45AF-A5D9-6BBEFDB86658}"/>
          </ac:graphicFrameMkLst>
        </pc:graphicFrameChg>
        <pc:graphicFrameChg chg="mod">
          <ac:chgData name="Mariam Daniela Tristancho Pineda (MISION TEMPORAL LTDA)" userId="a45a17f7-7950-4cb5-bfab-f5c894f959a9" providerId="ADAL" clId="{1440674F-A918-4BC9-A66E-0A6A8DD6A97A}" dt="2020-06-24T15:07:45.056" v="2470" actId="20577"/>
          <ac:graphicFrameMkLst>
            <pc:docMk/>
            <pc:sldMk cId="383958496" sldId="2134804281"/>
            <ac:graphicFrameMk id="34" creationId="{02B2869B-7E4D-490B-8846-042149DA7C69}"/>
          </ac:graphicFrameMkLst>
        </pc:graphicFrameChg>
        <pc:graphicFrameChg chg="mod">
          <ac:chgData name="Mariam Daniela Tristancho Pineda (MISION TEMPORAL LTDA)" userId="a45a17f7-7950-4cb5-bfab-f5c894f959a9" providerId="ADAL" clId="{1440674F-A918-4BC9-A66E-0A6A8DD6A97A}" dt="2020-06-24T15:07:26.832" v="2462" actId="20577"/>
          <ac:graphicFrameMkLst>
            <pc:docMk/>
            <pc:sldMk cId="383958496" sldId="2134804281"/>
            <ac:graphicFrameMk id="42" creationId="{F76758D9-DF29-4C65-8046-FB9AE5C702A6}"/>
          </ac:graphicFrameMkLst>
        </pc:graphicFrameChg>
        <pc:graphicFrameChg chg="mod">
          <ac:chgData name="Mariam Daniela Tristancho Pineda (MISION TEMPORAL LTDA)" userId="a45a17f7-7950-4cb5-bfab-f5c894f959a9" providerId="ADAL" clId="{1440674F-A918-4BC9-A66E-0A6A8DD6A97A}" dt="2020-06-24T15:07:13.526" v="2455" actId="6549"/>
          <ac:graphicFrameMkLst>
            <pc:docMk/>
            <pc:sldMk cId="383958496" sldId="2134804281"/>
            <ac:graphicFrameMk id="49" creationId="{F9FEDD4D-029E-496C-B3C1-822EC9768199}"/>
          </ac:graphicFrameMkLst>
        </pc:graphicFrameChg>
      </pc:sldChg>
      <pc:sldChg chg="modSp mod">
        <pc:chgData name="Mariam Daniela Tristancho Pineda (MISION TEMPORAL LTDA)" userId="a45a17f7-7950-4cb5-bfab-f5c894f959a9" providerId="ADAL" clId="{1440674F-A918-4BC9-A66E-0A6A8DD6A97A}" dt="2020-06-24T15:10:22.904" v="2507" actId="1076"/>
        <pc:sldMkLst>
          <pc:docMk/>
          <pc:sldMk cId="4094272692" sldId="2134804282"/>
        </pc:sldMkLst>
        <pc:spChg chg="mod">
          <ac:chgData name="Mariam Daniela Tristancho Pineda (MISION TEMPORAL LTDA)" userId="a45a17f7-7950-4cb5-bfab-f5c894f959a9" providerId="ADAL" clId="{1440674F-A918-4BC9-A66E-0A6A8DD6A97A}" dt="2020-06-24T15:09:27.444" v="2503" actId="20577"/>
          <ac:spMkLst>
            <pc:docMk/>
            <pc:sldMk cId="4094272692" sldId="2134804282"/>
            <ac:spMk id="4" creationId="{9B0CE30D-625A-4CD9-98D4-3AF33243D194}"/>
          </ac:spMkLst>
        </pc:spChg>
        <pc:spChg chg="mod">
          <ac:chgData name="Mariam Daniela Tristancho Pineda (MISION TEMPORAL LTDA)" userId="a45a17f7-7950-4cb5-bfab-f5c894f959a9" providerId="ADAL" clId="{1440674F-A918-4BC9-A66E-0A6A8DD6A97A}" dt="2020-06-24T15:08:23.459" v="2481" actId="20577"/>
          <ac:spMkLst>
            <pc:docMk/>
            <pc:sldMk cId="4094272692" sldId="2134804282"/>
            <ac:spMk id="12" creationId="{96C9E76C-8C7F-489D-82CB-B2BD03852707}"/>
          </ac:spMkLst>
        </pc:spChg>
        <pc:spChg chg="mod">
          <ac:chgData name="Mariam Daniela Tristancho Pineda (MISION TEMPORAL LTDA)" userId="a45a17f7-7950-4cb5-bfab-f5c894f959a9" providerId="ADAL" clId="{1440674F-A918-4BC9-A66E-0A6A8DD6A97A}" dt="2020-06-24T15:10:22.904" v="2507" actId="1076"/>
          <ac:spMkLst>
            <pc:docMk/>
            <pc:sldMk cId="4094272692" sldId="2134804282"/>
            <ac:spMk id="44" creationId="{9FBCC2B1-7BBD-49DB-AA42-86668C42B934}"/>
          </ac:spMkLst>
        </pc:spChg>
        <pc:spChg chg="mod">
          <ac:chgData name="Mariam Daniela Tristancho Pineda (MISION TEMPORAL LTDA)" userId="a45a17f7-7950-4cb5-bfab-f5c894f959a9" providerId="ADAL" clId="{1440674F-A918-4BC9-A66E-0A6A8DD6A97A}" dt="2020-06-24T15:10:17.329" v="2506" actId="113"/>
          <ac:spMkLst>
            <pc:docMk/>
            <pc:sldMk cId="4094272692" sldId="2134804282"/>
            <ac:spMk id="49" creationId="{150C8A9D-7063-459B-9C87-747B1378F2F6}"/>
          </ac:spMkLst>
        </pc:spChg>
        <pc:spChg chg="mod">
          <ac:chgData name="Mariam Daniela Tristancho Pineda (MISION TEMPORAL LTDA)" userId="a45a17f7-7950-4cb5-bfab-f5c894f959a9" providerId="ADAL" clId="{1440674F-A918-4BC9-A66E-0A6A8DD6A97A}" dt="2020-06-24T15:09:32.296" v="2504" actId="1076"/>
          <ac:spMkLst>
            <pc:docMk/>
            <pc:sldMk cId="4094272692" sldId="2134804282"/>
            <ac:spMk id="70" creationId="{6090A16D-2FA3-4FF9-BD76-94350261A023}"/>
          </ac:spMkLst>
        </pc:spChg>
        <pc:graphicFrameChg chg="modGraphic">
          <ac:chgData name="Mariam Daniela Tristancho Pineda (MISION TEMPORAL LTDA)" userId="a45a17f7-7950-4cb5-bfab-f5c894f959a9" providerId="ADAL" clId="{1440674F-A918-4BC9-A66E-0A6A8DD6A97A}" dt="2020-06-16T16:39:43.896" v="78" actId="20577"/>
          <ac:graphicFrameMkLst>
            <pc:docMk/>
            <pc:sldMk cId="4094272692" sldId="2134804282"/>
            <ac:graphicFrameMk id="6" creationId="{696E929C-842E-4A14-B3B2-9D0BBEE92173}"/>
          </ac:graphicFrameMkLst>
        </pc:graphicFrameChg>
        <pc:graphicFrameChg chg="modGraphic">
          <ac:chgData name="Mariam Daniela Tristancho Pineda (MISION TEMPORAL LTDA)" userId="a45a17f7-7950-4cb5-bfab-f5c894f959a9" providerId="ADAL" clId="{1440674F-A918-4BC9-A66E-0A6A8DD6A97A}" dt="2020-06-24T15:08:19.904" v="2479" actId="2165"/>
          <ac:graphicFrameMkLst>
            <pc:docMk/>
            <pc:sldMk cId="4094272692" sldId="2134804282"/>
            <ac:graphicFrameMk id="8" creationId="{9EAC8BE2-E9F7-49C2-9B40-7EF667D4FE82}"/>
          </ac:graphicFrameMkLst>
        </pc:graphicFrameChg>
        <pc:graphicFrameChg chg="mod">
          <ac:chgData name="Mariam Daniela Tristancho Pineda (MISION TEMPORAL LTDA)" userId="a45a17f7-7950-4cb5-bfab-f5c894f959a9" providerId="ADAL" clId="{1440674F-A918-4BC9-A66E-0A6A8DD6A97A}" dt="2020-06-24T15:08:34.402" v="2484" actId="20577"/>
          <ac:graphicFrameMkLst>
            <pc:docMk/>
            <pc:sldMk cId="4094272692" sldId="2134804282"/>
            <ac:graphicFrameMk id="35" creationId="{5B566B40-A4EF-4944-BD58-170A46172CD8}"/>
          </ac:graphicFrameMkLst>
        </pc:graphicFrameChg>
        <pc:graphicFrameChg chg="mod">
          <ac:chgData name="Mariam Daniela Tristancho Pineda (MISION TEMPORAL LTDA)" userId="a45a17f7-7950-4cb5-bfab-f5c894f959a9" providerId="ADAL" clId="{1440674F-A918-4BC9-A66E-0A6A8DD6A97A}" dt="2020-06-24T15:08:49.845" v="2488" actId="20577"/>
          <ac:graphicFrameMkLst>
            <pc:docMk/>
            <pc:sldMk cId="4094272692" sldId="2134804282"/>
            <ac:graphicFrameMk id="42" creationId="{F76758D9-DF29-4C65-8046-FB9AE5C702A6}"/>
          </ac:graphicFrameMkLst>
        </pc:graphicFrameChg>
        <pc:graphicFrameChg chg="mod">
          <ac:chgData name="Mariam Daniela Tristancho Pineda (MISION TEMPORAL LTDA)" userId="a45a17f7-7950-4cb5-bfab-f5c894f959a9" providerId="ADAL" clId="{1440674F-A918-4BC9-A66E-0A6A8DD6A97A}" dt="2020-06-24T15:09:10.845" v="2492" actId="20577"/>
          <ac:graphicFrameMkLst>
            <pc:docMk/>
            <pc:sldMk cId="4094272692" sldId="2134804282"/>
            <ac:graphicFrameMk id="64" creationId="{EFBB39D2-BE31-4303-A6C1-C366E74B6A81}"/>
          </ac:graphicFrameMkLst>
        </pc:graphicFrameChg>
      </pc:sldChg>
      <pc:sldChg chg="modSp mod">
        <pc:chgData name="Mariam Daniela Tristancho Pineda (MISION TEMPORAL LTDA)" userId="a45a17f7-7950-4cb5-bfab-f5c894f959a9" providerId="ADAL" clId="{1440674F-A918-4BC9-A66E-0A6A8DD6A97A}" dt="2020-06-25T23:10:10.302" v="3140" actId="108"/>
        <pc:sldMkLst>
          <pc:docMk/>
          <pc:sldMk cId="3972105642" sldId="2134804288"/>
        </pc:sldMkLst>
        <pc:spChg chg="mod">
          <ac:chgData name="Mariam Daniela Tristancho Pineda (MISION TEMPORAL LTDA)" userId="a45a17f7-7950-4cb5-bfab-f5c894f959a9" providerId="ADAL" clId="{1440674F-A918-4BC9-A66E-0A6A8DD6A97A}" dt="2020-06-25T23:10:10.302" v="3140" actId="108"/>
          <ac:spMkLst>
            <pc:docMk/>
            <pc:sldMk cId="3972105642" sldId="2134804288"/>
            <ac:spMk id="63" creationId="{51677489-FC2B-4FD1-AEFD-56F1823C4DD5}"/>
          </ac:spMkLst>
        </pc:spChg>
      </pc:sldChg>
      <pc:sldChg chg="modSp mod">
        <pc:chgData name="Mariam Daniela Tristancho Pineda (MISION TEMPORAL LTDA)" userId="a45a17f7-7950-4cb5-bfab-f5c894f959a9" providerId="ADAL" clId="{1440674F-A918-4BC9-A66E-0A6A8DD6A97A}" dt="2020-06-16T21:04:45.069" v="82" actId="1076"/>
        <pc:sldMkLst>
          <pc:docMk/>
          <pc:sldMk cId="2228275924" sldId="2134804290"/>
        </pc:sldMkLst>
        <pc:spChg chg="mod">
          <ac:chgData name="Mariam Daniela Tristancho Pineda (MISION TEMPORAL LTDA)" userId="a45a17f7-7950-4cb5-bfab-f5c894f959a9" providerId="ADAL" clId="{1440674F-A918-4BC9-A66E-0A6A8DD6A97A}" dt="2020-06-16T21:04:41.188" v="81" actId="255"/>
          <ac:spMkLst>
            <pc:docMk/>
            <pc:sldMk cId="2228275924" sldId="2134804290"/>
            <ac:spMk id="6" creationId="{935E60B3-FFBE-4EF9-967C-09104A4E6C2E}"/>
          </ac:spMkLst>
        </pc:spChg>
        <pc:picChg chg="mod">
          <ac:chgData name="Mariam Daniela Tristancho Pineda (MISION TEMPORAL LTDA)" userId="a45a17f7-7950-4cb5-bfab-f5c894f959a9" providerId="ADAL" clId="{1440674F-A918-4BC9-A66E-0A6A8DD6A97A}" dt="2020-06-16T21:04:45.069" v="82" actId="1076"/>
          <ac:picMkLst>
            <pc:docMk/>
            <pc:sldMk cId="2228275924" sldId="2134804290"/>
            <ac:picMk id="19" creationId="{5D90D1B2-2CBD-4FED-8155-3C080DC03FC0}"/>
          </ac:picMkLst>
        </pc:picChg>
      </pc:sldChg>
      <pc:sldChg chg="addSp delSp modSp mod">
        <pc:chgData name="Mariam Daniela Tristancho Pineda (MISION TEMPORAL LTDA)" userId="a45a17f7-7950-4cb5-bfab-f5c894f959a9" providerId="ADAL" clId="{1440674F-A918-4BC9-A66E-0A6A8DD6A97A}" dt="2020-06-26T15:43:22.972" v="3655" actId="478"/>
        <pc:sldMkLst>
          <pc:docMk/>
          <pc:sldMk cId="838099151" sldId="2134804292"/>
        </pc:sldMkLst>
        <pc:spChg chg="mod">
          <ac:chgData name="Mariam Daniela Tristancho Pineda (MISION TEMPORAL LTDA)" userId="a45a17f7-7950-4cb5-bfab-f5c894f959a9" providerId="ADAL" clId="{1440674F-A918-4BC9-A66E-0A6A8DD6A97A}" dt="2020-06-26T15:26:11.678" v="3455" actId="1036"/>
          <ac:spMkLst>
            <pc:docMk/>
            <pc:sldMk cId="838099151" sldId="2134804292"/>
            <ac:spMk id="3" creationId="{815B10B7-60B3-4C63-8431-70CC556387C9}"/>
          </ac:spMkLst>
        </pc:spChg>
        <pc:spChg chg="add del mod">
          <ac:chgData name="Mariam Daniela Tristancho Pineda (MISION TEMPORAL LTDA)" userId="a45a17f7-7950-4cb5-bfab-f5c894f959a9" providerId="ADAL" clId="{1440674F-A918-4BC9-A66E-0A6A8DD6A97A}" dt="2020-06-24T14:51:06.831" v="2035" actId="1037"/>
          <ac:spMkLst>
            <pc:docMk/>
            <pc:sldMk cId="838099151" sldId="2134804292"/>
            <ac:spMk id="6" creationId="{0BDC2BE6-ED2C-45B9-B477-BD471E3E4C02}"/>
          </ac:spMkLst>
        </pc:spChg>
        <pc:spChg chg="mod">
          <ac:chgData name="Mariam Daniela Tristancho Pineda (MISION TEMPORAL LTDA)" userId="a45a17f7-7950-4cb5-bfab-f5c894f959a9" providerId="ADAL" clId="{1440674F-A918-4BC9-A66E-0A6A8DD6A97A}" dt="2020-06-16T21:05:11.237" v="85" actId="1076"/>
          <ac:spMkLst>
            <pc:docMk/>
            <pc:sldMk cId="838099151" sldId="2134804292"/>
            <ac:spMk id="7" creationId="{52FE2391-690B-4D13-B0BE-AD54BD4AFEAA}"/>
          </ac:spMkLst>
        </pc:spChg>
        <pc:spChg chg="mod">
          <ac:chgData name="Mariam Daniela Tristancho Pineda (MISION TEMPORAL LTDA)" userId="a45a17f7-7950-4cb5-bfab-f5c894f959a9" providerId="ADAL" clId="{1440674F-A918-4BC9-A66E-0A6A8DD6A97A}" dt="2020-06-24T14:51:06.831" v="2035" actId="1037"/>
          <ac:spMkLst>
            <pc:docMk/>
            <pc:sldMk cId="838099151" sldId="2134804292"/>
            <ac:spMk id="8" creationId="{DD71BF06-B04C-46D4-9585-65ACB77D82D1}"/>
          </ac:spMkLst>
        </pc:spChg>
        <pc:spChg chg="mod">
          <ac:chgData name="Mariam Daniela Tristancho Pineda (MISION TEMPORAL LTDA)" userId="a45a17f7-7950-4cb5-bfab-f5c894f959a9" providerId="ADAL" clId="{1440674F-A918-4BC9-A66E-0A6A8DD6A97A}" dt="2020-06-26T15:36:36.587" v="3608" actId="20577"/>
          <ac:spMkLst>
            <pc:docMk/>
            <pc:sldMk cId="838099151" sldId="2134804292"/>
            <ac:spMk id="9" creationId="{6F922DD3-801F-4B3D-9B4D-DBEC1EC37D57}"/>
          </ac:spMkLst>
        </pc:spChg>
        <pc:spChg chg="add del mod">
          <ac:chgData name="Mariam Daniela Tristancho Pineda (MISION TEMPORAL LTDA)" userId="a45a17f7-7950-4cb5-bfab-f5c894f959a9" providerId="ADAL" clId="{1440674F-A918-4BC9-A66E-0A6A8DD6A97A}" dt="2020-06-26T15:43:22.972" v="3655" actId="478"/>
          <ac:spMkLst>
            <pc:docMk/>
            <pc:sldMk cId="838099151" sldId="2134804292"/>
            <ac:spMk id="10" creationId="{75ED179D-70D6-4622-97D1-64B49DB51770}"/>
          </ac:spMkLst>
        </pc:spChg>
        <pc:spChg chg="add del mod">
          <ac:chgData name="Mariam Daniela Tristancho Pineda (MISION TEMPORAL LTDA)" userId="a45a17f7-7950-4cb5-bfab-f5c894f959a9" providerId="ADAL" clId="{1440674F-A918-4BC9-A66E-0A6A8DD6A97A}" dt="2020-06-26T15:33:04.564" v="3536" actId="1036"/>
          <ac:spMkLst>
            <pc:docMk/>
            <pc:sldMk cId="838099151" sldId="2134804292"/>
            <ac:spMk id="13" creationId="{D1CF4700-4906-4F29-B146-BA40E72EA40A}"/>
          </ac:spMkLst>
        </pc:spChg>
        <pc:spChg chg="mod">
          <ac:chgData name="Mariam Daniela Tristancho Pineda (MISION TEMPORAL LTDA)" userId="a45a17f7-7950-4cb5-bfab-f5c894f959a9" providerId="ADAL" clId="{1440674F-A918-4BC9-A66E-0A6A8DD6A97A}" dt="2020-06-26T15:33:50.081" v="3541" actId="1076"/>
          <ac:spMkLst>
            <pc:docMk/>
            <pc:sldMk cId="838099151" sldId="2134804292"/>
            <ac:spMk id="14" creationId="{8AB679CB-F4D7-4A91-8B7C-AF57F212E854}"/>
          </ac:spMkLst>
        </pc:spChg>
        <pc:spChg chg="mod">
          <ac:chgData name="Mariam Daniela Tristancho Pineda (MISION TEMPORAL LTDA)" userId="a45a17f7-7950-4cb5-bfab-f5c894f959a9" providerId="ADAL" clId="{1440674F-A918-4BC9-A66E-0A6A8DD6A97A}" dt="2020-06-26T15:32:12.149" v="3518" actId="1036"/>
          <ac:spMkLst>
            <pc:docMk/>
            <pc:sldMk cId="838099151" sldId="2134804292"/>
            <ac:spMk id="40" creationId="{D1132571-22C6-4A24-931F-862227F6062D}"/>
          </ac:spMkLst>
        </pc:spChg>
        <pc:spChg chg="mod">
          <ac:chgData name="Mariam Daniela Tristancho Pineda (MISION TEMPORAL LTDA)" userId="a45a17f7-7950-4cb5-bfab-f5c894f959a9" providerId="ADAL" clId="{1440674F-A918-4BC9-A66E-0A6A8DD6A97A}" dt="2020-06-26T15:33:33.500" v="3538" actId="465"/>
          <ac:spMkLst>
            <pc:docMk/>
            <pc:sldMk cId="838099151" sldId="2134804292"/>
            <ac:spMk id="41" creationId="{CCB4BB0D-CEFB-4C0D-841C-32888E931D7E}"/>
          </ac:spMkLst>
        </pc:spChg>
        <pc:spChg chg="mod">
          <ac:chgData name="Mariam Daniela Tristancho Pineda (MISION TEMPORAL LTDA)" userId="a45a17f7-7950-4cb5-bfab-f5c894f959a9" providerId="ADAL" clId="{1440674F-A918-4BC9-A66E-0A6A8DD6A97A}" dt="2020-06-26T15:34:33.952" v="3571" actId="465"/>
          <ac:spMkLst>
            <pc:docMk/>
            <pc:sldMk cId="838099151" sldId="2134804292"/>
            <ac:spMk id="42" creationId="{D738484B-A1FE-4D14-B0E6-2C43B61812C6}"/>
          </ac:spMkLst>
        </pc:spChg>
        <pc:spChg chg="mod">
          <ac:chgData name="Mariam Daniela Tristancho Pineda (MISION TEMPORAL LTDA)" userId="a45a17f7-7950-4cb5-bfab-f5c894f959a9" providerId="ADAL" clId="{1440674F-A918-4BC9-A66E-0A6A8DD6A97A}" dt="2020-06-24T14:51:06.831" v="2035" actId="1037"/>
          <ac:spMkLst>
            <pc:docMk/>
            <pc:sldMk cId="838099151" sldId="2134804292"/>
            <ac:spMk id="43" creationId="{9E99B233-8A5B-44E6-A802-87EAA9553E24}"/>
          </ac:spMkLst>
        </pc:spChg>
        <pc:spChg chg="mod ord">
          <ac:chgData name="Mariam Daniela Tristancho Pineda (MISION TEMPORAL LTDA)" userId="a45a17f7-7950-4cb5-bfab-f5c894f959a9" providerId="ADAL" clId="{1440674F-A918-4BC9-A66E-0A6A8DD6A97A}" dt="2020-06-26T15:40:41.089" v="3654" actId="20577"/>
          <ac:spMkLst>
            <pc:docMk/>
            <pc:sldMk cId="838099151" sldId="2134804292"/>
            <ac:spMk id="44" creationId="{E239B605-6964-49EB-B22A-9FCE640E48BE}"/>
          </ac:spMkLst>
        </pc:spChg>
        <pc:spChg chg="mod">
          <ac:chgData name="Mariam Daniela Tristancho Pineda (MISION TEMPORAL LTDA)" userId="a45a17f7-7950-4cb5-bfab-f5c894f959a9" providerId="ADAL" clId="{1440674F-A918-4BC9-A66E-0A6A8DD6A97A}" dt="2020-06-26T15:26:26.714" v="3456" actId="14100"/>
          <ac:spMkLst>
            <pc:docMk/>
            <pc:sldMk cId="838099151" sldId="2134804292"/>
            <ac:spMk id="45" creationId="{FE8ED9F7-3608-4810-95FA-CCA357FF8DD5}"/>
          </ac:spMkLst>
        </pc:spChg>
        <pc:spChg chg="mod">
          <ac:chgData name="Mariam Daniela Tristancho Pineda (MISION TEMPORAL LTDA)" userId="a45a17f7-7950-4cb5-bfab-f5c894f959a9" providerId="ADAL" clId="{1440674F-A918-4BC9-A66E-0A6A8DD6A97A}" dt="2020-06-17T00:15:39.742" v="1033" actId="108"/>
          <ac:spMkLst>
            <pc:docMk/>
            <pc:sldMk cId="838099151" sldId="2134804292"/>
            <ac:spMk id="46" creationId="{37613081-A8A7-4283-97BA-0F79BCAFB2C8}"/>
          </ac:spMkLst>
        </pc:spChg>
        <pc:spChg chg="add del mod">
          <ac:chgData name="Mariam Daniela Tristancho Pineda (MISION TEMPORAL LTDA)" userId="a45a17f7-7950-4cb5-bfab-f5c894f959a9" providerId="ADAL" clId="{1440674F-A918-4BC9-A66E-0A6A8DD6A97A}" dt="2020-06-24T14:51:06.831" v="2035" actId="1037"/>
          <ac:spMkLst>
            <pc:docMk/>
            <pc:sldMk cId="838099151" sldId="2134804292"/>
            <ac:spMk id="47" creationId="{BF5EEC85-5BBC-4AC0-BFF6-FC2E72B5FA13}"/>
          </ac:spMkLst>
        </pc:spChg>
        <pc:spChg chg="mod">
          <ac:chgData name="Mariam Daniela Tristancho Pineda (MISION TEMPORAL LTDA)" userId="a45a17f7-7950-4cb5-bfab-f5c894f959a9" providerId="ADAL" clId="{1440674F-A918-4BC9-A66E-0A6A8DD6A97A}" dt="2020-06-26T15:40:17.484" v="3636" actId="20577"/>
          <ac:spMkLst>
            <pc:docMk/>
            <pc:sldMk cId="838099151" sldId="2134804292"/>
            <ac:spMk id="48" creationId="{42AE1721-865B-4FA1-9DB2-04731ADDC02E}"/>
          </ac:spMkLst>
        </pc:spChg>
        <pc:spChg chg="mod">
          <ac:chgData name="Mariam Daniela Tristancho Pineda (MISION TEMPORAL LTDA)" userId="a45a17f7-7950-4cb5-bfab-f5c894f959a9" providerId="ADAL" clId="{1440674F-A918-4BC9-A66E-0A6A8DD6A97A}" dt="2020-06-26T15:34:28.517" v="3570" actId="1036"/>
          <ac:spMkLst>
            <pc:docMk/>
            <pc:sldMk cId="838099151" sldId="2134804292"/>
            <ac:spMk id="49" creationId="{AA424A2E-6D9A-4F45-8D12-089063FB713D}"/>
          </ac:spMkLst>
        </pc:spChg>
        <pc:spChg chg="mod">
          <ac:chgData name="Mariam Daniela Tristancho Pineda (MISION TEMPORAL LTDA)" userId="a45a17f7-7950-4cb5-bfab-f5c894f959a9" providerId="ADAL" clId="{1440674F-A918-4BC9-A66E-0A6A8DD6A97A}" dt="2020-06-26T15:35:25.542" v="3594" actId="20577"/>
          <ac:spMkLst>
            <pc:docMk/>
            <pc:sldMk cId="838099151" sldId="2134804292"/>
            <ac:spMk id="50" creationId="{5AEE6479-611C-4B25-9D86-68C74F4E6840}"/>
          </ac:spMkLst>
        </pc:spChg>
        <pc:spChg chg="mod">
          <ac:chgData name="Mariam Daniela Tristancho Pineda (MISION TEMPORAL LTDA)" userId="a45a17f7-7950-4cb5-bfab-f5c894f959a9" providerId="ADAL" clId="{1440674F-A918-4BC9-A66E-0A6A8DD6A97A}" dt="2020-06-26T15:40:20.409" v="3638" actId="20577"/>
          <ac:spMkLst>
            <pc:docMk/>
            <pc:sldMk cId="838099151" sldId="2134804292"/>
            <ac:spMk id="52" creationId="{2AD1363D-77A4-4B18-8087-0B267A4558ED}"/>
          </ac:spMkLst>
        </pc:spChg>
        <pc:spChg chg="mod">
          <ac:chgData name="Mariam Daniela Tristancho Pineda (MISION TEMPORAL LTDA)" userId="a45a17f7-7950-4cb5-bfab-f5c894f959a9" providerId="ADAL" clId="{1440674F-A918-4BC9-A66E-0A6A8DD6A97A}" dt="2020-06-24T14:28:39.875" v="1516" actId="1035"/>
          <ac:spMkLst>
            <pc:docMk/>
            <pc:sldMk cId="838099151" sldId="2134804292"/>
            <ac:spMk id="53" creationId="{F9C857D3-C5F6-4D00-8D9C-646D1DA60918}"/>
          </ac:spMkLst>
        </pc:spChg>
        <pc:spChg chg="del mod ord">
          <ac:chgData name="Mariam Daniela Tristancho Pineda (MISION TEMPORAL LTDA)" userId="a45a17f7-7950-4cb5-bfab-f5c894f959a9" providerId="ADAL" clId="{1440674F-A918-4BC9-A66E-0A6A8DD6A97A}" dt="2020-06-24T14:33:21.007" v="1702" actId="478"/>
          <ac:spMkLst>
            <pc:docMk/>
            <pc:sldMk cId="838099151" sldId="2134804292"/>
            <ac:spMk id="54" creationId="{C38A9719-1AF0-4D7F-AF9E-714FBC133573}"/>
          </ac:spMkLst>
        </pc:spChg>
        <pc:spChg chg="mod">
          <ac:chgData name="Mariam Daniela Tristancho Pineda (MISION TEMPORAL LTDA)" userId="a45a17f7-7950-4cb5-bfab-f5c894f959a9" providerId="ADAL" clId="{1440674F-A918-4BC9-A66E-0A6A8DD6A97A}" dt="2020-06-24T14:51:06.831" v="2035" actId="1037"/>
          <ac:spMkLst>
            <pc:docMk/>
            <pc:sldMk cId="838099151" sldId="2134804292"/>
            <ac:spMk id="55" creationId="{3303E99B-C92B-47E7-8D82-C8AAB6B8C380}"/>
          </ac:spMkLst>
        </pc:spChg>
        <pc:spChg chg="mod">
          <ac:chgData name="Mariam Daniela Tristancho Pineda (MISION TEMPORAL LTDA)" userId="a45a17f7-7950-4cb5-bfab-f5c894f959a9" providerId="ADAL" clId="{1440674F-A918-4BC9-A66E-0A6A8DD6A97A}" dt="2020-06-25T22:52:17.382" v="2995" actId="20577"/>
          <ac:spMkLst>
            <pc:docMk/>
            <pc:sldMk cId="838099151" sldId="2134804292"/>
            <ac:spMk id="56" creationId="{4F0BB8E1-0E03-4A52-9BB1-7AC2ED86FFBE}"/>
          </ac:spMkLst>
        </pc:spChg>
        <pc:spChg chg="mod">
          <ac:chgData name="Mariam Daniela Tristancho Pineda (MISION TEMPORAL LTDA)" userId="a45a17f7-7950-4cb5-bfab-f5c894f959a9" providerId="ADAL" clId="{1440674F-A918-4BC9-A66E-0A6A8DD6A97A}" dt="2020-06-24T14:51:06.831" v="2035" actId="1037"/>
          <ac:spMkLst>
            <pc:docMk/>
            <pc:sldMk cId="838099151" sldId="2134804292"/>
            <ac:spMk id="57" creationId="{0FB34961-9380-4A9B-A2B6-992F21508C64}"/>
          </ac:spMkLst>
        </pc:spChg>
        <pc:spChg chg="mod">
          <ac:chgData name="Mariam Daniela Tristancho Pineda (MISION TEMPORAL LTDA)" userId="a45a17f7-7950-4cb5-bfab-f5c894f959a9" providerId="ADAL" clId="{1440674F-A918-4BC9-A66E-0A6A8DD6A97A}" dt="2020-06-24T14:51:06.831" v="2035" actId="1037"/>
          <ac:spMkLst>
            <pc:docMk/>
            <pc:sldMk cId="838099151" sldId="2134804292"/>
            <ac:spMk id="58" creationId="{74F606FB-9410-44F0-9F53-ACCA9F228C24}"/>
          </ac:spMkLst>
        </pc:spChg>
        <pc:spChg chg="mod">
          <ac:chgData name="Mariam Daniela Tristancho Pineda (MISION TEMPORAL LTDA)" userId="a45a17f7-7950-4cb5-bfab-f5c894f959a9" providerId="ADAL" clId="{1440674F-A918-4BC9-A66E-0A6A8DD6A97A}" dt="2020-06-26T15:40:22.616" v="3640" actId="20577"/>
          <ac:spMkLst>
            <pc:docMk/>
            <pc:sldMk cId="838099151" sldId="2134804292"/>
            <ac:spMk id="59" creationId="{97F69600-5EC2-415F-899E-3158E1DD0E4E}"/>
          </ac:spMkLst>
        </pc:spChg>
        <pc:spChg chg="mod">
          <ac:chgData name="Mariam Daniela Tristancho Pineda (MISION TEMPORAL LTDA)" userId="a45a17f7-7950-4cb5-bfab-f5c894f959a9" providerId="ADAL" clId="{1440674F-A918-4BC9-A66E-0A6A8DD6A97A}" dt="2020-06-26T15:40:36.979" v="3652" actId="20577"/>
          <ac:spMkLst>
            <pc:docMk/>
            <pc:sldMk cId="838099151" sldId="2134804292"/>
            <ac:spMk id="60" creationId="{E78B2A6C-DEF5-4176-9EC8-F1C34E8F7D53}"/>
          </ac:spMkLst>
        </pc:spChg>
        <pc:spChg chg="mod">
          <ac:chgData name="Mariam Daniela Tristancho Pineda (MISION TEMPORAL LTDA)" userId="a45a17f7-7950-4cb5-bfab-f5c894f959a9" providerId="ADAL" clId="{1440674F-A918-4BC9-A66E-0A6A8DD6A97A}" dt="2020-06-24T14:51:06.831" v="2035" actId="1037"/>
          <ac:spMkLst>
            <pc:docMk/>
            <pc:sldMk cId="838099151" sldId="2134804292"/>
            <ac:spMk id="61" creationId="{1F7F6559-3F08-4F7E-A909-B96E01AB7528}"/>
          </ac:spMkLst>
        </pc:spChg>
        <pc:spChg chg="mod">
          <ac:chgData name="Mariam Daniela Tristancho Pineda (MISION TEMPORAL LTDA)" userId="a45a17f7-7950-4cb5-bfab-f5c894f959a9" providerId="ADAL" clId="{1440674F-A918-4BC9-A66E-0A6A8DD6A97A}" dt="2020-06-26T15:40:29.022" v="3646" actId="20577"/>
          <ac:spMkLst>
            <pc:docMk/>
            <pc:sldMk cId="838099151" sldId="2134804292"/>
            <ac:spMk id="62" creationId="{1F18B743-7CA7-4168-93CE-0B2A698A9D4B}"/>
          </ac:spMkLst>
        </pc:spChg>
        <pc:spChg chg="mod">
          <ac:chgData name="Mariam Daniela Tristancho Pineda (MISION TEMPORAL LTDA)" userId="a45a17f7-7950-4cb5-bfab-f5c894f959a9" providerId="ADAL" clId="{1440674F-A918-4BC9-A66E-0A6A8DD6A97A}" dt="2020-06-26T15:37:39.125" v="3616" actId="1076"/>
          <ac:spMkLst>
            <pc:docMk/>
            <pc:sldMk cId="838099151" sldId="2134804292"/>
            <ac:spMk id="63" creationId="{AB5F3A10-3A0A-4AD1-810F-ECFBAF93D3A3}"/>
          </ac:spMkLst>
        </pc:spChg>
        <pc:spChg chg="mod">
          <ac:chgData name="Mariam Daniela Tristancho Pineda (MISION TEMPORAL LTDA)" userId="a45a17f7-7950-4cb5-bfab-f5c894f959a9" providerId="ADAL" clId="{1440674F-A918-4BC9-A66E-0A6A8DD6A97A}" dt="2020-06-26T15:40:24.786" v="3642" actId="20577"/>
          <ac:spMkLst>
            <pc:docMk/>
            <pc:sldMk cId="838099151" sldId="2134804292"/>
            <ac:spMk id="64" creationId="{C1641CFC-CF7F-498D-B4D0-3EC07F8B6FCA}"/>
          </ac:spMkLst>
        </pc:spChg>
        <pc:spChg chg="mod">
          <ac:chgData name="Mariam Daniela Tristancho Pineda (MISION TEMPORAL LTDA)" userId="a45a17f7-7950-4cb5-bfab-f5c894f959a9" providerId="ADAL" clId="{1440674F-A918-4BC9-A66E-0A6A8DD6A97A}" dt="2020-06-26T15:40:31.189" v="3648" actId="20577"/>
          <ac:spMkLst>
            <pc:docMk/>
            <pc:sldMk cId="838099151" sldId="2134804292"/>
            <ac:spMk id="65" creationId="{75F4E58E-0C8C-4616-AE69-3937079E0044}"/>
          </ac:spMkLst>
        </pc:spChg>
        <pc:spChg chg="mod">
          <ac:chgData name="Mariam Daniela Tristancho Pineda (MISION TEMPORAL LTDA)" userId="a45a17f7-7950-4cb5-bfab-f5c894f959a9" providerId="ADAL" clId="{1440674F-A918-4BC9-A66E-0A6A8DD6A97A}" dt="2020-06-26T15:37:42.365" v="3623" actId="1035"/>
          <ac:spMkLst>
            <pc:docMk/>
            <pc:sldMk cId="838099151" sldId="2134804292"/>
            <ac:spMk id="66" creationId="{C1B3BC7F-010E-4F7C-9215-3BC0CB51B95F}"/>
          </ac:spMkLst>
        </pc:spChg>
        <pc:spChg chg="mod">
          <ac:chgData name="Mariam Daniela Tristancho Pineda (MISION TEMPORAL LTDA)" userId="a45a17f7-7950-4cb5-bfab-f5c894f959a9" providerId="ADAL" clId="{1440674F-A918-4BC9-A66E-0A6A8DD6A97A}" dt="2020-06-24T14:51:06.831" v="2035" actId="1037"/>
          <ac:spMkLst>
            <pc:docMk/>
            <pc:sldMk cId="838099151" sldId="2134804292"/>
            <ac:spMk id="67" creationId="{B6194378-B50F-421A-B27B-1B4AFC5ED155}"/>
          </ac:spMkLst>
        </pc:spChg>
        <pc:spChg chg="mod">
          <ac:chgData name="Mariam Daniela Tristancho Pineda (MISION TEMPORAL LTDA)" userId="a45a17f7-7950-4cb5-bfab-f5c894f959a9" providerId="ADAL" clId="{1440674F-A918-4BC9-A66E-0A6A8DD6A97A}" dt="2020-06-26T15:40:34.017" v="3650" actId="20577"/>
          <ac:spMkLst>
            <pc:docMk/>
            <pc:sldMk cId="838099151" sldId="2134804292"/>
            <ac:spMk id="68" creationId="{1E9FFA51-5316-41A7-8371-6FF614BF6768}"/>
          </ac:spMkLst>
        </pc:spChg>
        <pc:spChg chg="mod">
          <ac:chgData name="Mariam Daniela Tristancho Pineda (MISION TEMPORAL LTDA)" userId="a45a17f7-7950-4cb5-bfab-f5c894f959a9" providerId="ADAL" clId="{1440674F-A918-4BC9-A66E-0A6A8DD6A97A}" dt="2020-06-24T14:51:06.831" v="2035" actId="1037"/>
          <ac:spMkLst>
            <pc:docMk/>
            <pc:sldMk cId="838099151" sldId="2134804292"/>
            <ac:spMk id="69" creationId="{A9C3CC04-9C5E-4AB6-9E92-09DAF9B16ADC}"/>
          </ac:spMkLst>
        </pc:spChg>
        <pc:spChg chg="add del mod">
          <ac:chgData name="Mariam Daniela Tristancho Pineda (MISION TEMPORAL LTDA)" userId="a45a17f7-7950-4cb5-bfab-f5c894f959a9" providerId="ADAL" clId="{1440674F-A918-4BC9-A66E-0A6A8DD6A97A}" dt="2020-06-16T23:11:16.405" v="327" actId="478"/>
          <ac:spMkLst>
            <pc:docMk/>
            <pc:sldMk cId="838099151" sldId="2134804292"/>
            <ac:spMk id="70" creationId="{D52F4566-6844-443F-8815-042E27293052}"/>
          </ac:spMkLst>
        </pc:spChg>
        <pc:spChg chg="mod">
          <ac:chgData name="Mariam Daniela Tristancho Pineda (MISION TEMPORAL LTDA)" userId="a45a17f7-7950-4cb5-bfab-f5c894f959a9" providerId="ADAL" clId="{1440674F-A918-4BC9-A66E-0A6A8DD6A97A}" dt="2020-06-26T15:33:04.564" v="3536" actId="1036"/>
          <ac:spMkLst>
            <pc:docMk/>
            <pc:sldMk cId="838099151" sldId="2134804292"/>
            <ac:spMk id="71" creationId="{A69B7E9C-1301-476B-9B8D-50B1CA3CB77F}"/>
          </ac:spMkLst>
        </pc:spChg>
        <pc:spChg chg="del mod">
          <ac:chgData name="Mariam Daniela Tristancho Pineda (MISION TEMPORAL LTDA)" userId="a45a17f7-7950-4cb5-bfab-f5c894f959a9" providerId="ADAL" clId="{1440674F-A918-4BC9-A66E-0A6A8DD6A97A}" dt="2020-06-17T00:18:19.127" v="1063" actId="478"/>
          <ac:spMkLst>
            <pc:docMk/>
            <pc:sldMk cId="838099151" sldId="2134804292"/>
            <ac:spMk id="72" creationId="{622D38D3-D447-4679-8F81-A3EC3CD4CFF6}"/>
          </ac:spMkLst>
        </pc:spChg>
        <pc:spChg chg="add mod">
          <ac:chgData name="Mariam Daniela Tristancho Pineda (MISION TEMPORAL LTDA)" userId="a45a17f7-7950-4cb5-bfab-f5c894f959a9" providerId="ADAL" clId="{1440674F-A918-4BC9-A66E-0A6A8DD6A97A}" dt="2020-06-26T15:32:43.005" v="3532" actId="1076"/>
          <ac:spMkLst>
            <pc:docMk/>
            <pc:sldMk cId="838099151" sldId="2134804292"/>
            <ac:spMk id="73" creationId="{504BE693-A6BF-4CAB-971A-BC7D1287E952}"/>
          </ac:spMkLst>
        </pc:spChg>
        <pc:spChg chg="add mod">
          <ac:chgData name="Mariam Daniela Tristancho Pineda (MISION TEMPORAL LTDA)" userId="a45a17f7-7950-4cb5-bfab-f5c894f959a9" providerId="ADAL" clId="{1440674F-A918-4BC9-A66E-0A6A8DD6A97A}" dt="2020-06-26T15:32:12.149" v="3518" actId="1036"/>
          <ac:spMkLst>
            <pc:docMk/>
            <pc:sldMk cId="838099151" sldId="2134804292"/>
            <ac:spMk id="74" creationId="{B5886F35-849B-48A6-97F5-BE8E727DCABB}"/>
          </ac:spMkLst>
        </pc:spChg>
        <pc:spChg chg="add mod">
          <ac:chgData name="Mariam Daniela Tristancho Pineda (MISION TEMPORAL LTDA)" userId="a45a17f7-7950-4cb5-bfab-f5c894f959a9" providerId="ADAL" clId="{1440674F-A918-4BC9-A66E-0A6A8DD6A97A}" dt="2020-06-26T15:33:56.865" v="3549" actId="1038"/>
          <ac:spMkLst>
            <pc:docMk/>
            <pc:sldMk cId="838099151" sldId="2134804292"/>
            <ac:spMk id="75" creationId="{6145BB97-3119-4821-8D9F-A6CBDE6564FA}"/>
          </ac:spMkLst>
        </pc:spChg>
        <pc:spChg chg="add mod">
          <ac:chgData name="Mariam Daniela Tristancho Pineda (MISION TEMPORAL LTDA)" userId="a45a17f7-7950-4cb5-bfab-f5c894f959a9" providerId="ADAL" clId="{1440674F-A918-4BC9-A66E-0A6A8DD6A97A}" dt="2020-06-26T15:33:56.865" v="3549" actId="1038"/>
          <ac:spMkLst>
            <pc:docMk/>
            <pc:sldMk cId="838099151" sldId="2134804292"/>
            <ac:spMk id="76" creationId="{C4889BF1-BFE2-4B20-AB47-50C8708C5811}"/>
          </ac:spMkLst>
        </pc:spChg>
        <pc:spChg chg="add mod">
          <ac:chgData name="Mariam Daniela Tristancho Pineda (MISION TEMPORAL LTDA)" userId="a45a17f7-7950-4cb5-bfab-f5c894f959a9" providerId="ADAL" clId="{1440674F-A918-4BC9-A66E-0A6A8DD6A97A}" dt="2020-06-26T15:34:51.768" v="3582" actId="1035"/>
          <ac:spMkLst>
            <pc:docMk/>
            <pc:sldMk cId="838099151" sldId="2134804292"/>
            <ac:spMk id="77" creationId="{FE57AFEB-C555-4E4A-8CCA-35D95283E0B0}"/>
          </ac:spMkLst>
        </pc:spChg>
        <pc:spChg chg="add mod">
          <ac:chgData name="Mariam Daniela Tristancho Pineda (MISION TEMPORAL LTDA)" userId="a45a17f7-7950-4cb5-bfab-f5c894f959a9" providerId="ADAL" clId="{1440674F-A918-4BC9-A66E-0A6A8DD6A97A}" dt="2020-06-26T15:33:56.865" v="3549" actId="1038"/>
          <ac:spMkLst>
            <pc:docMk/>
            <pc:sldMk cId="838099151" sldId="2134804292"/>
            <ac:spMk id="78" creationId="{29484C37-A93F-435C-BB46-AAD296179DA7}"/>
          </ac:spMkLst>
        </pc:spChg>
        <pc:spChg chg="add mod">
          <ac:chgData name="Mariam Daniela Tristancho Pineda (MISION TEMPORAL LTDA)" userId="a45a17f7-7950-4cb5-bfab-f5c894f959a9" providerId="ADAL" clId="{1440674F-A918-4BC9-A66E-0A6A8DD6A97A}" dt="2020-06-26T15:33:56.865" v="3549" actId="1038"/>
          <ac:spMkLst>
            <pc:docMk/>
            <pc:sldMk cId="838099151" sldId="2134804292"/>
            <ac:spMk id="79" creationId="{E7635D01-CF5B-467A-AD0E-714418970E68}"/>
          </ac:spMkLst>
        </pc:spChg>
        <pc:spChg chg="add mod">
          <ac:chgData name="Mariam Daniela Tristancho Pineda (MISION TEMPORAL LTDA)" userId="a45a17f7-7950-4cb5-bfab-f5c894f959a9" providerId="ADAL" clId="{1440674F-A918-4BC9-A66E-0A6A8DD6A97A}" dt="2020-06-26T15:32:12.149" v="3518" actId="1036"/>
          <ac:spMkLst>
            <pc:docMk/>
            <pc:sldMk cId="838099151" sldId="2134804292"/>
            <ac:spMk id="80" creationId="{D66A88FF-E3F2-4BEC-8E12-DCBEE6A096ED}"/>
          </ac:spMkLst>
        </pc:spChg>
        <pc:spChg chg="add mod">
          <ac:chgData name="Mariam Daniela Tristancho Pineda (MISION TEMPORAL LTDA)" userId="a45a17f7-7950-4cb5-bfab-f5c894f959a9" providerId="ADAL" clId="{1440674F-A918-4BC9-A66E-0A6A8DD6A97A}" dt="2020-06-26T15:34:45.643" v="3576" actId="1076"/>
          <ac:spMkLst>
            <pc:docMk/>
            <pc:sldMk cId="838099151" sldId="2134804292"/>
            <ac:spMk id="81" creationId="{A742467B-5CB0-468E-8115-5070DDA010C6}"/>
          </ac:spMkLst>
        </pc:spChg>
        <pc:spChg chg="add mod">
          <ac:chgData name="Mariam Daniela Tristancho Pineda (MISION TEMPORAL LTDA)" userId="a45a17f7-7950-4cb5-bfab-f5c894f959a9" providerId="ADAL" clId="{1440674F-A918-4BC9-A66E-0A6A8DD6A97A}" dt="2020-06-26T15:32:39.365" v="3531" actId="1076"/>
          <ac:spMkLst>
            <pc:docMk/>
            <pc:sldMk cId="838099151" sldId="2134804292"/>
            <ac:spMk id="82" creationId="{9F1674CE-F25C-4C2A-AA04-EC08592CA6BF}"/>
          </ac:spMkLst>
        </pc:spChg>
        <pc:spChg chg="add mod">
          <ac:chgData name="Mariam Daniela Tristancho Pineda (MISION TEMPORAL LTDA)" userId="a45a17f7-7950-4cb5-bfab-f5c894f959a9" providerId="ADAL" clId="{1440674F-A918-4BC9-A66E-0A6A8DD6A97A}" dt="2020-06-26T15:34:42.255" v="3575" actId="1038"/>
          <ac:spMkLst>
            <pc:docMk/>
            <pc:sldMk cId="838099151" sldId="2134804292"/>
            <ac:spMk id="83" creationId="{C506A4AA-FCB3-45B4-B3F4-65268296A051}"/>
          </ac:spMkLst>
        </pc:spChg>
        <pc:spChg chg="add mod">
          <ac:chgData name="Mariam Daniela Tristancho Pineda (MISION TEMPORAL LTDA)" userId="a45a17f7-7950-4cb5-bfab-f5c894f959a9" providerId="ADAL" clId="{1440674F-A918-4BC9-A66E-0A6A8DD6A97A}" dt="2020-06-26T15:33:56.865" v="3549" actId="1038"/>
          <ac:spMkLst>
            <pc:docMk/>
            <pc:sldMk cId="838099151" sldId="2134804292"/>
            <ac:spMk id="84" creationId="{AE70C292-631F-4FBA-9407-4F63FA529DB7}"/>
          </ac:spMkLst>
        </pc:spChg>
        <pc:spChg chg="add mod">
          <ac:chgData name="Mariam Daniela Tristancho Pineda (MISION TEMPORAL LTDA)" userId="a45a17f7-7950-4cb5-bfab-f5c894f959a9" providerId="ADAL" clId="{1440674F-A918-4BC9-A66E-0A6A8DD6A97A}" dt="2020-06-26T15:32:12.149" v="3518" actId="1036"/>
          <ac:spMkLst>
            <pc:docMk/>
            <pc:sldMk cId="838099151" sldId="2134804292"/>
            <ac:spMk id="85" creationId="{20DF9912-3C8C-4E4C-AED3-8A1393F70375}"/>
          </ac:spMkLst>
        </pc:spChg>
        <pc:spChg chg="add mod">
          <ac:chgData name="Mariam Daniela Tristancho Pineda (MISION TEMPORAL LTDA)" userId="a45a17f7-7950-4cb5-bfab-f5c894f959a9" providerId="ADAL" clId="{1440674F-A918-4BC9-A66E-0A6A8DD6A97A}" dt="2020-06-16T23:24:10.761" v="478" actId="571"/>
          <ac:spMkLst>
            <pc:docMk/>
            <pc:sldMk cId="838099151" sldId="2134804292"/>
            <ac:spMk id="86" creationId="{9402E930-4567-4606-8AC6-A4289B77372E}"/>
          </ac:spMkLst>
        </pc:spChg>
        <pc:spChg chg="del mod">
          <ac:chgData name="Mariam Daniela Tristancho Pineda (MISION TEMPORAL LTDA)" userId="a45a17f7-7950-4cb5-bfab-f5c894f959a9" providerId="ADAL" clId="{1440674F-A918-4BC9-A66E-0A6A8DD6A97A}" dt="2020-06-26T15:37:23.734" v="3613" actId="478"/>
          <ac:spMkLst>
            <pc:docMk/>
            <pc:sldMk cId="838099151" sldId="2134804292"/>
            <ac:spMk id="86" creationId="{D0C29538-EFD3-4024-85E0-E215B2CB81A0}"/>
          </ac:spMkLst>
        </pc:spChg>
        <pc:spChg chg="del mod">
          <ac:chgData name="Mariam Daniela Tristancho Pineda (MISION TEMPORAL LTDA)" userId="a45a17f7-7950-4cb5-bfab-f5c894f959a9" providerId="ADAL" clId="{1440674F-A918-4BC9-A66E-0A6A8DD6A97A}" dt="2020-06-26T15:37:23.734" v="3613" actId="478"/>
          <ac:spMkLst>
            <pc:docMk/>
            <pc:sldMk cId="838099151" sldId="2134804292"/>
            <ac:spMk id="87" creationId="{563162A5-41B5-4D13-845B-8A3E8F064FC1}"/>
          </ac:spMkLst>
        </pc:spChg>
        <pc:spChg chg="add mod">
          <ac:chgData name="Mariam Daniela Tristancho Pineda (MISION TEMPORAL LTDA)" userId="a45a17f7-7950-4cb5-bfab-f5c894f959a9" providerId="ADAL" clId="{1440674F-A918-4BC9-A66E-0A6A8DD6A97A}" dt="2020-06-16T23:24:10.761" v="478" actId="571"/>
          <ac:spMkLst>
            <pc:docMk/>
            <pc:sldMk cId="838099151" sldId="2134804292"/>
            <ac:spMk id="87" creationId="{90421A61-3341-4E93-9753-651691CAF2C2}"/>
          </ac:spMkLst>
        </pc:spChg>
        <pc:spChg chg="add mod">
          <ac:chgData name="Mariam Daniela Tristancho Pineda (MISION TEMPORAL LTDA)" userId="a45a17f7-7950-4cb5-bfab-f5c894f959a9" providerId="ADAL" clId="{1440674F-A918-4BC9-A66E-0A6A8DD6A97A}" dt="2020-06-16T23:24:10.761" v="478" actId="571"/>
          <ac:spMkLst>
            <pc:docMk/>
            <pc:sldMk cId="838099151" sldId="2134804292"/>
            <ac:spMk id="88" creationId="{125F6C1C-C519-49EC-98B2-33B0E1099B1C}"/>
          </ac:spMkLst>
        </pc:spChg>
        <pc:spChg chg="add mod">
          <ac:chgData name="Mariam Daniela Tristancho Pineda (MISION TEMPORAL LTDA)" userId="a45a17f7-7950-4cb5-bfab-f5c894f959a9" providerId="ADAL" clId="{1440674F-A918-4BC9-A66E-0A6A8DD6A97A}" dt="2020-06-16T23:24:10.761" v="478" actId="571"/>
          <ac:spMkLst>
            <pc:docMk/>
            <pc:sldMk cId="838099151" sldId="2134804292"/>
            <ac:spMk id="89" creationId="{6D4B8EAD-71F9-43E6-94D4-C112D520ECD7}"/>
          </ac:spMkLst>
        </pc:spChg>
        <pc:spChg chg="mod">
          <ac:chgData name="Mariam Daniela Tristancho Pineda (MISION TEMPORAL LTDA)" userId="a45a17f7-7950-4cb5-bfab-f5c894f959a9" providerId="ADAL" clId="{1440674F-A918-4BC9-A66E-0A6A8DD6A97A}" dt="2020-06-26T15:33:04.564" v="3536" actId="1036"/>
          <ac:spMkLst>
            <pc:docMk/>
            <pc:sldMk cId="838099151" sldId="2134804292"/>
            <ac:spMk id="89" creationId="{C663BB5A-D4A1-45C8-A094-4E132713CB94}"/>
          </ac:spMkLst>
        </pc:spChg>
        <pc:spChg chg="add mod">
          <ac:chgData name="Mariam Daniela Tristancho Pineda (MISION TEMPORAL LTDA)" userId="a45a17f7-7950-4cb5-bfab-f5c894f959a9" providerId="ADAL" clId="{1440674F-A918-4BC9-A66E-0A6A8DD6A97A}" dt="2020-06-16T23:24:10.761" v="478" actId="571"/>
          <ac:spMkLst>
            <pc:docMk/>
            <pc:sldMk cId="838099151" sldId="2134804292"/>
            <ac:spMk id="90" creationId="{17250910-E911-4CF5-A14C-4F367F4D04C3}"/>
          </ac:spMkLst>
        </pc:spChg>
        <pc:spChg chg="add del mod">
          <ac:chgData name="Mariam Daniela Tristancho Pineda (MISION TEMPORAL LTDA)" userId="a45a17f7-7950-4cb5-bfab-f5c894f959a9" providerId="ADAL" clId="{1440674F-A918-4BC9-A66E-0A6A8DD6A97A}" dt="2020-06-24T14:25:06.447" v="1489" actId="478"/>
          <ac:spMkLst>
            <pc:docMk/>
            <pc:sldMk cId="838099151" sldId="2134804292"/>
            <ac:spMk id="90" creationId="{D070B5C3-1D91-4ABC-8CA2-D9852AE59C86}"/>
          </ac:spMkLst>
        </pc:spChg>
        <pc:spChg chg="add mod">
          <ac:chgData name="Mariam Daniela Tristancho Pineda (MISION TEMPORAL LTDA)" userId="a45a17f7-7950-4cb5-bfab-f5c894f959a9" providerId="ADAL" clId="{1440674F-A918-4BC9-A66E-0A6A8DD6A97A}" dt="2020-06-16T23:24:10.761" v="478" actId="571"/>
          <ac:spMkLst>
            <pc:docMk/>
            <pc:sldMk cId="838099151" sldId="2134804292"/>
            <ac:spMk id="91" creationId="{D1A6E7F5-05F0-4E92-905E-C4AAECDC47DF}"/>
          </ac:spMkLst>
        </pc:spChg>
        <pc:spChg chg="add del mod">
          <ac:chgData name="Mariam Daniela Tristancho Pineda (MISION TEMPORAL LTDA)" userId="a45a17f7-7950-4cb5-bfab-f5c894f959a9" providerId="ADAL" clId="{1440674F-A918-4BC9-A66E-0A6A8DD6A97A}" dt="2020-06-24T14:25:06.447" v="1489" actId="478"/>
          <ac:spMkLst>
            <pc:docMk/>
            <pc:sldMk cId="838099151" sldId="2134804292"/>
            <ac:spMk id="91" creationId="{E9A3AA28-23D6-47BB-8D8B-D4ED69D1F800}"/>
          </ac:spMkLst>
        </pc:spChg>
        <pc:spChg chg="add del mod">
          <ac:chgData name="Mariam Daniela Tristancho Pineda (MISION TEMPORAL LTDA)" userId="a45a17f7-7950-4cb5-bfab-f5c894f959a9" providerId="ADAL" clId="{1440674F-A918-4BC9-A66E-0A6A8DD6A97A}" dt="2020-06-24T14:25:06.447" v="1489" actId="478"/>
          <ac:spMkLst>
            <pc:docMk/>
            <pc:sldMk cId="838099151" sldId="2134804292"/>
            <ac:spMk id="92" creationId="{B404AA0F-91B0-4410-8B25-EB5940513BC2}"/>
          </ac:spMkLst>
        </pc:spChg>
        <pc:spChg chg="add mod">
          <ac:chgData name="Mariam Daniela Tristancho Pineda (MISION TEMPORAL LTDA)" userId="a45a17f7-7950-4cb5-bfab-f5c894f959a9" providerId="ADAL" clId="{1440674F-A918-4BC9-A66E-0A6A8DD6A97A}" dt="2020-06-16T23:24:10.761" v="478" actId="571"/>
          <ac:spMkLst>
            <pc:docMk/>
            <pc:sldMk cId="838099151" sldId="2134804292"/>
            <ac:spMk id="92" creationId="{ECB9BF28-370B-4E72-B089-481D23AC5D26}"/>
          </ac:spMkLst>
        </pc:spChg>
        <pc:spChg chg="add mod">
          <ac:chgData name="Mariam Daniela Tristancho Pineda (MISION TEMPORAL LTDA)" userId="a45a17f7-7950-4cb5-bfab-f5c894f959a9" providerId="ADAL" clId="{1440674F-A918-4BC9-A66E-0A6A8DD6A97A}" dt="2020-06-16T23:24:10.761" v="478" actId="571"/>
          <ac:spMkLst>
            <pc:docMk/>
            <pc:sldMk cId="838099151" sldId="2134804292"/>
            <ac:spMk id="93" creationId="{BAFC5881-4A54-499D-8C92-E0B75528A66A}"/>
          </ac:spMkLst>
        </pc:spChg>
        <pc:spChg chg="add del mod">
          <ac:chgData name="Mariam Daniela Tristancho Pineda (MISION TEMPORAL LTDA)" userId="a45a17f7-7950-4cb5-bfab-f5c894f959a9" providerId="ADAL" clId="{1440674F-A918-4BC9-A66E-0A6A8DD6A97A}" dt="2020-06-24T14:25:06.447" v="1489" actId="478"/>
          <ac:spMkLst>
            <pc:docMk/>
            <pc:sldMk cId="838099151" sldId="2134804292"/>
            <ac:spMk id="93" creationId="{E3B1BFC0-0F6B-4D43-B6C9-9918CEE2AF1E}"/>
          </ac:spMkLst>
        </pc:spChg>
        <pc:spChg chg="add del mod">
          <ac:chgData name="Mariam Daniela Tristancho Pineda (MISION TEMPORAL LTDA)" userId="a45a17f7-7950-4cb5-bfab-f5c894f959a9" providerId="ADAL" clId="{1440674F-A918-4BC9-A66E-0A6A8DD6A97A}" dt="2020-06-24T14:25:06.447" v="1489" actId="478"/>
          <ac:spMkLst>
            <pc:docMk/>
            <pc:sldMk cId="838099151" sldId="2134804292"/>
            <ac:spMk id="94" creationId="{0B056E8D-65FF-4D24-83C8-C3B9A4850D2B}"/>
          </ac:spMkLst>
        </pc:spChg>
        <pc:spChg chg="add mod">
          <ac:chgData name="Mariam Daniela Tristancho Pineda (MISION TEMPORAL LTDA)" userId="a45a17f7-7950-4cb5-bfab-f5c894f959a9" providerId="ADAL" clId="{1440674F-A918-4BC9-A66E-0A6A8DD6A97A}" dt="2020-06-16T23:24:10.761" v="478" actId="571"/>
          <ac:spMkLst>
            <pc:docMk/>
            <pc:sldMk cId="838099151" sldId="2134804292"/>
            <ac:spMk id="94" creationId="{9441FB53-910E-4163-B498-81DB6DFFFB85}"/>
          </ac:spMkLst>
        </pc:spChg>
        <pc:spChg chg="add mod">
          <ac:chgData name="Mariam Daniela Tristancho Pineda (MISION TEMPORAL LTDA)" userId="a45a17f7-7950-4cb5-bfab-f5c894f959a9" providerId="ADAL" clId="{1440674F-A918-4BC9-A66E-0A6A8DD6A97A}" dt="2020-06-16T23:24:10.761" v="478" actId="571"/>
          <ac:spMkLst>
            <pc:docMk/>
            <pc:sldMk cId="838099151" sldId="2134804292"/>
            <ac:spMk id="96" creationId="{1814A893-441C-4961-97DC-5A24EDF507A2}"/>
          </ac:spMkLst>
        </pc:spChg>
        <pc:spChg chg="add del mod">
          <ac:chgData name="Mariam Daniela Tristancho Pineda (MISION TEMPORAL LTDA)" userId="a45a17f7-7950-4cb5-bfab-f5c894f959a9" providerId="ADAL" clId="{1440674F-A918-4BC9-A66E-0A6A8DD6A97A}" dt="2020-06-24T14:25:12.527" v="1490" actId="478"/>
          <ac:spMkLst>
            <pc:docMk/>
            <pc:sldMk cId="838099151" sldId="2134804292"/>
            <ac:spMk id="96" creationId="{39E59936-B3B2-4279-BD62-172D1DD8C52E}"/>
          </ac:spMkLst>
        </pc:spChg>
        <pc:spChg chg="add mod">
          <ac:chgData name="Mariam Daniela Tristancho Pineda (MISION TEMPORAL LTDA)" userId="a45a17f7-7950-4cb5-bfab-f5c894f959a9" providerId="ADAL" clId="{1440674F-A918-4BC9-A66E-0A6A8DD6A97A}" dt="2020-06-26T15:32:15.870" v="3522" actId="1036"/>
          <ac:spMkLst>
            <pc:docMk/>
            <pc:sldMk cId="838099151" sldId="2134804292"/>
            <ac:spMk id="96" creationId="{7B02AB4C-AF68-4F54-A894-07E00267D5F8}"/>
          </ac:spMkLst>
        </pc:spChg>
        <pc:spChg chg="mod">
          <ac:chgData name="Mariam Daniela Tristancho Pineda (MISION TEMPORAL LTDA)" userId="a45a17f7-7950-4cb5-bfab-f5c894f959a9" providerId="ADAL" clId="{1440674F-A918-4BC9-A66E-0A6A8DD6A97A}" dt="2020-06-26T15:31:36.381" v="3514" actId="552"/>
          <ac:spMkLst>
            <pc:docMk/>
            <pc:sldMk cId="838099151" sldId="2134804292"/>
            <ac:spMk id="97" creationId="{99300021-C267-43BD-A0F5-B3ECE622345E}"/>
          </ac:spMkLst>
        </pc:spChg>
        <pc:spChg chg="add del mod">
          <ac:chgData name="Mariam Daniela Tristancho Pineda (MISION TEMPORAL LTDA)" userId="a45a17f7-7950-4cb5-bfab-f5c894f959a9" providerId="ADAL" clId="{1440674F-A918-4BC9-A66E-0A6A8DD6A97A}" dt="2020-06-24T14:25:12.527" v="1490" actId="478"/>
          <ac:spMkLst>
            <pc:docMk/>
            <pc:sldMk cId="838099151" sldId="2134804292"/>
            <ac:spMk id="98" creationId="{AA0AA2E3-2CBF-4610-B9BC-42530A64D44F}"/>
          </ac:spMkLst>
        </pc:spChg>
        <pc:spChg chg="add mod">
          <ac:chgData name="Mariam Daniela Tristancho Pineda (MISION TEMPORAL LTDA)" userId="a45a17f7-7950-4cb5-bfab-f5c894f959a9" providerId="ADAL" clId="{1440674F-A918-4BC9-A66E-0A6A8DD6A97A}" dt="2020-06-26T15:26:26.714" v="3456" actId="14100"/>
          <ac:spMkLst>
            <pc:docMk/>
            <pc:sldMk cId="838099151" sldId="2134804292"/>
            <ac:spMk id="98" creationId="{E063C35E-5F1D-47CE-B7FD-7A60EAA52B74}"/>
          </ac:spMkLst>
        </pc:spChg>
        <pc:spChg chg="add mod">
          <ac:chgData name="Mariam Daniela Tristancho Pineda (MISION TEMPORAL LTDA)" userId="a45a17f7-7950-4cb5-bfab-f5c894f959a9" providerId="ADAL" clId="{1440674F-A918-4BC9-A66E-0A6A8DD6A97A}" dt="2020-06-16T23:24:14.290" v="480" actId="571"/>
          <ac:spMkLst>
            <pc:docMk/>
            <pc:sldMk cId="838099151" sldId="2134804292"/>
            <ac:spMk id="98" creationId="{F12F3F6D-BA63-4743-B540-27ADCEB2678B}"/>
          </ac:spMkLst>
        </pc:spChg>
        <pc:spChg chg="mod">
          <ac:chgData name="Mariam Daniela Tristancho Pineda (MISION TEMPORAL LTDA)" userId="a45a17f7-7950-4cb5-bfab-f5c894f959a9" providerId="ADAL" clId="{1440674F-A918-4BC9-A66E-0A6A8DD6A97A}" dt="2020-06-26T15:26:26.714" v="3456" actId="14100"/>
          <ac:spMkLst>
            <pc:docMk/>
            <pc:sldMk cId="838099151" sldId="2134804292"/>
            <ac:spMk id="99" creationId="{90CC82AC-D82E-4F89-AC67-093894759099}"/>
          </ac:spMkLst>
        </pc:spChg>
        <pc:spChg chg="mod">
          <ac:chgData name="Mariam Daniela Tristancho Pineda (MISION TEMPORAL LTDA)" userId="a45a17f7-7950-4cb5-bfab-f5c894f959a9" providerId="ADAL" clId="{1440674F-A918-4BC9-A66E-0A6A8DD6A97A}" dt="2020-06-26T15:26:26.714" v="3456" actId="14100"/>
          <ac:spMkLst>
            <pc:docMk/>
            <pc:sldMk cId="838099151" sldId="2134804292"/>
            <ac:spMk id="100" creationId="{1835F856-5B59-4AFF-86DE-2F0968B76CF7}"/>
          </ac:spMkLst>
        </pc:spChg>
        <pc:spChg chg="add mod">
          <ac:chgData name="Mariam Daniela Tristancho Pineda (MISION TEMPORAL LTDA)" userId="a45a17f7-7950-4cb5-bfab-f5c894f959a9" providerId="ADAL" clId="{1440674F-A918-4BC9-A66E-0A6A8DD6A97A}" dt="2020-06-16T23:24:14.290" v="480" actId="571"/>
          <ac:spMkLst>
            <pc:docMk/>
            <pc:sldMk cId="838099151" sldId="2134804292"/>
            <ac:spMk id="101" creationId="{0EEF80BB-F5BB-45EE-A406-A19DB22F7E8C}"/>
          </ac:spMkLst>
        </pc:spChg>
        <pc:spChg chg="del mod ord">
          <ac:chgData name="Mariam Daniela Tristancho Pineda (MISION TEMPORAL LTDA)" userId="a45a17f7-7950-4cb5-bfab-f5c894f959a9" providerId="ADAL" clId="{1440674F-A918-4BC9-A66E-0A6A8DD6A97A}" dt="2020-06-26T15:21:37.709" v="3179" actId="478"/>
          <ac:spMkLst>
            <pc:docMk/>
            <pc:sldMk cId="838099151" sldId="2134804292"/>
            <ac:spMk id="101" creationId="{50D1281F-8266-4D64-9227-2DC0FCFC26CB}"/>
          </ac:spMkLst>
        </pc:spChg>
        <pc:spChg chg="mod">
          <ac:chgData name="Mariam Daniela Tristancho Pineda (MISION TEMPORAL LTDA)" userId="a45a17f7-7950-4cb5-bfab-f5c894f959a9" providerId="ADAL" clId="{1440674F-A918-4BC9-A66E-0A6A8DD6A97A}" dt="2020-06-26T15:25:53.864" v="3449" actId="554"/>
          <ac:spMkLst>
            <pc:docMk/>
            <pc:sldMk cId="838099151" sldId="2134804292"/>
            <ac:spMk id="102" creationId="{101F3273-AA10-47F1-9872-07AD50130DF5}"/>
          </ac:spMkLst>
        </pc:spChg>
        <pc:spChg chg="mod">
          <ac:chgData name="Mariam Daniela Tristancho Pineda (MISION TEMPORAL LTDA)" userId="a45a17f7-7950-4cb5-bfab-f5c894f959a9" providerId="ADAL" clId="{1440674F-A918-4BC9-A66E-0A6A8DD6A97A}" dt="2020-06-26T15:26:26.714" v="3456" actId="14100"/>
          <ac:spMkLst>
            <pc:docMk/>
            <pc:sldMk cId="838099151" sldId="2134804292"/>
            <ac:spMk id="103" creationId="{BDBCDC72-F935-45A4-AE31-C045019965AF}"/>
          </ac:spMkLst>
        </pc:spChg>
        <pc:spChg chg="mod ord">
          <ac:chgData name="Mariam Daniela Tristancho Pineda (MISION TEMPORAL LTDA)" userId="a45a17f7-7950-4cb5-bfab-f5c894f959a9" providerId="ADAL" clId="{1440674F-A918-4BC9-A66E-0A6A8DD6A97A}" dt="2020-06-26T15:26:11.678" v="3455" actId="1036"/>
          <ac:spMkLst>
            <pc:docMk/>
            <pc:sldMk cId="838099151" sldId="2134804292"/>
            <ac:spMk id="104" creationId="{0326A105-08B6-409E-9596-07BD7645DEAE}"/>
          </ac:spMkLst>
        </pc:spChg>
        <pc:spChg chg="mod ord">
          <ac:chgData name="Mariam Daniela Tristancho Pineda (MISION TEMPORAL LTDA)" userId="a45a17f7-7950-4cb5-bfab-f5c894f959a9" providerId="ADAL" clId="{1440674F-A918-4BC9-A66E-0A6A8DD6A97A}" dt="2020-06-26T15:26:11.678" v="3455" actId="1036"/>
          <ac:spMkLst>
            <pc:docMk/>
            <pc:sldMk cId="838099151" sldId="2134804292"/>
            <ac:spMk id="105" creationId="{DC633C75-4D21-4E37-ABEB-B69D06C0A224}"/>
          </ac:spMkLst>
        </pc:spChg>
        <pc:spChg chg="del mod ord">
          <ac:chgData name="Mariam Daniela Tristancho Pineda (MISION TEMPORAL LTDA)" userId="a45a17f7-7950-4cb5-bfab-f5c894f959a9" providerId="ADAL" clId="{1440674F-A918-4BC9-A66E-0A6A8DD6A97A}" dt="2020-06-25T22:36:39.730" v="2880" actId="21"/>
          <ac:spMkLst>
            <pc:docMk/>
            <pc:sldMk cId="838099151" sldId="2134804292"/>
            <ac:spMk id="106" creationId="{8BF155F6-9EE4-4410-BB22-DEE4B18E9FEF}"/>
          </ac:spMkLst>
        </pc:spChg>
        <pc:spChg chg="mod">
          <ac:chgData name="Mariam Daniela Tristancho Pineda (MISION TEMPORAL LTDA)" userId="a45a17f7-7950-4cb5-bfab-f5c894f959a9" providerId="ADAL" clId="{1440674F-A918-4BC9-A66E-0A6A8DD6A97A}" dt="2020-06-26T15:26:11.678" v="3455" actId="1036"/>
          <ac:spMkLst>
            <pc:docMk/>
            <pc:sldMk cId="838099151" sldId="2134804292"/>
            <ac:spMk id="107" creationId="{4802A65C-C4BA-49C6-A107-DC404BE5C336}"/>
          </ac:spMkLst>
        </pc:spChg>
        <pc:spChg chg="del mod ord">
          <ac:chgData name="Mariam Daniela Tristancho Pineda (MISION TEMPORAL LTDA)" userId="a45a17f7-7950-4cb5-bfab-f5c894f959a9" providerId="ADAL" clId="{1440674F-A918-4BC9-A66E-0A6A8DD6A97A}" dt="2020-06-26T15:21:37.709" v="3179" actId="478"/>
          <ac:spMkLst>
            <pc:docMk/>
            <pc:sldMk cId="838099151" sldId="2134804292"/>
            <ac:spMk id="108" creationId="{E7417F2C-4445-4433-AA31-1B1D9A1C89B3}"/>
          </ac:spMkLst>
        </pc:spChg>
        <pc:spChg chg="del mod">
          <ac:chgData name="Mariam Daniela Tristancho Pineda (MISION TEMPORAL LTDA)" userId="a45a17f7-7950-4cb5-bfab-f5c894f959a9" providerId="ADAL" clId="{1440674F-A918-4BC9-A66E-0A6A8DD6A97A}" dt="2020-06-26T15:21:37.709" v="3179" actId="478"/>
          <ac:spMkLst>
            <pc:docMk/>
            <pc:sldMk cId="838099151" sldId="2134804292"/>
            <ac:spMk id="109" creationId="{71C13042-3BAB-49AE-B302-BF1FC184D1C0}"/>
          </ac:spMkLst>
        </pc:spChg>
        <pc:spChg chg="add mod">
          <ac:chgData name="Mariam Daniela Tristancho Pineda (MISION TEMPORAL LTDA)" userId="a45a17f7-7950-4cb5-bfab-f5c894f959a9" providerId="ADAL" clId="{1440674F-A918-4BC9-A66E-0A6A8DD6A97A}" dt="2020-06-16T23:24:14.290" v="480" actId="571"/>
          <ac:spMkLst>
            <pc:docMk/>
            <pc:sldMk cId="838099151" sldId="2134804292"/>
            <ac:spMk id="109" creationId="{FC13B64F-A589-4005-AFFA-CB0A04AAE4B3}"/>
          </ac:spMkLst>
        </pc:spChg>
        <pc:spChg chg="del mod">
          <ac:chgData name="Mariam Daniela Tristancho Pineda (MISION TEMPORAL LTDA)" userId="a45a17f7-7950-4cb5-bfab-f5c894f959a9" providerId="ADAL" clId="{1440674F-A918-4BC9-A66E-0A6A8DD6A97A}" dt="2020-06-26T15:21:37.709" v="3179" actId="478"/>
          <ac:spMkLst>
            <pc:docMk/>
            <pc:sldMk cId="838099151" sldId="2134804292"/>
            <ac:spMk id="110" creationId="{016FFF86-9DDE-4B71-B999-66D87A5DF4D8}"/>
          </ac:spMkLst>
        </pc:spChg>
        <pc:spChg chg="add mod">
          <ac:chgData name="Mariam Daniela Tristancho Pineda (MISION TEMPORAL LTDA)" userId="a45a17f7-7950-4cb5-bfab-f5c894f959a9" providerId="ADAL" clId="{1440674F-A918-4BC9-A66E-0A6A8DD6A97A}" dt="2020-06-16T23:24:14.290" v="480" actId="571"/>
          <ac:spMkLst>
            <pc:docMk/>
            <pc:sldMk cId="838099151" sldId="2134804292"/>
            <ac:spMk id="110" creationId="{06D2A523-0127-4F91-84F7-27B7D259C759}"/>
          </ac:spMkLst>
        </pc:spChg>
        <pc:spChg chg="del mod">
          <ac:chgData name="Mariam Daniela Tristancho Pineda (MISION TEMPORAL LTDA)" userId="a45a17f7-7950-4cb5-bfab-f5c894f959a9" providerId="ADAL" clId="{1440674F-A918-4BC9-A66E-0A6A8DD6A97A}" dt="2020-06-26T15:21:37.709" v="3179" actId="478"/>
          <ac:spMkLst>
            <pc:docMk/>
            <pc:sldMk cId="838099151" sldId="2134804292"/>
            <ac:spMk id="111" creationId="{6C1EF8A6-0FB5-47E0-9CD3-2DB37B170394}"/>
          </ac:spMkLst>
        </pc:spChg>
        <pc:spChg chg="add mod">
          <ac:chgData name="Mariam Daniela Tristancho Pineda (MISION TEMPORAL LTDA)" userId="a45a17f7-7950-4cb5-bfab-f5c894f959a9" providerId="ADAL" clId="{1440674F-A918-4BC9-A66E-0A6A8DD6A97A}" dt="2020-06-16T23:24:14.290" v="480" actId="571"/>
          <ac:spMkLst>
            <pc:docMk/>
            <pc:sldMk cId="838099151" sldId="2134804292"/>
            <ac:spMk id="111" creationId="{F3FB3E52-32EA-4925-9743-709353FF5300}"/>
          </ac:spMkLst>
        </pc:spChg>
        <pc:spChg chg="add mod">
          <ac:chgData name="Mariam Daniela Tristancho Pineda (MISION TEMPORAL LTDA)" userId="a45a17f7-7950-4cb5-bfab-f5c894f959a9" providerId="ADAL" clId="{1440674F-A918-4BC9-A66E-0A6A8DD6A97A}" dt="2020-06-16T23:24:14.290" v="480" actId="571"/>
          <ac:spMkLst>
            <pc:docMk/>
            <pc:sldMk cId="838099151" sldId="2134804292"/>
            <ac:spMk id="112" creationId="{DB3F5C3C-4247-4A30-95E3-8E00E6C355D5}"/>
          </ac:spMkLst>
        </pc:spChg>
        <pc:spChg chg="del mod">
          <ac:chgData name="Mariam Daniela Tristancho Pineda (MISION TEMPORAL LTDA)" userId="a45a17f7-7950-4cb5-bfab-f5c894f959a9" providerId="ADAL" clId="{1440674F-A918-4BC9-A66E-0A6A8DD6A97A}" dt="2020-06-26T15:21:37.709" v="3179" actId="478"/>
          <ac:spMkLst>
            <pc:docMk/>
            <pc:sldMk cId="838099151" sldId="2134804292"/>
            <ac:spMk id="112" creationId="{F172C649-196A-458A-9FD2-06A9617C5DA1}"/>
          </ac:spMkLst>
        </pc:spChg>
        <pc:spChg chg="mod">
          <ac:chgData name="Mariam Daniela Tristancho Pineda (MISION TEMPORAL LTDA)" userId="a45a17f7-7950-4cb5-bfab-f5c894f959a9" providerId="ADAL" clId="{1440674F-A918-4BC9-A66E-0A6A8DD6A97A}" dt="2020-06-26T15:26:11.678" v="3455" actId="1036"/>
          <ac:spMkLst>
            <pc:docMk/>
            <pc:sldMk cId="838099151" sldId="2134804292"/>
            <ac:spMk id="113" creationId="{22C84C52-FFF2-4B1D-A23E-B10150D390CA}"/>
          </ac:spMkLst>
        </pc:spChg>
        <pc:spChg chg="add mod">
          <ac:chgData name="Mariam Daniela Tristancho Pineda (MISION TEMPORAL LTDA)" userId="a45a17f7-7950-4cb5-bfab-f5c894f959a9" providerId="ADAL" clId="{1440674F-A918-4BC9-A66E-0A6A8DD6A97A}" dt="2020-06-16T23:24:14.290" v="480" actId="571"/>
          <ac:spMkLst>
            <pc:docMk/>
            <pc:sldMk cId="838099151" sldId="2134804292"/>
            <ac:spMk id="113" creationId="{38B3A459-9E20-42A5-A3C4-15D21C77CD0F}"/>
          </ac:spMkLst>
        </pc:spChg>
        <pc:spChg chg="del mod">
          <ac:chgData name="Mariam Daniela Tristancho Pineda (MISION TEMPORAL LTDA)" userId="a45a17f7-7950-4cb5-bfab-f5c894f959a9" providerId="ADAL" clId="{1440674F-A918-4BC9-A66E-0A6A8DD6A97A}" dt="2020-06-26T15:21:37.709" v="3179" actId="478"/>
          <ac:spMkLst>
            <pc:docMk/>
            <pc:sldMk cId="838099151" sldId="2134804292"/>
            <ac:spMk id="114" creationId="{AE25D562-47A5-4429-8752-D107F6B610B2}"/>
          </ac:spMkLst>
        </pc:spChg>
        <pc:spChg chg="add mod">
          <ac:chgData name="Mariam Daniela Tristancho Pineda (MISION TEMPORAL LTDA)" userId="a45a17f7-7950-4cb5-bfab-f5c894f959a9" providerId="ADAL" clId="{1440674F-A918-4BC9-A66E-0A6A8DD6A97A}" dt="2020-06-16T23:24:14.290" v="480" actId="571"/>
          <ac:spMkLst>
            <pc:docMk/>
            <pc:sldMk cId="838099151" sldId="2134804292"/>
            <ac:spMk id="114" creationId="{F48963BE-72B6-4E0C-92A6-C8FE37E79DF5}"/>
          </ac:spMkLst>
        </pc:spChg>
        <pc:spChg chg="add mod">
          <ac:chgData name="Mariam Daniela Tristancho Pineda (MISION TEMPORAL LTDA)" userId="a45a17f7-7950-4cb5-bfab-f5c894f959a9" providerId="ADAL" clId="{1440674F-A918-4BC9-A66E-0A6A8DD6A97A}" dt="2020-06-16T23:24:14.290" v="480" actId="571"/>
          <ac:spMkLst>
            <pc:docMk/>
            <pc:sldMk cId="838099151" sldId="2134804292"/>
            <ac:spMk id="115" creationId="{3CAA1AFE-FCED-490D-89C4-BB33183485F0}"/>
          </ac:spMkLst>
        </pc:spChg>
        <pc:spChg chg="add del mod">
          <ac:chgData name="Mariam Daniela Tristancho Pineda (MISION TEMPORAL LTDA)" userId="a45a17f7-7950-4cb5-bfab-f5c894f959a9" providerId="ADAL" clId="{1440674F-A918-4BC9-A66E-0A6A8DD6A97A}" dt="2020-06-24T14:25:12.527" v="1490" actId="478"/>
          <ac:spMkLst>
            <pc:docMk/>
            <pc:sldMk cId="838099151" sldId="2134804292"/>
            <ac:spMk id="115" creationId="{94F79E1E-E9A3-4AEB-B0CE-FE7770D984D4}"/>
          </ac:spMkLst>
        </pc:spChg>
        <pc:spChg chg="add mod">
          <ac:chgData name="Mariam Daniela Tristancho Pineda (MISION TEMPORAL LTDA)" userId="a45a17f7-7950-4cb5-bfab-f5c894f959a9" providerId="ADAL" clId="{1440674F-A918-4BC9-A66E-0A6A8DD6A97A}" dt="2020-06-26T15:26:11.678" v="3455" actId="1036"/>
          <ac:spMkLst>
            <pc:docMk/>
            <pc:sldMk cId="838099151" sldId="2134804292"/>
            <ac:spMk id="115" creationId="{A59199E4-369E-4696-83DF-966F47A0CEA9}"/>
          </ac:spMkLst>
        </pc:spChg>
        <pc:spChg chg="add del mod ord">
          <ac:chgData name="Mariam Daniela Tristancho Pineda (MISION TEMPORAL LTDA)" userId="a45a17f7-7950-4cb5-bfab-f5c894f959a9" providerId="ADAL" clId="{1440674F-A918-4BC9-A66E-0A6A8DD6A97A}" dt="2020-06-25T22:36:39.730" v="2880" actId="21"/>
          <ac:spMkLst>
            <pc:docMk/>
            <pc:sldMk cId="838099151" sldId="2134804292"/>
            <ac:spMk id="116" creationId="{6BB8B363-E7A5-45E5-8FAC-21699A661EA2}"/>
          </ac:spMkLst>
        </pc:spChg>
        <pc:spChg chg="add mod">
          <ac:chgData name="Mariam Daniela Tristancho Pineda (MISION TEMPORAL LTDA)" userId="a45a17f7-7950-4cb5-bfab-f5c894f959a9" providerId="ADAL" clId="{1440674F-A918-4BC9-A66E-0A6A8DD6A97A}" dt="2020-06-16T23:24:14.290" v="480" actId="571"/>
          <ac:spMkLst>
            <pc:docMk/>
            <pc:sldMk cId="838099151" sldId="2134804292"/>
            <ac:spMk id="116" creationId="{D5FA5FE5-E07C-4EBC-8CDB-4B285186230D}"/>
          </ac:spMkLst>
        </pc:spChg>
        <pc:spChg chg="add mod">
          <ac:chgData name="Mariam Daniela Tristancho Pineda (MISION TEMPORAL LTDA)" userId="a45a17f7-7950-4cb5-bfab-f5c894f959a9" providerId="ADAL" clId="{1440674F-A918-4BC9-A66E-0A6A8DD6A97A}" dt="2020-06-26T15:26:11.678" v="3455" actId="1036"/>
          <ac:spMkLst>
            <pc:docMk/>
            <pc:sldMk cId="838099151" sldId="2134804292"/>
            <ac:spMk id="117" creationId="{814287F0-FD88-4F23-8E9B-B8E6D32189B3}"/>
          </ac:spMkLst>
        </pc:spChg>
        <pc:spChg chg="add mod">
          <ac:chgData name="Mariam Daniela Tristancho Pineda (MISION TEMPORAL LTDA)" userId="a45a17f7-7950-4cb5-bfab-f5c894f959a9" providerId="ADAL" clId="{1440674F-A918-4BC9-A66E-0A6A8DD6A97A}" dt="2020-06-16T23:24:14.290" v="480" actId="571"/>
          <ac:spMkLst>
            <pc:docMk/>
            <pc:sldMk cId="838099151" sldId="2134804292"/>
            <ac:spMk id="117" creationId="{AEBE1868-0F01-4B96-901B-B4FA6ACF4ACA}"/>
          </ac:spMkLst>
        </pc:spChg>
        <pc:spChg chg="add mod">
          <ac:chgData name="Mariam Daniela Tristancho Pineda (MISION TEMPORAL LTDA)" userId="a45a17f7-7950-4cb5-bfab-f5c894f959a9" providerId="ADAL" clId="{1440674F-A918-4BC9-A66E-0A6A8DD6A97A}" dt="2020-06-26T15:35:03.446" v="3584" actId="14100"/>
          <ac:spMkLst>
            <pc:docMk/>
            <pc:sldMk cId="838099151" sldId="2134804292"/>
            <ac:spMk id="118" creationId="{64EFC33F-DCB8-4E12-BB79-FF971CD49817}"/>
          </ac:spMkLst>
        </pc:spChg>
        <pc:spChg chg="add del mod">
          <ac:chgData name="Mariam Daniela Tristancho Pineda (MISION TEMPORAL LTDA)" userId="a45a17f7-7950-4cb5-bfab-f5c894f959a9" providerId="ADAL" clId="{1440674F-A918-4BC9-A66E-0A6A8DD6A97A}" dt="2020-06-17T00:14:02.333" v="999" actId="478"/>
          <ac:spMkLst>
            <pc:docMk/>
            <pc:sldMk cId="838099151" sldId="2134804292"/>
            <ac:spMk id="118" creationId="{E5D69677-1653-4362-8B0F-2C235B1BFC27}"/>
          </ac:spMkLst>
        </pc:spChg>
        <pc:spChg chg="add del mod">
          <ac:chgData name="Mariam Daniela Tristancho Pineda (MISION TEMPORAL LTDA)" userId="a45a17f7-7950-4cb5-bfab-f5c894f959a9" providerId="ADAL" clId="{1440674F-A918-4BC9-A66E-0A6A8DD6A97A}" dt="2020-06-24T14:33:34.137" v="1706"/>
          <ac:spMkLst>
            <pc:docMk/>
            <pc:sldMk cId="838099151" sldId="2134804292"/>
            <ac:spMk id="118" creationId="{FE4DCAC9-A3AB-4563-8C5D-8D0AED4FF712}"/>
          </ac:spMkLst>
        </pc:spChg>
        <pc:spChg chg="add del mod">
          <ac:chgData name="Mariam Daniela Tristancho Pineda (MISION TEMPORAL LTDA)" userId="a45a17f7-7950-4cb5-bfab-f5c894f959a9" providerId="ADAL" clId="{1440674F-A918-4BC9-A66E-0A6A8DD6A97A}" dt="2020-06-24T14:33:34.137" v="1706"/>
          <ac:spMkLst>
            <pc:docMk/>
            <pc:sldMk cId="838099151" sldId="2134804292"/>
            <ac:spMk id="119" creationId="{3114E878-422C-41A6-B28F-F539313C69BD}"/>
          </ac:spMkLst>
        </pc:spChg>
        <pc:spChg chg="add mod">
          <ac:chgData name="Mariam Daniela Tristancho Pineda (MISION TEMPORAL LTDA)" userId="a45a17f7-7950-4cb5-bfab-f5c894f959a9" providerId="ADAL" clId="{1440674F-A918-4BC9-A66E-0A6A8DD6A97A}" dt="2020-06-26T15:35:07.932" v="3587" actId="1038"/>
          <ac:spMkLst>
            <pc:docMk/>
            <pc:sldMk cId="838099151" sldId="2134804292"/>
            <ac:spMk id="119" creationId="{40F388FF-A98F-46DD-AEF0-8BF6E1D359D0}"/>
          </ac:spMkLst>
        </pc:spChg>
        <pc:spChg chg="add del mod">
          <ac:chgData name="Mariam Daniela Tristancho Pineda (MISION TEMPORAL LTDA)" userId="a45a17f7-7950-4cb5-bfab-f5c894f959a9" providerId="ADAL" clId="{1440674F-A918-4BC9-A66E-0A6A8DD6A97A}" dt="2020-06-17T00:14:01.251" v="998" actId="478"/>
          <ac:spMkLst>
            <pc:docMk/>
            <pc:sldMk cId="838099151" sldId="2134804292"/>
            <ac:spMk id="119" creationId="{D35B24E9-ED95-4BE5-A1DC-2BB9394B8BAE}"/>
          </ac:spMkLst>
        </pc:spChg>
        <pc:spChg chg="add del mod">
          <ac:chgData name="Mariam Daniela Tristancho Pineda (MISION TEMPORAL LTDA)" userId="a45a17f7-7950-4cb5-bfab-f5c894f959a9" providerId="ADAL" clId="{1440674F-A918-4BC9-A66E-0A6A8DD6A97A}" dt="2020-06-17T00:13:59.443" v="997" actId="478"/>
          <ac:spMkLst>
            <pc:docMk/>
            <pc:sldMk cId="838099151" sldId="2134804292"/>
            <ac:spMk id="120" creationId="{A23F7307-8435-4D06-9F05-014A88928966}"/>
          </ac:spMkLst>
        </pc:spChg>
        <pc:spChg chg="add mod">
          <ac:chgData name="Mariam Daniela Tristancho Pineda (MISION TEMPORAL LTDA)" userId="a45a17f7-7950-4cb5-bfab-f5c894f959a9" providerId="ADAL" clId="{1440674F-A918-4BC9-A66E-0A6A8DD6A97A}" dt="2020-06-26T15:35:11.699" v="3590" actId="1038"/>
          <ac:spMkLst>
            <pc:docMk/>
            <pc:sldMk cId="838099151" sldId="2134804292"/>
            <ac:spMk id="120" creationId="{C7385631-F46B-4467-A200-320CE070B85F}"/>
          </ac:spMkLst>
        </pc:spChg>
        <pc:spChg chg="add del mod">
          <ac:chgData name="Mariam Daniela Tristancho Pineda (MISION TEMPORAL LTDA)" userId="a45a17f7-7950-4cb5-bfab-f5c894f959a9" providerId="ADAL" clId="{1440674F-A918-4BC9-A66E-0A6A8DD6A97A}" dt="2020-06-24T14:33:34.137" v="1706"/>
          <ac:spMkLst>
            <pc:docMk/>
            <pc:sldMk cId="838099151" sldId="2134804292"/>
            <ac:spMk id="120" creationId="{EE997AB4-D1BA-4FA9-92D3-5B8B69A18C8C}"/>
          </ac:spMkLst>
        </pc:spChg>
        <pc:spChg chg="add mod">
          <ac:chgData name="Mariam Daniela Tristancho Pineda (MISION TEMPORAL LTDA)" userId="a45a17f7-7950-4cb5-bfab-f5c894f959a9" providerId="ADAL" clId="{1440674F-A918-4BC9-A66E-0A6A8DD6A97A}" dt="2020-06-24T14:51:06.831" v="2035" actId="1037"/>
          <ac:spMkLst>
            <pc:docMk/>
            <pc:sldMk cId="838099151" sldId="2134804292"/>
            <ac:spMk id="121" creationId="{2E4219D0-FC12-4E35-8DC3-7D8033FAE51A}"/>
          </ac:spMkLst>
        </pc:spChg>
        <pc:spChg chg="add mod">
          <ac:chgData name="Mariam Daniela Tristancho Pineda (MISION TEMPORAL LTDA)" userId="a45a17f7-7950-4cb5-bfab-f5c894f959a9" providerId="ADAL" clId="{1440674F-A918-4BC9-A66E-0A6A8DD6A97A}" dt="2020-06-24T14:51:06.831" v="2035" actId="1037"/>
          <ac:spMkLst>
            <pc:docMk/>
            <pc:sldMk cId="838099151" sldId="2134804292"/>
            <ac:spMk id="122" creationId="{F59AC007-B728-4703-B31F-7E86BF727532}"/>
          </ac:spMkLst>
        </pc:spChg>
        <pc:spChg chg="add mod">
          <ac:chgData name="Mariam Daniela Tristancho Pineda (MISION TEMPORAL LTDA)" userId="a45a17f7-7950-4cb5-bfab-f5c894f959a9" providerId="ADAL" clId="{1440674F-A918-4BC9-A66E-0A6A8DD6A97A}" dt="2020-06-24T14:51:06.831" v="2035" actId="1037"/>
          <ac:spMkLst>
            <pc:docMk/>
            <pc:sldMk cId="838099151" sldId="2134804292"/>
            <ac:spMk id="123" creationId="{6441CA6B-E4DC-4E7E-87F8-3EAF8197D2F3}"/>
          </ac:spMkLst>
        </pc:spChg>
        <pc:spChg chg="add mod">
          <ac:chgData name="Mariam Daniela Tristancho Pineda (MISION TEMPORAL LTDA)" userId="a45a17f7-7950-4cb5-bfab-f5c894f959a9" providerId="ADAL" clId="{1440674F-A918-4BC9-A66E-0A6A8DD6A97A}" dt="2020-06-25T23:05:08.885" v="3129" actId="1037"/>
          <ac:spMkLst>
            <pc:docMk/>
            <pc:sldMk cId="838099151" sldId="2134804292"/>
            <ac:spMk id="124" creationId="{469E1CBD-D055-4DF7-8849-6D6B97B58CA6}"/>
          </ac:spMkLst>
        </pc:spChg>
        <pc:spChg chg="add del mod">
          <ac:chgData name="Mariam Daniela Tristancho Pineda (MISION TEMPORAL LTDA)" userId="a45a17f7-7950-4cb5-bfab-f5c894f959a9" providerId="ADAL" clId="{1440674F-A918-4BC9-A66E-0A6A8DD6A97A}" dt="2020-06-24T14:33:34.137" v="1706"/>
          <ac:spMkLst>
            <pc:docMk/>
            <pc:sldMk cId="838099151" sldId="2134804292"/>
            <ac:spMk id="124" creationId="{59C3F6B9-8A85-4E43-BCF6-B5DFD8D1BFE5}"/>
          </ac:spMkLst>
        </pc:spChg>
        <pc:spChg chg="add del mod">
          <ac:chgData name="Mariam Daniela Tristancho Pineda (MISION TEMPORAL LTDA)" userId="a45a17f7-7950-4cb5-bfab-f5c894f959a9" providerId="ADAL" clId="{1440674F-A918-4BC9-A66E-0A6A8DD6A97A}" dt="2020-06-17T00:14:52.489" v="1016" actId="478"/>
          <ac:spMkLst>
            <pc:docMk/>
            <pc:sldMk cId="838099151" sldId="2134804292"/>
            <ac:spMk id="124" creationId="{EFBD50C0-E865-40F1-906B-DBF08B0360A6}"/>
          </ac:spMkLst>
        </pc:spChg>
        <pc:spChg chg="add del mod ord">
          <ac:chgData name="Mariam Daniela Tristancho Pineda (MISION TEMPORAL LTDA)" userId="a45a17f7-7950-4cb5-bfab-f5c894f959a9" providerId="ADAL" clId="{1440674F-A918-4BC9-A66E-0A6A8DD6A97A}" dt="2020-06-25T22:36:39.730" v="2880" actId="21"/>
          <ac:spMkLst>
            <pc:docMk/>
            <pc:sldMk cId="838099151" sldId="2134804292"/>
            <ac:spMk id="125" creationId="{8EA7677D-EB7C-4451-8125-3B8F894E41CB}"/>
          </ac:spMkLst>
        </pc:spChg>
        <pc:spChg chg="add del mod">
          <ac:chgData name="Mariam Daniela Tristancho Pineda (MISION TEMPORAL LTDA)" userId="a45a17f7-7950-4cb5-bfab-f5c894f959a9" providerId="ADAL" clId="{1440674F-A918-4BC9-A66E-0A6A8DD6A97A}" dt="2020-06-17T00:14:53.261" v="1017" actId="478"/>
          <ac:spMkLst>
            <pc:docMk/>
            <pc:sldMk cId="838099151" sldId="2134804292"/>
            <ac:spMk id="125" creationId="{AC1E2CD1-3145-470B-B7A3-FD52EE96FD84}"/>
          </ac:spMkLst>
        </pc:spChg>
        <pc:spChg chg="add del mod">
          <ac:chgData name="Mariam Daniela Tristancho Pineda (MISION TEMPORAL LTDA)" userId="a45a17f7-7950-4cb5-bfab-f5c894f959a9" providerId="ADAL" clId="{1440674F-A918-4BC9-A66E-0A6A8DD6A97A}" dt="2020-06-17T00:14:53.663" v="1018" actId="478"/>
          <ac:spMkLst>
            <pc:docMk/>
            <pc:sldMk cId="838099151" sldId="2134804292"/>
            <ac:spMk id="126" creationId="{93243053-4BEE-4988-AF5B-2F0D50AD5539}"/>
          </ac:spMkLst>
        </pc:spChg>
        <pc:spChg chg="add del mod">
          <ac:chgData name="Mariam Daniela Tristancho Pineda (MISION TEMPORAL LTDA)" userId="a45a17f7-7950-4cb5-bfab-f5c894f959a9" providerId="ADAL" clId="{1440674F-A918-4BC9-A66E-0A6A8DD6A97A}" dt="2020-06-25T22:36:39.730" v="2880" actId="21"/>
          <ac:spMkLst>
            <pc:docMk/>
            <pc:sldMk cId="838099151" sldId="2134804292"/>
            <ac:spMk id="126" creationId="{E6905FEA-BE8D-4B2A-AA11-317F77C2301E}"/>
          </ac:spMkLst>
        </pc:spChg>
        <pc:spChg chg="add del mod">
          <ac:chgData name="Mariam Daniela Tristancho Pineda (MISION TEMPORAL LTDA)" userId="a45a17f7-7950-4cb5-bfab-f5c894f959a9" providerId="ADAL" clId="{1440674F-A918-4BC9-A66E-0A6A8DD6A97A}" dt="2020-06-25T22:36:39.730" v="2880" actId="21"/>
          <ac:spMkLst>
            <pc:docMk/>
            <pc:sldMk cId="838099151" sldId="2134804292"/>
            <ac:spMk id="127" creationId="{2E573E72-BF8C-4419-96FA-CFC64BAE39A9}"/>
          </ac:spMkLst>
        </pc:spChg>
        <pc:spChg chg="add del mod">
          <ac:chgData name="Mariam Daniela Tristancho Pineda (MISION TEMPORAL LTDA)" userId="a45a17f7-7950-4cb5-bfab-f5c894f959a9" providerId="ADAL" clId="{1440674F-A918-4BC9-A66E-0A6A8DD6A97A}" dt="2020-06-17T00:14:54.318" v="1019" actId="478"/>
          <ac:spMkLst>
            <pc:docMk/>
            <pc:sldMk cId="838099151" sldId="2134804292"/>
            <ac:spMk id="127" creationId="{FAF5401A-98F9-47B8-82DF-317AD9ECB795}"/>
          </ac:spMkLst>
        </pc:spChg>
        <pc:spChg chg="add del mod">
          <ac:chgData name="Mariam Daniela Tristancho Pineda (MISION TEMPORAL LTDA)" userId="a45a17f7-7950-4cb5-bfab-f5c894f959a9" providerId="ADAL" clId="{1440674F-A918-4BC9-A66E-0A6A8DD6A97A}" dt="2020-06-25T22:36:39.730" v="2880" actId="21"/>
          <ac:spMkLst>
            <pc:docMk/>
            <pc:sldMk cId="838099151" sldId="2134804292"/>
            <ac:spMk id="128" creationId="{2D39EEEF-1FB1-43CB-BCD1-1EF802C685D5}"/>
          </ac:spMkLst>
        </pc:spChg>
        <pc:spChg chg="add del mod">
          <ac:chgData name="Mariam Daniela Tristancho Pineda (MISION TEMPORAL LTDA)" userId="a45a17f7-7950-4cb5-bfab-f5c894f959a9" providerId="ADAL" clId="{1440674F-A918-4BC9-A66E-0A6A8DD6A97A}" dt="2020-06-17T00:15:43.554" v="1036" actId="478"/>
          <ac:spMkLst>
            <pc:docMk/>
            <pc:sldMk cId="838099151" sldId="2134804292"/>
            <ac:spMk id="128" creationId="{C230F94A-71E3-4CB7-9BDA-D2523B7FE540}"/>
          </ac:spMkLst>
        </pc:spChg>
        <pc:spChg chg="add del mod">
          <ac:chgData name="Mariam Daniela Tristancho Pineda (MISION TEMPORAL LTDA)" userId="a45a17f7-7950-4cb5-bfab-f5c894f959a9" providerId="ADAL" clId="{1440674F-A918-4BC9-A66E-0A6A8DD6A97A}" dt="2020-06-17T00:14:54.808" v="1020" actId="478"/>
          <ac:spMkLst>
            <pc:docMk/>
            <pc:sldMk cId="838099151" sldId="2134804292"/>
            <ac:spMk id="129" creationId="{46713055-B1BA-41EA-8DF8-131CE552A74E}"/>
          </ac:spMkLst>
        </pc:spChg>
        <pc:spChg chg="add mod">
          <ac:chgData name="Mariam Daniela Tristancho Pineda (MISION TEMPORAL LTDA)" userId="a45a17f7-7950-4cb5-bfab-f5c894f959a9" providerId="ADAL" clId="{1440674F-A918-4BC9-A66E-0A6A8DD6A97A}" dt="2020-06-26T15:37:33.824" v="3615" actId="1076"/>
          <ac:spMkLst>
            <pc:docMk/>
            <pc:sldMk cId="838099151" sldId="2134804292"/>
            <ac:spMk id="129" creationId="{5962802C-2649-407C-939E-A33D22B31BE7}"/>
          </ac:spMkLst>
        </pc:spChg>
        <pc:spChg chg="add del mod">
          <ac:chgData name="Mariam Daniela Tristancho Pineda (MISION TEMPORAL LTDA)" userId="a45a17f7-7950-4cb5-bfab-f5c894f959a9" providerId="ADAL" clId="{1440674F-A918-4BC9-A66E-0A6A8DD6A97A}" dt="2020-06-17T00:14:55.342" v="1021" actId="478"/>
          <ac:spMkLst>
            <pc:docMk/>
            <pc:sldMk cId="838099151" sldId="2134804292"/>
            <ac:spMk id="130" creationId="{8305BAF2-738B-41DD-BF30-93B01470BA28}"/>
          </ac:spMkLst>
        </pc:spChg>
        <pc:spChg chg="add mod">
          <ac:chgData name="Mariam Daniela Tristancho Pineda (MISION TEMPORAL LTDA)" userId="a45a17f7-7950-4cb5-bfab-f5c894f959a9" providerId="ADAL" clId="{1440674F-A918-4BC9-A66E-0A6A8DD6A97A}" dt="2020-06-26T15:40:26.656" v="3644" actId="20577"/>
          <ac:spMkLst>
            <pc:docMk/>
            <pc:sldMk cId="838099151" sldId="2134804292"/>
            <ac:spMk id="130" creationId="{AF073E07-A056-49B3-82C1-2FBAD2001CAB}"/>
          </ac:spMkLst>
        </pc:spChg>
        <pc:spChg chg="add del mod">
          <ac:chgData name="Mariam Daniela Tristancho Pineda (MISION TEMPORAL LTDA)" userId="a45a17f7-7950-4cb5-bfab-f5c894f959a9" providerId="ADAL" clId="{1440674F-A918-4BC9-A66E-0A6A8DD6A97A}" dt="2020-06-17T00:14:55.942" v="1022" actId="478"/>
          <ac:spMkLst>
            <pc:docMk/>
            <pc:sldMk cId="838099151" sldId="2134804292"/>
            <ac:spMk id="131" creationId="{C83776C9-129A-448D-BBDF-7A8075576331}"/>
          </ac:spMkLst>
        </pc:spChg>
        <pc:spChg chg="add del mod">
          <ac:chgData name="Mariam Daniela Tristancho Pineda (MISION TEMPORAL LTDA)" userId="a45a17f7-7950-4cb5-bfab-f5c894f959a9" providerId="ADAL" clId="{1440674F-A918-4BC9-A66E-0A6A8DD6A97A}" dt="2020-06-25T22:49:37.088" v="2971" actId="478"/>
          <ac:spMkLst>
            <pc:docMk/>
            <pc:sldMk cId="838099151" sldId="2134804292"/>
            <ac:spMk id="131" creationId="{FA6B3E83-8693-491D-85F8-4874F2C7B466}"/>
          </ac:spMkLst>
        </pc:spChg>
        <pc:spChg chg="add mod">
          <ac:chgData name="Mariam Daniela Tristancho Pineda (MISION TEMPORAL LTDA)" userId="a45a17f7-7950-4cb5-bfab-f5c894f959a9" providerId="ADAL" clId="{1440674F-A918-4BC9-A66E-0A6A8DD6A97A}" dt="2020-06-25T23:05:08.885" v="3129" actId="1037"/>
          <ac:spMkLst>
            <pc:docMk/>
            <pc:sldMk cId="838099151" sldId="2134804292"/>
            <ac:spMk id="132" creationId="{10805ED7-B6A2-44FC-9278-C06AE813E172}"/>
          </ac:spMkLst>
        </pc:spChg>
        <pc:spChg chg="add del mod">
          <ac:chgData name="Mariam Daniela Tristancho Pineda (MISION TEMPORAL LTDA)" userId="a45a17f7-7950-4cb5-bfab-f5c894f959a9" providerId="ADAL" clId="{1440674F-A918-4BC9-A66E-0A6A8DD6A97A}" dt="2020-06-17T00:14:56.782" v="1023" actId="478"/>
          <ac:spMkLst>
            <pc:docMk/>
            <pc:sldMk cId="838099151" sldId="2134804292"/>
            <ac:spMk id="132" creationId="{700D7318-B669-483F-9554-2F3DAA2ED644}"/>
          </ac:spMkLst>
        </pc:spChg>
        <pc:spChg chg="add mod ord">
          <ac:chgData name="Mariam Daniela Tristancho Pineda (MISION TEMPORAL LTDA)" userId="a45a17f7-7950-4cb5-bfab-f5c894f959a9" providerId="ADAL" clId="{1440674F-A918-4BC9-A66E-0A6A8DD6A97A}" dt="2020-06-25T23:05:08.885" v="3129" actId="1037"/>
          <ac:spMkLst>
            <pc:docMk/>
            <pc:sldMk cId="838099151" sldId="2134804292"/>
            <ac:spMk id="133" creationId="{26F8700F-BA62-4BDC-93D4-1CE85427A5F4}"/>
          </ac:spMkLst>
        </pc:spChg>
        <pc:spChg chg="add del mod">
          <ac:chgData name="Mariam Daniela Tristancho Pineda (MISION TEMPORAL LTDA)" userId="a45a17f7-7950-4cb5-bfab-f5c894f959a9" providerId="ADAL" clId="{1440674F-A918-4BC9-A66E-0A6A8DD6A97A}" dt="2020-06-17T00:15:59.650" v="1042" actId="478"/>
          <ac:spMkLst>
            <pc:docMk/>
            <pc:sldMk cId="838099151" sldId="2134804292"/>
            <ac:spMk id="133" creationId="{4CB357DF-1FE2-4C33-80E7-DDCE6AE6F170}"/>
          </ac:spMkLst>
        </pc:spChg>
        <pc:spChg chg="add del mod">
          <ac:chgData name="Mariam Daniela Tristancho Pineda (MISION TEMPORAL LTDA)" userId="a45a17f7-7950-4cb5-bfab-f5c894f959a9" providerId="ADAL" clId="{1440674F-A918-4BC9-A66E-0A6A8DD6A97A}" dt="2020-06-17T00:15:58.767" v="1041" actId="478"/>
          <ac:spMkLst>
            <pc:docMk/>
            <pc:sldMk cId="838099151" sldId="2134804292"/>
            <ac:spMk id="134" creationId="{C57D1D05-EE22-4AAB-9B49-B7C9649DEC92}"/>
          </ac:spMkLst>
        </pc:spChg>
        <pc:spChg chg="add mod">
          <ac:chgData name="Mariam Daniela Tristancho Pineda (MISION TEMPORAL LTDA)" userId="a45a17f7-7950-4cb5-bfab-f5c894f959a9" providerId="ADAL" clId="{1440674F-A918-4BC9-A66E-0A6A8DD6A97A}" dt="2020-06-25T23:05:08.885" v="3129" actId="1037"/>
          <ac:spMkLst>
            <pc:docMk/>
            <pc:sldMk cId="838099151" sldId="2134804292"/>
            <ac:spMk id="134" creationId="{CE3B8BB4-2BB8-4948-B3D0-C683B7559C56}"/>
          </ac:spMkLst>
        </pc:spChg>
        <pc:spChg chg="add del mod">
          <ac:chgData name="Mariam Daniela Tristancho Pineda (MISION TEMPORAL LTDA)" userId="a45a17f7-7950-4cb5-bfab-f5c894f959a9" providerId="ADAL" clId="{1440674F-A918-4BC9-A66E-0A6A8DD6A97A}" dt="2020-06-17T00:15:41.614" v="1034" actId="478"/>
          <ac:spMkLst>
            <pc:docMk/>
            <pc:sldMk cId="838099151" sldId="2134804292"/>
            <ac:spMk id="135" creationId="{DC16490D-3127-4876-BA94-A47E1DBE70A3}"/>
          </ac:spMkLst>
        </pc:spChg>
        <pc:spChg chg="add del mod">
          <ac:chgData name="Mariam Daniela Tristancho Pineda (MISION TEMPORAL LTDA)" userId="a45a17f7-7950-4cb5-bfab-f5c894f959a9" providerId="ADAL" clId="{1440674F-A918-4BC9-A66E-0A6A8DD6A97A}" dt="2020-06-17T00:14:58.091" v="1025" actId="478"/>
          <ac:spMkLst>
            <pc:docMk/>
            <pc:sldMk cId="838099151" sldId="2134804292"/>
            <ac:spMk id="136" creationId="{B39CEA20-48D9-499E-BE83-39BFCA0E9491}"/>
          </ac:spMkLst>
        </pc:spChg>
        <pc:spChg chg="mod">
          <ac:chgData name="Mariam Daniela Tristancho Pineda (MISION TEMPORAL LTDA)" userId="a45a17f7-7950-4cb5-bfab-f5c894f959a9" providerId="ADAL" clId="{1440674F-A918-4BC9-A66E-0A6A8DD6A97A}" dt="2020-06-26T15:32:12.149" v="3518" actId="1036"/>
          <ac:spMkLst>
            <pc:docMk/>
            <pc:sldMk cId="838099151" sldId="2134804292"/>
            <ac:spMk id="137" creationId="{F2F1441C-82E3-4978-ADB4-2E81AB714A12}"/>
          </ac:spMkLst>
        </pc:spChg>
        <pc:spChg chg="mod">
          <ac:chgData name="Mariam Daniela Tristancho Pineda (MISION TEMPORAL LTDA)" userId="a45a17f7-7950-4cb5-bfab-f5c894f959a9" providerId="ADAL" clId="{1440674F-A918-4BC9-A66E-0A6A8DD6A97A}" dt="2020-06-26T15:32:12.149" v="3518" actId="1036"/>
          <ac:spMkLst>
            <pc:docMk/>
            <pc:sldMk cId="838099151" sldId="2134804292"/>
            <ac:spMk id="138" creationId="{B7572FF5-C3B2-41FB-AC8B-11068157874D}"/>
          </ac:spMkLst>
        </pc:spChg>
        <pc:spChg chg="mod">
          <ac:chgData name="Mariam Daniela Tristancho Pineda (MISION TEMPORAL LTDA)" userId="a45a17f7-7950-4cb5-bfab-f5c894f959a9" providerId="ADAL" clId="{1440674F-A918-4BC9-A66E-0A6A8DD6A97A}" dt="2020-06-26T15:32:12.149" v="3518" actId="1036"/>
          <ac:spMkLst>
            <pc:docMk/>
            <pc:sldMk cId="838099151" sldId="2134804292"/>
            <ac:spMk id="139" creationId="{2227F15F-B01E-49E7-B6F1-35FB55117734}"/>
          </ac:spMkLst>
        </pc:spChg>
        <pc:spChg chg="del mod">
          <ac:chgData name="Mariam Daniela Tristancho Pineda (MISION TEMPORAL LTDA)" userId="a45a17f7-7950-4cb5-bfab-f5c894f959a9" providerId="ADAL" clId="{1440674F-A918-4BC9-A66E-0A6A8DD6A97A}" dt="2020-06-24T14:40:31.174" v="1887" actId="478"/>
          <ac:spMkLst>
            <pc:docMk/>
            <pc:sldMk cId="838099151" sldId="2134804292"/>
            <ac:spMk id="140" creationId="{2062ABD7-3E18-481C-BE0F-59304E710CAD}"/>
          </ac:spMkLst>
        </pc:spChg>
        <pc:spChg chg="mod">
          <ac:chgData name="Mariam Daniela Tristancho Pineda (MISION TEMPORAL LTDA)" userId="a45a17f7-7950-4cb5-bfab-f5c894f959a9" providerId="ADAL" clId="{1440674F-A918-4BC9-A66E-0A6A8DD6A97A}" dt="2020-06-17T00:15:57.776" v="1040" actId="108"/>
          <ac:spMkLst>
            <pc:docMk/>
            <pc:sldMk cId="838099151" sldId="2134804292"/>
            <ac:spMk id="141" creationId="{6DFBB2A7-5F2D-4D91-9156-98CB032BD858}"/>
          </ac:spMkLst>
        </pc:spChg>
        <pc:spChg chg="mod">
          <ac:chgData name="Mariam Daniela Tristancho Pineda (MISION TEMPORAL LTDA)" userId="a45a17f7-7950-4cb5-bfab-f5c894f959a9" providerId="ADAL" clId="{1440674F-A918-4BC9-A66E-0A6A8DD6A97A}" dt="2020-06-26T15:32:15.870" v="3522" actId="1036"/>
          <ac:spMkLst>
            <pc:docMk/>
            <pc:sldMk cId="838099151" sldId="2134804292"/>
            <ac:spMk id="142" creationId="{9660C67C-C249-4C29-87B1-2E22B67DE74F}"/>
          </ac:spMkLst>
        </pc:spChg>
        <pc:spChg chg="add del mod">
          <ac:chgData name="Mariam Daniela Tristancho Pineda (MISION TEMPORAL LTDA)" userId="a45a17f7-7950-4cb5-bfab-f5c894f959a9" providerId="ADAL" clId="{1440674F-A918-4BC9-A66E-0A6A8DD6A97A}" dt="2020-06-17T00:14:57.490" v="1024" actId="478"/>
          <ac:spMkLst>
            <pc:docMk/>
            <pc:sldMk cId="838099151" sldId="2134804292"/>
            <ac:spMk id="143" creationId="{102360B4-9172-41F6-8698-91433BD23E49}"/>
          </ac:spMkLst>
        </pc:spChg>
        <pc:spChg chg="mod">
          <ac:chgData name="Mariam Daniela Tristancho Pineda (MISION TEMPORAL LTDA)" userId="a45a17f7-7950-4cb5-bfab-f5c894f959a9" providerId="ADAL" clId="{1440674F-A918-4BC9-A66E-0A6A8DD6A97A}" dt="2020-06-26T15:33:33.500" v="3538" actId="465"/>
          <ac:spMkLst>
            <pc:docMk/>
            <pc:sldMk cId="838099151" sldId="2134804292"/>
            <ac:spMk id="144" creationId="{25AF8D90-7CF9-4004-AFE7-8FD9BCD562C6}"/>
          </ac:spMkLst>
        </pc:spChg>
        <pc:spChg chg="mod">
          <ac:chgData name="Mariam Daniela Tristancho Pineda (MISION TEMPORAL LTDA)" userId="a45a17f7-7950-4cb5-bfab-f5c894f959a9" providerId="ADAL" clId="{1440674F-A918-4BC9-A66E-0A6A8DD6A97A}" dt="2020-06-26T15:33:23.057" v="3537" actId="14100"/>
          <ac:spMkLst>
            <pc:docMk/>
            <pc:sldMk cId="838099151" sldId="2134804292"/>
            <ac:spMk id="145" creationId="{1FACAF7C-6304-4959-827F-E5EC80E0E805}"/>
          </ac:spMkLst>
        </pc:spChg>
        <pc:spChg chg="mod">
          <ac:chgData name="Mariam Daniela Tristancho Pineda (MISION TEMPORAL LTDA)" userId="a45a17f7-7950-4cb5-bfab-f5c894f959a9" providerId="ADAL" clId="{1440674F-A918-4BC9-A66E-0A6A8DD6A97A}" dt="2020-06-26T15:33:23.057" v="3537" actId="14100"/>
          <ac:spMkLst>
            <pc:docMk/>
            <pc:sldMk cId="838099151" sldId="2134804292"/>
            <ac:spMk id="146" creationId="{D86974CC-32BF-439F-A6E2-D1E82520294D}"/>
          </ac:spMkLst>
        </pc:spChg>
        <pc:spChg chg="mod">
          <ac:chgData name="Mariam Daniela Tristancho Pineda (MISION TEMPORAL LTDA)" userId="a45a17f7-7950-4cb5-bfab-f5c894f959a9" providerId="ADAL" clId="{1440674F-A918-4BC9-A66E-0A6A8DD6A97A}" dt="2020-06-26T15:33:33.500" v="3538" actId="465"/>
          <ac:spMkLst>
            <pc:docMk/>
            <pc:sldMk cId="838099151" sldId="2134804292"/>
            <ac:spMk id="147" creationId="{58F0CDC2-9414-439E-A3CB-C4B6F7ADCE1B}"/>
          </ac:spMkLst>
        </pc:spChg>
        <pc:spChg chg="mod">
          <ac:chgData name="Mariam Daniela Tristancho Pineda (MISION TEMPORAL LTDA)" userId="a45a17f7-7950-4cb5-bfab-f5c894f959a9" providerId="ADAL" clId="{1440674F-A918-4BC9-A66E-0A6A8DD6A97A}" dt="2020-06-26T15:34:13.958" v="3551" actId="14100"/>
          <ac:spMkLst>
            <pc:docMk/>
            <pc:sldMk cId="838099151" sldId="2134804292"/>
            <ac:spMk id="148" creationId="{3D0EFFEA-E9FE-4053-B9D8-C9F8D8881270}"/>
          </ac:spMkLst>
        </pc:spChg>
        <pc:spChg chg="add del mod">
          <ac:chgData name="Mariam Daniela Tristancho Pineda (MISION TEMPORAL LTDA)" userId="a45a17f7-7950-4cb5-bfab-f5c894f959a9" providerId="ADAL" clId="{1440674F-A918-4BC9-A66E-0A6A8DD6A97A}" dt="2020-06-17T00:15:42.521" v="1035" actId="478"/>
          <ac:spMkLst>
            <pc:docMk/>
            <pc:sldMk cId="838099151" sldId="2134804292"/>
            <ac:spMk id="149" creationId="{AC82C2EC-4853-4B6A-A06F-298FEEC2FF2D}"/>
          </ac:spMkLst>
        </pc:spChg>
        <pc:cxnChg chg="del mod">
          <ac:chgData name="Mariam Daniela Tristancho Pineda (MISION TEMPORAL LTDA)" userId="a45a17f7-7950-4cb5-bfab-f5c894f959a9" providerId="ADAL" clId="{1440674F-A918-4BC9-A66E-0A6A8DD6A97A}" dt="2020-06-25T21:48:08.309" v="2533" actId="478"/>
          <ac:cxnSpMkLst>
            <pc:docMk/>
            <pc:sldMk cId="838099151" sldId="2134804292"/>
            <ac:cxnSpMk id="88" creationId="{72E252A3-F8E1-4DDE-822C-DFEF6DF55A06}"/>
          </ac:cxnSpMkLst>
        </pc:cxnChg>
        <pc:cxnChg chg="del mod">
          <ac:chgData name="Mariam Daniela Tristancho Pineda (MISION TEMPORAL LTDA)" userId="a45a17f7-7950-4cb5-bfab-f5c894f959a9" providerId="ADAL" clId="{1440674F-A918-4BC9-A66E-0A6A8DD6A97A}" dt="2020-06-25T21:48:04.102" v="2532" actId="478"/>
          <ac:cxnSpMkLst>
            <pc:docMk/>
            <pc:sldMk cId="838099151" sldId="2134804292"/>
            <ac:cxnSpMk id="95" creationId="{992CCE25-00CE-4C15-881A-068C6B1A3F0E}"/>
          </ac:cxnSpMkLst>
        </pc:cxnChg>
      </pc:sldChg>
      <pc:sldChg chg="modSp mod">
        <pc:chgData name="Mariam Daniela Tristancho Pineda (MISION TEMPORAL LTDA)" userId="a45a17f7-7950-4cb5-bfab-f5c894f959a9" providerId="ADAL" clId="{1440674F-A918-4BC9-A66E-0A6A8DD6A97A}" dt="2020-06-16T21:12:33.198" v="217" actId="404"/>
        <pc:sldMkLst>
          <pc:docMk/>
          <pc:sldMk cId="1822149763" sldId="2134804293"/>
        </pc:sldMkLst>
        <pc:spChg chg="mod">
          <ac:chgData name="Mariam Daniela Tristancho Pineda (MISION TEMPORAL LTDA)" userId="a45a17f7-7950-4cb5-bfab-f5c894f959a9" providerId="ADAL" clId="{1440674F-A918-4BC9-A66E-0A6A8DD6A97A}" dt="2020-06-16T21:12:33.198" v="217" actId="404"/>
          <ac:spMkLst>
            <pc:docMk/>
            <pc:sldMk cId="1822149763" sldId="2134804293"/>
            <ac:spMk id="6" creationId="{935E60B3-FFBE-4EF9-967C-09104A4E6C2E}"/>
          </ac:spMkLst>
        </pc:spChg>
      </pc:sldChg>
      <pc:sldChg chg="addSp delSp modSp mod">
        <pc:chgData name="Mariam Daniela Tristancho Pineda (MISION TEMPORAL LTDA)" userId="a45a17f7-7950-4cb5-bfab-f5c894f959a9" providerId="ADAL" clId="{1440674F-A918-4BC9-A66E-0A6A8DD6A97A}" dt="2020-06-24T15:05:52.985" v="2414" actId="1038"/>
        <pc:sldMkLst>
          <pc:docMk/>
          <pc:sldMk cId="689766239" sldId="2134804294"/>
        </pc:sldMkLst>
        <pc:spChg chg="mod">
          <ac:chgData name="Mariam Daniela Tristancho Pineda (MISION TEMPORAL LTDA)" userId="a45a17f7-7950-4cb5-bfab-f5c894f959a9" providerId="ADAL" clId="{1440674F-A918-4BC9-A66E-0A6A8DD6A97A}" dt="2020-06-24T14:56:49.440" v="2166" actId="1076"/>
          <ac:spMkLst>
            <pc:docMk/>
            <pc:sldMk cId="689766239" sldId="2134804294"/>
            <ac:spMk id="6" creationId="{A9B6670C-9FA9-460C-B8DE-3379ABC12A8C}"/>
          </ac:spMkLst>
        </pc:spChg>
        <pc:spChg chg="mod">
          <ac:chgData name="Mariam Daniela Tristancho Pineda (MISION TEMPORAL LTDA)" userId="a45a17f7-7950-4cb5-bfab-f5c894f959a9" providerId="ADAL" clId="{1440674F-A918-4BC9-A66E-0A6A8DD6A97A}" dt="2020-06-24T15:05:26.696" v="2381" actId="1076"/>
          <ac:spMkLst>
            <pc:docMk/>
            <pc:sldMk cId="689766239" sldId="2134804294"/>
            <ac:spMk id="7" creationId="{52FE2391-690B-4D13-B0BE-AD54BD4AFEAA}"/>
          </ac:spMkLst>
        </pc:spChg>
        <pc:spChg chg="mod">
          <ac:chgData name="Mariam Daniela Tristancho Pineda (MISION TEMPORAL LTDA)" userId="a45a17f7-7950-4cb5-bfab-f5c894f959a9" providerId="ADAL" clId="{1440674F-A918-4BC9-A66E-0A6A8DD6A97A}" dt="2020-06-24T14:55:17.962" v="2145" actId="12788"/>
          <ac:spMkLst>
            <pc:docMk/>
            <pc:sldMk cId="689766239" sldId="2134804294"/>
            <ac:spMk id="45" creationId="{A11713A1-A10D-481C-88FE-F4218C21E34C}"/>
          </ac:spMkLst>
        </pc:spChg>
        <pc:spChg chg="mod">
          <ac:chgData name="Mariam Daniela Tristancho Pineda (MISION TEMPORAL LTDA)" userId="a45a17f7-7950-4cb5-bfab-f5c894f959a9" providerId="ADAL" clId="{1440674F-A918-4BC9-A66E-0A6A8DD6A97A}" dt="2020-06-24T14:55:17.962" v="2145" actId="12788"/>
          <ac:spMkLst>
            <pc:docMk/>
            <pc:sldMk cId="689766239" sldId="2134804294"/>
            <ac:spMk id="46" creationId="{6B85F83C-1F4E-4C9F-945A-BF3A010998CA}"/>
          </ac:spMkLst>
        </pc:spChg>
        <pc:spChg chg="mod">
          <ac:chgData name="Mariam Daniela Tristancho Pineda (MISION TEMPORAL LTDA)" userId="a45a17f7-7950-4cb5-bfab-f5c894f959a9" providerId="ADAL" clId="{1440674F-A918-4BC9-A66E-0A6A8DD6A97A}" dt="2020-06-24T14:55:17.962" v="2145" actId="12788"/>
          <ac:spMkLst>
            <pc:docMk/>
            <pc:sldMk cId="689766239" sldId="2134804294"/>
            <ac:spMk id="47" creationId="{2E9313C2-48BF-4BEC-84FF-27E4DA635C08}"/>
          </ac:spMkLst>
        </pc:spChg>
        <pc:spChg chg="mod">
          <ac:chgData name="Mariam Daniela Tristancho Pineda (MISION TEMPORAL LTDA)" userId="a45a17f7-7950-4cb5-bfab-f5c894f959a9" providerId="ADAL" clId="{1440674F-A918-4BC9-A66E-0A6A8DD6A97A}" dt="2020-06-24T14:55:17.962" v="2145" actId="12788"/>
          <ac:spMkLst>
            <pc:docMk/>
            <pc:sldMk cId="689766239" sldId="2134804294"/>
            <ac:spMk id="48" creationId="{4724087F-5CE9-4DDB-BAFD-F7A2BCA8A16F}"/>
          </ac:spMkLst>
        </pc:spChg>
        <pc:spChg chg="mod">
          <ac:chgData name="Mariam Daniela Tristancho Pineda (MISION TEMPORAL LTDA)" userId="a45a17f7-7950-4cb5-bfab-f5c894f959a9" providerId="ADAL" clId="{1440674F-A918-4BC9-A66E-0A6A8DD6A97A}" dt="2020-06-24T14:56:38.456" v="2162" actId="1076"/>
          <ac:spMkLst>
            <pc:docMk/>
            <pc:sldMk cId="689766239" sldId="2134804294"/>
            <ac:spMk id="49" creationId="{BD5C92D0-454D-4F3C-9980-21CD644F1A95}"/>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51" creationId="{6961FD83-C140-4088-BCE9-20920D3BA6CE}"/>
          </ac:spMkLst>
        </pc:spChg>
        <pc:spChg chg="mod">
          <ac:chgData name="Mariam Daniela Tristancho Pineda (MISION TEMPORAL LTDA)" userId="a45a17f7-7950-4cb5-bfab-f5c894f959a9" providerId="ADAL" clId="{1440674F-A918-4BC9-A66E-0A6A8DD6A97A}" dt="2020-06-24T14:56:43.784" v="2164" actId="1076"/>
          <ac:spMkLst>
            <pc:docMk/>
            <pc:sldMk cId="689766239" sldId="2134804294"/>
            <ac:spMk id="52" creationId="{D51C7D30-E0C6-45B8-A151-C992F84F77A1}"/>
          </ac:spMkLst>
        </pc:spChg>
        <pc:spChg chg="mod">
          <ac:chgData name="Mariam Daniela Tristancho Pineda (MISION TEMPORAL LTDA)" userId="a45a17f7-7950-4cb5-bfab-f5c894f959a9" providerId="ADAL" clId="{1440674F-A918-4BC9-A66E-0A6A8DD6A97A}" dt="2020-06-17T00:25:04.164" v="1147" actId="1076"/>
          <ac:spMkLst>
            <pc:docMk/>
            <pc:sldMk cId="689766239" sldId="2134804294"/>
            <ac:spMk id="55" creationId="{49F2795A-5140-4AC5-A7B3-7D9E1FDA715F}"/>
          </ac:spMkLst>
        </pc:spChg>
        <pc:spChg chg="mod">
          <ac:chgData name="Mariam Daniela Tristancho Pineda (MISION TEMPORAL LTDA)" userId="a45a17f7-7950-4cb5-bfab-f5c894f959a9" providerId="ADAL" clId="{1440674F-A918-4BC9-A66E-0A6A8DD6A97A}" dt="2020-06-17T00:25:02.261" v="1146" actId="1076"/>
          <ac:spMkLst>
            <pc:docMk/>
            <pc:sldMk cId="689766239" sldId="2134804294"/>
            <ac:spMk id="56" creationId="{DB12A4C4-1175-4202-AE66-75E4184D4889}"/>
          </ac:spMkLst>
        </pc:spChg>
        <pc:spChg chg="mod">
          <ac:chgData name="Mariam Daniela Tristancho Pineda (MISION TEMPORAL LTDA)" userId="a45a17f7-7950-4cb5-bfab-f5c894f959a9" providerId="ADAL" clId="{1440674F-A918-4BC9-A66E-0A6A8DD6A97A}" dt="2020-06-24T14:57:40.648" v="2181" actId="1076"/>
          <ac:spMkLst>
            <pc:docMk/>
            <pc:sldMk cId="689766239" sldId="2134804294"/>
            <ac:spMk id="57" creationId="{6D2C0EC2-9819-47A8-BF97-F113A3CCB2B6}"/>
          </ac:spMkLst>
        </pc:spChg>
        <pc:spChg chg="mod">
          <ac:chgData name="Mariam Daniela Tristancho Pineda (MISION TEMPORAL LTDA)" userId="a45a17f7-7950-4cb5-bfab-f5c894f959a9" providerId="ADAL" clId="{1440674F-A918-4BC9-A66E-0A6A8DD6A97A}" dt="2020-06-17T00:25:44.691" v="1157" actId="108"/>
          <ac:spMkLst>
            <pc:docMk/>
            <pc:sldMk cId="689766239" sldId="2134804294"/>
            <ac:spMk id="58" creationId="{9B8439E9-756C-4802-AE86-DE4E66184BA1}"/>
          </ac:spMkLst>
        </pc:spChg>
        <pc:spChg chg="mod">
          <ac:chgData name="Mariam Daniela Tristancho Pineda (MISION TEMPORAL LTDA)" userId="a45a17f7-7950-4cb5-bfab-f5c894f959a9" providerId="ADAL" clId="{1440674F-A918-4BC9-A66E-0A6A8DD6A97A}" dt="2020-06-24T14:57:32.224" v="2179" actId="1076"/>
          <ac:spMkLst>
            <pc:docMk/>
            <pc:sldMk cId="689766239" sldId="2134804294"/>
            <ac:spMk id="59" creationId="{37A5FDFB-B4F6-4C26-ACAC-D5D3A3FE6F07}"/>
          </ac:spMkLst>
        </pc:spChg>
        <pc:spChg chg="mod">
          <ac:chgData name="Mariam Daniela Tristancho Pineda (MISION TEMPORAL LTDA)" userId="a45a17f7-7950-4cb5-bfab-f5c894f959a9" providerId="ADAL" clId="{1440674F-A918-4BC9-A66E-0A6A8DD6A97A}" dt="2020-06-24T14:57:28.776" v="2178" actId="1076"/>
          <ac:spMkLst>
            <pc:docMk/>
            <pc:sldMk cId="689766239" sldId="2134804294"/>
            <ac:spMk id="61" creationId="{650A9289-5CB4-4614-BEDF-A6E766DF033A}"/>
          </ac:spMkLst>
        </pc:spChg>
        <pc:spChg chg="mod">
          <ac:chgData name="Mariam Daniela Tristancho Pineda (MISION TEMPORAL LTDA)" userId="a45a17f7-7950-4cb5-bfab-f5c894f959a9" providerId="ADAL" clId="{1440674F-A918-4BC9-A66E-0A6A8DD6A97A}" dt="2020-06-17T00:29:27.861" v="1218" actId="1035"/>
          <ac:spMkLst>
            <pc:docMk/>
            <pc:sldMk cId="689766239" sldId="2134804294"/>
            <ac:spMk id="62" creationId="{5419A0C4-DA63-40D3-B1C1-7D649744C961}"/>
          </ac:spMkLst>
        </pc:spChg>
        <pc:spChg chg="mod">
          <ac:chgData name="Mariam Daniela Tristancho Pineda (MISION TEMPORAL LTDA)" userId="a45a17f7-7950-4cb5-bfab-f5c894f959a9" providerId="ADAL" clId="{1440674F-A918-4BC9-A66E-0A6A8DD6A97A}" dt="2020-06-17T00:29:27.861" v="1218" actId="1035"/>
          <ac:spMkLst>
            <pc:docMk/>
            <pc:sldMk cId="689766239" sldId="2134804294"/>
            <ac:spMk id="63" creationId="{921FDB8B-D26D-44D7-8FDF-62CCF1ED0C24}"/>
          </ac:spMkLst>
        </pc:spChg>
        <pc:spChg chg="mod">
          <ac:chgData name="Mariam Daniela Tristancho Pineda (MISION TEMPORAL LTDA)" userId="a45a17f7-7950-4cb5-bfab-f5c894f959a9" providerId="ADAL" clId="{1440674F-A918-4BC9-A66E-0A6A8DD6A97A}" dt="2020-06-17T00:29:27.861" v="1218" actId="1035"/>
          <ac:spMkLst>
            <pc:docMk/>
            <pc:sldMk cId="689766239" sldId="2134804294"/>
            <ac:spMk id="64" creationId="{67034597-84B8-4A8E-A718-F04F8D12DA13}"/>
          </ac:spMkLst>
        </pc:spChg>
        <pc:spChg chg="mod">
          <ac:chgData name="Mariam Daniela Tristancho Pineda (MISION TEMPORAL LTDA)" userId="a45a17f7-7950-4cb5-bfab-f5c894f959a9" providerId="ADAL" clId="{1440674F-A918-4BC9-A66E-0A6A8DD6A97A}" dt="2020-06-17T00:29:27.861" v="1218" actId="1035"/>
          <ac:spMkLst>
            <pc:docMk/>
            <pc:sldMk cId="689766239" sldId="2134804294"/>
            <ac:spMk id="65" creationId="{EFD704C2-B677-43C1-868E-4733842A4506}"/>
          </ac:spMkLst>
        </pc:spChg>
        <pc:spChg chg="mod">
          <ac:chgData name="Mariam Daniela Tristancho Pineda (MISION TEMPORAL LTDA)" userId="a45a17f7-7950-4cb5-bfab-f5c894f959a9" providerId="ADAL" clId="{1440674F-A918-4BC9-A66E-0A6A8DD6A97A}" dt="2020-06-24T14:56:30.260" v="2161" actId="408"/>
          <ac:spMkLst>
            <pc:docMk/>
            <pc:sldMk cId="689766239" sldId="2134804294"/>
            <ac:spMk id="66" creationId="{E3715D34-037A-4075-AD33-D36B88DE8DA9}"/>
          </ac:spMkLst>
        </pc:spChg>
        <pc:spChg chg="mod">
          <ac:chgData name="Mariam Daniela Tristancho Pineda (MISION TEMPORAL LTDA)" userId="a45a17f7-7950-4cb5-bfab-f5c894f959a9" providerId="ADAL" clId="{1440674F-A918-4BC9-A66E-0A6A8DD6A97A}" dt="2020-06-24T14:56:30.260" v="2161" actId="408"/>
          <ac:spMkLst>
            <pc:docMk/>
            <pc:sldMk cId="689766239" sldId="2134804294"/>
            <ac:spMk id="67" creationId="{E41D27C7-41BB-46FF-B584-1636633442B6}"/>
          </ac:spMkLst>
        </pc:spChg>
        <pc:spChg chg="mod">
          <ac:chgData name="Mariam Daniela Tristancho Pineda (MISION TEMPORAL LTDA)" userId="a45a17f7-7950-4cb5-bfab-f5c894f959a9" providerId="ADAL" clId="{1440674F-A918-4BC9-A66E-0A6A8DD6A97A}" dt="2020-06-24T14:56:59.608" v="2168" actId="1076"/>
          <ac:spMkLst>
            <pc:docMk/>
            <pc:sldMk cId="689766239" sldId="2134804294"/>
            <ac:spMk id="70" creationId="{464D1786-51BC-4285-B1A0-B0A00A5B60C7}"/>
          </ac:spMkLst>
        </pc:spChg>
        <pc:spChg chg="mod">
          <ac:chgData name="Mariam Daniela Tristancho Pineda (MISION TEMPORAL LTDA)" userId="a45a17f7-7950-4cb5-bfab-f5c894f959a9" providerId="ADAL" clId="{1440674F-A918-4BC9-A66E-0A6A8DD6A97A}" dt="2020-06-24T14:57:08.424" v="2171" actId="1076"/>
          <ac:spMkLst>
            <pc:docMk/>
            <pc:sldMk cId="689766239" sldId="2134804294"/>
            <ac:spMk id="71" creationId="{4836D068-702B-4045-B7A8-99FF08023F6D}"/>
          </ac:spMkLst>
        </pc:spChg>
        <pc:spChg chg="mod">
          <ac:chgData name="Mariam Daniela Tristancho Pineda (MISION TEMPORAL LTDA)" userId="a45a17f7-7950-4cb5-bfab-f5c894f959a9" providerId="ADAL" clId="{1440674F-A918-4BC9-A66E-0A6A8DD6A97A}" dt="2020-06-24T14:57:10.297" v="2172" actId="1076"/>
          <ac:spMkLst>
            <pc:docMk/>
            <pc:sldMk cId="689766239" sldId="2134804294"/>
            <ac:spMk id="72" creationId="{89DE429E-CB9E-4D81-ABF0-57B74A17076B}"/>
          </ac:spMkLst>
        </pc:spChg>
        <pc:spChg chg="mod">
          <ac:chgData name="Mariam Daniela Tristancho Pineda (MISION TEMPORAL LTDA)" userId="a45a17f7-7950-4cb5-bfab-f5c894f959a9" providerId="ADAL" clId="{1440674F-A918-4BC9-A66E-0A6A8DD6A97A}" dt="2020-06-24T14:57:37.991" v="2180" actId="1076"/>
          <ac:spMkLst>
            <pc:docMk/>
            <pc:sldMk cId="689766239" sldId="2134804294"/>
            <ac:spMk id="73" creationId="{D2C8D331-431F-450E-984A-A362AB966BAC}"/>
          </ac:spMkLst>
        </pc:spChg>
        <pc:spChg chg="mod">
          <ac:chgData name="Mariam Daniela Tristancho Pineda (MISION TEMPORAL LTDA)" userId="a45a17f7-7950-4cb5-bfab-f5c894f959a9" providerId="ADAL" clId="{1440674F-A918-4BC9-A66E-0A6A8DD6A97A}" dt="2020-06-24T14:56:18.691" v="2160" actId="12788"/>
          <ac:spMkLst>
            <pc:docMk/>
            <pc:sldMk cId="689766239" sldId="2134804294"/>
            <ac:spMk id="74" creationId="{028EA49A-637B-4697-A40E-1F22C3459645}"/>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75" creationId="{36F5D3BB-A7D0-4A8C-9E56-AD51794C8B3F}"/>
          </ac:spMkLst>
        </pc:spChg>
        <pc:spChg chg="add mod">
          <ac:chgData name="Mariam Daniela Tristancho Pineda (MISION TEMPORAL LTDA)" userId="a45a17f7-7950-4cb5-bfab-f5c894f959a9" providerId="ADAL" clId="{1440674F-A918-4BC9-A66E-0A6A8DD6A97A}" dt="2020-06-17T00:28:45.757" v="1204" actId="1582"/>
          <ac:spMkLst>
            <pc:docMk/>
            <pc:sldMk cId="689766239" sldId="2134804294"/>
            <ac:spMk id="75" creationId="{FD204494-7569-4731-B89B-3E85FD58A95C}"/>
          </ac:spMkLst>
        </pc:spChg>
        <pc:spChg chg="mod">
          <ac:chgData name="Mariam Daniela Tristancho Pineda (MISION TEMPORAL LTDA)" userId="a45a17f7-7950-4cb5-bfab-f5c894f959a9" providerId="ADAL" clId="{1440674F-A918-4BC9-A66E-0A6A8DD6A97A}" dt="2020-06-24T14:56:18.691" v="2160" actId="12788"/>
          <ac:spMkLst>
            <pc:docMk/>
            <pc:sldMk cId="689766239" sldId="2134804294"/>
            <ac:spMk id="76" creationId="{25A852B0-8475-4C60-AEB9-D1040C49C3BB}"/>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79" creationId="{96BF9551-9FEA-4954-A77D-F8AFBC56E9AC}"/>
          </ac:spMkLst>
        </pc:spChg>
        <pc:spChg chg="add del mod">
          <ac:chgData name="Mariam Daniela Tristancho Pineda (MISION TEMPORAL LTDA)" userId="a45a17f7-7950-4cb5-bfab-f5c894f959a9" providerId="ADAL" clId="{1440674F-A918-4BC9-A66E-0A6A8DD6A97A}" dt="2020-06-16T23:34:48.526" v="631" actId="478"/>
          <ac:spMkLst>
            <pc:docMk/>
            <pc:sldMk cId="689766239" sldId="2134804294"/>
            <ac:spMk id="79" creationId="{F4AC12F4-C7D5-4C22-8F18-06AA239ED79B}"/>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80" creationId="{C6A910C1-B499-416B-A7BE-D3F536129FD9}"/>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81" creationId="{BE7AF71D-F3B8-4736-8BBC-A3ECDC06C206}"/>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82" creationId="{52F33BC3-0C9E-457C-80B3-CA30A53B63A7}"/>
          </ac:spMkLst>
        </pc:spChg>
        <pc:spChg chg="add mod">
          <ac:chgData name="Mariam Daniela Tristancho Pineda (MISION TEMPORAL LTDA)" userId="a45a17f7-7950-4cb5-bfab-f5c894f959a9" providerId="ADAL" clId="{1440674F-A918-4BC9-A66E-0A6A8DD6A97A}" dt="2020-06-24T14:57:01.624" v="2169" actId="1076"/>
          <ac:spMkLst>
            <pc:docMk/>
            <pc:sldMk cId="689766239" sldId="2134804294"/>
            <ac:spMk id="82" creationId="{F356FE48-7C2B-4E8A-AABF-3B844FDD347E}"/>
          </ac:spMkLst>
        </pc:spChg>
        <pc:spChg chg="add mod">
          <ac:chgData name="Mariam Daniela Tristancho Pineda (MISION TEMPORAL LTDA)" userId="a45a17f7-7950-4cb5-bfab-f5c894f959a9" providerId="ADAL" clId="{1440674F-A918-4BC9-A66E-0A6A8DD6A97A}" dt="2020-06-24T14:57:03.545" v="2170" actId="1076"/>
          <ac:spMkLst>
            <pc:docMk/>
            <pc:sldMk cId="689766239" sldId="2134804294"/>
            <ac:spMk id="83" creationId="{22BF857A-F1CA-4AEA-B4B8-103A1EDFD797}"/>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83" creationId="{78D30227-9D03-4483-8BE9-D3A80CA3BBB1}"/>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84" creationId="{38F4F5E2-3958-4DBD-88A5-B5E2B526A3B3}"/>
          </ac:spMkLst>
        </pc:spChg>
        <pc:spChg chg="add mod">
          <ac:chgData name="Mariam Daniela Tristancho Pineda (MISION TEMPORAL LTDA)" userId="a45a17f7-7950-4cb5-bfab-f5c894f959a9" providerId="ADAL" clId="{1440674F-A918-4BC9-A66E-0A6A8DD6A97A}" dt="2020-06-24T14:57:51.153" v="2183" actId="1076"/>
          <ac:spMkLst>
            <pc:docMk/>
            <pc:sldMk cId="689766239" sldId="2134804294"/>
            <ac:spMk id="84" creationId="{5B4C9EEB-37B7-4FDB-BA09-0170AE7E657E}"/>
          </ac:spMkLst>
        </pc:spChg>
        <pc:spChg chg="add mod">
          <ac:chgData name="Mariam Daniela Tristancho Pineda (MISION TEMPORAL LTDA)" userId="a45a17f7-7950-4cb5-bfab-f5c894f959a9" providerId="ADAL" clId="{1440674F-A918-4BC9-A66E-0A6A8DD6A97A}" dt="2020-06-24T14:56:40.409" v="2163" actId="1076"/>
          <ac:spMkLst>
            <pc:docMk/>
            <pc:sldMk cId="689766239" sldId="2134804294"/>
            <ac:spMk id="85" creationId="{04A383B3-6D49-4DC2-BACB-FF985F0E8C83}"/>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85" creationId="{49D70C4F-FB92-433A-AD31-17F2D7CC58E4}"/>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86" creationId="{B71CA7B4-75A2-489B-A9DD-3ED48ED9A291}"/>
          </ac:spMkLst>
        </pc:spChg>
        <pc:spChg chg="add mod">
          <ac:chgData name="Mariam Daniela Tristancho Pineda (MISION TEMPORAL LTDA)" userId="a45a17f7-7950-4cb5-bfab-f5c894f959a9" providerId="ADAL" clId="{1440674F-A918-4BC9-A66E-0A6A8DD6A97A}" dt="2020-06-17T00:28:45.757" v="1204" actId="1582"/>
          <ac:spMkLst>
            <pc:docMk/>
            <pc:sldMk cId="689766239" sldId="2134804294"/>
            <ac:spMk id="86" creationId="{D7955715-186E-4199-A93E-2F8E9EFDEB18}"/>
          </ac:spMkLst>
        </pc:spChg>
        <pc:spChg chg="add mod">
          <ac:chgData name="Mariam Daniela Tristancho Pineda (MISION TEMPORAL LTDA)" userId="a45a17f7-7950-4cb5-bfab-f5c894f959a9" providerId="ADAL" clId="{1440674F-A918-4BC9-A66E-0A6A8DD6A97A}" dt="2020-06-24T14:56:51.136" v="2167" actId="1076"/>
          <ac:spMkLst>
            <pc:docMk/>
            <pc:sldMk cId="689766239" sldId="2134804294"/>
            <ac:spMk id="87" creationId="{9B7D4F54-F021-45C4-9755-1C8F1059DA04}"/>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87" creationId="{FCD9CCAD-0E6A-4C52-BC4E-505C9A9F373C}"/>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88" creationId="{1FD648DB-F788-4C08-910C-78E21BDE3868}"/>
          </ac:spMkLst>
        </pc:spChg>
        <pc:spChg chg="add mod">
          <ac:chgData name="Mariam Daniela Tristancho Pineda (MISION TEMPORAL LTDA)" userId="a45a17f7-7950-4cb5-bfab-f5c894f959a9" providerId="ADAL" clId="{1440674F-A918-4BC9-A66E-0A6A8DD6A97A}" dt="2020-06-24T14:56:46.040" v="2165" actId="1076"/>
          <ac:spMkLst>
            <pc:docMk/>
            <pc:sldMk cId="689766239" sldId="2134804294"/>
            <ac:spMk id="88" creationId="{82527907-F5EC-4CCE-BAA8-8DAB1B602105}"/>
          </ac:spMkLst>
        </pc:spChg>
        <pc:spChg chg="add mod">
          <ac:chgData name="Mariam Daniela Tristancho Pineda (MISION TEMPORAL LTDA)" userId="a45a17f7-7950-4cb5-bfab-f5c894f959a9" providerId="ADAL" clId="{1440674F-A918-4BC9-A66E-0A6A8DD6A97A}" dt="2020-06-17T00:28:45.757" v="1204" actId="1582"/>
          <ac:spMkLst>
            <pc:docMk/>
            <pc:sldMk cId="689766239" sldId="2134804294"/>
            <ac:spMk id="89" creationId="{ADA745C2-514E-40AF-A0D2-08040B35925B}"/>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89" creationId="{AFADC86E-CD33-4DD0-819B-2E6EA0166612}"/>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90" creationId="{BFAF2D39-729F-4E52-AD88-9F019250252F}"/>
          </ac:spMkLst>
        </pc:spChg>
        <pc:spChg chg="add mod">
          <ac:chgData name="Mariam Daniela Tristancho Pineda (MISION TEMPORAL LTDA)" userId="a45a17f7-7950-4cb5-bfab-f5c894f959a9" providerId="ADAL" clId="{1440674F-A918-4BC9-A66E-0A6A8DD6A97A}" dt="2020-06-17T00:28:45.757" v="1204" actId="1582"/>
          <ac:spMkLst>
            <pc:docMk/>
            <pc:sldMk cId="689766239" sldId="2134804294"/>
            <ac:spMk id="90" creationId="{C3DD3E09-9FA7-487F-A866-E5D82217FCF0}"/>
          </ac:spMkLst>
        </pc:spChg>
        <pc:spChg chg="add mod">
          <ac:chgData name="Mariam Daniela Tristancho Pineda (MISION TEMPORAL LTDA)" userId="a45a17f7-7950-4cb5-bfab-f5c894f959a9" providerId="ADAL" clId="{1440674F-A918-4BC9-A66E-0A6A8DD6A97A}" dt="2020-06-17T00:28:45.757" v="1204" actId="1582"/>
          <ac:spMkLst>
            <pc:docMk/>
            <pc:sldMk cId="689766239" sldId="2134804294"/>
            <ac:spMk id="91" creationId="{C67D0DCE-05A3-4FF0-85F8-E5DB56576E0F}"/>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91" creationId="{FF224A3B-31A8-4D4C-A373-597E98CA9042}"/>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92" creationId="{6DBEC22B-9D94-4FC7-A913-37AEBD6BD28F}"/>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92" creationId="{8A053AC2-EF30-4F5C-AA51-AC69CC0756B4}"/>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92" creationId="{B6BC9C1F-4948-4942-BB2B-F59536D05E18}"/>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93" creationId="{1AA7BE16-CAA3-4AF5-8E68-17285FF8FB91}"/>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93" creationId="{DB106391-370D-41E9-86ED-6E2354473811}"/>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93" creationId="{E94BFC3F-9F6C-42F4-A8DD-4AFEE31A5469}"/>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94" creationId="{A24AC212-9538-47C7-A4B6-0B667AF17043}"/>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94" creationId="{E385AA24-92C9-402C-969C-D84244B0B5CD}"/>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94" creationId="{FF0FA873-1998-49D3-951B-09C97D461BDA}"/>
          </ac:spMkLst>
        </pc:spChg>
        <pc:spChg chg="mod">
          <ac:chgData name="Mariam Daniela Tristancho Pineda (MISION TEMPORAL LTDA)" userId="a45a17f7-7950-4cb5-bfab-f5c894f959a9" providerId="ADAL" clId="{1440674F-A918-4BC9-A66E-0A6A8DD6A97A}" dt="2020-06-24T14:56:30.260" v="2161" actId="408"/>
          <ac:spMkLst>
            <pc:docMk/>
            <pc:sldMk cId="689766239" sldId="2134804294"/>
            <ac:spMk id="96" creationId="{1DFEF71A-A80A-4597-AAC9-DB256058084B}"/>
          </ac:spMkLst>
        </pc:spChg>
        <pc:spChg chg="mod">
          <ac:chgData name="Mariam Daniela Tristancho Pineda (MISION TEMPORAL LTDA)" userId="a45a17f7-7950-4cb5-bfab-f5c894f959a9" providerId="ADAL" clId="{1440674F-A918-4BC9-A66E-0A6A8DD6A97A}" dt="2020-06-24T14:55:17.962" v="2145" actId="12788"/>
          <ac:spMkLst>
            <pc:docMk/>
            <pc:sldMk cId="689766239" sldId="2134804294"/>
            <ac:spMk id="97" creationId="{99300021-C267-43BD-A0F5-B3ECE622345E}"/>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98" creationId="{1479C003-90D3-4E56-9E1F-ED1D67631897}"/>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98" creationId="{4D2C3281-A9CB-49DD-8934-EA33C9AA15B4}"/>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98" creationId="{A8260689-92F1-447F-A74B-87E8BD11A40E}"/>
          </ac:spMkLst>
        </pc:spChg>
        <pc:spChg chg="mod">
          <ac:chgData name="Mariam Daniela Tristancho Pineda (MISION TEMPORAL LTDA)" userId="a45a17f7-7950-4cb5-bfab-f5c894f959a9" providerId="ADAL" clId="{1440674F-A918-4BC9-A66E-0A6A8DD6A97A}" dt="2020-06-24T14:56:30.260" v="2161" actId="408"/>
          <ac:spMkLst>
            <pc:docMk/>
            <pc:sldMk cId="689766239" sldId="2134804294"/>
            <ac:spMk id="99" creationId="{90CC82AC-D82E-4F89-AC67-093894759099}"/>
          </ac:spMkLst>
        </pc:spChg>
        <pc:spChg chg="mod">
          <ac:chgData name="Mariam Daniela Tristancho Pineda (MISION TEMPORAL LTDA)" userId="a45a17f7-7950-4cb5-bfab-f5c894f959a9" providerId="ADAL" clId="{1440674F-A918-4BC9-A66E-0A6A8DD6A97A}" dt="2020-06-24T14:56:30.260" v="2161" actId="408"/>
          <ac:spMkLst>
            <pc:docMk/>
            <pc:sldMk cId="689766239" sldId="2134804294"/>
            <ac:spMk id="100" creationId="{1835F856-5B59-4AFF-86DE-2F0968B76CF7}"/>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101" creationId="{637D293E-8013-4B70-A08A-A16B842FB129}"/>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101" creationId="{D3918EAE-EF6B-45DC-8F80-8A1A66B080DE}"/>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01" creationId="{E04FC7C9-EDC1-4FFD-A09A-917FE4F8D0D1}"/>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102" creationId="{8CAE9728-52E7-459C-A1A1-47B55704408A}"/>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102" creationId="{CE18E381-5C57-48C4-BE18-9CF05418C88F}"/>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02" creationId="{D23F1BEB-8181-4068-93C1-33B71433055A}"/>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103" creationId="{190A9AD0-5D39-4D84-99C5-919AC374234F}"/>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103" creationId="{3C8F8908-D5EC-4129-86A9-42BA2DD5C284}"/>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03" creationId="{EEBF7B74-64E0-4F1A-BD07-F4B73D59343B}"/>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105" creationId="{14E36546-3D04-436C-AF02-4204E1709BFE}"/>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105" creationId="{1C4791CD-12A5-4515-8939-3717DC7B03E2}"/>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05" creationId="{5132C157-CE39-4F69-AB06-97BAFAFF8C53}"/>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108" creationId="{6201E5F7-E5AC-4A40-9ACD-3E4D1B4299E5}"/>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08" creationId="{99651913-1F51-4275-B66C-8D5E1E606A10}"/>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108" creationId="{9A40F502-D75D-4D3F-B8ED-9B85DF8B9C67}"/>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109" creationId="{2F221CD5-39A5-49C8-B2FE-8D931D6E8BDA}"/>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109" creationId="{8A9F45B3-7173-469A-A773-F75BF2EE87F9}"/>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09" creationId="{DD152DA8-5FE7-4636-842B-1E17B7820CC5}"/>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10" creationId="{08CB2E0C-21BA-4D9C-BC50-BE3CE1E90FBD}"/>
          </ac:spMkLst>
        </pc:spChg>
        <pc:spChg chg="del">
          <ac:chgData name="Mariam Daniela Tristancho Pineda (MISION TEMPORAL LTDA)" userId="a45a17f7-7950-4cb5-bfab-f5c894f959a9" providerId="ADAL" clId="{1440674F-A918-4BC9-A66E-0A6A8DD6A97A}" dt="2020-06-16T21:14:00.215" v="236" actId="478"/>
          <ac:spMkLst>
            <pc:docMk/>
            <pc:sldMk cId="689766239" sldId="2134804294"/>
            <ac:spMk id="110" creationId="{1918690C-6A45-489A-956F-1F15E74CDBBD}"/>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110" creationId="{BAF593AF-387F-46A3-89EF-6A328FA4A9C9}"/>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11" creationId="{D5AF685A-BADF-4E90-BD56-8A638460FC27}"/>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111" creationId="{D6D13D8E-BE8F-407B-AA0B-8139CDF49B45}"/>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12" creationId="{AD77674F-97B6-427A-95AE-8987C555E391}"/>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112" creationId="{BAC4DEAB-9826-4E08-979A-1D8A3231EBE2}"/>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13" creationId="{11FE2E6B-35CA-4784-9415-CC1022E8DA22}"/>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113" creationId="{D9A6F5EF-6218-4607-B7B6-5CF83DC65FE1}"/>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114" creationId="{929CF16E-AA9B-473B-9708-40E40AED0272}"/>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14" creationId="{EFBD1A4E-F31D-4ED9-81CF-5657837B6871}"/>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15" creationId="{2A987C20-1A74-461B-84AF-83C4834F9E94}"/>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115" creationId="{6CCDDBC1-7DB7-41E7-B40B-3804C0FDE41F}"/>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116" creationId="{19DA7A6A-ACA2-4170-9EE5-C84DE723A995}"/>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16" creationId="{3B3FE97C-A936-40B7-9FB1-F2427B132CF1}"/>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117" creationId="{00972433-3C47-45CF-A640-0AE99530F782}"/>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17" creationId="{FEE9613C-2DCC-453E-A0F4-6F584BCEF063}"/>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118" creationId="{890A5435-CD20-4522-A7FE-17138E53473C}"/>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18" creationId="{C84BB3BD-9C3B-4B87-8A5C-AE7384ED58A7}"/>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19" creationId="{5EE368D3-7200-4289-B092-82ACCF68DEE8}"/>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119" creationId="{67A41122-5E0E-4F48-A0F8-F42FC6AA3C54}"/>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20" creationId="{37B2255A-6377-482B-930E-20F6720F4297}"/>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120" creationId="{7A866ABB-1884-44B1-94A6-F995BB370A0B}"/>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21" creationId="{65F3C51C-1C5A-4A95-986D-86ACB4193DFB}"/>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121" creationId="{BF037C9A-27AB-4237-9BEA-E6D6727962B2}"/>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122" creationId="{8DE74ADF-E70E-4FA5-B15F-BBD5A2DB097A}"/>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22" creationId="{BC234726-ACB1-45A9-B683-455537CED265}"/>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123" creationId="{4EFAF154-B92C-4BB4-9E68-C0D9C30BD649}"/>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23" creationId="{5FD88287-5002-41E5-9D91-1952EBDEC780}"/>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24" creationId="{0FEEE94A-8198-4091-85EE-B80DC6F7E1D0}"/>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124" creationId="{4363B974-9ED2-4569-B91D-EC000FC37B7F}"/>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25" creationId="{B18B3DA7-16D9-429C-AA52-FB99113F5495}"/>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125" creationId="{C7E24555-0D51-428D-9482-7F0320CCEAAD}"/>
          </ac:spMkLst>
        </pc:spChg>
        <pc:spChg chg="add del mod">
          <ac:chgData name="Mariam Daniela Tristancho Pineda (MISION TEMPORAL LTDA)" userId="a45a17f7-7950-4cb5-bfab-f5c894f959a9" providerId="ADAL" clId="{1440674F-A918-4BC9-A66E-0A6A8DD6A97A}" dt="2020-06-24T14:59:00.359" v="2199" actId="478"/>
          <ac:spMkLst>
            <pc:docMk/>
            <pc:sldMk cId="689766239" sldId="2134804294"/>
            <ac:spMk id="126" creationId="{4F85823B-AB1B-4CC7-A901-C563942FAC55}"/>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126" creationId="{6C011046-75C5-444B-8003-5A60717CA6DA}"/>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27" creationId="{73BEC0EA-3959-416F-A4C5-525162D5F070}"/>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127" creationId="{F0247E91-0427-4382-AA5E-C8FAAD5683DD}"/>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128" creationId="{23C3A2E1-964E-4EAA-A17D-709EAE177C2B}"/>
          </ac:spMkLst>
        </pc:spChg>
        <pc:spChg chg="add mod">
          <ac:chgData name="Mariam Daniela Tristancho Pineda (MISION TEMPORAL LTDA)" userId="a45a17f7-7950-4cb5-bfab-f5c894f959a9" providerId="ADAL" clId="{1440674F-A918-4BC9-A66E-0A6A8DD6A97A}" dt="2020-06-24T15:05:29.202" v="2387" actId="1038"/>
          <ac:spMkLst>
            <pc:docMk/>
            <pc:sldMk cId="689766239" sldId="2134804294"/>
            <ac:spMk id="128" creationId="{889B266B-D890-4175-B6C4-661B7A5088EA}"/>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29" creationId="{1B1D8368-9D03-4A1F-BB5C-FA8A693650E2}"/>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129" creationId="{2B7E35BB-A18B-4797-B404-0E70292EF718}"/>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130" creationId="{8260B20C-AB6D-4566-B9CD-27295A9871FC}"/>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30" creationId="{EE8A6937-8934-42CF-8F04-92239A952AE7}"/>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131" creationId="{701692AE-08F9-425C-9483-596BE294AA30}"/>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31" creationId="{A20E4F12-875E-47FE-8A33-74B6A44D0A59}"/>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32" creationId="{4F2FD083-C369-4561-BE25-9CBDC30055F9}"/>
          </ac:spMkLst>
        </pc:spChg>
        <pc:spChg chg="add del mod">
          <ac:chgData name="Mariam Daniela Tristancho Pineda (MISION TEMPORAL LTDA)" userId="a45a17f7-7950-4cb5-bfab-f5c894f959a9" providerId="ADAL" clId="{1440674F-A918-4BC9-A66E-0A6A8DD6A97A}" dt="2020-06-16T23:43:10.298" v="740" actId="478"/>
          <ac:spMkLst>
            <pc:docMk/>
            <pc:sldMk cId="689766239" sldId="2134804294"/>
            <ac:spMk id="132" creationId="{6E51D379-AA5B-4D85-AE87-24AA6F62F284}"/>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33" creationId="{20250544-0C4F-4167-8A78-3DE0C74007AF}"/>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133" creationId="{4F5AED61-E128-4E7D-95D4-B1FA6027342E}"/>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134" creationId="{0A7BD798-2908-4DBB-B7B0-E4B252C6BA97}"/>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34" creationId="{5B999821-E384-44A1-B7FF-A4C4ED483560}"/>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135" creationId="{30B2ADE0-229F-46B2-B6F6-C43C9BB41937}"/>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35" creationId="{CED7C5F3-B86F-4DA0-9994-24F7FD6B35F9}"/>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136" creationId="{C5D5E455-D81F-4E95-BFE4-B32686ED51DA}"/>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36" creationId="{FDB88927-277F-4AE8-8FA3-9CA1A1700B73}"/>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137" creationId="{7D914DAC-D1DF-46DE-A380-7B1552FD63D2}"/>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37" creationId="{F8F8DA14-A950-4AEB-A24B-177C3F208372}"/>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38" creationId="{BF99A66B-120F-49B2-A1CC-739047837BB6}"/>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138" creationId="{F05BCB12-BBE4-4978-AD92-9DA633A28022}"/>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139" creationId="{0D3B2834-7475-4EEA-88DF-049C7FC503DB}"/>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39" creationId="{844A1674-BCC7-4A52-8278-32D0CC73CF58}"/>
          </ac:spMkLst>
        </pc:spChg>
        <pc:spChg chg="mod">
          <ac:chgData name="Mariam Daniela Tristancho Pineda (MISION TEMPORAL LTDA)" userId="a45a17f7-7950-4cb5-bfab-f5c894f959a9" providerId="ADAL" clId="{1440674F-A918-4BC9-A66E-0A6A8DD6A97A}" dt="2020-06-24T15:05:52.985" v="2414" actId="1038"/>
          <ac:spMkLst>
            <pc:docMk/>
            <pc:sldMk cId="689766239" sldId="2134804294"/>
            <ac:spMk id="140" creationId="{2062ABD7-3E18-481C-BE0F-59304E710CAD}"/>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41" creationId="{2623DE4E-1861-4CAA-B94A-BFAA4D5F0DB3}"/>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141" creationId="{E245F208-0B34-4ADE-B4A6-42CA696883CC}"/>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42" creationId="{49E740BE-8500-4117-AD0B-2E67208BD20B}"/>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142" creationId="{C955ED9A-78FE-476E-B3D8-5FA3F9D4128D}"/>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143" creationId="{5ADA3367-9B9F-4519-A50F-89EC9039CB3A}"/>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43" creationId="{85DA9DFF-D70E-46DA-B2A5-4567F9D5D109}"/>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44" creationId="{1C5981FC-047F-4A69-9B6A-7E8815CED431}"/>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144" creationId="{3A031171-63FE-41BD-A5BD-2CCF12B90416}"/>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45" creationId="{DC519FD0-9445-4201-946D-656A5D5D6C84}"/>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145" creationId="{F2C4EE6D-19E4-46A7-92FB-D364DCBC37E1}"/>
          </ac:spMkLst>
        </pc:spChg>
        <pc:spChg chg="mod">
          <ac:chgData name="Mariam Daniela Tristancho Pineda (MISION TEMPORAL LTDA)" userId="a45a17f7-7950-4cb5-bfab-f5c894f959a9" providerId="ADAL" clId="{1440674F-A918-4BC9-A66E-0A6A8DD6A97A}" dt="2020-06-24T14:55:17.962" v="2145" actId="12788"/>
          <ac:spMkLst>
            <pc:docMk/>
            <pc:sldMk cId="689766239" sldId="2134804294"/>
            <ac:spMk id="146" creationId="{D86974CC-32BF-439F-A6E2-D1E82520294D}"/>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47" creationId="{313853FA-2E51-4F3E-AE01-DDDAF6E96565}"/>
          </ac:spMkLst>
        </pc:spChg>
        <pc:spChg chg="add del mod">
          <ac:chgData name="Mariam Daniela Tristancho Pineda (MISION TEMPORAL LTDA)" userId="a45a17f7-7950-4cb5-bfab-f5c894f959a9" providerId="ADAL" clId="{1440674F-A918-4BC9-A66E-0A6A8DD6A97A}" dt="2020-06-17T00:07:38.719" v="960" actId="478"/>
          <ac:spMkLst>
            <pc:docMk/>
            <pc:sldMk cId="689766239" sldId="2134804294"/>
            <ac:spMk id="147" creationId="{34EB6A70-E7BE-4797-BF9F-E38773302175}"/>
          </ac:spMkLst>
        </pc:spChg>
        <pc:spChg chg="add del mod">
          <ac:chgData name="Mariam Daniela Tristancho Pineda (MISION TEMPORAL LTDA)" userId="a45a17f7-7950-4cb5-bfab-f5c894f959a9" providerId="ADAL" clId="{1440674F-A918-4BC9-A66E-0A6A8DD6A97A}" dt="2020-06-17T00:24:58.459" v="1143" actId="478"/>
          <ac:spMkLst>
            <pc:docMk/>
            <pc:sldMk cId="689766239" sldId="2134804294"/>
            <ac:spMk id="148" creationId="{432EAA1A-992E-4ABC-BDA2-09CDB6C08D6B}"/>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48" creationId="{8C87CB62-0687-409F-B127-BA52AD580580}"/>
          </ac:spMkLst>
        </pc:spChg>
        <pc:spChg chg="add mod">
          <ac:chgData name="Mariam Daniela Tristancho Pineda (MISION TEMPORAL LTDA)" userId="a45a17f7-7950-4cb5-bfab-f5c894f959a9" providerId="ADAL" clId="{1440674F-A918-4BC9-A66E-0A6A8DD6A97A}" dt="2020-06-17T00:07:50.410" v="962" actId="1076"/>
          <ac:spMkLst>
            <pc:docMk/>
            <pc:sldMk cId="689766239" sldId="2134804294"/>
            <ac:spMk id="149" creationId="{6C380BA4-35C1-4332-914A-D9BAB399A353}"/>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49" creationId="{B0906DC3-598D-4F7D-A64E-183CF387ABFC}"/>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50" creationId="{41F6E8B5-9D97-4BA1-9EEB-DCFF2BD13CA4}"/>
          </ac:spMkLst>
        </pc:spChg>
        <pc:spChg chg="add mod">
          <ac:chgData name="Mariam Daniela Tristancho Pineda (MISION TEMPORAL LTDA)" userId="a45a17f7-7950-4cb5-bfab-f5c894f959a9" providerId="ADAL" clId="{1440674F-A918-4BC9-A66E-0A6A8DD6A97A}" dt="2020-06-17T00:07:50.410" v="962" actId="1076"/>
          <ac:spMkLst>
            <pc:docMk/>
            <pc:sldMk cId="689766239" sldId="2134804294"/>
            <ac:spMk id="150" creationId="{95A4036D-3FC3-43CB-9298-3B8A996F570C}"/>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51" creationId="{62081328-F323-4DA1-9DDE-784A46EE4A94}"/>
          </ac:spMkLst>
        </pc:spChg>
        <pc:spChg chg="add mod">
          <ac:chgData name="Mariam Daniela Tristancho Pineda (MISION TEMPORAL LTDA)" userId="a45a17f7-7950-4cb5-bfab-f5c894f959a9" providerId="ADAL" clId="{1440674F-A918-4BC9-A66E-0A6A8DD6A97A}" dt="2020-06-17T00:26:13.347" v="1165" actId="6549"/>
          <ac:spMkLst>
            <pc:docMk/>
            <pc:sldMk cId="689766239" sldId="2134804294"/>
            <ac:spMk id="151" creationId="{82F2EF05-F5E1-44F9-BA83-E53933A9713A}"/>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52" creationId="{29496DDD-4F17-477A-B207-9AA829455B4D}"/>
          </ac:spMkLst>
        </pc:spChg>
        <pc:spChg chg="add mod">
          <ac:chgData name="Mariam Daniela Tristancho Pineda (MISION TEMPORAL LTDA)" userId="a45a17f7-7950-4cb5-bfab-f5c894f959a9" providerId="ADAL" clId="{1440674F-A918-4BC9-A66E-0A6A8DD6A97A}" dt="2020-06-17T00:07:50.410" v="962" actId="1076"/>
          <ac:spMkLst>
            <pc:docMk/>
            <pc:sldMk cId="689766239" sldId="2134804294"/>
            <ac:spMk id="152" creationId="{97BE40F1-2174-4251-B2D5-927A60AC22D4}"/>
          </ac:spMkLst>
        </pc:spChg>
        <pc:spChg chg="add mod">
          <ac:chgData name="Mariam Daniela Tristancho Pineda (MISION TEMPORAL LTDA)" userId="a45a17f7-7950-4cb5-bfab-f5c894f959a9" providerId="ADAL" clId="{1440674F-A918-4BC9-A66E-0A6A8DD6A97A}" dt="2020-06-17T00:26:08.327" v="1164" actId="6549"/>
          <ac:spMkLst>
            <pc:docMk/>
            <pc:sldMk cId="689766239" sldId="2134804294"/>
            <ac:spMk id="153" creationId="{6D1027CA-D4ED-41B3-A42D-9259ED3A176D}"/>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53" creationId="{DC0FBCC4-989D-4976-8983-34825D2D9047}"/>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54" creationId="{28C5640B-AA7B-4F00-B56A-C8EE9FA8497F}"/>
          </ac:spMkLst>
        </pc:spChg>
        <pc:spChg chg="add mod">
          <ac:chgData name="Mariam Daniela Tristancho Pineda (MISION TEMPORAL LTDA)" userId="a45a17f7-7950-4cb5-bfab-f5c894f959a9" providerId="ADAL" clId="{1440674F-A918-4BC9-A66E-0A6A8DD6A97A}" dt="2020-06-17T00:07:50.410" v="962" actId="1076"/>
          <ac:spMkLst>
            <pc:docMk/>
            <pc:sldMk cId="689766239" sldId="2134804294"/>
            <ac:spMk id="154" creationId="{2A087ECA-B500-43A8-99AB-0397E8C89DFE}"/>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55" creationId="{454F4380-4BE4-4E21-AAAC-6B3C9286D5BB}"/>
          </ac:spMkLst>
        </pc:spChg>
        <pc:spChg chg="add mod">
          <ac:chgData name="Mariam Daniela Tristancho Pineda (MISION TEMPORAL LTDA)" userId="a45a17f7-7950-4cb5-bfab-f5c894f959a9" providerId="ADAL" clId="{1440674F-A918-4BC9-A66E-0A6A8DD6A97A}" dt="2020-06-17T00:07:50.410" v="962" actId="1076"/>
          <ac:spMkLst>
            <pc:docMk/>
            <pc:sldMk cId="689766239" sldId="2134804294"/>
            <ac:spMk id="155" creationId="{D6322CF1-A49E-467A-B762-331C9A3EBBEA}"/>
          </ac:spMkLst>
        </pc:spChg>
        <pc:spChg chg="add mod">
          <ac:chgData name="Mariam Daniela Tristancho Pineda (MISION TEMPORAL LTDA)" userId="a45a17f7-7950-4cb5-bfab-f5c894f959a9" providerId="ADAL" clId="{1440674F-A918-4BC9-A66E-0A6A8DD6A97A}" dt="2020-06-17T00:26:15.503" v="1167" actId="6549"/>
          <ac:spMkLst>
            <pc:docMk/>
            <pc:sldMk cId="689766239" sldId="2134804294"/>
            <ac:spMk id="156" creationId="{B7ACC6A2-1D3D-4980-B9B4-EA9E9EB77787}"/>
          </ac:spMkLst>
        </pc:spChg>
        <pc:spChg chg="add mod">
          <ac:chgData name="Mariam Daniela Tristancho Pineda (MISION TEMPORAL LTDA)" userId="a45a17f7-7950-4cb5-bfab-f5c894f959a9" providerId="ADAL" clId="{1440674F-A918-4BC9-A66E-0A6A8DD6A97A}" dt="2020-06-24T15:04:53.061" v="2369"/>
          <ac:spMkLst>
            <pc:docMk/>
            <pc:sldMk cId="689766239" sldId="2134804294"/>
            <ac:spMk id="156" creationId="{DF074B77-3C37-42D5-918A-F5C84802F788}"/>
          </ac:spMkLst>
        </pc:spChg>
        <pc:spChg chg="add mod">
          <ac:chgData name="Mariam Daniela Tristancho Pineda (MISION TEMPORAL LTDA)" userId="a45a17f7-7950-4cb5-bfab-f5c894f959a9" providerId="ADAL" clId="{1440674F-A918-4BC9-A66E-0A6A8DD6A97A}" dt="2020-06-17T00:07:50.410" v="962" actId="1076"/>
          <ac:spMkLst>
            <pc:docMk/>
            <pc:sldMk cId="689766239" sldId="2134804294"/>
            <ac:spMk id="157" creationId="{C62AB9D5-A511-4120-940F-81B331E56327}"/>
          </ac:spMkLst>
        </pc:spChg>
        <pc:spChg chg="add mod">
          <ac:chgData name="Mariam Daniela Tristancho Pineda (MISION TEMPORAL LTDA)" userId="a45a17f7-7950-4cb5-bfab-f5c894f959a9" providerId="ADAL" clId="{1440674F-A918-4BC9-A66E-0A6A8DD6A97A}" dt="2020-06-17T00:26:14.092" v="1166" actId="6549"/>
          <ac:spMkLst>
            <pc:docMk/>
            <pc:sldMk cId="689766239" sldId="2134804294"/>
            <ac:spMk id="158" creationId="{29062A0E-9DC0-42B5-9A38-6A7430889215}"/>
          </ac:spMkLst>
        </pc:spChg>
        <pc:spChg chg="add mod">
          <ac:chgData name="Mariam Daniela Tristancho Pineda (MISION TEMPORAL LTDA)" userId="a45a17f7-7950-4cb5-bfab-f5c894f959a9" providerId="ADAL" clId="{1440674F-A918-4BC9-A66E-0A6A8DD6A97A}" dt="2020-06-17T00:26:16.263" v="1168" actId="6549"/>
          <ac:spMkLst>
            <pc:docMk/>
            <pc:sldMk cId="689766239" sldId="2134804294"/>
            <ac:spMk id="159" creationId="{4B4AA29D-CC88-45F1-A870-1ADC6DE767B6}"/>
          </ac:spMkLst>
        </pc:spChg>
        <pc:spChg chg="add mod">
          <ac:chgData name="Mariam Daniela Tristancho Pineda (MISION TEMPORAL LTDA)" userId="a45a17f7-7950-4cb5-bfab-f5c894f959a9" providerId="ADAL" clId="{1440674F-A918-4BC9-A66E-0A6A8DD6A97A}" dt="2020-06-17T00:07:50.410" v="962" actId="1076"/>
          <ac:spMkLst>
            <pc:docMk/>
            <pc:sldMk cId="689766239" sldId="2134804294"/>
            <ac:spMk id="160" creationId="{23415F4C-21A3-425D-A623-F9781A2F680E}"/>
          </ac:spMkLst>
        </pc:spChg>
        <pc:spChg chg="add mod">
          <ac:chgData name="Mariam Daniela Tristancho Pineda (MISION TEMPORAL LTDA)" userId="a45a17f7-7950-4cb5-bfab-f5c894f959a9" providerId="ADAL" clId="{1440674F-A918-4BC9-A66E-0A6A8DD6A97A}" dt="2020-06-17T00:07:50.410" v="962" actId="1076"/>
          <ac:spMkLst>
            <pc:docMk/>
            <pc:sldMk cId="689766239" sldId="2134804294"/>
            <ac:spMk id="161" creationId="{2B25826D-EA39-4DDB-AC0F-5252B8221FA1}"/>
          </ac:spMkLst>
        </pc:spChg>
        <pc:spChg chg="add mod">
          <ac:chgData name="Mariam Daniela Tristancho Pineda (MISION TEMPORAL LTDA)" userId="a45a17f7-7950-4cb5-bfab-f5c894f959a9" providerId="ADAL" clId="{1440674F-A918-4BC9-A66E-0A6A8DD6A97A}" dt="2020-06-17T00:26:16.801" v="1169" actId="6549"/>
          <ac:spMkLst>
            <pc:docMk/>
            <pc:sldMk cId="689766239" sldId="2134804294"/>
            <ac:spMk id="162" creationId="{90898057-2BFF-4905-8D7D-A8309C0FDD38}"/>
          </ac:spMkLst>
        </pc:spChg>
        <pc:spChg chg="add mod">
          <ac:chgData name="Mariam Daniela Tristancho Pineda (MISION TEMPORAL LTDA)" userId="a45a17f7-7950-4cb5-bfab-f5c894f959a9" providerId="ADAL" clId="{1440674F-A918-4BC9-A66E-0A6A8DD6A97A}" dt="2020-06-17T00:07:50.410" v="962" actId="1076"/>
          <ac:spMkLst>
            <pc:docMk/>
            <pc:sldMk cId="689766239" sldId="2134804294"/>
            <ac:spMk id="163" creationId="{D7FB9EFB-B8BF-4997-A740-74761B94F867}"/>
          </ac:spMkLst>
        </pc:spChg>
        <pc:spChg chg="add mod">
          <ac:chgData name="Mariam Daniela Tristancho Pineda (MISION TEMPORAL LTDA)" userId="a45a17f7-7950-4cb5-bfab-f5c894f959a9" providerId="ADAL" clId="{1440674F-A918-4BC9-A66E-0A6A8DD6A97A}" dt="2020-06-17T00:26:20.507" v="1170" actId="20577"/>
          <ac:spMkLst>
            <pc:docMk/>
            <pc:sldMk cId="689766239" sldId="2134804294"/>
            <ac:spMk id="164" creationId="{45989E3C-F984-4E4A-9754-029F4362A77A}"/>
          </ac:spMkLst>
        </pc:spChg>
        <pc:spChg chg="add mod">
          <ac:chgData name="Mariam Daniela Tristancho Pineda (MISION TEMPORAL LTDA)" userId="a45a17f7-7950-4cb5-bfab-f5c894f959a9" providerId="ADAL" clId="{1440674F-A918-4BC9-A66E-0A6A8DD6A97A}" dt="2020-06-17T00:07:50.410" v="962" actId="1076"/>
          <ac:spMkLst>
            <pc:docMk/>
            <pc:sldMk cId="689766239" sldId="2134804294"/>
            <ac:spMk id="165" creationId="{5DA3C30B-3C57-4020-B19E-0BC7C9E07C59}"/>
          </ac:spMkLst>
        </pc:spChg>
        <pc:spChg chg="add mod">
          <ac:chgData name="Mariam Daniela Tristancho Pineda (MISION TEMPORAL LTDA)" userId="a45a17f7-7950-4cb5-bfab-f5c894f959a9" providerId="ADAL" clId="{1440674F-A918-4BC9-A66E-0A6A8DD6A97A}" dt="2020-06-17T00:07:50.410" v="962" actId="1076"/>
          <ac:spMkLst>
            <pc:docMk/>
            <pc:sldMk cId="689766239" sldId="2134804294"/>
            <ac:spMk id="166" creationId="{D58D3B44-51A5-41D4-93FA-BC18F79B30FA}"/>
          </ac:spMkLst>
        </pc:spChg>
        <pc:spChg chg="add del mod">
          <ac:chgData name="Mariam Daniela Tristancho Pineda (MISION TEMPORAL LTDA)" userId="a45a17f7-7950-4cb5-bfab-f5c894f959a9" providerId="ADAL" clId="{1440674F-A918-4BC9-A66E-0A6A8DD6A97A}" dt="2020-06-17T00:26:23.476" v="1173" actId="20577"/>
          <ac:spMkLst>
            <pc:docMk/>
            <pc:sldMk cId="689766239" sldId="2134804294"/>
            <ac:spMk id="167" creationId="{895B9FE7-281A-4D3B-A363-85B971887E1C}"/>
          </ac:spMkLst>
        </pc:spChg>
        <pc:spChg chg="add mod">
          <ac:chgData name="Mariam Daniela Tristancho Pineda (MISION TEMPORAL LTDA)" userId="a45a17f7-7950-4cb5-bfab-f5c894f959a9" providerId="ADAL" clId="{1440674F-A918-4BC9-A66E-0A6A8DD6A97A}" dt="2020-06-17T00:26:24.252" v="1174" actId="20577"/>
          <ac:spMkLst>
            <pc:docMk/>
            <pc:sldMk cId="689766239" sldId="2134804294"/>
            <ac:spMk id="168" creationId="{C9C6E52E-C496-4919-A209-17987D94CD48}"/>
          </ac:spMkLst>
        </pc:spChg>
        <pc:spChg chg="add mod">
          <ac:chgData name="Mariam Daniela Tristancho Pineda (MISION TEMPORAL LTDA)" userId="a45a17f7-7950-4cb5-bfab-f5c894f959a9" providerId="ADAL" clId="{1440674F-A918-4BC9-A66E-0A6A8DD6A97A}" dt="2020-06-17T00:07:50.410" v="962" actId="1076"/>
          <ac:spMkLst>
            <pc:docMk/>
            <pc:sldMk cId="689766239" sldId="2134804294"/>
            <ac:spMk id="169" creationId="{A29756DE-96BC-41A3-B1EC-D41A99573878}"/>
          </ac:spMkLst>
        </pc:spChg>
        <pc:spChg chg="add mod">
          <ac:chgData name="Mariam Daniela Tristancho Pineda (MISION TEMPORAL LTDA)" userId="a45a17f7-7950-4cb5-bfab-f5c894f959a9" providerId="ADAL" clId="{1440674F-A918-4BC9-A66E-0A6A8DD6A97A}" dt="2020-06-17T00:26:27.685" v="1176" actId="20577"/>
          <ac:spMkLst>
            <pc:docMk/>
            <pc:sldMk cId="689766239" sldId="2134804294"/>
            <ac:spMk id="170" creationId="{A037A168-B6E0-4BA1-A94D-842E080A47FA}"/>
          </ac:spMkLst>
        </pc:spChg>
        <pc:spChg chg="add mod">
          <ac:chgData name="Mariam Daniela Tristancho Pineda (MISION TEMPORAL LTDA)" userId="a45a17f7-7950-4cb5-bfab-f5c894f959a9" providerId="ADAL" clId="{1440674F-A918-4BC9-A66E-0A6A8DD6A97A}" dt="2020-06-17T00:07:50.410" v="962" actId="1076"/>
          <ac:spMkLst>
            <pc:docMk/>
            <pc:sldMk cId="689766239" sldId="2134804294"/>
            <ac:spMk id="171" creationId="{E9DCBF7B-CFBB-4B8E-83CA-8CB37171508D}"/>
          </ac:spMkLst>
        </pc:spChg>
        <pc:spChg chg="add mod">
          <ac:chgData name="Mariam Daniela Tristancho Pineda (MISION TEMPORAL LTDA)" userId="a45a17f7-7950-4cb5-bfab-f5c894f959a9" providerId="ADAL" clId="{1440674F-A918-4BC9-A66E-0A6A8DD6A97A}" dt="2020-06-17T00:26:26.551" v="1175" actId="20577"/>
          <ac:spMkLst>
            <pc:docMk/>
            <pc:sldMk cId="689766239" sldId="2134804294"/>
            <ac:spMk id="172" creationId="{39687600-E9FD-4B31-A5FE-DA3B3A7DFDC0}"/>
          </ac:spMkLst>
        </pc:spChg>
        <pc:spChg chg="add del mod">
          <ac:chgData name="Mariam Daniela Tristancho Pineda (MISION TEMPORAL LTDA)" userId="a45a17f7-7950-4cb5-bfab-f5c894f959a9" providerId="ADAL" clId="{1440674F-A918-4BC9-A66E-0A6A8DD6A97A}" dt="2020-06-17T00:24:31.582" v="1133" actId="478"/>
          <ac:spMkLst>
            <pc:docMk/>
            <pc:sldMk cId="689766239" sldId="2134804294"/>
            <ac:spMk id="173" creationId="{35840A4C-ADF7-4399-9D89-20541894B570}"/>
          </ac:spMkLst>
        </pc:spChg>
        <pc:spChg chg="add del mod">
          <ac:chgData name="Mariam Daniela Tristancho Pineda (MISION TEMPORAL LTDA)" userId="a45a17f7-7950-4cb5-bfab-f5c894f959a9" providerId="ADAL" clId="{1440674F-A918-4BC9-A66E-0A6A8DD6A97A}" dt="2020-06-17T00:24:31.582" v="1133" actId="478"/>
          <ac:spMkLst>
            <pc:docMk/>
            <pc:sldMk cId="689766239" sldId="2134804294"/>
            <ac:spMk id="174" creationId="{35E78ABF-CA29-4F70-A678-06C13CD9D664}"/>
          </ac:spMkLst>
        </pc:spChg>
        <pc:spChg chg="add del mod">
          <ac:chgData name="Mariam Daniela Tristancho Pineda (MISION TEMPORAL LTDA)" userId="a45a17f7-7950-4cb5-bfab-f5c894f959a9" providerId="ADAL" clId="{1440674F-A918-4BC9-A66E-0A6A8DD6A97A}" dt="2020-06-17T00:24:31.582" v="1133" actId="478"/>
          <ac:spMkLst>
            <pc:docMk/>
            <pc:sldMk cId="689766239" sldId="2134804294"/>
            <ac:spMk id="175" creationId="{F9D5F2D6-ABF0-49BB-8471-59B8353CCF0B}"/>
          </ac:spMkLst>
        </pc:spChg>
        <pc:spChg chg="add del mod">
          <ac:chgData name="Mariam Daniela Tristancho Pineda (MISION TEMPORAL LTDA)" userId="a45a17f7-7950-4cb5-bfab-f5c894f959a9" providerId="ADAL" clId="{1440674F-A918-4BC9-A66E-0A6A8DD6A97A}" dt="2020-06-17T00:24:35.979" v="1136" actId="478"/>
          <ac:spMkLst>
            <pc:docMk/>
            <pc:sldMk cId="689766239" sldId="2134804294"/>
            <ac:spMk id="176" creationId="{DDB825AB-A73F-4929-899A-749D6612C121}"/>
          </ac:spMkLst>
        </pc:spChg>
        <pc:spChg chg="add del mod">
          <ac:chgData name="Mariam Daniela Tristancho Pineda (MISION TEMPORAL LTDA)" userId="a45a17f7-7950-4cb5-bfab-f5c894f959a9" providerId="ADAL" clId="{1440674F-A918-4BC9-A66E-0A6A8DD6A97A}" dt="2020-06-17T00:24:35.979" v="1136" actId="478"/>
          <ac:spMkLst>
            <pc:docMk/>
            <pc:sldMk cId="689766239" sldId="2134804294"/>
            <ac:spMk id="177" creationId="{EB1393D4-7B6D-45F0-A233-892179EC9C08}"/>
          </ac:spMkLst>
        </pc:spChg>
        <pc:spChg chg="add del mod">
          <ac:chgData name="Mariam Daniela Tristancho Pineda (MISION TEMPORAL LTDA)" userId="a45a17f7-7950-4cb5-bfab-f5c894f959a9" providerId="ADAL" clId="{1440674F-A918-4BC9-A66E-0A6A8DD6A97A}" dt="2020-06-17T00:24:35.979" v="1136" actId="478"/>
          <ac:spMkLst>
            <pc:docMk/>
            <pc:sldMk cId="689766239" sldId="2134804294"/>
            <ac:spMk id="178" creationId="{E6C434A4-96E5-40A9-AD7D-40AF6233D9A4}"/>
          </ac:spMkLst>
        </pc:spChg>
        <pc:spChg chg="add del mod">
          <ac:chgData name="Mariam Daniela Tristancho Pineda (MISION TEMPORAL LTDA)" userId="a45a17f7-7950-4cb5-bfab-f5c894f959a9" providerId="ADAL" clId="{1440674F-A918-4BC9-A66E-0A6A8DD6A97A}" dt="2020-06-17T00:26:03.273" v="1163" actId="478"/>
          <ac:spMkLst>
            <pc:docMk/>
            <pc:sldMk cId="689766239" sldId="2134804294"/>
            <ac:spMk id="179" creationId="{3DBD1A28-F3D9-4B09-8BAB-1786DAE1DDE8}"/>
          </ac:spMkLst>
        </pc:spChg>
        <pc:spChg chg="add del mod">
          <ac:chgData name="Mariam Daniela Tristancho Pineda (MISION TEMPORAL LTDA)" userId="a45a17f7-7950-4cb5-bfab-f5c894f959a9" providerId="ADAL" clId="{1440674F-A918-4BC9-A66E-0A6A8DD6A97A}" dt="2020-06-17T00:26:01.628" v="1161" actId="478"/>
          <ac:spMkLst>
            <pc:docMk/>
            <pc:sldMk cId="689766239" sldId="2134804294"/>
            <ac:spMk id="180" creationId="{34E3A26A-762C-4ECE-990D-C6F02A44FDDA}"/>
          </ac:spMkLst>
        </pc:spChg>
        <pc:spChg chg="add del mod">
          <ac:chgData name="Mariam Daniela Tristancho Pineda (MISION TEMPORAL LTDA)" userId="a45a17f7-7950-4cb5-bfab-f5c894f959a9" providerId="ADAL" clId="{1440674F-A918-4BC9-A66E-0A6A8DD6A97A}" dt="2020-06-17T00:26:02.472" v="1162" actId="478"/>
          <ac:spMkLst>
            <pc:docMk/>
            <pc:sldMk cId="689766239" sldId="2134804294"/>
            <ac:spMk id="181" creationId="{B6EF11B9-F5BA-42A8-948A-877236FF372D}"/>
          </ac:spMkLst>
        </pc:spChg>
        <pc:spChg chg="add del mod">
          <ac:chgData name="Mariam Daniela Tristancho Pineda (MISION TEMPORAL LTDA)" userId="a45a17f7-7950-4cb5-bfab-f5c894f959a9" providerId="ADAL" clId="{1440674F-A918-4BC9-A66E-0A6A8DD6A97A}" dt="2020-06-17T00:25:00.300" v="1145" actId="478"/>
          <ac:spMkLst>
            <pc:docMk/>
            <pc:sldMk cId="689766239" sldId="2134804294"/>
            <ac:spMk id="182" creationId="{A4B39E3B-FFB6-4FBE-A5BE-3F745E1CC2BD}"/>
          </ac:spMkLst>
        </pc:spChg>
        <pc:spChg chg="add del mod">
          <ac:chgData name="Mariam Daniela Tristancho Pineda (MISION TEMPORAL LTDA)" userId="a45a17f7-7950-4cb5-bfab-f5c894f959a9" providerId="ADAL" clId="{1440674F-A918-4BC9-A66E-0A6A8DD6A97A}" dt="2020-06-17T00:26:00.104" v="1160" actId="478"/>
          <ac:spMkLst>
            <pc:docMk/>
            <pc:sldMk cId="689766239" sldId="2134804294"/>
            <ac:spMk id="183" creationId="{70362806-FFE9-4BAC-A513-B894EB4BD494}"/>
          </ac:spMkLst>
        </pc:spChg>
        <pc:spChg chg="add del mod">
          <ac:chgData name="Mariam Daniela Tristancho Pineda (MISION TEMPORAL LTDA)" userId="a45a17f7-7950-4cb5-bfab-f5c894f959a9" providerId="ADAL" clId="{1440674F-A918-4BC9-A66E-0A6A8DD6A97A}" dt="2020-06-17T00:24:59.280" v="1144" actId="478"/>
          <ac:spMkLst>
            <pc:docMk/>
            <pc:sldMk cId="689766239" sldId="2134804294"/>
            <ac:spMk id="184" creationId="{827D5781-9EC5-44DD-BB3D-5CA6ACB0DFC7}"/>
          </ac:spMkLst>
        </pc:spChg>
        <pc:spChg chg="add mod">
          <ac:chgData name="Mariam Daniela Tristancho Pineda (MISION TEMPORAL LTDA)" userId="a45a17f7-7950-4cb5-bfab-f5c894f959a9" providerId="ADAL" clId="{1440674F-A918-4BC9-A66E-0A6A8DD6A97A}" dt="2020-06-17T00:24:39.736" v="1138" actId="1076"/>
          <ac:spMkLst>
            <pc:docMk/>
            <pc:sldMk cId="689766239" sldId="2134804294"/>
            <ac:spMk id="185" creationId="{8B3637CA-31A1-4DBA-8C04-67A44B1549FE}"/>
          </ac:spMkLst>
        </pc:spChg>
        <pc:spChg chg="add mod">
          <ac:chgData name="Mariam Daniela Tristancho Pineda (MISION TEMPORAL LTDA)" userId="a45a17f7-7950-4cb5-bfab-f5c894f959a9" providerId="ADAL" clId="{1440674F-A918-4BC9-A66E-0A6A8DD6A97A}" dt="2020-06-17T00:24:39.736" v="1138" actId="1076"/>
          <ac:spMkLst>
            <pc:docMk/>
            <pc:sldMk cId="689766239" sldId="2134804294"/>
            <ac:spMk id="186" creationId="{0E211D7E-4773-45B2-A656-28BD766EFD83}"/>
          </ac:spMkLst>
        </pc:spChg>
        <pc:spChg chg="add mod">
          <ac:chgData name="Mariam Daniela Tristancho Pineda (MISION TEMPORAL LTDA)" userId="a45a17f7-7950-4cb5-bfab-f5c894f959a9" providerId="ADAL" clId="{1440674F-A918-4BC9-A66E-0A6A8DD6A97A}" dt="2020-06-17T00:24:39.736" v="1138" actId="1076"/>
          <ac:spMkLst>
            <pc:docMk/>
            <pc:sldMk cId="689766239" sldId="2134804294"/>
            <ac:spMk id="187" creationId="{DA463F29-4FA2-4C21-AA9D-A20DB26C4D76}"/>
          </ac:spMkLst>
        </pc:spChg>
        <pc:spChg chg="mod">
          <ac:chgData name="Mariam Daniela Tristancho Pineda (MISION TEMPORAL LTDA)" userId="a45a17f7-7950-4cb5-bfab-f5c894f959a9" providerId="ADAL" clId="{1440674F-A918-4BC9-A66E-0A6A8DD6A97A}" dt="2020-06-24T14:57:44.360" v="2182" actId="1076"/>
          <ac:spMkLst>
            <pc:docMk/>
            <pc:sldMk cId="689766239" sldId="2134804294"/>
            <ac:spMk id="188" creationId="{FF7A2263-A063-406E-858B-519AB44EEF98}"/>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22" creationId="{DD973C30-230A-49D8-8079-1604855F7DE3}"/>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23" creationId="{9C659D4C-F784-47E0-B96B-9EAB371FAC8C}"/>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24" creationId="{5EA43E41-DC89-4249-899F-B62D5D31268A}"/>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25" creationId="{1B38E54F-D2C4-48D7-8E66-4D0006BBD8F7}"/>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26" creationId="{2F6DBD2B-E3D5-4851-9F96-36768DA0202B}"/>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27" creationId="{46C39B70-C0F0-4D5C-AE92-64941801B1FC}"/>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28" creationId="{44963480-E080-4765-AC54-577F126544FF}"/>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29" creationId="{EF0966C2-0C99-48A0-878A-904712CA4194}"/>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30" creationId="{84B4EFD2-53D3-4D08-B607-BE878C299BBF}"/>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31" creationId="{99E89184-64B4-4C52-B228-E8313152C17A}"/>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32" creationId="{75D8A2E0-995D-4B0F-B317-CD82265F6372}"/>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33" creationId="{44712E19-14A1-422C-B360-A67E8FAF4E29}"/>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34" creationId="{9A54F4A7-C7AB-44C8-B218-0A3429424B04}"/>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35" creationId="{15606857-9140-4CDE-9B0A-443B1A11FDB5}"/>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36" creationId="{AFCA9E3D-8AF5-42A1-AEDD-346A1D024BA4}"/>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37" creationId="{4B63333A-DDAF-4BAD-8B14-C2732BA8C536}"/>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38" creationId="{50AEBB48-9389-4242-B514-5F1C1D9D595D}"/>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39" creationId="{ED2065D7-2311-4BDF-A2C6-0EFE0AFE6BFF}"/>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40" creationId="{DEF47C99-F164-459A-B4C0-126B6AC2B60F}"/>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41" creationId="{E0976D2E-4CF3-4B06-B56B-68F08B0BAB6C}"/>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42" creationId="{90477727-68E8-47AF-8A16-7B0FB367457F}"/>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43" creationId="{2428866B-5560-48DE-B827-4993D168318E}"/>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44" creationId="{A6DC3205-89CF-46C3-803C-6C81031B75F2}"/>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45" creationId="{BD1DA7AF-D047-4D52-9145-B3976D938695}"/>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46" creationId="{EA5170C2-DB8B-4ECF-8FE5-B341BFE00AD2}"/>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47" creationId="{E94F5464-1951-4D6D-A252-244A280F4481}"/>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48" creationId="{D082A999-F92D-403F-A972-CC73F7AED6FB}"/>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49" creationId="{6629F352-E68A-41C1-85DA-898683185515}"/>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50" creationId="{8B284878-1850-4CB9-84A3-8C00F81070AE}"/>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51" creationId="{FB21F4ED-43BF-4C0F-93B4-B30925FBB51D}"/>
          </ac:spMkLst>
        </pc:spChg>
        <pc:spChg chg="del">
          <ac:chgData name="Mariam Daniela Tristancho Pineda (MISION TEMPORAL LTDA)" userId="a45a17f7-7950-4cb5-bfab-f5c894f959a9" providerId="ADAL" clId="{1440674F-A918-4BC9-A66E-0A6A8DD6A97A}" dt="2020-06-24T14:57:17.189" v="2173" actId="478"/>
          <ac:spMkLst>
            <pc:docMk/>
            <pc:sldMk cId="689766239" sldId="2134804294"/>
            <ac:spMk id="252" creationId="{87DEDE34-9F94-492C-847E-2F682B487BA9}"/>
          </ac:spMkLst>
        </pc:spChg>
      </pc:sldChg>
      <pc:sldChg chg="addSp modSp mod">
        <pc:chgData name="Mariam Daniela Tristancho Pineda (MISION TEMPORAL LTDA)" userId="a45a17f7-7950-4cb5-bfab-f5c894f959a9" providerId="ADAL" clId="{1440674F-A918-4BC9-A66E-0A6A8DD6A97A}" dt="2020-06-18T19:47:12.399" v="1368" actId="1035"/>
        <pc:sldMkLst>
          <pc:docMk/>
          <pc:sldMk cId="2197550008" sldId="2134804299"/>
        </pc:sldMkLst>
        <pc:spChg chg="add mod">
          <ac:chgData name="Mariam Daniela Tristancho Pineda (MISION TEMPORAL LTDA)" userId="a45a17f7-7950-4cb5-bfab-f5c894f959a9" providerId="ADAL" clId="{1440674F-A918-4BC9-A66E-0A6A8DD6A97A}" dt="2020-06-18T19:47:12.399" v="1368" actId="1035"/>
          <ac:spMkLst>
            <pc:docMk/>
            <pc:sldMk cId="2197550008" sldId="2134804299"/>
            <ac:spMk id="13" creationId="{0C105355-B353-4974-AE3C-CAE77E3666F4}"/>
          </ac:spMkLst>
        </pc:spChg>
        <pc:spChg chg="mod">
          <ac:chgData name="Mariam Daniela Tristancho Pineda (MISION TEMPORAL LTDA)" userId="a45a17f7-7950-4cb5-bfab-f5c894f959a9" providerId="ADAL" clId="{1440674F-A918-4BC9-A66E-0A6A8DD6A97A}" dt="2020-06-18T19:45:56.147" v="1291" actId="20577"/>
          <ac:spMkLst>
            <pc:docMk/>
            <pc:sldMk cId="2197550008" sldId="2134804299"/>
            <ac:spMk id="65" creationId="{14BA1960-1B77-46A9-B4B9-CBCBDCFAF42D}"/>
          </ac:spMkLst>
        </pc:spChg>
      </pc:sldChg>
      <pc:sldChg chg="addSp delSp modSp add del mod">
        <pc:chgData name="Mariam Daniela Tristancho Pineda (MISION TEMPORAL LTDA)" userId="a45a17f7-7950-4cb5-bfab-f5c894f959a9" providerId="ADAL" clId="{1440674F-A918-4BC9-A66E-0A6A8DD6A97A}" dt="2020-06-24T14:45:38.433" v="1933" actId="47"/>
        <pc:sldMkLst>
          <pc:docMk/>
          <pc:sldMk cId="228226795" sldId="2134804311"/>
        </pc:sldMkLst>
        <pc:spChg chg="add del">
          <ac:chgData name="Mariam Daniela Tristancho Pineda (MISION TEMPORAL LTDA)" userId="a45a17f7-7950-4cb5-bfab-f5c894f959a9" providerId="ADAL" clId="{1440674F-A918-4BC9-A66E-0A6A8DD6A97A}" dt="2020-06-24T14:19:41.257" v="1458" actId="478"/>
          <ac:spMkLst>
            <pc:docMk/>
            <pc:sldMk cId="228226795" sldId="2134804311"/>
            <ac:spMk id="3" creationId="{815B10B7-60B3-4C63-8431-70CC556387C9}"/>
          </ac:spMkLst>
        </pc:spChg>
        <pc:spChg chg="add del">
          <ac:chgData name="Mariam Daniela Tristancho Pineda (MISION TEMPORAL LTDA)" userId="a45a17f7-7950-4cb5-bfab-f5c894f959a9" providerId="ADAL" clId="{1440674F-A918-4BC9-A66E-0A6A8DD6A97A}" dt="2020-06-24T14:19:02.496" v="1453" actId="478"/>
          <ac:spMkLst>
            <pc:docMk/>
            <pc:sldMk cId="228226795" sldId="2134804311"/>
            <ac:spMk id="8" creationId="{DD71BF06-B04C-46D4-9585-65ACB77D82D1}"/>
          </ac:spMkLst>
        </pc:spChg>
        <pc:spChg chg="add del">
          <ac:chgData name="Mariam Daniela Tristancho Pineda (MISION TEMPORAL LTDA)" userId="a45a17f7-7950-4cb5-bfab-f5c894f959a9" providerId="ADAL" clId="{1440674F-A918-4BC9-A66E-0A6A8DD6A97A}" dt="2020-06-24T14:19:02.496" v="1453" actId="478"/>
          <ac:spMkLst>
            <pc:docMk/>
            <pc:sldMk cId="228226795" sldId="2134804311"/>
            <ac:spMk id="9" creationId="{6F922DD3-801F-4B3D-9B4D-DBEC1EC37D57}"/>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13" creationId="{D1CF4700-4906-4F29-B146-BA40E72EA40A}"/>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40" creationId="{D1132571-22C6-4A24-931F-862227F6062D}"/>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41" creationId="{CCB4BB0D-CEFB-4C0D-841C-32888E931D7E}"/>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42" creationId="{D738484B-A1FE-4D14-B0E6-2C43B61812C6}"/>
          </ac:spMkLst>
        </pc:spChg>
        <pc:spChg chg="add del">
          <ac:chgData name="Mariam Daniela Tristancho Pineda (MISION TEMPORAL LTDA)" userId="a45a17f7-7950-4cb5-bfab-f5c894f959a9" providerId="ADAL" clId="{1440674F-A918-4BC9-A66E-0A6A8DD6A97A}" dt="2020-06-24T14:19:02.496" v="1453" actId="478"/>
          <ac:spMkLst>
            <pc:docMk/>
            <pc:sldMk cId="228226795" sldId="2134804311"/>
            <ac:spMk id="43" creationId="{9E99B233-8A5B-44E6-A802-87EAA9553E24}"/>
          </ac:spMkLst>
        </pc:spChg>
        <pc:spChg chg="add del">
          <ac:chgData name="Mariam Daniela Tristancho Pineda (MISION TEMPORAL LTDA)" userId="a45a17f7-7950-4cb5-bfab-f5c894f959a9" providerId="ADAL" clId="{1440674F-A918-4BC9-A66E-0A6A8DD6A97A}" dt="2020-06-24T14:19:02.496" v="1453" actId="478"/>
          <ac:spMkLst>
            <pc:docMk/>
            <pc:sldMk cId="228226795" sldId="2134804311"/>
            <ac:spMk id="44" creationId="{E239B605-6964-49EB-B22A-9FCE640E48BE}"/>
          </ac:spMkLst>
        </pc:spChg>
        <pc:spChg chg="mod">
          <ac:chgData name="Mariam Daniela Tristancho Pineda (MISION TEMPORAL LTDA)" userId="a45a17f7-7950-4cb5-bfab-f5c894f959a9" providerId="ADAL" clId="{1440674F-A918-4BC9-A66E-0A6A8DD6A97A}" dt="2020-06-24T14:25:49.890" v="1491" actId="14100"/>
          <ac:spMkLst>
            <pc:docMk/>
            <pc:sldMk cId="228226795" sldId="2134804311"/>
            <ac:spMk id="45" creationId="{FE8ED9F7-3608-4810-95FA-CCA357FF8DD5}"/>
          </ac:spMkLst>
        </pc:spChg>
        <pc:spChg chg="add del">
          <ac:chgData name="Mariam Daniela Tristancho Pineda (MISION TEMPORAL LTDA)" userId="a45a17f7-7950-4cb5-bfab-f5c894f959a9" providerId="ADAL" clId="{1440674F-A918-4BC9-A66E-0A6A8DD6A97A}" dt="2020-06-24T14:19:02.496" v="1453" actId="478"/>
          <ac:spMkLst>
            <pc:docMk/>
            <pc:sldMk cId="228226795" sldId="2134804311"/>
            <ac:spMk id="47" creationId="{BF5EEC85-5BBC-4AC0-BFF6-FC2E72B5FA13}"/>
          </ac:spMkLst>
        </pc:spChg>
        <pc:spChg chg="add del">
          <ac:chgData name="Mariam Daniela Tristancho Pineda (MISION TEMPORAL LTDA)" userId="a45a17f7-7950-4cb5-bfab-f5c894f959a9" providerId="ADAL" clId="{1440674F-A918-4BC9-A66E-0A6A8DD6A97A}" dt="2020-06-24T14:19:02.496" v="1453" actId="478"/>
          <ac:spMkLst>
            <pc:docMk/>
            <pc:sldMk cId="228226795" sldId="2134804311"/>
            <ac:spMk id="48" creationId="{42AE1721-865B-4FA1-9DB2-04731ADDC02E}"/>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49" creationId="{AA424A2E-6D9A-4F45-8D12-089063FB713D}"/>
          </ac:spMkLst>
        </pc:spChg>
        <pc:spChg chg="add del">
          <ac:chgData name="Mariam Daniela Tristancho Pineda (MISION TEMPORAL LTDA)" userId="a45a17f7-7950-4cb5-bfab-f5c894f959a9" providerId="ADAL" clId="{1440674F-A918-4BC9-A66E-0A6A8DD6A97A}" dt="2020-06-24T14:19:02.496" v="1453" actId="478"/>
          <ac:spMkLst>
            <pc:docMk/>
            <pc:sldMk cId="228226795" sldId="2134804311"/>
            <ac:spMk id="52" creationId="{2AD1363D-77A4-4B18-8087-0B267A4558ED}"/>
          </ac:spMkLst>
        </pc:spChg>
        <pc:spChg chg="add del">
          <ac:chgData name="Mariam Daniela Tristancho Pineda (MISION TEMPORAL LTDA)" userId="a45a17f7-7950-4cb5-bfab-f5c894f959a9" providerId="ADAL" clId="{1440674F-A918-4BC9-A66E-0A6A8DD6A97A}" dt="2020-06-24T14:19:02.496" v="1453" actId="478"/>
          <ac:spMkLst>
            <pc:docMk/>
            <pc:sldMk cId="228226795" sldId="2134804311"/>
            <ac:spMk id="54" creationId="{C38A9719-1AF0-4D7F-AF9E-714FBC133573}"/>
          </ac:spMkLst>
        </pc:spChg>
        <pc:spChg chg="add del">
          <ac:chgData name="Mariam Daniela Tristancho Pineda (MISION TEMPORAL LTDA)" userId="a45a17f7-7950-4cb5-bfab-f5c894f959a9" providerId="ADAL" clId="{1440674F-A918-4BC9-A66E-0A6A8DD6A97A}" dt="2020-06-24T14:19:02.496" v="1453" actId="478"/>
          <ac:spMkLst>
            <pc:docMk/>
            <pc:sldMk cId="228226795" sldId="2134804311"/>
            <ac:spMk id="55" creationId="{3303E99B-C92B-47E7-8D82-C8AAB6B8C380}"/>
          </ac:spMkLst>
        </pc:spChg>
        <pc:spChg chg="add del">
          <ac:chgData name="Mariam Daniela Tristancho Pineda (MISION TEMPORAL LTDA)" userId="a45a17f7-7950-4cb5-bfab-f5c894f959a9" providerId="ADAL" clId="{1440674F-A918-4BC9-A66E-0A6A8DD6A97A}" dt="2020-06-24T14:19:02.496" v="1453" actId="478"/>
          <ac:spMkLst>
            <pc:docMk/>
            <pc:sldMk cId="228226795" sldId="2134804311"/>
            <ac:spMk id="56" creationId="{4F0BB8E1-0E03-4A52-9BB1-7AC2ED86FFBE}"/>
          </ac:spMkLst>
        </pc:spChg>
        <pc:spChg chg="add del">
          <ac:chgData name="Mariam Daniela Tristancho Pineda (MISION TEMPORAL LTDA)" userId="a45a17f7-7950-4cb5-bfab-f5c894f959a9" providerId="ADAL" clId="{1440674F-A918-4BC9-A66E-0A6A8DD6A97A}" dt="2020-06-24T14:19:02.496" v="1453" actId="478"/>
          <ac:spMkLst>
            <pc:docMk/>
            <pc:sldMk cId="228226795" sldId="2134804311"/>
            <ac:spMk id="57" creationId="{0FB34961-9380-4A9B-A2B6-992F21508C64}"/>
          </ac:spMkLst>
        </pc:spChg>
        <pc:spChg chg="add del">
          <ac:chgData name="Mariam Daniela Tristancho Pineda (MISION TEMPORAL LTDA)" userId="a45a17f7-7950-4cb5-bfab-f5c894f959a9" providerId="ADAL" clId="{1440674F-A918-4BC9-A66E-0A6A8DD6A97A}" dt="2020-06-24T14:19:02.496" v="1453" actId="478"/>
          <ac:spMkLst>
            <pc:docMk/>
            <pc:sldMk cId="228226795" sldId="2134804311"/>
            <ac:spMk id="58" creationId="{74F606FB-9410-44F0-9F53-ACCA9F228C24}"/>
          </ac:spMkLst>
        </pc:spChg>
        <pc:spChg chg="add del">
          <ac:chgData name="Mariam Daniela Tristancho Pineda (MISION TEMPORAL LTDA)" userId="a45a17f7-7950-4cb5-bfab-f5c894f959a9" providerId="ADAL" clId="{1440674F-A918-4BC9-A66E-0A6A8DD6A97A}" dt="2020-06-24T14:19:02.496" v="1453" actId="478"/>
          <ac:spMkLst>
            <pc:docMk/>
            <pc:sldMk cId="228226795" sldId="2134804311"/>
            <ac:spMk id="59" creationId="{97F69600-5EC2-415F-899E-3158E1DD0E4E}"/>
          </ac:spMkLst>
        </pc:spChg>
        <pc:spChg chg="add del">
          <ac:chgData name="Mariam Daniela Tristancho Pineda (MISION TEMPORAL LTDA)" userId="a45a17f7-7950-4cb5-bfab-f5c894f959a9" providerId="ADAL" clId="{1440674F-A918-4BC9-A66E-0A6A8DD6A97A}" dt="2020-06-24T14:19:02.496" v="1453" actId="478"/>
          <ac:spMkLst>
            <pc:docMk/>
            <pc:sldMk cId="228226795" sldId="2134804311"/>
            <ac:spMk id="60" creationId="{E78B2A6C-DEF5-4176-9EC8-F1C34E8F7D53}"/>
          </ac:spMkLst>
        </pc:spChg>
        <pc:spChg chg="add del">
          <ac:chgData name="Mariam Daniela Tristancho Pineda (MISION TEMPORAL LTDA)" userId="a45a17f7-7950-4cb5-bfab-f5c894f959a9" providerId="ADAL" clId="{1440674F-A918-4BC9-A66E-0A6A8DD6A97A}" dt="2020-06-24T14:19:02.496" v="1453" actId="478"/>
          <ac:spMkLst>
            <pc:docMk/>
            <pc:sldMk cId="228226795" sldId="2134804311"/>
            <ac:spMk id="61" creationId="{1F7F6559-3F08-4F7E-A909-B96E01AB7528}"/>
          </ac:spMkLst>
        </pc:spChg>
        <pc:spChg chg="add del">
          <ac:chgData name="Mariam Daniela Tristancho Pineda (MISION TEMPORAL LTDA)" userId="a45a17f7-7950-4cb5-bfab-f5c894f959a9" providerId="ADAL" clId="{1440674F-A918-4BC9-A66E-0A6A8DD6A97A}" dt="2020-06-24T14:19:02.496" v="1453" actId="478"/>
          <ac:spMkLst>
            <pc:docMk/>
            <pc:sldMk cId="228226795" sldId="2134804311"/>
            <ac:spMk id="62" creationId="{1F18B743-7CA7-4168-93CE-0B2A698A9D4B}"/>
          </ac:spMkLst>
        </pc:spChg>
        <pc:spChg chg="add del">
          <ac:chgData name="Mariam Daniela Tristancho Pineda (MISION TEMPORAL LTDA)" userId="a45a17f7-7950-4cb5-bfab-f5c894f959a9" providerId="ADAL" clId="{1440674F-A918-4BC9-A66E-0A6A8DD6A97A}" dt="2020-06-24T14:19:02.496" v="1453" actId="478"/>
          <ac:spMkLst>
            <pc:docMk/>
            <pc:sldMk cId="228226795" sldId="2134804311"/>
            <ac:spMk id="63" creationId="{AB5F3A10-3A0A-4AD1-810F-ECFBAF93D3A3}"/>
          </ac:spMkLst>
        </pc:spChg>
        <pc:spChg chg="add del">
          <ac:chgData name="Mariam Daniela Tristancho Pineda (MISION TEMPORAL LTDA)" userId="a45a17f7-7950-4cb5-bfab-f5c894f959a9" providerId="ADAL" clId="{1440674F-A918-4BC9-A66E-0A6A8DD6A97A}" dt="2020-06-24T14:19:02.496" v="1453" actId="478"/>
          <ac:spMkLst>
            <pc:docMk/>
            <pc:sldMk cId="228226795" sldId="2134804311"/>
            <ac:spMk id="64" creationId="{C1641CFC-CF7F-498D-B4D0-3EC07F8B6FCA}"/>
          </ac:spMkLst>
        </pc:spChg>
        <pc:spChg chg="add del">
          <ac:chgData name="Mariam Daniela Tristancho Pineda (MISION TEMPORAL LTDA)" userId="a45a17f7-7950-4cb5-bfab-f5c894f959a9" providerId="ADAL" clId="{1440674F-A918-4BC9-A66E-0A6A8DD6A97A}" dt="2020-06-24T14:19:02.496" v="1453" actId="478"/>
          <ac:spMkLst>
            <pc:docMk/>
            <pc:sldMk cId="228226795" sldId="2134804311"/>
            <ac:spMk id="66" creationId="{C1B3BC7F-010E-4F7C-9215-3BC0CB51B95F}"/>
          </ac:spMkLst>
        </pc:spChg>
        <pc:spChg chg="add del">
          <ac:chgData name="Mariam Daniela Tristancho Pineda (MISION TEMPORAL LTDA)" userId="a45a17f7-7950-4cb5-bfab-f5c894f959a9" providerId="ADAL" clId="{1440674F-A918-4BC9-A66E-0A6A8DD6A97A}" dt="2020-06-24T14:19:36.039" v="1457" actId="478"/>
          <ac:spMkLst>
            <pc:docMk/>
            <pc:sldMk cId="228226795" sldId="2134804311"/>
            <ac:spMk id="71" creationId="{A69B7E9C-1301-476B-9B8D-50B1CA3CB77F}"/>
          </ac:spMkLst>
        </pc:spChg>
        <pc:spChg chg="del">
          <ac:chgData name="Mariam Daniela Tristancho Pineda (MISION TEMPORAL LTDA)" userId="a45a17f7-7950-4cb5-bfab-f5c894f959a9" providerId="ADAL" clId="{1440674F-A918-4BC9-A66E-0A6A8DD6A97A}" dt="2020-06-24T14:20:14.877" v="1462" actId="478"/>
          <ac:spMkLst>
            <pc:docMk/>
            <pc:sldMk cId="228226795" sldId="2134804311"/>
            <ac:spMk id="73" creationId="{504BE693-A6BF-4CAB-971A-BC7D1287E952}"/>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74" creationId="{B5886F35-849B-48A6-97F5-BE8E727DCABB}"/>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75" creationId="{6145BB97-3119-4821-8D9F-A6CBDE6564FA}"/>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76" creationId="{C4889BF1-BFE2-4B20-AB47-50C8708C5811}"/>
          </ac:spMkLst>
        </pc:spChg>
        <pc:spChg chg="add del">
          <ac:chgData name="Mariam Daniela Tristancho Pineda (MISION TEMPORAL LTDA)" userId="a45a17f7-7950-4cb5-bfab-f5c894f959a9" providerId="ADAL" clId="{1440674F-A918-4BC9-A66E-0A6A8DD6A97A}" dt="2020-06-24T14:19:36.039" v="1457" actId="478"/>
          <ac:spMkLst>
            <pc:docMk/>
            <pc:sldMk cId="228226795" sldId="2134804311"/>
            <ac:spMk id="77" creationId="{FE57AFEB-C555-4E4A-8CCA-35D95283E0B0}"/>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78" creationId="{29484C37-A93F-435C-BB46-AAD296179DA7}"/>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79" creationId="{E7635D01-CF5B-467A-AD0E-714418970E68}"/>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80" creationId="{D66A88FF-E3F2-4BEC-8E12-DCBEE6A096ED}"/>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81" creationId="{A742467B-5CB0-468E-8115-5070DDA010C6}"/>
          </ac:spMkLst>
        </pc:spChg>
        <pc:spChg chg="add del">
          <ac:chgData name="Mariam Daniela Tristancho Pineda (MISION TEMPORAL LTDA)" userId="a45a17f7-7950-4cb5-bfab-f5c894f959a9" providerId="ADAL" clId="{1440674F-A918-4BC9-A66E-0A6A8DD6A97A}" dt="2020-06-24T14:20:13.568" v="1461" actId="478"/>
          <ac:spMkLst>
            <pc:docMk/>
            <pc:sldMk cId="228226795" sldId="2134804311"/>
            <ac:spMk id="82" creationId="{9F1674CE-F25C-4C2A-AA04-EC08592CA6BF}"/>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83" creationId="{C506A4AA-FCB3-45B4-B3F4-65268296A051}"/>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84" creationId="{AE70C292-631F-4FBA-9407-4F63FA529DB7}"/>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85" creationId="{20DF9912-3C8C-4E4C-AED3-8A1393F70375}"/>
          </ac:spMkLst>
        </pc:spChg>
        <pc:spChg chg="add del">
          <ac:chgData name="Mariam Daniela Tristancho Pineda (MISION TEMPORAL LTDA)" userId="a45a17f7-7950-4cb5-bfab-f5c894f959a9" providerId="ADAL" clId="{1440674F-A918-4BC9-A66E-0A6A8DD6A97A}" dt="2020-06-24T14:19:36.039" v="1457" actId="478"/>
          <ac:spMkLst>
            <pc:docMk/>
            <pc:sldMk cId="228226795" sldId="2134804311"/>
            <ac:spMk id="89" creationId="{C663BB5A-D4A1-45C8-A094-4E132713CB94}"/>
          </ac:spMkLst>
        </pc:spChg>
        <pc:spChg chg="del mod">
          <ac:chgData name="Mariam Daniela Tristancho Pineda (MISION TEMPORAL LTDA)" userId="a45a17f7-7950-4cb5-bfab-f5c894f959a9" providerId="ADAL" clId="{1440674F-A918-4BC9-A66E-0A6A8DD6A97A}" dt="2020-06-24T14:27:00.322" v="1494" actId="478"/>
          <ac:spMkLst>
            <pc:docMk/>
            <pc:sldMk cId="228226795" sldId="2134804311"/>
            <ac:spMk id="90" creationId="{D070B5C3-1D91-4ABC-8CA2-D9852AE59C86}"/>
          </ac:spMkLst>
        </pc:spChg>
        <pc:spChg chg="del mod">
          <ac:chgData name="Mariam Daniela Tristancho Pineda (MISION TEMPORAL LTDA)" userId="a45a17f7-7950-4cb5-bfab-f5c894f959a9" providerId="ADAL" clId="{1440674F-A918-4BC9-A66E-0A6A8DD6A97A}" dt="2020-06-24T14:27:06.684" v="1495" actId="478"/>
          <ac:spMkLst>
            <pc:docMk/>
            <pc:sldMk cId="228226795" sldId="2134804311"/>
            <ac:spMk id="91" creationId="{E9A3AA28-23D6-47BB-8D8B-D4ED69D1F800}"/>
          </ac:spMkLst>
        </pc:spChg>
        <pc:spChg chg="add del mod">
          <ac:chgData name="Mariam Daniela Tristancho Pineda (MISION TEMPORAL LTDA)" userId="a45a17f7-7950-4cb5-bfab-f5c894f959a9" providerId="ADAL" clId="{1440674F-A918-4BC9-A66E-0A6A8DD6A97A}" dt="2020-06-24T14:27:06.684" v="1495" actId="478"/>
          <ac:spMkLst>
            <pc:docMk/>
            <pc:sldMk cId="228226795" sldId="2134804311"/>
            <ac:spMk id="92" creationId="{B404AA0F-91B0-4410-8B25-EB5940513BC2}"/>
          </ac:spMkLst>
        </pc:spChg>
        <pc:spChg chg="del mod">
          <ac:chgData name="Mariam Daniela Tristancho Pineda (MISION TEMPORAL LTDA)" userId="a45a17f7-7950-4cb5-bfab-f5c894f959a9" providerId="ADAL" clId="{1440674F-A918-4BC9-A66E-0A6A8DD6A97A}" dt="2020-06-24T14:27:06.684" v="1495" actId="478"/>
          <ac:spMkLst>
            <pc:docMk/>
            <pc:sldMk cId="228226795" sldId="2134804311"/>
            <ac:spMk id="93" creationId="{E3B1BFC0-0F6B-4D43-B6C9-9918CEE2AF1E}"/>
          </ac:spMkLst>
        </pc:spChg>
        <pc:spChg chg="del mod">
          <ac:chgData name="Mariam Daniela Tristancho Pineda (MISION TEMPORAL LTDA)" userId="a45a17f7-7950-4cb5-bfab-f5c894f959a9" providerId="ADAL" clId="{1440674F-A918-4BC9-A66E-0A6A8DD6A97A}" dt="2020-06-24T14:27:00.322" v="1494" actId="478"/>
          <ac:spMkLst>
            <pc:docMk/>
            <pc:sldMk cId="228226795" sldId="2134804311"/>
            <ac:spMk id="94" creationId="{0B056E8D-65FF-4D24-83C8-C3B9A4850D2B}"/>
          </ac:spMkLst>
        </pc:spChg>
        <pc:spChg chg="del mod">
          <ac:chgData name="Mariam Daniela Tristancho Pineda (MISION TEMPORAL LTDA)" userId="a45a17f7-7950-4cb5-bfab-f5c894f959a9" providerId="ADAL" clId="{1440674F-A918-4BC9-A66E-0A6A8DD6A97A}" dt="2020-06-24T14:27:12.662" v="1497" actId="478"/>
          <ac:spMkLst>
            <pc:docMk/>
            <pc:sldMk cId="228226795" sldId="2134804311"/>
            <ac:spMk id="96" creationId="{39E59936-B3B2-4279-BD62-172D1DD8C52E}"/>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97" creationId="{99300021-C267-43BD-A0F5-B3ECE622345E}"/>
          </ac:spMkLst>
        </pc:spChg>
        <pc:spChg chg="del mod">
          <ac:chgData name="Mariam Daniela Tristancho Pineda (MISION TEMPORAL LTDA)" userId="a45a17f7-7950-4cb5-bfab-f5c894f959a9" providerId="ADAL" clId="{1440674F-A918-4BC9-A66E-0A6A8DD6A97A}" dt="2020-06-24T14:27:12.662" v="1497" actId="478"/>
          <ac:spMkLst>
            <pc:docMk/>
            <pc:sldMk cId="228226795" sldId="2134804311"/>
            <ac:spMk id="98" creationId="{AA0AA2E3-2CBF-4610-B9BC-42530A64D44F}"/>
          </ac:spMkLst>
        </pc:spChg>
        <pc:spChg chg="add del">
          <ac:chgData name="Mariam Daniela Tristancho Pineda (MISION TEMPORAL LTDA)" userId="a45a17f7-7950-4cb5-bfab-f5c894f959a9" providerId="ADAL" clId="{1440674F-A918-4BC9-A66E-0A6A8DD6A97A}" dt="2020-06-24T14:19:33.543" v="1456" actId="478"/>
          <ac:spMkLst>
            <pc:docMk/>
            <pc:sldMk cId="228226795" sldId="2134804311"/>
            <ac:spMk id="99" creationId="{90CC82AC-D82E-4F89-AC67-093894759099}"/>
          </ac:spMkLst>
        </pc:spChg>
        <pc:spChg chg="add del">
          <ac:chgData name="Mariam Daniela Tristancho Pineda (MISION TEMPORAL LTDA)" userId="a45a17f7-7950-4cb5-bfab-f5c894f959a9" providerId="ADAL" clId="{1440674F-A918-4BC9-A66E-0A6A8DD6A97A}" dt="2020-06-24T14:19:33.543" v="1456" actId="478"/>
          <ac:spMkLst>
            <pc:docMk/>
            <pc:sldMk cId="228226795" sldId="2134804311"/>
            <ac:spMk id="100" creationId="{1835F856-5B59-4AFF-86DE-2F0968B76CF7}"/>
          </ac:spMkLst>
        </pc:spChg>
        <pc:spChg chg="add del">
          <ac:chgData name="Mariam Daniela Tristancho Pineda (MISION TEMPORAL LTDA)" userId="a45a17f7-7950-4cb5-bfab-f5c894f959a9" providerId="ADAL" clId="{1440674F-A918-4BC9-A66E-0A6A8DD6A97A}" dt="2020-06-24T14:19:33.543" v="1456" actId="478"/>
          <ac:spMkLst>
            <pc:docMk/>
            <pc:sldMk cId="228226795" sldId="2134804311"/>
            <ac:spMk id="101" creationId="{50D1281F-8266-4D64-9227-2DC0FCFC26CB}"/>
          </ac:spMkLst>
        </pc:spChg>
        <pc:spChg chg="add del">
          <ac:chgData name="Mariam Daniela Tristancho Pineda (MISION TEMPORAL LTDA)" userId="a45a17f7-7950-4cb5-bfab-f5c894f959a9" providerId="ADAL" clId="{1440674F-A918-4BC9-A66E-0A6A8DD6A97A}" dt="2020-06-24T14:19:15.098" v="1455" actId="478"/>
          <ac:spMkLst>
            <pc:docMk/>
            <pc:sldMk cId="228226795" sldId="2134804311"/>
            <ac:spMk id="102" creationId="{101F3273-AA10-47F1-9872-07AD50130DF5}"/>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103" creationId="{BDBCDC72-F935-45A4-AE31-C045019965AF}"/>
          </ac:spMkLst>
        </pc:spChg>
        <pc:spChg chg="add del">
          <ac:chgData name="Mariam Daniela Tristancho Pineda (MISION TEMPORAL LTDA)" userId="a45a17f7-7950-4cb5-bfab-f5c894f959a9" providerId="ADAL" clId="{1440674F-A918-4BC9-A66E-0A6A8DD6A97A}" dt="2020-06-24T14:19:41.257" v="1458" actId="478"/>
          <ac:spMkLst>
            <pc:docMk/>
            <pc:sldMk cId="228226795" sldId="2134804311"/>
            <ac:spMk id="104" creationId="{0326A105-08B6-409E-9596-07BD7645DEAE}"/>
          </ac:spMkLst>
        </pc:spChg>
        <pc:spChg chg="add del">
          <ac:chgData name="Mariam Daniela Tristancho Pineda (MISION TEMPORAL LTDA)" userId="a45a17f7-7950-4cb5-bfab-f5c894f959a9" providerId="ADAL" clId="{1440674F-A918-4BC9-A66E-0A6A8DD6A97A}" dt="2020-06-24T14:19:41.257" v="1458" actId="478"/>
          <ac:spMkLst>
            <pc:docMk/>
            <pc:sldMk cId="228226795" sldId="2134804311"/>
            <ac:spMk id="105" creationId="{DC633C75-4D21-4E37-ABEB-B69D06C0A224}"/>
          </ac:spMkLst>
        </pc:spChg>
        <pc:spChg chg="add del">
          <ac:chgData name="Mariam Daniela Tristancho Pineda (MISION TEMPORAL LTDA)" userId="a45a17f7-7950-4cb5-bfab-f5c894f959a9" providerId="ADAL" clId="{1440674F-A918-4BC9-A66E-0A6A8DD6A97A}" dt="2020-06-24T14:19:33.543" v="1456" actId="478"/>
          <ac:spMkLst>
            <pc:docMk/>
            <pc:sldMk cId="228226795" sldId="2134804311"/>
            <ac:spMk id="106" creationId="{8BF155F6-9EE4-4410-BB22-DEE4B18E9FEF}"/>
          </ac:spMkLst>
        </pc:spChg>
        <pc:spChg chg="add del">
          <ac:chgData name="Mariam Daniela Tristancho Pineda (MISION TEMPORAL LTDA)" userId="a45a17f7-7950-4cb5-bfab-f5c894f959a9" providerId="ADAL" clId="{1440674F-A918-4BC9-A66E-0A6A8DD6A97A}" dt="2020-06-24T14:19:41.257" v="1458" actId="478"/>
          <ac:spMkLst>
            <pc:docMk/>
            <pc:sldMk cId="228226795" sldId="2134804311"/>
            <ac:spMk id="107" creationId="{4802A65C-C4BA-49C6-A107-DC404BE5C336}"/>
          </ac:spMkLst>
        </pc:spChg>
        <pc:spChg chg="add del">
          <ac:chgData name="Mariam Daniela Tristancho Pineda (MISION TEMPORAL LTDA)" userId="a45a17f7-7950-4cb5-bfab-f5c894f959a9" providerId="ADAL" clId="{1440674F-A918-4BC9-A66E-0A6A8DD6A97A}" dt="2020-06-24T14:19:41.257" v="1458" actId="478"/>
          <ac:spMkLst>
            <pc:docMk/>
            <pc:sldMk cId="228226795" sldId="2134804311"/>
            <ac:spMk id="108" creationId="{E7417F2C-4445-4433-AA31-1B1D9A1C89B3}"/>
          </ac:spMkLst>
        </pc:spChg>
        <pc:spChg chg="add del">
          <ac:chgData name="Mariam Daniela Tristancho Pineda (MISION TEMPORAL LTDA)" userId="a45a17f7-7950-4cb5-bfab-f5c894f959a9" providerId="ADAL" clId="{1440674F-A918-4BC9-A66E-0A6A8DD6A97A}" dt="2020-06-24T14:19:36.039" v="1457" actId="478"/>
          <ac:spMkLst>
            <pc:docMk/>
            <pc:sldMk cId="228226795" sldId="2134804311"/>
            <ac:spMk id="109" creationId="{71C13042-3BAB-49AE-B302-BF1FC184D1C0}"/>
          </ac:spMkLst>
        </pc:spChg>
        <pc:spChg chg="add del">
          <ac:chgData name="Mariam Daniela Tristancho Pineda (MISION TEMPORAL LTDA)" userId="a45a17f7-7950-4cb5-bfab-f5c894f959a9" providerId="ADAL" clId="{1440674F-A918-4BC9-A66E-0A6A8DD6A97A}" dt="2020-06-24T14:19:36.039" v="1457" actId="478"/>
          <ac:spMkLst>
            <pc:docMk/>
            <pc:sldMk cId="228226795" sldId="2134804311"/>
            <ac:spMk id="110" creationId="{016FFF86-9DDE-4B71-B999-66D87A5DF4D8}"/>
          </ac:spMkLst>
        </pc:spChg>
        <pc:spChg chg="add del">
          <ac:chgData name="Mariam Daniela Tristancho Pineda (MISION TEMPORAL LTDA)" userId="a45a17f7-7950-4cb5-bfab-f5c894f959a9" providerId="ADAL" clId="{1440674F-A918-4BC9-A66E-0A6A8DD6A97A}" dt="2020-06-24T14:19:36.039" v="1457" actId="478"/>
          <ac:spMkLst>
            <pc:docMk/>
            <pc:sldMk cId="228226795" sldId="2134804311"/>
            <ac:spMk id="111" creationId="{6C1EF8A6-0FB5-47E0-9CD3-2DB37B170394}"/>
          </ac:spMkLst>
        </pc:spChg>
        <pc:spChg chg="add del">
          <ac:chgData name="Mariam Daniela Tristancho Pineda (MISION TEMPORAL LTDA)" userId="a45a17f7-7950-4cb5-bfab-f5c894f959a9" providerId="ADAL" clId="{1440674F-A918-4BC9-A66E-0A6A8DD6A97A}" dt="2020-06-24T14:19:36.039" v="1457" actId="478"/>
          <ac:spMkLst>
            <pc:docMk/>
            <pc:sldMk cId="228226795" sldId="2134804311"/>
            <ac:spMk id="112" creationId="{F172C649-196A-458A-9FD2-06A9617C5DA1}"/>
          </ac:spMkLst>
        </pc:spChg>
        <pc:spChg chg="add del">
          <ac:chgData name="Mariam Daniela Tristancho Pineda (MISION TEMPORAL LTDA)" userId="a45a17f7-7950-4cb5-bfab-f5c894f959a9" providerId="ADAL" clId="{1440674F-A918-4BC9-A66E-0A6A8DD6A97A}" dt="2020-06-24T14:19:36.039" v="1457" actId="478"/>
          <ac:spMkLst>
            <pc:docMk/>
            <pc:sldMk cId="228226795" sldId="2134804311"/>
            <ac:spMk id="114" creationId="{AE25D562-47A5-4429-8752-D107F6B610B2}"/>
          </ac:spMkLst>
        </pc:spChg>
        <pc:spChg chg="del mod">
          <ac:chgData name="Mariam Daniela Tristancho Pineda (MISION TEMPORAL LTDA)" userId="a45a17f7-7950-4cb5-bfab-f5c894f959a9" providerId="ADAL" clId="{1440674F-A918-4BC9-A66E-0A6A8DD6A97A}" dt="2020-06-24T14:27:12.662" v="1497" actId="478"/>
          <ac:spMkLst>
            <pc:docMk/>
            <pc:sldMk cId="228226795" sldId="2134804311"/>
            <ac:spMk id="115" creationId="{94F79E1E-E9A3-4AEB-B0CE-FE7770D984D4}"/>
          </ac:spMkLst>
        </pc:spChg>
        <pc:spChg chg="add mod">
          <ac:chgData name="Mariam Daniela Tristancho Pineda (MISION TEMPORAL LTDA)" userId="a45a17f7-7950-4cb5-bfab-f5c894f959a9" providerId="ADAL" clId="{1440674F-A918-4BC9-A66E-0A6A8DD6A97A}" dt="2020-06-24T14:20:34.621" v="1467" actId="14100"/>
          <ac:spMkLst>
            <pc:docMk/>
            <pc:sldMk cId="228226795" sldId="2134804311"/>
            <ac:spMk id="116" creationId="{C945C427-3EB0-4440-84F5-2EF138AB3109}"/>
          </ac:spMkLst>
        </pc:spChg>
        <pc:spChg chg="add mod">
          <ac:chgData name="Mariam Daniela Tristancho Pineda (MISION TEMPORAL LTDA)" userId="a45a17f7-7950-4cb5-bfab-f5c894f959a9" providerId="ADAL" clId="{1440674F-A918-4BC9-A66E-0A6A8DD6A97A}" dt="2020-06-24T14:20:44.380" v="1471" actId="14100"/>
          <ac:spMkLst>
            <pc:docMk/>
            <pc:sldMk cId="228226795" sldId="2134804311"/>
            <ac:spMk id="117" creationId="{33BA16BF-6D1E-4C62-84EA-EAF265457B13}"/>
          </ac:spMkLst>
        </pc:spChg>
        <pc:spChg chg="add mod">
          <ac:chgData name="Mariam Daniela Tristancho Pineda (MISION TEMPORAL LTDA)" userId="a45a17f7-7950-4cb5-bfab-f5c894f959a9" providerId="ADAL" clId="{1440674F-A918-4BC9-A66E-0A6A8DD6A97A}" dt="2020-06-24T14:20:52.550" v="1473" actId="1076"/>
          <ac:spMkLst>
            <pc:docMk/>
            <pc:sldMk cId="228226795" sldId="2134804311"/>
            <ac:spMk id="118" creationId="{6400BD5C-7E92-46BC-AFB8-7B1437F648B5}"/>
          </ac:spMkLst>
        </pc:spChg>
        <pc:spChg chg="add del mod">
          <ac:chgData name="Mariam Daniela Tristancho Pineda (MISION TEMPORAL LTDA)" userId="a45a17f7-7950-4cb5-bfab-f5c894f959a9" providerId="ADAL" clId="{1440674F-A918-4BC9-A66E-0A6A8DD6A97A}" dt="2020-06-24T14:21:16.502" v="1486" actId="108"/>
          <ac:spMkLst>
            <pc:docMk/>
            <pc:sldMk cId="228226795" sldId="2134804311"/>
            <ac:spMk id="119" creationId="{074D049A-9820-4942-BDC8-2B662C2E9613}"/>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137" creationId="{F2F1441C-82E3-4978-ADB4-2E81AB714A12}"/>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138" creationId="{B7572FF5-C3B2-41FB-AC8B-11068157874D}"/>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139" creationId="{2227F15F-B01E-49E7-B6F1-35FB55117734}"/>
          </ac:spMkLst>
        </pc:spChg>
        <pc:spChg chg="add del">
          <ac:chgData name="Mariam Daniela Tristancho Pineda (MISION TEMPORAL LTDA)" userId="a45a17f7-7950-4cb5-bfab-f5c894f959a9" providerId="ADAL" clId="{1440674F-A918-4BC9-A66E-0A6A8DD6A97A}" dt="2020-06-24T14:19:36.039" v="1457" actId="478"/>
          <ac:spMkLst>
            <pc:docMk/>
            <pc:sldMk cId="228226795" sldId="2134804311"/>
            <ac:spMk id="140" creationId="{2062ABD7-3E18-481C-BE0F-59304E710CAD}"/>
          </ac:spMkLst>
        </pc:spChg>
        <pc:spChg chg="add del">
          <ac:chgData name="Mariam Daniela Tristancho Pineda (MISION TEMPORAL LTDA)" userId="a45a17f7-7950-4cb5-bfab-f5c894f959a9" providerId="ADAL" clId="{1440674F-A918-4BC9-A66E-0A6A8DD6A97A}" dt="2020-06-24T14:19:36.039" v="1457" actId="478"/>
          <ac:spMkLst>
            <pc:docMk/>
            <pc:sldMk cId="228226795" sldId="2134804311"/>
            <ac:spMk id="142" creationId="{9660C67C-C249-4C29-87B1-2E22B67DE74F}"/>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144" creationId="{25AF8D90-7CF9-4004-AFE7-8FD9BCD562C6}"/>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145" creationId="{1FACAF7C-6304-4959-827F-E5EC80E0E805}"/>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146" creationId="{D86974CC-32BF-439F-A6E2-D1E82520294D}"/>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147" creationId="{58F0CDC2-9414-439E-A3CB-C4B6F7ADCE1B}"/>
          </ac:spMkLst>
        </pc:spChg>
        <pc:spChg chg="add del">
          <ac:chgData name="Mariam Daniela Tristancho Pineda (MISION TEMPORAL LTDA)" userId="a45a17f7-7950-4cb5-bfab-f5c894f959a9" providerId="ADAL" clId="{1440674F-A918-4BC9-A66E-0A6A8DD6A97A}" dt="2020-06-24T14:19:12.958" v="1454" actId="478"/>
          <ac:spMkLst>
            <pc:docMk/>
            <pc:sldMk cId="228226795" sldId="2134804311"/>
            <ac:spMk id="148" creationId="{3D0EFFEA-E9FE-4053-B9D8-C9F8D8881270}"/>
          </ac:spMkLst>
        </pc:spChg>
        <pc:cxnChg chg="add del">
          <ac:chgData name="Mariam Daniela Tristancho Pineda (MISION TEMPORAL LTDA)" userId="a45a17f7-7950-4cb5-bfab-f5c894f959a9" providerId="ADAL" clId="{1440674F-A918-4BC9-A66E-0A6A8DD6A97A}" dt="2020-06-24T14:19:12.958" v="1454" actId="478"/>
          <ac:cxnSpMkLst>
            <pc:docMk/>
            <pc:sldMk cId="228226795" sldId="2134804311"/>
            <ac:cxnSpMk id="88" creationId="{72E252A3-F8E1-4DDE-822C-DFEF6DF55A06}"/>
          </ac:cxnSpMkLst>
        </pc:cxnChg>
      </pc:sldChg>
    </pc:docChg>
  </pc:docChgLst>
  <pc:docChgLst>
    <pc:chgData name="Mariam Daniela Tristancho Pineda (MISION TEMPORAL LTDA)" userId="a45a17f7-7950-4cb5-bfab-f5c894f959a9" providerId="ADAL" clId="{4969D31A-FD9D-4861-AE90-894686FABBC7}"/>
    <pc:docChg chg="addSld delSld modSld">
      <pc:chgData name="Mariam Daniela Tristancho Pineda (MISION TEMPORAL LTDA)" userId="a45a17f7-7950-4cb5-bfab-f5c894f959a9" providerId="ADAL" clId="{4969D31A-FD9D-4861-AE90-894686FABBC7}" dt="2020-08-06T13:32:05.962" v="53" actId="729"/>
      <pc:docMkLst>
        <pc:docMk/>
      </pc:docMkLst>
      <pc:sldChg chg="del">
        <pc:chgData name="Mariam Daniela Tristancho Pineda (MISION TEMPORAL LTDA)" userId="a45a17f7-7950-4cb5-bfab-f5c894f959a9" providerId="ADAL" clId="{4969D31A-FD9D-4861-AE90-894686FABBC7}" dt="2020-07-31T22:31:39.152" v="3" actId="47"/>
        <pc:sldMkLst>
          <pc:docMk/>
          <pc:sldMk cId="2985823996" sldId="1013"/>
        </pc:sldMkLst>
      </pc:sldChg>
      <pc:sldChg chg="del">
        <pc:chgData name="Mariam Daniela Tristancho Pineda (MISION TEMPORAL LTDA)" userId="a45a17f7-7950-4cb5-bfab-f5c894f959a9" providerId="ADAL" clId="{4969D31A-FD9D-4861-AE90-894686FABBC7}" dt="2020-08-06T13:32:03.087" v="48" actId="47"/>
        <pc:sldMkLst>
          <pc:docMk/>
          <pc:sldMk cId="692789810" sldId="2134804140"/>
        </pc:sldMkLst>
      </pc:sldChg>
      <pc:sldChg chg="del">
        <pc:chgData name="Mariam Daniela Tristancho Pineda (MISION TEMPORAL LTDA)" userId="a45a17f7-7950-4cb5-bfab-f5c894f959a9" providerId="ADAL" clId="{4969D31A-FD9D-4861-AE90-894686FABBC7}" dt="2020-07-31T22:31:39.523" v="5" actId="47"/>
        <pc:sldMkLst>
          <pc:docMk/>
          <pc:sldMk cId="1366824925" sldId="2134804227"/>
        </pc:sldMkLst>
      </pc:sldChg>
      <pc:sldChg chg="del">
        <pc:chgData name="Mariam Daniela Tristancho Pineda (MISION TEMPORAL LTDA)" userId="a45a17f7-7950-4cb5-bfab-f5c894f959a9" providerId="ADAL" clId="{4969D31A-FD9D-4861-AE90-894686FABBC7}" dt="2020-07-31T22:31:40.034" v="9" actId="47"/>
        <pc:sldMkLst>
          <pc:docMk/>
          <pc:sldMk cId="3813439113" sldId="2134804231"/>
        </pc:sldMkLst>
      </pc:sldChg>
      <pc:sldChg chg="del">
        <pc:chgData name="Mariam Daniela Tristancho Pineda (MISION TEMPORAL LTDA)" userId="a45a17f7-7950-4cb5-bfab-f5c894f959a9" providerId="ADAL" clId="{4969D31A-FD9D-4861-AE90-894686FABBC7}" dt="2020-07-31T22:31:40.175" v="10" actId="47"/>
        <pc:sldMkLst>
          <pc:docMk/>
          <pc:sldMk cId="3905861625" sldId="2134804233"/>
        </pc:sldMkLst>
      </pc:sldChg>
      <pc:sldChg chg="del">
        <pc:chgData name="Mariam Daniela Tristancho Pineda (MISION TEMPORAL LTDA)" userId="a45a17f7-7950-4cb5-bfab-f5c894f959a9" providerId="ADAL" clId="{4969D31A-FD9D-4861-AE90-894686FABBC7}" dt="2020-07-31T22:31:39.368" v="4" actId="47"/>
        <pc:sldMkLst>
          <pc:docMk/>
          <pc:sldMk cId="1092498720" sldId="2134804234"/>
        </pc:sldMkLst>
      </pc:sldChg>
      <pc:sldChg chg="del">
        <pc:chgData name="Mariam Daniela Tristancho Pineda (MISION TEMPORAL LTDA)" userId="a45a17f7-7950-4cb5-bfab-f5c894f959a9" providerId="ADAL" clId="{4969D31A-FD9D-4861-AE90-894686FABBC7}" dt="2020-07-31T22:31:38.923" v="2" actId="47"/>
        <pc:sldMkLst>
          <pc:docMk/>
          <pc:sldMk cId="4219972769" sldId="2134804235"/>
        </pc:sldMkLst>
      </pc:sldChg>
      <pc:sldChg chg="del">
        <pc:chgData name="Mariam Daniela Tristancho Pineda (MISION TEMPORAL LTDA)" userId="a45a17f7-7950-4cb5-bfab-f5c894f959a9" providerId="ADAL" clId="{4969D31A-FD9D-4861-AE90-894686FABBC7}" dt="2020-07-31T22:31:52.824" v="46" actId="47"/>
        <pc:sldMkLst>
          <pc:docMk/>
          <pc:sldMk cId="1245803374" sldId="2134804241"/>
        </pc:sldMkLst>
      </pc:sldChg>
      <pc:sldChg chg="del">
        <pc:chgData name="Mariam Daniela Tristancho Pineda (MISION TEMPORAL LTDA)" userId="a45a17f7-7950-4cb5-bfab-f5c894f959a9" providerId="ADAL" clId="{4969D31A-FD9D-4861-AE90-894686FABBC7}" dt="2020-07-31T22:31:53.534" v="47" actId="47"/>
        <pc:sldMkLst>
          <pc:docMk/>
          <pc:sldMk cId="4180204205" sldId="2134804244"/>
        </pc:sldMkLst>
      </pc:sldChg>
      <pc:sldChg chg="add del mod modShow">
        <pc:chgData name="Mariam Daniela Tristancho Pineda (MISION TEMPORAL LTDA)" userId="a45a17f7-7950-4cb5-bfab-f5c894f959a9" providerId="ADAL" clId="{4969D31A-FD9D-4861-AE90-894686FABBC7}" dt="2020-08-06T13:32:05.962" v="53" actId="729"/>
        <pc:sldMkLst>
          <pc:docMk/>
          <pc:sldMk cId="1980531121" sldId="2134804273"/>
        </pc:sldMkLst>
      </pc:sldChg>
      <pc:sldChg chg="del">
        <pc:chgData name="Mariam Daniela Tristancho Pineda (MISION TEMPORAL LTDA)" userId="a45a17f7-7950-4cb5-bfab-f5c894f959a9" providerId="ADAL" clId="{4969D31A-FD9D-4861-AE90-894686FABBC7}" dt="2020-07-31T22:31:51.521" v="44" actId="47"/>
        <pc:sldMkLst>
          <pc:docMk/>
          <pc:sldMk cId="2406967117" sldId="2134804274"/>
        </pc:sldMkLst>
      </pc:sldChg>
      <pc:sldChg chg="add del mod modShow">
        <pc:chgData name="Mariam Daniela Tristancho Pineda (MISION TEMPORAL LTDA)" userId="a45a17f7-7950-4cb5-bfab-f5c894f959a9" providerId="ADAL" clId="{4969D31A-FD9D-4861-AE90-894686FABBC7}" dt="2020-08-06T13:32:05.962" v="53" actId="729"/>
        <pc:sldMkLst>
          <pc:docMk/>
          <pc:sldMk cId="383958496" sldId="2134804281"/>
        </pc:sldMkLst>
      </pc:sldChg>
      <pc:sldChg chg="del">
        <pc:chgData name="Mariam Daniela Tristancho Pineda (MISION TEMPORAL LTDA)" userId="a45a17f7-7950-4cb5-bfab-f5c894f959a9" providerId="ADAL" clId="{4969D31A-FD9D-4861-AE90-894686FABBC7}" dt="2020-07-31T22:31:52.151" v="45" actId="47"/>
        <pc:sldMkLst>
          <pc:docMk/>
          <pc:sldMk cId="838099151" sldId="2134804292"/>
        </pc:sldMkLst>
      </pc:sldChg>
      <pc:sldChg chg="del">
        <pc:chgData name="Mariam Daniela Tristancho Pineda (MISION TEMPORAL LTDA)" userId="a45a17f7-7950-4cb5-bfab-f5c894f959a9" providerId="ADAL" clId="{4969D31A-FD9D-4861-AE90-894686FABBC7}" dt="2020-07-31T22:31:40.256" v="11" actId="47"/>
        <pc:sldMkLst>
          <pc:docMk/>
          <pc:sldMk cId="1480181934" sldId="2134804298"/>
        </pc:sldMkLst>
      </pc:sldChg>
      <pc:sldChg chg="del">
        <pc:chgData name="Mariam Daniela Tristancho Pineda (MISION TEMPORAL LTDA)" userId="a45a17f7-7950-4cb5-bfab-f5c894f959a9" providerId="ADAL" clId="{4969D31A-FD9D-4861-AE90-894686FABBC7}" dt="2020-07-31T22:31:39.901" v="8" actId="47"/>
        <pc:sldMkLst>
          <pc:docMk/>
          <pc:sldMk cId="441470096" sldId="2134804303"/>
        </pc:sldMkLst>
      </pc:sldChg>
      <pc:sldChg chg="del">
        <pc:chgData name="Mariam Daniela Tristancho Pineda (MISION TEMPORAL LTDA)" userId="a45a17f7-7950-4cb5-bfab-f5c894f959a9" providerId="ADAL" clId="{4969D31A-FD9D-4861-AE90-894686FABBC7}" dt="2020-07-31T22:31:39.745" v="7" actId="47"/>
        <pc:sldMkLst>
          <pc:docMk/>
          <pc:sldMk cId="376084906" sldId="2134804304"/>
        </pc:sldMkLst>
      </pc:sldChg>
      <pc:sldChg chg="del">
        <pc:chgData name="Mariam Daniela Tristancho Pineda (MISION TEMPORAL LTDA)" userId="a45a17f7-7950-4cb5-bfab-f5c894f959a9" providerId="ADAL" clId="{4969D31A-FD9D-4861-AE90-894686FABBC7}" dt="2020-07-31T22:31:47.229" v="41" actId="47"/>
        <pc:sldMkLst>
          <pc:docMk/>
          <pc:sldMk cId="1505401777" sldId="2134804310"/>
        </pc:sldMkLst>
      </pc:sldChg>
      <pc:sldChg chg="add del mod modShow">
        <pc:chgData name="Mariam Daniela Tristancho Pineda (MISION TEMPORAL LTDA)" userId="a45a17f7-7950-4cb5-bfab-f5c894f959a9" providerId="ADAL" clId="{4969D31A-FD9D-4861-AE90-894686FABBC7}" dt="2020-08-06T13:32:05.962" v="53" actId="729"/>
        <pc:sldMkLst>
          <pc:docMk/>
          <pc:sldMk cId="2857089145" sldId="2134804311"/>
        </pc:sldMkLst>
      </pc:sldChg>
      <pc:sldChg chg="del">
        <pc:chgData name="Mariam Daniela Tristancho Pineda (MISION TEMPORAL LTDA)" userId="a45a17f7-7950-4cb5-bfab-f5c894f959a9" providerId="ADAL" clId="{4969D31A-FD9D-4861-AE90-894686FABBC7}" dt="2020-07-31T22:31:40.518" v="13" actId="47"/>
        <pc:sldMkLst>
          <pc:docMk/>
          <pc:sldMk cId="1535562114" sldId="2134804316"/>
        </pc:sldMkLst>
      </pc:sldChg>
      <pc:sldChg chg="del">
        <pc:chgData name="Mariam Daniela Tristancho Pineda (MISION TEMPORAL LTDA)" userId="a45a17f7-7950-4cb5-bfab-f5c894f959a9" providerId="ADAL" clId="{4969D31A-FD9D-4861-AE90-894686FABBC7}" dt="2020-07-31T22:31:38.724" v="0" actId="47"/>
        <pc:sldMkLst>
          <pc:docMk/>
          <pc:sldMk cId="0" sldId="2134804320"/>
        </pc:sldMkLst>
      </pc:sldChg>
      <pc:sldChg chg="del">
        <pc:chgData name="Mariam Daniela Tristancho Pineda (MISION TEMPORAL LTDA)" userId="a45a17f7-7950-4cb5-bfab-f5c894f959a9" providerId="ADAL" clId="{4969D31A-FD9D-4861-AE90-894686FABBC7}" dt="2020-07-31T22:31:40.334" v="12" actId="47"/>
        <pc:sldMkLst>
          <pc:docMk/>
          <pc:sldMk cId="2351433242" sldId="2134804322"/>
        </pc:sldMkLst>
      </pc:sldChg>
      <pc:sldChg chg="del">
        <pc:chgData name="Mariam Daniela Tristancho Pineda (MISION TEMPORAL LTDA)" userId="a45a17f7-7950-4cb5-bfab-f5c894f959a9" providerId="ADAL" clId="{4969D31A-FD9D-4861-AE90-894686FABBC7}" dt="2020-07-31T22:31:48.639" v="43" actId="47"/>
        <pc:sldMkLst>
          <pc:docMk/>
          <pc:sldMk cId="237599856" sldId="2134804323"/>
        </pc:sldMkLst>
      </pc:sldChg>
      <pc:sldChg chg="del">
        <pc:chgData name="Mariam Daniela Tristancho Pineda (MISION TEMPORAL LTDA)" userId="a45a17f7-7950-4cb5-bfab-f5c894f959a9" providerId="ADAL" clId="{4969D31A-FD9D-4861-AE90-894686FABBC7}" dt="2020-07-31T22:31:48.212" v="42" actId="47"/>
        <pc:sldMkLst>
          <pc:docMk/>
          <pc:sldMk cId="2408337444" sldId="2134804326"/>
        </pc:sldMkLst>
      </pc:sldChg>
      <pc:sldChg chg="del">
        <pc:chgData name="Mariam Daniela Tristancho Pineda (MISION TEMPORAL LTDA)" userId="a45a17f7-7950-4cb5-bfab-f5c894f959a9" providerId="ADAL" clId="{4969D31A-FD9D-4861-AE90-894686FABBC7}" dt="2020-07-31T22:31:46.708" v="38" actId="47"/>
        <pc:sldMkLst>
          <pc:docMk/>
          <pc:sldMk cId="2042427796" sldId="2134804327"/>
        </pc:sldMkLst>
      </pc:sldChg>
      <pc:sldChg chg="del">
        <pc:chgData name="Mariam Daniela Tristancho Pineda (MISION TEMPORAL LTDA)" userId="a45a17f7-7950-4cb5-bfab-f5c894f959a9" providerId="ADAL" clId="{4969D31A-FD9D-4861-AE90-894686FABBC7}" dt="2020-07-31T22:31:47.148" v="40" actId="47"/>
        <pc:sldMkLst>
          <pc:docMk/>
          <pc:sldMk cId="989237730" sldId="2134804328"/>
        </pc:sldMkLst>
      </pc:sldChg>
      <pc:sldChg chg="del">
        <pc:chgData name="Mariam Daniela Tristancho Pineda (MISION TEMPORAL LTDA)" userId="a45a17f7-7950-4cb5-bfab-f5c894f959a9" providerId="ADAL" clId="{4969D31A-FD9D-4861-AE90-894686FABBC7}" dt="2020-07-31T22:31:47.059" v="39" actId="47"/>
        <pc:sldMkLst>
          <pc:docMk/>
          <pc:sldMk cId="1974979659" sldId="2134804329"/>
        </pc:sldMkLst>
      </pc:sldChg>
      <pc:sldChg chg="del">
        <pc:chgData name="Mariam Daniela Tristancho Pineda (MISION TEMPORAL LTDA)" userId="a45a17f7-7950-4cb5-bfab-f5c894f959a9" providerId="ADAL" clId="{4969D31A-FD9D-4861-AE90-894686FABBC7}" dt="2020-07-31T22:31:43.716" v="30" actId="47"/>
        <pc:sldMkLst>
          <pc:docMk/>
          <pc:sldMk cId="1847407210" sldId="2134804338"/>
        </pc:sldMkLst>
      </pc:sldChg>
      <pc:sldChg chg="del">
        <pc:chgData name="Mariam Daniela Tristancho Pineda (MISION TEMPORAL LTDA)" userId="a45a17f7-7950-4cb5-bfab-f5c894f959a9" providerId="ADAL" clId="{4969D31A-FD9D-4861-AE90-894686FABBC7}" dt="2020-07-31T22:31:43.987" v="31" actId="47"/>
        <pc:sldMkLst>
          <pc:docMk/>
          <pc:sldMk cId="1922339588" sldId="2134804339"/>
        </pc:sldMkLst>
      </pc:sldChg>
      <pc:sldChg chg="del">
        <pc:chgData name="Mariam Daniela Tristancho Pineda (MISION TEMPORAL LTDA)" userId="a45a17f7-7950-4cb5-bfab-f5c894f959a9" providerId="ADAL" clId="{4969D31A-FD9D-4861-AE90-894686FABBC7}" dt="2020-07-31T22:31:44.307" v="33" actId="47"/>
        <pc:sldMkLst>
          <pc:docMk/>
          <pc:sldMk cId="1108072925" sldId="2134804343"/>
        </pc:sldMkLst>
      </pc:sldChg>
      <pc:sldChg chg="del">
        <pc:chgData name="Mariam Daniela Tristancho Pineda (MISION TEMPORAL LTDA)" userId="a45a17f7-7950-4cb5-bfab-f5c894f959a9" providerId="ADAL" clId="{4969D31A-FD9D-4861-AE90-894686FABBC7}" dt="2020-07-31T22:31:44.168" v="32" actId="47"/>
        <pc:sldMkLst>
          <pc:docMk/>
          <pc:sldMk cId="1734415321" sldId="2134804344"/>
        </pc:sldMkLst>
      </pc:sldChg>
      <pc:sldChg chg="del">
        <pc:chgData name="Mariam Daniela Tristancho Pineda (MISION TEMPORAL LTDA)" userId="a45a17f7-7950-4cb5-bfab-f5c894f959a9" providerId="ADAL" clId="{4969D31A-FD9D-4861-AE90-894686FABBC7}" dt="2020-07-31T22:31:44.600" v="34" actId="47"/>
        <pc:sldMkLst>
          <pc:docMk/>
          <pc:sldMk cId="3642796184" sldId="2134804345"/>
        </pc:sldMkLst>
      </pc:sldChg>
      <pc:sldChg chg="del">
        <pc:chgData name="Mariam Daniela Tristancho Pineda (MISION TEMPORAL LTDA)" userId="a45a17f7-7950-4cb5-bfab-f5c894f959a9" providerId="ADAL" clId="{4969D31A-FD9D-4861-AE90-894686FABBC7}" dt="2020-07-31T22:31:44.828" v="35" actId="47"/>
        <pc:sldMkLst>
          <pc:docMk/>
          <pc:sldMk cId="330914068" sldId="2134804346"/>
        </pc:sldMkLst>
      </pc:sldChg>
      <pc:sldChg chg="del">
        <pc:chgData name="Mariam Daniela Tristancho Pineda (MISION TEMPORAL LTDA)" userId="a45a17f7-7950-4cb5-bfab-f5c894f959a9" providerId="ADAL" clId="{4969D31A-FD9D-4861-AE90-894686FABBC7}" dt="2020-07-31T22:31:45.434" v="36" actId="47"/>
        <pc:sldMkLst>
          <pc:docMk/>
          <pc:sldMk cId="3225245280" sldId="2134804347"/>
        </pc:sldMkLst>
      </pc:sldChg>
      <pc:sldChg chg="del">
        <pc:chgData name="Mariam Daniela Tristancho Pineda (MISION TEMPORAL LTDA)" userId="a45a17f7-7950-4cb5-bfab-f5c894f959a9" providerId="ADAL" clId="{4969D31A-FD9D-4861-AE90-894686FABBC7}" dt="2020-07-31T22:31:45.872" v="37" actId="47"/>
        <pc:sldMkLst>
          <pc:docMk/>
          <pc:sldMk cId="335391689" sldId="2134804348"/>
        </pc:sldMkLst>
      </pc:sldChg>
      <pc:sldChg chg="del">
        <pc:chgData name="Mariam Daniela Tristancho Pineda (MISION TEMPORAL LTDA)" userId="a45a17f7-7950-4cb5-bfab-f5c894f959a9" providerId="ADAL" clId="{4969D31A-FD9D-4861-AE90-894686FABBC7}" dt="2020-07-31T22:31:38.809" v="1" actId="47"/>
        <pc:sldMkLst>
          <pc:docMk/>
          <pc:sldMk cId="633750259" sldId="2134804353"/>
        </pc:sldMkLst>
      </pc:sldChg>
      <pc:sldChg chg="del">
        <pc:chgData name="Mariam Daniela Tristancho Pineda (MISION TEMPORAL LTDA)" userId="a45a17f7-7950-4cb5-bfab-f5c894f959a9" providerId="ADAL" clId="{4969D31A-FD9D-4861-AE90-894686FABBC7}" dt="2020-07-31T22:31:39.629" v="6" actId="47"/>
        <pc:sldMkLst>
          <pc:docMk/>
          <pc:sldMk cId="2460799231" sldId="2134804354"/>
        </pc:sldMkLst>
      </pc:sldChg>
      <pc:sldChg chg="del">
        <pc:chgData name="Mariam Daniela Tristancho Pineda (MISION TEMPORAL LTDA)" userId="a45a17f7-7950-4cb5-bfab-f5c894f959a9" providerId="ADAL" clId="{4969D31A-FD9D-4861-AE90-894686FABBC7}" dt="2020-07-31T22:31:40.628" v="14" actId="47"/>
        <pc:sldMkLst>
          <pc:docMk/>
          <pc:sldMk cId="4223154574" sldId="2134804360"/>
        </pc:sldMkLst>
      </pc:sldChg>
      <pc:sldChg chg="del">
        <pc:chgData name="Mariam Daniela Tristancho Pineda (MISION TEMPORAL LTDA)" userId="a45a17f7-7950-4cb5-bfab-f5c894f959a9" providerId="ADAL" clId="{4969D31A-FD9D-4861-AE90-894686FABBC7}" dt="2020-07-31T22:31:40.978" v="15" actId="47"/>
        <pc:sldMkLst>
          <pc:docMk/>
          <pc:sldMk cId="4143138041" sldId="2134804361"/>
        </pc:sldMkLst>
      </pc:sldChg>
      <pc:sldChg chg="del">
        <pc:chgData name="Mariam Daniela Tristancho Pineda (MISION TEMPORAL LTDA)" userId="a45a17f7-7950-4cb5-bfab-f5c894f959a9" providerId="ADAL" clId="{4969D31A-FD9D-4861-AE90-894686FABBC7}" dt="2020-07-31T22:31:41.196" v="16" actId="47"/>
        <pc:sldMkLst>
          <pc:docMk/>
          <pc:sldMk cId="2446190859" sldId="2134804362"/>
        </pc:sldMkLst>
      </pc:sldChg>
      <pc:sldChg chg="del">
        <pc:chgData name="Mariam Daniela Tristancho Pineda (MISION TEMPORAL LTDA)" userId="a45a17f7-7950-4cb5-bfab-f5c894f959a9" providerId="ADAL" clId="{4969D31A-FD9D-4861-AE90-894686FABBC7}" dt="2020-07-31T22:31:41.338" v="17" actId="47"/>
        <pc:sldMkLst>
          <pc:docMk/>
          <pc:sldMk cId="2429189956" sldId="2134804363"/>
        </pc:sldMkLst>
      </pc:sldChg>
      <pc:sldChg chg="del">
        <pc:chgData name="Mariam Daniela Tristancho Pineda (MISION TEMPORAL LTDA)" userId="a45a17f7-7950-4cb5-bfab-f5c894f959a9" providerId="ADAL" clId="{4969D31A-FD9D-4861-AE90-894686FABBC7}" dt="2020-07-31T22:31:41.523" v="18" actId="47"/>
        <pc:sldMkLst>
          <pc:docMk/>
          <pc:sldMk cId="2187455397" sldId="2134804364"/>
        </pc:sldMkLst>
      </pc:sldChg>
      <pc:sldChg chg="del">
        <pc:chgData name="Mariam Daniela Tristancho Pineda (MISION TEMPORAL LTDA)" userId="a45a17f7-7950-4cb5-bfab-f5c894f959a9" providerId="ADAL" clId="{4969D31A-FD9D-4861-AE90-894686FABBC7}" dt="2020-07-31T22:31:41.695" v="19" actId="47"/>
        <pc:sldMkLst>
          <pc:docMk/>
          <pc:sldMk cId="2769128965" sldId="2134804365"/>
        </pc:sldMkLst>
      </pc:sldChg>
      <pc:sldChg chg="del">
        <pc:chgData name="Mariam Daniela Tristancho Pineda (MISION TEMPORAL LTDA)" userId="a45a17f7-7950-4cb5-bfab-f5c894f959a9" providerId="ADAL" clId="{4969D31A-FD9D-4861-AE90-894686FABBC7}" dt="2020-07-31T22:31:41.906" v="20" actId="47"/>
        <pc:sldMkLst>
          <pc:docMk/>
          <pc:sldMk cId="2154316516" sldId="2134804366"/>
        </pc:sldMkLst>
      </pc:sldChg>
      <pc:sldChg chg="del">
        <pc:chgData name="Mariam Daniela Tristancho Pineda (MISION TEMPORAL LTDA)" userId="a45a17f7-7950-4cb5-bfab-f5c894f959a9" providerId="ADAL" clId="{4969D31A-FD9D-4861-AE90-894686FABBC7}" dt="2020-07-31T22:31:42.008" v="21" actId="47"/>
        <pc:sldMkLst>
          <pc:docMk/>
          <pc:sldMk cId="1068210842" sldId="2134804367"/>
        </pc:sldMkLst>
      </pc:sldChg>
      <pc:sldChg chg="del">
        <pc:chgData name="Mariam Daniela Tristancho Pineda (MISION TEMPORAL LTDA)" userId="a45a17f7-7950-4cb5-bfab-f5c894f959a9" providerId="ADAL" clId="{4969D31A-FD9D-4861-AE90-894686FABBC7}" dt="2020-07-31T22:31:42.145" v="22" actId="47"/>
        <pc:sldMkLst>
          <pc:docMk/>
          <pc:sldMk cId="587350936" sldId="2134804368"/>
        </pc:sldMkLst>
      </pc:sldChg>
      <pc:sldChg chg="del">
        <pc:chgData name="Mariam Daniela Tristancho Pineda (MISION TEMPORAL LTDA)" userId="a45a17f7-7950-4cb5-bfab-f5c894f959a9" providerId="ADAL" clId="{4969D31A-FD9D-4861-AE90-894686FABBC7}" dt="2020-07-31T22:31:42.344" v="23" actId="47"/>
        <pc:sldMkLst>
          <pc:docMk/>
          <pc:sldMk cId="2963898244" sldId="2134804369"/>
        </pc:sldMkLst>
      </pc:sldChg>
      <pc:sldChg chg="del">
        <pc:chgData name="Mariam Daniela Tristancho Pineda (MISION TEMPORAL LTDA)" userId="a45a17f7-7950-4cb5-bfab-f5c894f959a9" providerId="ADAL" clId="{4969D31A-FD9D-4861-AE90-894686FABBC7}" dt="2020-07-31T22:31:42.530" v="24" actId="47"/>
        <pc:sldMkLst>
          <pc:docMk/>
          <pc:sldMk cId="3226895650" sldId="2134804370"/>
        </pc:sldMkLst>
      </pc:sldChg>
      <pc:sldChg chg="del">
        <pc:chgData name="Mariam Daniela Tristancho Pineda (MISION TEMPORAL LTDA)" userId="a45a17f7-7950-4cb5-bfab-f5c894f959a9" providerId="ADAL" clId="{4969D31A-FD9D-4861-AE90-894686FABBC7}" dt="2020-07-31T22:31:42.934" v="25" actId="47"/>
        <pc:sldMkLst>
          <pc:docMk/>
          <pc:sldMk cId="219746583" sldId="2134804371"/>
        </pc:sldMkLst>
      </pc:sldChg>
      <pc:sldChg chg="del">
        <pc:chgData name="Mariam Daniela Tristancho Pineda (MISION TEMPORAL LTDA)" userId="a45a17f7-7950-4cb5-bfab-f5c894f959a9" providerId="ADAL" clId="{4969D31A-FD9D-4861-AE90-894686FABBC7}" dt="2020-07-31T22:31:43.213" v="26" actId="47"/>
        <pc:sldMkLst>
          <pc:docMk/>
          <pc:sldMk cId="1530950705" sldId="2134804372"/>
        </pc:sldMkLst>
      </pc:sldChg>
      <pc:sldChg chg="del">
        <pc:chgData name="Mariam Daniela Tristancho Pineda (MISION TEMPORAL LTDA)" userId="a45a17f7-7950-4cb5-bfab-f5c894f959a9" providerId="ADAL" clId="{4969D31A-FD9D-4861-AE90-894686FABBC7}" dt="2020-07-31T22:31:43.430" v="27" actId="47"/>
        <pc:sldMkLst>
          <pc:docMk/>
          <pc:sldMk cId="1024743334" sldId="2134804373"/>
        </pc:sldMkLst>
      </pc:sldChg>
      <pc:sldChg chg="del">
        <pc:chgData name="Mariam Daniela Tristancho Pineda (MISION TEMPORAL LTDA)" userId="a45a17f7-7950-4cb5-bfab-f5c894f959a9" providerId="ADAL" clId="{4969D31A-FD9D-4861-AE90-894686FABBC7}" dt="2020-07-31T22:31:43.540" v="28" actId="47"/>
        <pc:sldMkLst>
          <pc:docMk/>
          <pc:sldMk cId="2751538595" sldId="2134804374"/>
        </pc:sldMkLst>
      </pc:sldChg>
      <pc:sldChg chg="del">
        <pc:chgData name="Mariam Daniela Tristancho Pineda (MISION TEMPORAL LTDA)" userId="a45a17f7-7950-4cb5-bfab-f5c894f959a9" providerId="ADAL" clId="{4969D31A-FD9D-4861-AE90-894686FABBC7}" dt="2020-07-31T22:31:43.618" v="29" actId="47"/>
        <pc:sldMkLst>
          <pc:docMk/>
          <pc:sldMk cId="488218476" sldId="2134804375"/>
        </pc:sldMkLst>
      </pc:sldChg>
      <pc:sldMasterChg chg="delSldLayout">
        <pc:chgData name="Mariam Daniela Tristancho Pineda (MISION TEMPORAL LTDA)" userId="a45a17f7-7950-4cb5-bfab-f5c894f959a9" providerId="ADAL" clId="{4969D31A-FD9D-4861-AE90-894686FABBC7}" dt="2020-07-31T22:31:39.368" v="4" actId="47"/>
        <pc:sldMasterMkLst>
          <pc:docMk/>
          <pc:sldMasterMk cId="2612954595" sldId="2147483660"/>
        </pc:sldMasterMkLst>
        <pc:sldLayoutChg chg="del">
          <pc:chgData name="Mariam Daniela Tristancho Pineda (MISION TEMPORAL LTDA)" userId="a45a17f7-7950-4cb5-bfab-f5c894f959a9" providerId="ADAL" clId="{4969D31A-FD9D-4861-AE90-894686FABBC7}" dt="2020-07-31T22:31:39.152" v="3" actId="47"/>
          <pc:sldLayoutMkLst>
            <pc:docMk/>
            <pc:sldMasterMk cId="2612954595" sldId="2147483660"/>
            <pc:sldLayoutMk cId="1423037499" sldId="2147483667"/>
          </pc:sldLayoutMkLst>
        </pc:sldLayoutChg>
        <pc:sldLayoutChg chg="del">
          <pc:chgData name="Mariam Daniela Tristancho Pineda (MISION TEMPORAL LTDA)" userId="a45a17f7-7950-4cb5-bfab-f5c894f959a9" providerId="ADAL" clId="{4969D31A-FD9D-4861-AE90-894686FABBC7}" dt="2020-07-31T22:31:39.368" v="4" actId="47"/>
          <pc:sldLayoutMkLst>
            <pc:docMk/>
            <pc:sldMasterMk cId="2612954595" sldId="2147483660"/>
            <pc:sldLayoutMk cId="1933231954" sldId="2147483668"/>
          </pc:sldLayoutMkLst>
        </pc:sldLayoutChg>
      </pc:sldMasterChg>
    </pc:docChg>
  </pc:docChgLst>
  <pc:docChgLst>
    <pc:chgData name="Yuly Andrea Castaneda Ramirez (CENIT)" userId="S::yuly.castaneda@cenit-transporte.com::9d6b9224-b289-47c8-b6d4-3bf138101243" providerId="AD" clId="Web-{6094EB1B-90A5-01F1-5FEC-BB9BAFCA5D04}"/>
    <pc:docChg chg="modSld">
      <pc:chgData name="Yuly Andrea Castaneda Ramirez (CENIT)" userId="S::yuly.castaneda@cenit-transporte.com::9d6b9224-b289-47c8-b6d4-3bf138101243" providerId="AD" clId="Web-{6094EB1B-90A5-01F1-5FEC-BB9BAFCA5D04}" dt="2020-07-27T22:57:40.730" v="190"/>
      <pc:docMkLst>
        <pc:docMk/>
      </pc:docMkLst>
      <pc:sldChg chg="addSp delSp modSp">
        <pc:chgData name="Yuly Andrea Castaneda Ramirez (CENIT)" userId="S::yuly.castaneda@cenit-transporte.com::9d6b9224-b289-47c8-b6d4-3bf138101243" providerId="AD" clId="Web-{6094EB1B-90A5-01F1-5FEC-BB9BAFCA5D04}" dt="2020-07-27T22:56:59.667" v="148"/>
        <pc:sldMkLst>
          <pc:docMk/>
          <pc:sldMk cId="330914068" sldId="2134804346"/>
        </pc:sldMkLst>
        <pc:spChg chg="mod">
          <ac:chgData name="Yuly Andrea Castaneda Ramirez (CENIT)" userId="S::yuly.castaneda@cenit-transporte.com::9d6b9224-b289-47c8-b6d4-3bf138101243" providerId="AD" clId="Web-{6094EB1B-90A5-01F1-5FEC-BB9BAFCA5D04}" dt="2020-07-27T22:56:00.587" v="116" actId="20577"/>
          <ac:spMkLst>
            <pc:docMk/>
            <pc:sldMk cId="330914068" sldId="2134804346"/>
            <ac:spMk id="3" creationId="{31514E04-D9F2-4C9D-BB7C-0BB641AFCD5E}"/>
          </ac:spMkLst>
        </pc:spChg>
        <pc:spChg chg="del">
          <ac:chgData name="Yuly Andrea Castaneda Ramirez (CENIT)" userId="S::yuly.castaneda@cenit-transporte.com::9d6b9224-b289-47c8-b6d4-3bf138101243" providerId="AD" clId="Web-{6094EB1B-90A5-01F1-5FEC-BB9BAFCA5D04}" dt="2020-07-27T22:53:56.522" v="66"/>
          <ac:spMkLst>
            <pc:docMk/>
            <pc:sldMk cId="330914068" sldId="2134804346"/>
            <ac:spMk id="7" creationId="{B72C64EE-F244-4A66-B52F-23F2A9FED029}"/>
          </ac:spMkLst>
        </pc:spChg>
        <pc:spChg chg="add mod">
          <ac:chgData name="Yuly Andrea Castaneda Ramirez (CENIT)" userId="S::yuly.castaneda@cenit-transporte.com::9d6b9224-b289-47c8-b6d4-3bf138101243" providerId="AD" clId="Web-{6094EB1B-90A5-01F1-5FEC-BB9BAFCA5D04}" dt="2020-07-27T22:56:59.667" v="148"/>
          <ac:spMkLst>
            <pc:docMk/>
            <pc:sldMk cId="330914068" sldId="2134804346"/>
            <ac:spMk id="8" creationId="{4DEC050B-5478-40A6-96EA-C713E7B4F927}"/>
          </ac:spMkLst>
        </pc:spChg>
        <pc:spChg chg="mod">
          <ac:chgData name="Yuly Andrea Castaneda Ramirez (CENIT)" userId="S::yuly.castaneda@cenit-transporte.com::9d6b9224-b289-47c8-b6d4-3bf138101243" providerId="AD" clId="Web-{6094EB1B-90A5-01F1-5FEC-BB9BAFCA5D04}" dt="2020-07-27T22:56:36.057" v="119" actId="1076"/>
          <ac:spMkLst>
            <pc:docMk/>
            <pc:sldMk cId="330914068" sldId="2134804346"/>
            <ac:spMk id="63" creationId="{FDF3B75C-EF94-43C4-8C4C-4ECAB5FEA69C}"/>
          </ac:spMkLst>
        </pc:spChg>
        <pc:graphicFrameChg chg="mod modGraphic">
          <ac:chgData name="Yuly Andrea Castaneda Ramirez (CENIT)" userId="S::yuly.castaneda@cenit-transporte.com::9d6b9224-b289-47c8-b6d4-3bf138101243" providerId="AD" clId="Web-{6094EB1B-90A5-01F1-5FEC-BB9BAFCA5D04}" dt="2020-07-27T22:55:28.024" v="109"/>
          <ac:graphicFrameMkLst>
            <pc:docMk/>
            <pc:sldMk cId="330914068" sldId="2134804346"/>
            <ac:graphicFrameMk id="6" creationId="{55A3C4F2-9AF1-4081-BD13-26D94B00509A}"/>
          </ac:graphicFrameMkLst>
        </pc:graphicFrameChg>
        <pc:graphicFrameChg chg="mod modGraphic">
          <ac:chgData name="Yuly Andrea Castaneda Ramirez (CENIT)" userId="S::yuly.castaneda@cenit-transporte.com::9d6b9224-b289-47c8-b6d4-3bf138101243" providerId="AD" clId="Web-{6094EB1B-90A5-01F1-5FEC-BB9BAFCA5D04}" dt="2020-07-27T22:54:55.602" v="70"/>
          <ac:graphicFrameMkLst>
            <pc:docMk/>
            <pc:sldMk cId="330914068" sldId="2134804346"/>
            <ac:graphicFrameMk id="9" creationId="{6080D7D3-5082-435E-BDF1-D2115CE124C8}"/>
          </ac:graphicFrameMkLst>
        </pc:graphicFrameChg>
      </pc:sldChg>
      <pc:sldChg chg="modSp">
        <pc:chgData name="Yuly Andrea Castaneda Ramirez (CENIT)" userId="S::yuly.castaneda@cenit-transporte.com::9d6b9224-b289-47c8-b6d4-3bf138101243" providerId="AD" clId="Web-{6094EB1B-90A5-01F1-5FEC-BB9BAFCA5D04}" dt="2020-07-27T22:53:46.741" v="63" actId="20577"/>
        <pc:sldMkLst>
          <pc:docMk/>
          <pc:sldMk cId="3225245280" sldId="2134804347"/>
        </pc:sldMkLst>
        <pc:spChg chg="mod">
          <ac:chgData name="Yuly Andrea Castaneda Ramirez (CENIT)" userId="S::yuly.castaneda@cenit-transporte.com::9d6b9224-b289-47c8-b6d4-3bf138101243" providerId="AD" clId="Web-{6094EB1B-90A5-01F1-5FEC-BB9BAFCA5D04}" dt="2020-07-27T22:52:36.427" v="49" actId="20577"/>
          <ac:spMkLst>
            <pc:docMk/>
            <pc:sldMk cId="3225245280" sldId="2134804347"/>
            <ac:spMk id="103" creationId="{CFADED31-A026-4175-BA8F-E9EEDB618661}"/>
          </ac:spMkLst>
        </pc:spChg>
        <pc:spChg chg="mod">
          <ac:chgData name="Yuly Andrea Castaneda Ramirez (CENIT)" userId="S::yuly.castaneda@cenit-transporte.com::9d6b9224-b289-47c8-b6d4-3bf138101243" providerId="AD" clId="Web-{6094EB1B-90A5-01F1-5FEC-BB9BAFCA5D04}" dt="2020-07-27T22:53:04.287" v="53" actId="20577"/>
          <ac:spMkLst>
            <pc:docMk/>
            <pc:sldMk cId="3225245280" sldId="2134804347"/>
            <ac:spMk id="109" creationId="{5EEADFA6-AC99-4B05-8F76-DB574E8A98DA}"/>
          </ac:spMkLst>
        </pc:spChg>
        <pc:spChg chg="mod">
          <ac:chgData name="Yuly Andrea Castaneda Ramirez (CENIT)" userId="S::yuly.castaneda@cenit-transporte.com::9d6b9224-b289-47c8-b6d4-3bf138101243" providerId="AD" clId="Web-{6094EB1B-90A5-01F1-5FEC-BB9BAFCA5D04}" dt="2020-07-27T22:53:30.959" v="58" actId="20577"/>
          <ac:spMkLst>
            <pc:docMk/>
            <pc:sldMk cId="3225245280" sldId="2134804347"/>
            <ac:spMk id="111" creationId="{606ABF23-6300-4549-A5B4-07EBD82E876C}"/>
          </ac:spMkLst>
        </pc:spChg>
        <pc:spChg chg="mod">
          <ac:chgData name="Yuly Andrea Castaneda Ramirez (CENIT)" userId="S::yuly.castaneda@cenit-transporte.com::9d6b9224-b289-47c8-b6d4-3bf138101243" providerId="AD" clId="Web-{6094EB1B-90A5-01F1-5FEC-BB9BAFCA5D04}" dt="2020-07-27T22:53:46.741" v="63" actId="20577"/>
          <ac:spMkLst>
            <pc:docMk/>
            <pc:sldMk cId="3225245280" sldId="2134804347"/>
            <ac:spMk id="122" creationId="{8E1A3EA7-EB49-48D7-A032-F1442013F701}"/>
          </ac:spMkLst>
        </pc:spChg>
      </pc:sldChg>
      <pc:sldChg chg="addSp delSp modSp">
        <pc:chgData name="Yuly Andrea Castaneda Ramirez (CENIT)" userId="S::yuly.castaneda@cenit-transporte.com::9d6b9224-b289-47c8-b6d4-3bf138101243" providerId="AD" clId="Web-{6094EB1B-90A5-01F1-5FEC-BB9BAFCA5D04}" dt="2020-07-27T22:57:40.730" v="190"/>
        <pc:sldMkLst>
          <pc:docMk/>
          <pc:sldMk cId="335391689" sldId="2134804348"/>
        </pc:sldMkLst>
        <pc:spChg chg="add">
          <ac:chgData name="Yuly Andrea Castaneda Ramirez (CENIT)" userId="S::yuly.castaneda@cenit-transporte.com::9d6b9224-b289-47c8-b6d4-3bf138101243" providerId="AD" clId="Web-{6094EB1B-90A5-01F1-5FEC-BB9BAFCA5D04}" dt="2020-07-27T22:57:40.027" v="171"/>
          <ac:spMkLst>
            <pc:docMk/>
            <pc:sldMk cId="335391689" sldId="2134804348"/>
            <ac:spMk id="6" creationId="{41FB5058-5D6D-4057-8091-3FEDAE9C7B2F}"/>
          </ac:spMkLst>
        </pc:spChg>
        <pc:spChg chg="add">
          <ac:chgData name="Yuly Andrea Castaneda Ramirez (CENIT)" userId="S::yuly.castaneda@cenit-transporte.com::9d6b9224-b289-47c8-b6d4-3bf138101243" providerId="AD" clId="Web-{6094EB1B-90A5-01F1-5FEC-BB9BAFCA5D04}" dt="2020-07-27T22:57:40.059" v="172"/>
          <ac:spMkLst>
            <pc:docMk/>
            <pc:sldMk cId="335391689" sldId="2134804348"/>
            <ac:spMk id="7" creationId="{8B7F7536-70E5-4D84-B987-71AE1FD79A6B}"/>
          </ac:spMkLst>
        </pc:spChg>
        <pc:spChg chg="mod">
          <ac:chgData name="Yuly Andrea Castaneda Ramirez (CENIT)" userId="S::yuly.castaneda@cenit-transporte.com::9d6b9224-b289-47c8-b6d4-3bf138101243" providerId="AD" clId="Web-{6094EB1B-90A5-01F1-5FEC-BB9BAFCA5D04}" dt="2020-07-27T22:57:20.808" v="150"/>
          <ac:spMkLst>
            <pc:docMk/>
            <pc:sldMk cId="335391689" sldId="2134804348"/>
            <ac:spMk id="11" creationId="{772CA61D-742C-45F0-BAFA-0F3B90176E98}"/>
          </ac:spMkLst>
        </pc:spChg>
        <pc:spChg chg="add">
          <ac:chgData name="Yuly Andrea Castaneda Ramirez (CENIT)" userId="S::yuly.castaneda@cenit-transporte.com::9d6b9224-b289-47c8-b6d4-3bf138101243" providerId="AD" clId="Web-{6094EB1B-90A5-01F1-5FEC-BB9BAFCA5D04}" dt="2020-07-27T22:57:40.090" v="173"/>
          <ac:spMkLst>
            <pc:docMk/>
            <pc:sldMk cId="335391689" sldId="2134804348"/>
            <ac:spMk id="13" creationId="{1D596647-3DA8-4B78-83AD-CC623C803E18}"/>
          </ac:spMkLst>
        </pc:spChg>
        <pc:spChg chg="add">
          <ac:chgData name="Yuly Andrea Castaneda Ramirez (CENIT)" userId="S::yuly.castaneda@cenit-transporte.com::9d6b9224-b289-47c8-b6d4-3bf138101243" providerId="AD" clId="Web-{6094EB1B-90A5-01F1-5FEC-BB9BAFCA5D04}" dt="2020-07-27T22:57:40.136" v="174"/>
          <ac:spMkLst>
            <pc:docMk/>
            <pc:sldMk cId="335391689" sldId="2134804348"/>
            <ac:spMk id="17" creationId="{495102E0-0B06-46DA-8B01-74CB2AE7392D}"/>
          </ac:spMkLst>
        </pc:spChg>
        <pc:spChg chg="add">
          <ac:chgData name="Yuly Andrea Castaneda Ramirez (CENIT)" userId="S::yuly.castaneda@cenit-transporte.com::9d6b9224-b289-47c8-b6d4-3bf138101243" providerId="AD" clId="Web-{6094EB1B-90A5-01F1-5FEC-BB9BAFCA5D04}" dt="2020-07-27T22:57:40.168" v="175"/>
          <ac:spMkLst>
            <pc:docMk/>
            <pc:sldMk cId="335391689" sldId="2134804348"/>
            <ac:spMk id="20" creationId="{571727EA-EA8A-4BD3-A5B4-4CB13C53C1D4}"/>
          </ac:spMkLst>
        </pc:spChg>
        <pc:spChg chg="add">
          <ac:chgData name="Yuly Andrea Castaneda Ramirez (CENIT)" userId="S::yuly.castaneda@cenit-transporte.com::9d6b9224-b289-47c8-b6d4-3bf138101243" providerId="AD" clId="Web-{6094EB1B-90A5-01F1-5FEC-BB9BAFCA5D04}" dt="2020-07-27T22:57:40.308" v="179"/>
          <ac:spMkLst>
            <pc:docMk/>
            <pc:sldMk cId="335391689" sldId="2134804348"/>
            <ac:spMk id="25" creationId="{2E356564-3550-4800-944D-BEBA2884DF10}"/>
          </ac:spMkLst>
        </pc:spChg>
        <pc:spChg chg="add">
          <ac:chgData name="Yuly Andrea Castaneda Ramirez (CENIT)" userId="S::yuly.castaneda@cenit-transporte.com::9d6b9224-b289-47c8-b6d4-3bf138101243" providerId="AD" clId="Web-{6094EB1B-90A5-01F1-5FEC-BB9BAFCA5D04}" dt="2020-07-27T22:57:40.340" v="180"/>
          <ac:spMkLst>
            <pc:docMk/>
            <pc:sldMk cId="335391689" sldId="2134804348"/>
            <ac:spMk id="26" creationId="{617D6CD1-124E-4C15-A7E7-80D2412020E8}"/>
          </ac:spMkLst>
        </pc:spChg>
        <pc:spChg chg="add">
          <ac:chgData name="Yuly Andrea Castaneda Ramirez (CENIT)" userId="S::yuly.castaneda@cenit-transporte.com::9d6b9224-b289-47c8-b6d4-3bf138101243" providerId="AD" clId="Web-{6094EB1B-90A5-01F1-5FEC-BB9BAFCA5D04}" dt="2020-07-27T22:57:40.386" v="181"/>
          <ac:spMkLst>
            <pc:docMk/>
            <pc:sldMk cId="335391689" sldId="2134804348"/>
            <ac:spMk id="27" creationId="{7776E912-DE06-47B0-8605-89EA6C171B15}"/>
          </ac:spMkLst>
        </pc:spChg>
        <pc:spChg chg="add">
          <ac:chgData name="Yuly Andrea Castaneda Ramirez (CENIT)" userId="S::yuly.castaneda@cenit-transporte.com::9d6b9224-b289-47c8-b6d4-3bf138101243" providerId="AD" clId="Web-{6094EB1B-90A5-01F1-5FEC-BB9BAFCA5D04}" dt="2020-07-27T22:57:40.418" v="182"/>
          <ac:spMkLst>
            <pc:docMk/>
            <pc:sldMk cId="335391689" sldId="2134804348"/>
            <ac:spMk id="28" creationId="{21D868A6-FE71-478B-8FD0-57CA5B91F75D}"/>
          </ac:spMkLst>
        </pc:spChg>
        <pc:spChg chg="add">
          <ac:chgData name="Yuly Andrea Castaneda Ramirez (CENIT)" userId="S::yuly.castaneda@cenit-transporte.com::9d6b9224-b289-47c8-b6d4-3bf138101243" providerId="AD" clId="Web-{6094EB1B-90A5-01F1-5FEC-BB9BAFCA5D04}" dt="2020-07-27T22:57:40.449" v="183"/>
          <ac:spMkLst>
            <pc:docMk/>
            <pc:sldMk cId="335391689" sldId="2134804348"/>
            <ac:spMk id="31" creationId="{8FC9BB00-75DF-48A3-9F2F-B00C04089B14}"/>
          </ac:spMkLst>
        </pc:spChg>
        <pc:spChg chg="add">
          <ac:chgData name="Yuly Andrea Castaneda Ramirez (CENIT)" userId="S::yuly.castaneda@cenit-transporte.com::9d6b9224-b289-47c8-b6d4-3bf138101243" providerId="AD" clId="Web-{6094EB1B-90A5-01F1-5FEC-BB9BAFCA5D04}" dt="2020-07-27T22:57:40.496" v="184"/>
          <ac:spMkLst>
            <pc:docMk/>
            <pc:sldMk cId="335391689" sldId="2134804348"/>
            <ac:spMk id="32" creationId="{DA499184-DBD6-4E08-B1D0-F2F62150E2E4}"/>
          </ac:spMkLst>
        </pc:spChg>
        <pc:spChg chg="add">
          <ac:chgData name="Yuly Andrea Castaneda Ramirez (CENIT)" userId="S::yuly.castaneda@cenit-transporte.com::9d6b9224-b289-47c8-b6d4-3bf138101243" providerId="AD" clId="Web-{6094EB1B-90A5-01F1-5FEC-BB9BAFCA5D04}" dt="2020-07-27T22:57:40.527" v="185"/>
          <ac:spMkLst>
            <pc:docMk/>
            <pc:sldMk cId="335391689" sldId="2134804348"/>
            <ac:spMk id="33" creationId="{BB0B2CF6-C366-401B-9566-C9A605ED7428}"/>
          </ac:spMkLst>
        </pc:spChg>
        <pc:spChg chg="add">
          <ac:chgData name="Yuly Andrea Castaneda Ramirez (CENIT)" userId="S::yuly.castaneda@cenit-transporte.com::9d6b9224-b289-47c8-b6d4-3bf138101243" providerId="AD" clId="Web-{6094EB1B-90A5-01F1-5FEC-BB9BAFCA5D04}" dt="2020-07-27T22:57:40.574" v="186"/>
          <ac:spMkLst>
            <pc:docMk/>
            <pc:sldMk cId="335391689" sldId="2134804348"/>
            <ac:spMk id="35" creationId="{0E85A5F7-D781-4563-A3B3-313B070319DC}"/>
          </ac:spMkLst>
        </pc:spChg>
        <pc:spChg chg="add">
          <ac:chgData name="Yuly Andrea Castaneda Ramirez (CENIT)" userId="S::yuly.castaneda@cenit-transporte.com::9d6b9224-b289-47c8-b6d4-3bf138101243" providerId="AD" clId="Web-{6094EB1B-90A5-01F1-5FEC-BB9BAFCA5D04}" dt="2020-07-27T22:57:40.605" v="187"/>
          <ac:spMkLst>
            <pc:docMk/>
            <pc:sldMk cId="335391689" sldId="2134804348"/>
            <ac:spMk id="37" creationId="{0D48E18A-A10E-4682-B14A-1326B0F00736}"/>
          </ac:spMkLst>
        </pc:spChg>
        <pc:spChg chg="add">
          <ac:chgData name="Yuly Andrea Castaneda Ramirez (CENIT)" userId="S::yuly.castaneda@cenit-transporte.com::9d6b9224-b289-47c8-b6d4-3bf138101243" providerId="AD" clId="Web-{6094EB1B-90A5-01F1-5FEC-BB9BAFCA5D04}" dt="2020-07-27T22:57:40.652" v="188"/>
          <ac:spMkLst>
            <pc:docMk/>
            <pc:sldMk cId="335391689" sldId="2134804348"/>
            <ac:spMk id="38" creationId="{62C85554-BA76-486C-A762-2619103FEC1D}"/>
          </ac:spMkLst>
        </pc:spChg>
        <pc:spChg chg="add">
          <ac:chgData name="Yuly Andrea Castaneda Ramirez (CENIT)" userId="S::yuly.castaneda@cenit-transporte.com::9d6b9224-b289-47c8-b6d4-3bf138101243" providerId="AD" clId="Web-{6094EB1B-90A5-01F1-5FEC-BB9BAFCA5D04}" dt="2020-07-27T22:57:40.683" v="189"/>
          <ac:spMkLst>
            <pc:docMk/>
            <pc:sldMk cId="335391689" sldId="2134804348"/>
            <ac:spMk id="39" creationId="{1FFCCFD3-0CE2-4FB0-B843-11168206DF22}"/>
          </ac:spMkLst>
        </pc:spChg>
        <pc:spChg chg="add">
          <ac:chgData name="Yuly Andrea Castaneda Ramirez (CENIT)" userId="S::yuly.castaneda@cenit-transporte.com::9d6b9224-b289-47c8-b6d4-3bf138101243" providerId="AD" clId="Web-{6094EB1B-90A5-01F1-5FEC-BB9BAFCA5D04}" dt="2020-07-27T22:57:40.730" v="190"/>
          <ac:spMkLst>
            <pc:docMk/>
            <pc:sldMk cId="335391689" sldId="2134804348"/>
            <ac:spMk id="45" creationId="{CA313353-BBC4-4C5B-B84F-DD1F14B41200}"/>
          </ac:spMkLst>
        </pc:spChg>
        <pc:spChg chg="add mod">
          <ac:chgData name="Yuly Andrea Castaneda Ramirez (CENIT)" userId="S::yuly.castaneda@cenit-transporte.com::9d6b9224-b289-47c8-b6d4-3bf138101243" providerId="AD" clId="Web-{6094EB1B-90A5-01F1-5FEC-BB9BAFCA5D04}" dt="2020-07-27T22:51:45.207" v="33" actId="20577"/>
          <ac:spMkLst>
            <pc:docMk/>
            <pc:sldMk cId="335391689" sldId="2134804348"/>
            <ac:spMk id="69" creationId="{38D18292-C467-4CD3-890E-670905EDE7F1}"/>
          </ac:spMkLst>
        </pc:spChg>
        <pc:spChg chg="add del mod">
          <ac:chgData name="Yuly Andrea Castaneda Ramirez (CENIT)" userId="S::yuly.castaneda@cenit-transporte.com::9d6b9224-b289-47c8-b6d4-3bf138101243" providerId="AD" clId="Web-{6094EB1B-90A5-01F1-5FEC-BB9BAFCA5D04}" dt="2020-07-27T22:49:37.485" v="8"/>
          <ac:spMkLst>
            <pc:docMk/>
            <pc:sldMk cId="335391689" sldId="2134804348"/>
            <ac:spMk id="71" creationId="{718EDCE0-4477-429B-8887-F59710129943}"/>
          </ac:spMkLst>
        </pc:spChg>
        <pc:spChg chg="add mod">
          <ac:chgData name="Yuly Andrea Castaneda Ramirez (CENIT)" userId="S::yuly.castaneda@cenit-transporte.com::9d6b9224-b289-47c8-b6d4-3bf138101243" providerId="AD" clId="Web-{6094EB1B-90A5-01F1-5FEC-BB9BAFCA5D04}" dt="2020-07-27T22:49:42.720" v="9" actId="1076"/>
          <ac:spMkLst>
            <pc:docMk/>
            <pc:sldMk cId="335391689" sldId="2134804348"/>
            <ac:spMk id="73" creationId="{FD23D240-7BB7-4D74-9842-9A4BFE5CAB08}"/>
          </ac:spMkLst>
        </pc:spChg>
        <pc:spChg chg="add mod">
          <ac:chgData name="Yuly Andrea Castaneda Ramirez (CENIT)" userId="S::yuly.castaneda@cenit-transporte.com::9d6b9224-b289-47c8-b6d4-3bf138101243" providerId="AD" clId="Web-{6094EB1B-90A5-01F1-5FEC-BB9BAFCA5D04}" dt="2020-07-27T22:50:12.892" v="17" actId="1076"/>
          <ac:spMkLst>
            <pc:docMk/>
            <pc:sldMk cId="335391689" sldId="2134804348"/>
            <ac:spMk id="75" creationId="{EC5A3F27-F09F-406D-862F-A6BF15171850}"/>
          </ac:spMkLst>
        </pc:spChg>
        <pc:spChg chg="add del">
          <ac:chgData name="Yuly Andrea Castaneda Ramirez (CENIT)" userId="S::yuly.castaneda@cenit-transporte.com::9d6b9224-b289-47c8-b6d4-3bf138101243" providerId="AD" clId="Web-{6094EB1B-90A5-01F1-5FEC-BB9BAFCA5D04}" dt="2020-07-27T22:50:27.158" v="22"/>
          <ac:spMkLst>
            <pc:docMk/>
            <pc:sldMk cId="335391689" sldId="2134804348"/>
            <ac:spMk id="76" creationId="{4B778B52-7F01-4CCA-8F8A-70AB165D8DFC}"/>
          </ac:spMkLst>
        </pc:spChg>
        <pc:spChg chg="add del mod">
          <ac:chgData name="Yuly Andrea Castaneda Ramirez (CENIT)" userId="S::yuly.castaneda@cenit-transporte.com::9d6b9224-b289-47c8-b6d4-3bf138101243" providerId="AD" clId="Web-{6094EB1B-90A5-01F1-5FEC-BB9BAFCA5D04}" dt="2020-07-27T22:51:58.457" v="34"/>
          <ac:spMkLst>
            <pc:docMk/>
            <pc:sldMk cId="335391689" sldId="2134804348"/>
            <ac:spMk id="77" creationId="{69D0A9B9-E67C-43DB-A992-8229ACBEC140}"/>
          </ac:spMkLst>
        </pc:spChg>
        <pc:spChg chg="del">
          <ac:chgData name="Yuly Andrea Castaneda Ramirez (CENIT)" userId="S::yuly.castaneda@cenit-transporte.com::9d6b9224-b289-47c8-b6d4-3bf138101243" providerId="AD" clId="Web-{6094EB1B-90A5-01F1-5FEC-BB9BAFCA5D04}" dt="2020-07-27T22:57:38.402" v="170"/>
          <ac:spMkLst>
            <pc:docMk/>
            <pc:sldMk cId="335391689" sldId="2134804348"/>
            <ac:spMk id="109" creationId="{09FEBB2F-6837-4B52-A0F3-7788777898D1}"/>
          </ac:spMkLst>
        </pc:spChg>
        <pc:spChg chg="del mod">
          <ac:chgData name="Yuly Andrea Castaneda Ramirez (CENIT)" userId="S::yuly.castaneda@cenit-transporte.com::9d6b9224-b289-47c8-b6d4-3bf138101243" providerId="AD" clId="Web-{6094EB1B-90A5-01F1-5FEC-BB9BAFCA5D04}" dt="2020-07-27T22:57:38.386" v="169"/>
          <ac:spMkLst>
            <pc:docMk/>
            <pc:sldMk cId="335391689" sldId="2134804348"/>
            <ac:spMk id="110" creationId="{CBAA75F3-5F2F-44AE-907D-A693F8DC792D}"/>
          </ac:spMkLst>
        </pc:spChg>
        <pc:spChg chg="del">
          <ac:chgData name="Yuly Andrea Castaneda Ramirez (CENIT)" userId="S::yuly.castaneda@cenit-transporte.com::9d6b9224-b289-47c8-b6d4-3bf138101243" providerId="AD" clId="Web-{6094EB1B-90A5-01F1-5FEC-BB9BAFCA5D04}" dt="2020-07-27T22:57:38.386" v="168"/>
          <ac:spMkLst>
            <pc:docMk/>
            <pc:sldMk cId="335391689" sldId="2134804348"/>
            <ac:spMk id="111" creationId="{46F74A5E-421E-4779-8B22-AE00066EF7D3}"/>
          </ac:spMkLst>
        </pc:spChg>
        <pc:spChg chg="del">
          <ac:chgData name="Yuly Andrea Castaneda Ramirez (CENIT)" userId="S::yuly.castaneda@cenit-transporte.com::9d6b9224-b289-47c8-b6d4-3bf138101243" providerId="AD" clId="Web-{6094EB1B-90A5-01F1-5FEC-BB9BAFCA5D04}" dt="2020-07-27T22:57:38.386" v="167"/>
          <ac:spMkLst>
            <pc:docMk/>
            <pc:sldMk cId="335391689" sldId="2134804348"/>
            <ac:spMk id="112" creationId="{47D8DCC7-2D64-4763-9312-231EC4563473}"/>
          </ac:spMkLst>
        </pc:spChg>
        <pc:spChg chg="del">
          <ac:chgData name="Yuly Andrea Castaneda Ramirez (CENIT)" userId="S::yuly.castaneda@cenit-transporte.com::9d6b9224-b289-47c8-b6d4-3bf138101243" providerId="AD" clId="Web-{6094EB1B-90A5-01F1-5FEC-BB9BAFCA5D04}" dt="2020-07-27T22:57:38.386" v="166"/>
          <ac:spMkLst>
            <pc:docMk/>
            <pc:sldMk cId="335391689" sldId="2134804348"/>
            <ac:spMk id="113" creationId="{3AC4B82B-6F2A-4433-9B55-C3C12FCE76A8}"/>
          </ac:spMkLst>
        </pc:spChg>
        <pc:spChg chg="del">
          <ac:chgData name="Yuly Andrea Castaneda Ramirez (CENIT)" userId="S::yuly.castaneda@cenit-transporte.com::9d6b9224-b289-47c8-b6d4-3bf138101243" providerId="AD" clId="Web-{6094EB1B-90A5-01F1-5FEC-BB9BAFCA5D04}" dt="2020-07-27T22:57:38.386" v="162"/>
          <ac:spMkLst>
            <pc:docMk/>
            <pc:sldMk cId="335391689" sldId="2134804348"/>
            <ac:spMk id="126" creationId="{1E1ADB7B-308E-43CC-8C79-4B0820F83BEF}"/>
          </ac:spMkLst>
        </pc:spChg>
        <pc:spChg chg="del">
          <ac:chgData name="Yuly Andrea Castaneda Ramirez (CENIT)" userId="S::yuly.castaneda@cenit-transporte.com::9d6b9224-b289-47c8-b6d4-3bf138101243" providerId="AD" clId="Web-{6094EB1B-90A5-01F1-5FEC-BB9BAFCA5D04}" dt="2020-07-27T22:57:38.386" v="161"/>
          <ac:spMkLst>
            <pc:docMk/>
            <pc:sldMk cId="335391689" sldId="2134804348"/>
            <ac:spMk id="127" creationId="{A0445359-C924-4A86-BF97-C50D4AFCD765}"/>
          </ac:spMkLst>
        </pc:spChg>
        <pc:spChg chg="del">
          <ac:chgData name="Yuly Andrea Castaneda Ramirez (CENIT)" userId="S::yuly.castaneda@cenit-transporte.com::9d6b9224-b289-47c8-b6d4-3bf138101243" providerId="AD" clId="Web-{6094EB1B-90A5-01F1-5FEC-BB9BAFCA5D04}" dt="2020-07-27T22:57:38.386" v="160"/>
          <ac:spMkLst>
            <pc:docMk/>
            <pc:sldMk cId="335391689" sldId="2134804348"/>
            <ac:spMk id="128" creationId="{7E10D906-A395-4C9B-821C-56A50C7C22BE}"/>
          </ac:spMkLst>
        </pc:spChg>
        <pc:spChg chg="del">
          <ac:chgData name="Yuly Andrea Castaneda Ramirez (CENIT)" userId="S::yuly.castaneda@cenit-transporte.com::9d6b9224-b289-47c8-b6d4-3bf138101243" providerId="AD" clId="Web-{6094EB1B-90A5-01F1-5FEC-BB9BAFCA5D04}" dt="2020-07-27T22:57:38.386" v="159"/>
          <ac:spMkLst>
            <pc:docMk/>
            <pc:sldMk cId="335391689" sldId="2134804348"/>
            <ac:spMk id="129" creationId="{131408C0-4A85-456F-9CC5-1B260B9B2221}"/>
          </ac:spMkLst>
        </pc:spChg>
        <pc:spChg chg="del">
          <ac:chgData name="Yuly Andrea Castaneda Ramirez (CENIT)" userId="S::yuly.castaneda@cenit-transporte.com::9d6b9224-b289-47c8-b6d4-3bf138101243" providerId="AD" clId="Web-{6094EB1B-90A5-01F1-5FEC-BB9BAFCA5D04}" dt="2020-07-27T22:57:38.386" v="158"/>
          <ac:spMkLst>
            <pc:docMk/>
            <pc:sldMk cId="335391689" sldId="2134804348"/>
            <ac:spMk id="130" creationId="{B669FD25-A263-45C2-A206-BFA95EDD685A}"/>
          </ac:spMkLst>
        </pc:spChg>
        <pc:spChg chg="del">
          <ac:chgData name="Yuly Andrea Castaneda Ramirez (CENIT)" userId="S::yuly.castaneda@cenit-transporte.com::9d6b9224-b289-47c8-b6d4-3bf138101243" providerId="AD" clId="Web-{6094EB1B-90A5-01F1-5FEC-BB9BAFCA5D04}" dt="2020-07-27T22:57:38.386" v="157"/>
          <ac:spMkLst>
            <pc:docMk/>
            <pc:sldMk cId="335391689" sldId="2134804348"/>
            <ac:spMk id="131" creationId="{A91FCDE9-0180-4C19-92EE-8D0464118CEA}"/>
          </ac:spMkLst>
        </pc:spChg>
        <pc:spChg chg="del">
          <ac:chgData name="Yuly Andrea Castaneda Ramirez (CENIT)" userId="S::yuly.castaneda@cenit-transporte.com::9d6b9224-b289-47c8-b6d4-3bf138101243" providerId="AD" clId="Web-{6094EB1B-90A5-01F1-5FEC-BB9BAFCA5D04}" dt="2020-07-27T22:57:38.386" v="156"/>
          <ac:spMkLst>
            <pc:docMk/>
            <pc:sldMk cId="335391689" sldId="2134804348"/>
            <ac:spMk id="132" creationId="{36D7DD07-92C7-465C-B6AE-35E84E223124}"/>
          </ac:spMkLst>
        </pc:spChg>
        <pc:spChg chg="del">
          <ac:chgData name="Yuly Andrea Castaneda Ramirez (CENIT)" userId="S::yuly.castaneda@cenit-transporte.com::9d6b9224-b289-47c8-b6d4-3bf138101243" providerId="AD" clId="Web-{6094EB1B-90A5-01F1-5FEC-BB9BAFCA5D04}" dt="2020-07-27T22:57:38.386" v="155"/>
          <ac:spMkLst>
            <pc:docMk/>
            <pc:sldMk cId="335391689" sldId="2134804348"/>
            <ac:spMk id="133" creationId="{3252F55B-D114-43B1-AFEE-D4D93962C217}"/>
          </ac:spMkLst>
        </pc:spChg>
        <pc:spChg chg="del">
          <ac:chgData name="Yuly Andrea Castaneda Ramirez (CENIT)" userId="S::yuly.castaneda@cenit-transporte.com::9d6b9224-b289-47c8-b6d4-3bf138101243" providerId="AD" clId="Web-{6094EB1B-90A5-01F1-5FEC-BB9BAFCA5D04}" dt="2020-07-27T22:57:38.386" v="154"/>
          <ac:spMkLst>
            <pc:docMk/>
            <pc:sldMk cId="335391689" sldId="2134804348"/>
            <ac:spMk id="134" creationId="{77082EF3-134C-4148-8172-E0C1F41E334D}"/>
          </ac:spMkLst>
        </pc:spChg>
        <pc:spChg chg="del">
          <ac:chgData name="Yuly Andrea Castaneda Ramirez (CENIT)" userId="S::yuly.castaneda@cenit-transporte.com::9d6b9224-b289-47c8-b6d4-3bf138101243" providerId="AD" clId="Web-{6094EB1B-90A5-01F1-5FEC-BB9BAFCA5D04}" dt="2020-07-27T22:57:38.386" v="153"/>
          <ac:spMkLst>
            <pc:docMk/>
            <pc:sldMk cId="335391689" sldId="2134804348"/>
            <ac:spMk id="136" creationId="{402E669C-5742-40AC-AB8A-5028355A713B}"/>
          </ac:spMkLst>
        </pc:spChg>
        <pc:spChg chg="del">
          <ac:chgData name="Yuly Andrea Castaneda Ramirez (CENIT)" userId="S::yuly.castaneda@cenit-transporte.com::9d6b9224-b289-47c8-b6d4-3bf138101243" providerId="AD" clId="Web-{6094EB1B-90A5-01F1-5FEC-BB9BAFCA5D04}" dt="2020-07-27T22:57:38.371" v="152"/>
          <ac:spMkLst>
            <pc:docMk/>
            <pc:sldMk cId="335391689" sldId="2134804348"/>
            <ac:spMk id="137" creationId="{95B4808B-BD2E-4EB3-B64A-ED60053DF02E}"/>
          </ac:spMkLst>
        </pc:spChg>
        <pc:spChg chg="del">
          <ac:chgData name="Yuly Andrea Castaneda Ramirez (CENIT)" userId="S::yuly.castaneda@cenit-transporte.com::9d6b9224-b289-47c8-b6d4-3bf138101243" providerId="AD" clId="Web-{6094EB1B-90A5-01F1-5FEC-BB9BAFCA5D04}" dt="2020-07-27T22:57:38.371" v="151"/>
          <ac:spMkLst>
            <pc:docMk/>
            <pc:sldMk cId="335391689" sldId="2134804348"/>
            <ac:spMk id="138" creationId="{A6C9C65D-A624-40D1-96F3-BDB27AB5D820}"/>
          </ac:spMkLst>
        </pc:spChg>
        <pc:grpChg chg="add">
          <ac:chgData name="Yuly Andrea Castaneda Ramirez (CENIT)" userId="S::yuly.castaneda@cenit-transporte.com::9d6b9224-b289-47c8-b6d4-3bf138101243" providerId="AD" clId="Web-{6094EB1B-90A5-01F1-5FEC-BB9BAFCA5D04}" dt="2020-07-27T22:57:40.199" v="176"/>
          <ac:grpSpMkLst>
            <pc:docMk/>
            <pc:sldMk cId="335391689" sldId="2134804348"/>
            <ac:grpSpMk id="22" creationId="{72FAFFCB-F63F-4304-AE13-F0D0DD223DDC}"/>
          </ac:grpSpMkLst>
        </pc:grpChg>
        <pc:grpChg chg="add">
          <ac:chgData name="Yuly Andrea Castaneda Ramirez (CENIT)" userId="S::yuly.castaneda@cenit-transporte.com::9d6b9224-b289-47c8-b6d4-3bf138101243" providerId="AD" clId="Web-{6094EB1B-90A5-01F1-5FEC-BB9BAFCA5D04}" dt="2020-07-27T22:57:40.246" v="177"/>
          <ac:grpSpMkLst>
            <pc:docMk/>
            <pc:sldMk cId="335391689" sldId="2134804348"/>
            <ac:grpSpMk id="23" creationId="{FB9D6B12-95DF-4BC6-8C69-5BE27394DB2C}"/>
          </ac:grpSpMkLst>
        </pc:grpChg>
        <pc:grpChg chg="add">
          <ac:chgData name="Yuly Andrea Castaneda Ramirez (CENIT)" userId="S::yuly.castaneda@cenit-transporte.com::9d6b9224-b289-47c8-b6d4-3bf138101243" providerId="AD" clId="Web-{6094EB1B-90A5-01F1-5FEC-BB9BAFCA5D04}" dt="2020-07-27T22:57:40.277" v="178"/>
          <ac:grpSpMkLst>
            <pc:docMk/>
            <pc:sldMk cId="335391689" sldId="2134804348"/>
            <ac:grpSpMk id="24" creationId="{F1FBEC39-EF79-4055-816C-BEB159C468C9}"/>
          </ac:grpSpMkLst>
        </pc:grpChg>
        <pc:grpChg chg="del">
          <ac:chgData name="Yuly Andrea Castaneda Ramirez (CENIT)" userId="S::yuly.castaneda@cenit-transporte.com::9d6b9224-b289-47c8-b6d4-3bf138101243" providerId="AD" clId="Web-{6094EB1B-90A5-01F1-5FEC-BB9BAFCA5D04}" dt="2020-07-27T22:57:38.386" v="165"/>
          <ac:grpSpMkLst>
            <pc:docMk/>
            <pc:sldMk cId="335391689" sldId="2134804348"/>
            <ac:grpSpMk id="114" creationId="{ECE1E8E1-96FE-4D0A-939A-F926322BF5C6}"/>
          </ac:grpSpMkLst>
        </pc:grpChg>
        <pc:grpChg chg="del">
          <ac:chgData name="Yuly Andrea Castaneda Ramirez (CENIT)" userId="S::yuly.castaneda@cenit-transporte.com::9d6b9224-b289-47c8-b6d4-3bf138101243" providerId="AD" clId="Web-{6094EB1B-90A5-01F1-5FEC-BB9BAFCA5D04}" dt="2020-07-27T22:57:38.386" v="164"/>
          <ac:grpSpMkLst>
            <pc:docMk/>
            <pc:sldMk cId="335391689" sldId="2134804348"/>
            <ac:grpSpMk id="120" creationId="{676EF5F2-89BE-47A7-B180-45540366C7B0}"/>
          </ac:grpSpMkLst>
        </pc:grpChg>
        <pc:grpChg chg="del">
          <ac:chgData name="Yuly Andrea Castaneda Ramirez (CENIT)" userId="S::yuly.castaneda@cenit-transporte.com::9d6b9224-b289-47c8-b6d4-3bf138101243" providerId="AD" clId="Web-{6094EB1B-90A5-01F1-5FEC-BB9BAFCA5D04}" dt="2020-07-27T22:57:38.386" v="163"/>
          <ac:grpSpMkLst>
            <pc:docMk/>
            <pc:sldMk cId="335391689" sldId="2134804348"/>
            <ac:grpSpMk id="123" creationId="{E8797763-84E8-4673-B3CC-1BF8B4B0316E}"/>
          </ac:grpSpMkLst>
        </pc:grpChg>
      </pc:sldChg>
    </pc:docChg>
  </pc:docChgLst>
  <pc:docChgLst>
    <pc:chgData name="Mariam Daniela Tristancho Pineda (PTA SAS)" userId="a45a17f7-7950-4cb5-bfab-f5c894f959a9" providerId="ADAL" clId="{7E0461DD-625F-4FFD-8EB3-FFF62574CF0B}"/>
    <pc:docChg chg="undo custSel addSld delSld modSld">
      <pc:chgData name="Mariam Daniela Tristancho Pineda (PTA SAS)" userId="a45a17f7-7950-4cb5-bfab-f5c894f959a9" providerId="ADAL" clId="{7E0461DD-625F-4FFD-8EB3-FFF62574CF0B}" dt="2020-10-20T14:37:12.739" v="494" actId="1076"/>
      <pc:docMkLst>
        <pc:docMk/>
      </pc:docMkLst>
      <pc:sldChg chg="del">
        <pc:chgData name="Mariam Daniela Tristancho Pineda (PTA SAS)" userId="a45a17f7-7950-4cb5-bfab-f5c894f959a9" providerId="ADAL" clId="{7E0461DD-625F-4FFD-8EB3-FFF62574CF0B}" dt="2020-10-20T12:45:06.468" v="454" actId="47"/>
        <pc:sldMkLst>
          <pc:docMk/>
          <pc:sldMk cId="3844388932" sldId="264"/>
        </pc:sldMkLst>
      </pc:sldChg>
      <pc:sldChg chg="modSp mod">
        <pc:chgData name="Mariam Daniela Tristancho Pineda (PTA SAS)" userId="a45a17f7-7950-4cb5-bfab-f5c894f959a9" providerId="ADAL" clId="{7E0461DD-625F-4FFD-8EB3-FFF62574CF0B}" dt="2020-10-19T22:23:52.104" v="446" actId="14100"/>
        <pc:sldMkLst>
          <pc:docMk/>
          <pc:sldMk cId="1046801049" sldId="288"/>
        </pc:sldMkLst>
        <pc:spChg chg="mod">
          <ac:chgData name="Mariam Daniela Tristancho Pineda (PTA SAS)" userId="a45a17f7-7950-4cb5-bfab-f5c894f959a9" providerId="ADAL" clId="{7E0461DD-625F-4FFD-8EB3-FFF62574CF0B}" dt="2020-10-19T22:23:52.104" v="446" actId="14100"/>
          <ac:spMkLst>
            <pc:docMk/>
            <pc:sldMk cId="1046801049" sldId="288"/>
            <ac:spMk id="20" creationId="{BA71CAB1-059A-4682-B7CE-73D93DC727F2}"/>
          </ac:spMkLst>
        </pc:spChg>
        <pc:spChg chg="mod">
          <ac:chgData name="Mariam Daniela Tristancho Pineda (PTA SAS)" userId="a45a17f7-7950-4cb5-bfab-f5c894f959a9" providerId="ADAL" clId="{7E0461DD-625F-4FFD-8EB3-FFF62574CF0B}" dt="2020-10-19T22:23:52.104" v="446" actId="14100"/>
          <ac:spMkLst>
            <pc:docMk/>
            <pc:sldMk cId="1046801049" sldId="288"/>
            <ac:spMk id="42" creationId="{8C6C9463-38E0-44BF-A606-AD2FAE25F4EF}"/>
          </ac:spMkLst>
        </pc:spChg>
        <pc:spChg chg="mod">
          <ac:chgData name="Mariam Daniela Tristancho Pineda (PTA SAS)" userId="a45a17f7-7950-4cb5-bfab-f5c894f959a9" providerId="ADAL" clId="{7E0461DD-625F-4FFD-8EB3-FFF62574CF0B}" dt="2020-10-19T22:23:52.104" v="446" actId="14100"/>
          <ac:spMkLst>
            <pc:docMk/>
            <pc:sldMk cId="1046801049" sldId="288"/>
            <ac:spMk id="48" creationId="{3D5B9A0C-A094-44A4-8CD7-BD8B7612947C}"/>
          </ac:spMkLst>
        </pc:spChg>
        <pc:spChg chg="mod">
          <ac:chgData name="Mariam Daniela Tristancho Pineda (PTA SAS)" userId="a45a17f7-7950-4cb5-bfab-f5c894f959a9" providerId="ADAL" clId="{7E0461DD-625F-4FFD-8EB3-FFF62574CF0B}" dt="2020-10-19T22:23:52.104" v="446" actId="14100"/>
          <ac:spMkLst>
            <pc:docMk/>
            <pc:sldMk cId="1046801049" sldId="288"/>
            <ac:spMk id="50" creationId="{A92FB6B2-22A2-4568-A9CA-7C97419CC0A1}"/>
          </ac:spMkLst>
        </pc:spChg>
        <pc:spChg chg="mod">
          <ac:chgData name="Mariam Daniela Tristancho Pineda (PTA SAS)" userId="a45a17f7-7950-4cb5-bfab-f5c894f959a9" providerId="ADAL" clId="{7E0461DD-625F-4FFD-8EB3-FFF62574CF0B}" dt="2020-10-19T22:23:52.104" v="446" actId="14100"/>
          <ac:spMkLst>
            <pc:docMk/>
            <pc:sldMk cId="1046801049" sldId="288"/>
            <ac:spMk id="54" creationId="{CD2E0FE5-7403-40BC-BD69-19937EDD1C27}"/>
          </ac:spMkLst>
        </pc:spChg>
        <pc:spChg chg="mod">
          <ac:chgData name="Mariam Daniela Tristancho Pineda (PTA SAS)" userId="a45a17f7-7950-4cb5-bfab-f5c894f959a9" providerId="ADAL" clId="{7E0461DD-625F-4FFD-8EB3-FFF62574CF0B}" dt="2020-10-19T22:23:52.104" v="446" actId="14100"/>
          <ac:spMkLst>
            <pc:docMk/>
            <pc:sldMk cId="1046801049" sldId="288"/>
            <ac:spMk id="60" creationId="{63D96A83-7AC3-44B6-B68B-2AB5BFE50843}"/>
          </ac:spMkLst>
        </pc:spChg>
        <pc:spChg chg="mod">
          <ac:chgData name="Mariam Daniela Tristancho Pineda (PTA SAS)" userId="a45a17f7-7950-4cb5-bfab-f5c894f959a9" providerId="ADAL" clId="{7E0461DD-625F-4FFD-8EB3-FFF62574CF0B}" dt="2020-10-19T22:23:52.104" v="446" actId="14100"/>
          <ac:spMkLst>
            <pc:docMk/>
            <pc:sldMk cId="1046801049" sldId="288"/>
            <ac:spMk id="91" creationId="{07CBC177-9FC6-C343-A97F-7D9FD1AD4A40}"/>
          </ac:spMkLst>
        </pc:spChg>
        <pc:spChg chg="mod">
          <ac:chgData name="Mariam Daniela Tristancho Pineda (PTA SAS)" userId="a45a17f7-7950-4cb5-bfab-f5c894f959a9" providerId="ADAL" clId="{7E0461DD-625F-4FFD-8EB3-FFF62574CF0B}" dt="2020-10-19T22:23:52.104" v="446" actId="14100"/>
          <ac:spMkLst>
            <pc:docMk/>
            <pc:sldMk cId="1046801049" sldId="288"/>
            <ac:spMk id="93" creationId="{821B7FB2-45AC-7943-9211-8C5A56B0B1D0}"/>
          </ac:spMkLst>
        </pc:spChg>
        <pc:spChg chg="mod">
          <ac:chgData name="Mariam Daniela Tristancho Pineda (PTA SAS)" userId="a45a17f7-7950-4cb5-bfab-f5c894f959a9" providerId="ADAL" clId="{7E0461DD-625F-4FFD-8EB3-FFF62574CF0B}" dt="2020-10-19T22:23:52.104" v="446" actId="14100"/>
          <ac:spMkLst>
            <pc:docMk/>
            <pc:sldMk cId="1046801049" sldId="288"/>
            <ac:spMk id="94" creationId="{4B1C927A-9904-0645-BCA2-25CA2CAF52C5}"/>
          </ac:spMkLst>
        </pc:spChg>
        <pc:spChg chg="mod">
          <ac:chgData name="Mariam Daniela Tristancho Pineda (PTA SAS)" userId="a45a17f7-7950-4cb5-bfab-f5c894f959a9" providerId="ADAL" clId="{7E0461DD-625F-4FFD-8EB3-FFF62574CF0B}" dt="2020-10-19T22:23:52.104" v="446" actId="14100"/>
          <ac:spMkLst>
            <pc:docMk/>
            <pc:sldMk cId="1046801049" sldId="288"/>
            <ac:spMk id="99" creationId="{F7274B33-B192-4347-A044-6DC3E078F83D}"/>
          </ac:spMkLst>
        </pc:spChg>
        <pc:spChg chg="mod">
          <ac:chgData name="Mariam Daniela Tristancho Pineda (PTA SAS)" userId="a45a17f7-7950-4cb5-bfab-f5c894f959a9" providerId="ADAL" clId="{7E0461DD-625F-4FFD-8EB3-FFF62574CF0B}" dt="2020-10-19T22:23:52.104" v="446" actId="14100"/>
          <ac:spMkLst>
            <pc:docMk/>
            <pc:sldMk cId="1046801049" sldId="288"/>
            <ac:spMk id="106" creationId="{88C01678-B2F7-1045-90CD-53A08DDEB55A}"/>
          </ac:spMkLst>
        </pc:spChg>
        <pc:spChg chg="mod">
          <ac:chgData name="Mariam Daniela Tristancho Pineda (PTA SAS)" userId="a45a17f7-7950-4cb5-bfab-f5c894f959a9" providerId="ADAL" clId="{7E0461DD-625F-4FFD-8EB3-FFF62574CF0B}" dt="2020-10-19T22:23:52.104" v="446" actId="14100"/>
          <ac:spMkLst>
            <pc:docMk/>
            <pc:sldMk cId="1046801049" sldId="288"/>
            <ac:spMk id="109" creationId="{DC6FE364-503B-7946-8E38-C2A6F34B3F59}"/>
          </ac:spMkLst>
        </pc:spChg>
        <pc:spChg chg="mod">
          <ac:chgData name="Mariam Daniela Tristancho Pineda (PTA SAS)" userId="a45a17f7-7950-4cb5-bfab-f5c894f959a9" providerId="ADAL" clId="{7E0461DD-625F-4FFD-8EB3-FFF62574CF0B}" dt="2020-10-19T22:23:52.104" v="446" actId="14100"/>
          <ac:spMkLst>
            <pc:docMk/>
            <pc:sldMk cId="1046801049" sldId="288"/>
            <ac:spMk id="110" creationId="{86D16295-E7AA-AD4A-BBAC-9BD05EEA09B8}"/>
          </ac:spMkLst>
        </pc:spChg>
        <pc:spChg chg="mod">
          <ac:chgData name="Mariam Daniela Tristancho Pineda (PTA SAS)" userId="a45a17f7-7950-4cb5-bfab-f5c894f959a9" providerId="ADAL" clId="{7E0461DD-625F-4FFD-8EB3-FFF62574CF0B}" dt="2020-10-19T22:23:52.104" v="446" actId="14100"/>
          <ac:spMkLst>
            <pc:docMk/>
            <pc:sldMk cId="1046801049" sldId="288"/>
            <ac:spMk id="111" creationId="{C9BEE47A-869F-5147-B51D-BCF46C0AE4A1}"/>
          </ac:spMkLst>
        </pc:spChg>
        <pc:picChg chg="mod">
          <ac:chgData name="Mariam Daniela Tristancho Pineda (PTA SAS)" userId="a45a17f7-7950-4cb5-bfab-f5c894f959a9" providerId="ADAL" clId="{7E0461DD-625F-4FFD-8EB3-FFF62574CF0B}" dt="2020-10-19T22:23:52.104" v="446" actId="14100"/>
          <ac:picMkLst>
            <pc:docMk/>
            <pc:sldMk cId="1046801049" sldId="288"/>
            <ac:picMk id="33" creationId="{52F0AC2F-4F50-514E-BAC5-40FB8FFE3B9F}"/>
          </ac:picMkLst>
        </pc:picChg>
        <pc:picChg chg="mod">
          <ac:chgData name="Mariam Daniela Tristancho Pineda (PTA SAS)" userId="a45a17f7-7950-4cb5-bfab-f5c894f959a9" providerId="ADAL" clId="{7E0461DD-625F-4FFD-8EB3-FFF62574CF0B}" dt="2020-10-19T22:23:52.104" v="446" actId="14100"/>
          <ac:picMkLst>
            <pc:docMk/>
            <pc:sldMk cId="1046801049" sldId="288"/>
            <ac:picMk id="101" creationId="{D30FAB84-6765-4EA7-8B2C-0B76621F31E4}"/>
          </ac:picMkLst>
        </pc:picChg>
        <pc:picChg chg="mod">
          <ac:chgData name="Mariam Daniela Tristancho Pineda (PTA SAS)" userId="a45a17f7-7950-4cb5-bfab-f5c894f959a9" providerId="ADAL" clId="{7E0461DD-625F-4FFD-8EB3-FFF62574CF0B}" dt="2020-10-19T22:23:52.104" v="446" actId="14100"/>
          <ac:picMkLst>
            <pc:docMk/>
            <pc:sldMk cId="1046801049" sldId="288"/>
            <ac:picMk id="103" creationId="{7C64DD4C-B66D-4C04-B15D-EDBF75D4827D}"/>
          </ac:picMkLst>
        </pc:picChg>
        <pc:picChg chg="mod">
          <ac:chgData name="Mariam Daniela Tristancho Pineda (PTA SAS)" userId="a45a17f7-7950-4cb5-bfab-f5c894f959a9" providerId="ADAL" clId="{7E0461DD-625F-4FFD-8EB3-FFF62574CF0B}" dt="2020-10-19T22:23:52.104" v="446" actId="14100"/>
          <ac:picMkLst>
            <pc:docMk/>
            <pc:sldMk cId="1046801049" sldId="288"/>
            <ac:picMk id="105" creationId="{D28A723D-BE5C-4CCD-BB55-26CC0939C143}"/>
          </ac:picMkLst>
        </pc:picChg>
        <pc:picChg chg="mod">
          <ac:chgData name="Mariam Daniela Tristancho Pineda (PTA SAS)" userId="a45a17f7-7950-4cb5-bfab-f5c894f959a9" providerId="ADAL" clId="{7E0461DD-625F-4FFD-8EB3-FFF62574CF0B}" dt="2020-10-19T22:23:52.104" v="446" actId="14100"/>
          <ac:picMkLst>
            <pc:docMk/>
            <pc:sldMk cId="1046801049" sldId="288"/>
            <ac:picMk id="107" creationId="{DDDCB467-82D2-4906-8E14-265CD169797B}"/>
          </ac:picMkLst>
        </pc:picChg>
        <pc:picChg chg="mod">
          <ac:chgData name="Mariam Daniela Tristancho Pineda (PTA SAS)" userId="a45a17f7-7950-4cb5-bfab-f5c894f959a9" providerId="ADAL" clId="{7E0461DD-625F-4FFD-8EB3-FFF62574CF0B}" dt="2020-10-19T22:23:52.104" v="446" actId="14100"/>
          <ac:picMkLst>
            <pc:docMk/>
            <pc:sldMk cId="1046801049" sldId="288"/>
            <ac:picMk id="135" creationId="{4E16E3A8-711F-4172-B56E-43B025F29A3E}"/>
          </ac:picMkLst>
        </pc:picChg>
      </pc:sldChg>
      <pc:sldChg chg="modSp mod">
        <pc:chgData name="Mariam Daniela Tristancho Pineda (PTA SAS)" userId="a45a17f7-7950-4cb5-bfab-f5c894f959a9" providerId="ADAL" clId="{7E0461DD-625F-4FFD-8EB3-FFF62574CF0B}" dt="2020-10-19T22:03:52.888" v="22" actId="114"/>
        <pc:sldMkLst>
          <pc:docMk/>
          <pc:sldMk cId="676461558" sldId="291"/>
        </pc:sldMkLst>
        <pc:spChg chg="mod">
          <ac:chgData name="Mariam Daniela Tristancho Pineda (PTA SAS)" userId="a45a17f7-7950-4cb5-bfab-f5c894f959a9" providerId="ADAL" clId="{7E0461DD-625F-4FFD-8EB3-FFF62574CF0B}" dt="2020-10-19T22:03:52.888" v="22" actId="114"/>
          <ac:spMkLst>
            <pc:docMk/>
            <pc:sldMk cId="676461558" sldId="291"/>
            <ac:spMk id="120" creationId="{D1B62530-57CE-4A21-A7E2-B81C22F47BB8}"/>
          </ac:spMkLst>
        </pc:spChg>
      </pc:sldChg>
      <pc:sldChg chg="modSp mod">
        <pc:chgData name="Mariam Daniela Tristancho Pineda (PTA SAS)" userId="a45a17f7-7950-4cb5-bfab-f5c894f959a9" providerId="ADAL" clId="{7E0461DD-625F-4FFD-8EB3-FFF62574CF0B}" dt="2020-10-19T22:03:49.505" v="21" actId="20577"/>
        <pc:sldMkLst>
          <pc:docMk/>
          <pc:sldMk cId="3639736222" sldId="2134803689"/>
        </pc:sldMkLst>
        <pc:spChg chg="mod">
          <ac:chgData name="Mariam Daniela Tristancho Pineda (PTA SAS)" userId="a45a17f7-7950-4cb5-bfab-f5c894f959a9" providerId="ADAL" clId="{7E0461DD-625F-4FFD-8EB3-FFF62574CF0B}" dt="2020-10-19T22:03:49.505" v="21" actId="20577"/>
          <ac:spMkLst>
            <pc:docMk/>
            <pc:sldMk cId="3639736222" sldId="2134803689"/>
            <ac:spMk id="4" creationId="{4D5F0815-E5B4-4E74-8145-A182522C6A3D}"/>
          </ac:spMkLst>
        </pc:spChg>
      </pc:sldChg>
      <pc:sldChg chg="addSp modSp del mod">
        <pc:chgData name="Mariam Daniela Tristancho Pineda (PTA SAS)" userId="a45a17f7-7950-4cb5-bfab-f5c894f959a9" providerId="ADAL" clId="{7E0461DD-625F-4FFD-8EB3-FFF62574CF0B}" dt="2020-10-20T12:45:07.772" v="456" actId="47"/>
        <pc:sldMkLst>
          <pc:docMk/>
          <pc:sldMk cId="3848763952" sldId="2134803904"/>
        </pc:sldMkLst>
        <pc:spChg chg="add mod">
          <ac:chgData name="Mariam Daniela Tristancho Pineda (PTA SAS)" userId="a45a17f7-7950-4cb5-bfab-f5c894f959a9" providerId="ADAL" clId="{7E0461DD-625F-4FFD-8EB3-FFF62574CF0B}" dt="2020-10-19T22:04:15.943" v="36" actId="1076"/>
          <ac:spMkLst>
            <pc:docMk/>
            <pc:sldMk cId="3848763952" sldId="2134803904"/>
            <ac:spMk id="2" creationId="{009B7576-F563-4C71-A314-38111E5C933F}"/>
          </ac:spMkLst>
        </pc:spChg>
      </pc:sldChg>
      <pc:sldChg chg="del">
        <pc:chgData name="Mariam Daniela Tristancho Pineda (PTA SAS)" userId="a45a17f7-7950-4cb5-bfab-f5c894f959a9" providerId="ADAL" clId="{7E0461DD-625F-4FFD-8EB3-FFF62574CF0B}" dt="2020-10-20T12:45:05.838" v="453" actId="47"/>
        <pc:sldMkLst>
          <pc:docMk/>
          <pc:sldMk cId="1040105421" sldId="2134804100"/>
        </pc:sldMkLst>
      </pc:sldChg>
      <pc:sldChg chg="add del">
        <pc:chgData name="Mariam Daniela Tristancho Pineda (PTA SAS)" userId="a45a17f7-7950-4cb5-bfab-f5c894f959a9" providerId="ADAL" clId="{7E0461DD-625F-4FFD-8EB3-FFF62574CF0B}" dt="2020-10-20T12:45:01.846" v="452"/>
        <pc:sldMkLst>
          <pc:docMk/>
          <pc:sldMk cId="1072953454" sldId="2134804124"/>
        </pc:sldMkLst>
      </pc:sldChg>
      <pc:sldChg chg="del">
        <pc:chgData name="Mariam Daniela Tristancho Pineda (PTA SAS)" userId="a45a17f7-7950-4cb5-bfab-f5c894f959a9" providerId="ADAL" clId="{7E0461DD-625F-4FFD-8EB3-FFF62574CF0B}" dt="2020-10-20T12:45:07.255" v="455" actId="47"/>
        <pc:sldMkLst>
          <pc:docMk/>
          <pc:sldMk cId="3258791362" sldId="2134804198"/>
        </pc:sldMkLst>
      </pc:sldChg>
      <pc:sldChg chg="add del">
        <pc:chgData name="Mariam Daniela Tristancho Pineda (PTA SAS)" userId="a45a17f7-7950-4cb5-bfab-f5c894f959a9" providerId="ADAL" clId="{7E0461DD-625F-4FFD-8EB3-FFF62574CF0B}" dt="2020-10-20T12:45:01.846" v="452"/>
        <pc:sldMkLst>
          <pc:docMk/>
          <pc:sldMk cId="3710465496" sldId="2134804241"/>
        </pc:sldMkLst>
      </pc:sldChg>
      <pc:sldChg chg="add del">
        <pc:chgData name="Mariam Daniela Tristancho Pineda (PTA SAS)" userId="a45a17f7-7950-4cb5-bfab-f5c894f959a9" providerId="ADAL" clId="{7E0461DD-625F-4FFD-8EB3-FFF62574CF0B}" dt="2020-10-20T12:45:01.846" v="452"/>
        <pc:sldMkLst>
          <pc:docMk/>
          <pc:sldMk cId="1120597878" sldId="2134804243"/>
        </pc:sldMkLst>
      </pc:sldChg>
      <pc:sldChg chg="add del">
        <pc:chgData name="Mariam Daniela Tristancho Pineda (PTA SAS)" userId="a45a17f7-7950-4cb5-bfab-f5c894f959a9" providerId="ADAL" clId="{7E0461DD-625F-4FFD-8EB3-FFF62574CF0B}" dt="2020-10-20T12:45:01.846" v="452"/>
        <pc:sldMkLst>
          <pc:docMk/>
          <pc:sldMk cId="1810729596" sldId="2134804244"/>
        </pc:sldMkLst>
      </pc:sldChg>
      <pc:sldChg chg="addSp delSp modSp add mod">
        <pc:chgData name="Mariam Daniela Tristancho Pineda (PTA SAS)" userId="a45a17f7-7950-4cb5-bfab-f5c894f959a9" providerId="ADAL" clId="{7E0461DD-625F-4FFD-8EB3-FFF62574CF0B}" dt="2020-10-19T22:24:35.855" v="449" actId="403"/>
        <pc:sldMkLst>
          <pc:docMk/>
          <pc:sldMk cId="685398324" sldId="2134804277"/>
        </pc:sldMkLst>
        <pc:spChg chg="add mod">
          <ac:chgData name="Mariam Daniela Tristancho Pineda (PTA SAS)" userId="a45a17f7-7950-4cb5-bfab-f5c894f959a9" providerId="ADAL" clId="{7E0461DD-625F-4FFD-8EB3-FFF62574CF0B}" dt="2020-10-19T22:24:35.855" v="449" actId="403"/>
          <ac:spMkLst>
            <pc:docMk/>
            <pc:sldMk cId="685398324" sldId="2134804277"/>
            <ac:spMk id="2" creationId="{9D9E597F-A0E4-4678-B725-3E9102EA2CF7}"/>
          </ac:spMkLst>
        </pc:spChg>
        <pc:spChg chg="mod">
          <ac:chgData name="Mariam Daniela Tristancho Pineda (PTA SAS)" userId="a45a17f7-7950-4cb5-bfab-f5c894f959a9" providerId="ADAL" clId="{7E0461DD-625F-4FFD-8EB3-FFF62574CF0B}" dt="2020-10-19T22:12:15.616" v="321" actId="1037"/>
          <ac:spMkLst>
            <pc:docMk/>
            <pc:sldMk cId="685398324" sldId="2134804277"/>
            <ac:spMk id="6" creationId="{6F097E8B-274A-49AC-8761-8119E3C5B68F}"/>
          </ac:spMkLst>
        </pc:spChg>
        <pc:spChg chg="mod">
          <ac:chgData name="Mariam Daniela Tristancho Pineda (PTA SAS)" userId="a45a17f7-7950-4cb5-bfab-f5c894f959a9" providerId="ADAL" clId="{7E0461DD-625F-4FFD-8EB3-FFF62574CF0B}" dt="2020-10-19T22:12:15.616" v="321" actId="1037"/>
          <ac:spMkLst>
            <pc:docMk/>
            <pc:sldMk cId="685398324" sldId="2134804277"/>
            <ac:spMk id="40" creationId="{2631D492-951C-4EB3-926A-C7A33457A10A}"/>
          </ac:spMkLst>
        </pc:spChg>
        <pc:spChg chg="mod">
          <ac:chgData name="Mariam Daniela Tristancho Pineda (PTA SAS)" userId="a45a17f7-7950-4cb5-bfab-f5c894f959a9" providerId="ADAL" clId="{7E0461DD-625F-4FFD-8EB3-FFF62574CF0B}" dt="2020-10-19T22:10:12.782" v="228" actId="14100"/>
          <ac:spMkLst>
            <pc:docMk/>
            <pc:sldMk cId="685398324" sldId="2134804277"/>
            <ac:spMk id="51" creationId="{D1BBB9FD-BBB2-4DBE-B91B-1ABE54C48C86}"/>
          </ac:spMkLst>
        </pc:spChg>
        <pc:spChg chg="mod">
          <ac:chgData name="Mariam Daniela Tristancho Pineda (PTA SAS)" userId="a45a17f7-7950-4cb5-bfab-f5c894f959a9" providerId="ADAL" clId="{7E0461DD-625F-4FFD-8EB3-FFF62574CF0B}" dt="2020-10-19T22:10:18.175" v="230" actId="1076"/>
          <ac:spMkLst>
            <pc:docMk/>
            <pc:sldMk cId="685398324" sldId="2134804277"/>
            <ac:spMk id="52" creationId="{7B36949A-E22B-4AD5-9F62-88623E4F7646}"/>
          </ac:spMkLst>
        </pc:spChg>
        <pc:spChg chg="del">
          <ac:chgData name="Mariam Daniela Tristancho Pineda (PTA SAS)" userId="a45a17f7-7950-4cb5-bfab-f5c894f959a9" providerId="ADAL" clId="{7E0461DD-625F-4FFD-8EB3-FFF62574CF0B}" dt="2020-10-19T22:05:41.196" v="65" actId="478"/>
          <ac:spMkLst>
            <pc:docMk/>
            <pc:sldMk cId="685398324" sldId="2134804277"/>
            <ac:spMk id="53" creationId="{F9C857D3-C5F6-4D00-8D9C-646D1DA60918}"/>
          </ac:spMkLst>
        </pc:spChg>
        <pc:spChg chg="del">
          <ac:chgData name="Mariam Daniela Tristancho Pineda (PTA SAS)" userId="a45a17f7-7950-4cb5-bfab-f5c894f959a9" providerId="ADAL" clId="{7E0461DD-625F-4FFD-8EB3-FFF62574CF0B}" dt="2020-10-19T22:12:22.837" v="322" actId="478"/>
          <ac:spMkLst>
            <pc:docMk/>
            <pc:sldMk cId="685398324" sldId="2134804277"/>
            <ac:spMk id="54" creationId="{C38A9719-1AF0-4D7F-AF9E-714FBC133573}"/>
          </ac:spMkLst>
        </pc:spChg>
        <pc:spChg chg="mod">
          <ac:chgData name="Mariam Daniela Tristancho Pineda (PTA SAS)" userId="a45a17f7-7950-4cb5-bfab-f5c894f959a9" providerId="ADAL" clId="{7E0461DD-625F-4FFD-8EB3-FFF62574CF0B}" dt="2020-10-19T22:12:46.768" v="328" actId="1037"/>
          <ac:spMkLst>
            <pc:docMk/>
            <pc:sldMk cId="685398324" sldId="2134804277"/>
            <ac:spMk id="74" creationId="{B33AE336-9430-49D7-A74B-E3F446F53353}"/>
          </ac:spMkLst>
        </pc:spChg>
        <pc:spChg chg="mod">
          <ac:chgData name="Mariam Daniela Tristancho Pineda (PTA SAS)" userId="a45a17f7-7950-4cb5-bfab-f5c894f959a9" providerId="ADAL" clId="{7E0461DD-625F-4FFD-8EB3-FFF62574CF0B}" dt="2020-10-19T22:12:15.616" v="321" actId="1037"/>
          <ac:spMkLst>
            <pc:docMk/>
            <pc:sldMk cId="685398324" sldId="2134804277"/>
            <ac:spMk id="75" creationId="{10CA6977-1DFC-403C-A45F-5C7F8E4CD4C3}"/>
          </ac:spMkLst>
        </pc:spChg>
        <pc:spChg chg="mod">
          <ac:chgData name="Mariam Daniela Tristancho Pineda (PTA SAS)" userId="a45a17f7-7950-4cb5-bfab-f5c894f959a9" providerId="ADAL" clId="{7E0461DD-625F-4FFD-8EB3-FFF62574CF0B}" dt="2020-10-19T22:12:51.519" v="329" actId="1037"/>
          <ac:spMkLst>
            <pc:docMk/>
            <pc:sldMk cId="685398324" sldId="2134804277"/>
            <ac:spMk id="76" creationId="{F6C39026-16E8-46B2-BBB2-C363EF966425}"/>
          </ac:spMkLst>
        </pc:spChg>
        <pc:spChg chg="mod">
          <ac:chgData name="Mariam Daniela Tristancho Pineda (PTA SAS)" userId="a45a17f7-7950-4cb5-bfab-f5c894f959a9" providerId="ADAL" clId="{7E0461DD-625F-4FFD-8EB3-FFF62574CF0B}" dt="2020-10-19T22:10:33.876" v="263" actId="1038"/>
          <ac:spMkLst>
            <pc:docMk/>
            <pc:sldMk cId="685398324" sldId="2134804277"/>
            <ac:spMk id="77" creationId="{250DDC32-7399-472D-8369-461782ED2483}"/>
          </ac:spMkLst>
        </pc:spChg>
        <pc:spChg chg="mod">
          <ac:chgData name="Mariam Daniela Tristancho Pineda (PTA SAS)" userId="a45a17f7-7950-4cb5-bfab-f5c894f959a9" providerId="ADAL" clId="{7E0461DD-625F-4FFD-8EB3-FFF62574CF0B}" dt="2020-10-19T22:10:15.094" v="229" actId="1076"/>
          <ac:spMkLst>
            <pc:docMk/>
            <pc:sldMk cId="685398324" sldId="2134804277"/>
            <ac:spMk id="78" creationId="{9207C83B-D9D1-4EF5-A6BA-47A0F83FCE5C}"/>
          </ac:spMkLst>
        </pc:spChg>
        <pc:spChg chg="mod">
          <ac:chgData name="Mariam Daniela Tristancho Pineda (PTA SAS)" userId="a45a17f7-7950-4cb5-bfab-f5c894f959a9" providerId="ADAL" clId="{7E0461DD-625F-4FFD-8EB3-FFF62574CF0B}" dt="2020-10-19T22:12:46.768" v="328" actId="1037"/>
          <ac:spMkLst>
            <pc:docMk/>
            <pc:sldMk cId="685398324" sldId="2134804277"/>
            <ac:spMk id="80" creationId="{EECEA763-7F2B-4DAF-B4D2-08130142AA14}"/>
          </ac:spMkLst>
        </pc:spChg>
        <pc:spChg chg="mod">
          <ac:chgData name="Mariam Daniela Tristancho Pineda (PTA SAS)" userId="a45a17f7-7950-4cb5-bfab-f5c894f959a9" providerId="ADAL" clId="{7E0461DD-625F-4FFD-8EB3-FFF62574CF0B}" dt="2020-10-19T22:12:15.616" v="321" actId="1037"/>
          <ac:spMkLst>
            <pc:docMk/>
            <pc:sldMk cId="685398324" sldId="2134804277"/>
            <ac:spMk id="81" creationId="{C631E4FA-DE7B-421C-942A-141780DC78A4}"/>
          </ac:spMkLst>
        </pc:spChg>
        <pc:spChg chg="mod">
          <ac:chgData name="Mariam Daniela Tristancho Pineda (PTA SAS)" userId="a45a17f7-7950-4cb5-bfab-f5c894f959a9" providerId="ADAL" clId="{7E0461DD-625F-4FFD-8EB3-FFF62574CF0B}" dt="2020-10-19T22:12:15.616" v="321" actId="1037"/>
          <ac:spMkLst>
            <pc:docMk/>
            <pc:sldMk cId="685398324" sldId="2134804277"/>
            <ac:spMk id="82" creationId="{A365855A-28E1-4840-82FA-0C3F7779753F}"/>
          </ac:spMkLst>
        </pc:spChg>
        <pc:spChg chg="mod">
          <ac:chgData name="Mariam Daniela Tristancho Pineda (PTA SAS)" userId="a45a17f7-7950-4cb5-bfab-f5c894f959a9" providerId="ADAL" clId="{7E0461DD-625F-4FFD-8EB3-FFF62574CF0B}" dt="2020-10-19T22:12:51.519" v="329" actId="1037"/>
          <ac:spMkLst>
            <pc:docMk/>
            <pc:sldMk cId="685398324" sldId="2134804277"/>
            <ac:spMk id="96" creationId="{1DFEF71A-A80A-4597-AAC9-DB256058084B}"/>
          </ac:spMkLst>
        </pc:spChg>
        <pc:spChg chg="mod">
          <ac:chgData name="Mariam Daniela Tristancho Pineda (PTA SAS)" userId="a45a17f7-7950-4cb5-bfab-f5c894f959a9" providerId="ADAL" clId="{7E0461DD-625F-4FFD-8EB3-FFF62574CF0B}" dt="2020-10-19T22:11:42.360" v="272" actId="14100"/>
          <ac:spMkLst>
            <pc:docMk/>
            <pc:sldMk cId="685398324" sldId="2134804277"/>
            <ac:spMk id="99" creationId="{90CC82AC-D82E-4F89-AC67-093894759099}"/>
          </ac:spMkLst>
        </pc:spChg>
        <pc:spChg chg="mod">
          <ac:chgData name="Mariam Daniela Tristancho Pineda (PTA SAS)" userId="a45a17f7-7950-4cb5-bfab-f5c894f959a9" providerId="ADAL" clId="{7E0461DD-625F-4FFD-8EB3-FFF62574CF0B}" dt="2020-10-19T22:12:15.616" v="321" actId="1037"/>
          <ac:spMkLst>
            <pc:docMk/>
            <pc:sldMk cId="685398324" sldId="2134804277"/>
            <ac:spMk id="100" creationId="{1835F856-5B59-4AFF-86DE-2F0968B76CF7}"/>
          </ac:spMkLst>
        </pc:spChg>
        <pc:spChg chg="mod">
          <ac:chgData name="Mariam Daniela Tristancho Pineda (PTA SAS)" userId="a45a17f7-7950-4cb5-bfab-f5c894f959a9" providerId="ADAL" clId="{7E0461DD-625F-4FFD-8EB3-FFF62574CF0B}" dt="2020-10-19T22:12:46.768" v="328" actId="1037"/>
          <ac:spMkLst>
            <pc:docMk/>
            <pc:sldMk cId="685398324" sldId="2134804277"/>
            <ac:spMk id="102" creationId="{101F3273-AA10-47F1-9872-07AD50130DF5}"/>
          </ac:spMkLst>
        </pc:spChg>
        <pc:spChg chg="mod">
          <ac:chgData name="Mariam Daniela Tristancho Pineda (PTA SAS)" userId="a45a17f7-7950-4cb5-bfab-f5c894f959a9" providerId="ADAL" clId="{7E0461DD-625F-4FFD-8EB3-FFF62574CF0B}" dt="2020-10-19T22:10:12.782" v="228" actId="14100"/>
          <ac:spMkLst>
            <pc:docMk/>
            <pc:sldMk cId="685398324" sldId="2134804277"/>
            <ac:spMk id="103" creationId="{BDBCDC72-F935-45A4-AE31-C045019965AF}"/>
          </ac:spMkLst>
        </pc:spChg>
        <pc:spChg chg="mod">
          <ac:chgData name="Mariam Daniela Tristancho Pineda (PTA SAS)" userId="a45a17f7-7950-4cb5-bfab-f5c894f959a9" providerId="ADAL" clId="{7E0461DD-625F-4FFD-8EB3-FFF62574CF0B}" dt="2020-10-19T22:11:45.465" v="280" actId="1038"/>
          <ac:spMkLst>
            <pc:docMk/>
            <pc:sldMk cId="685398324" sldId="2134804277"/>
            <ac:spMk id="104" creationId="{0326A105-08B6-409E-9596-07BD7645DEAE}"/>
          </ac:spMkLst>
        </pc:spChg>
        <pc:spChg chg="mod">
          <ac:chgData name="Mariam Daniela Tristancho Pineda (PTA SAS)" userId="a45a17f7-7950-4cb5-bfab-f5c894f959a9" providerId="ADAL" clId="{7E0461DD-625F-4FFD-8EB3-FFF62574CF0B}" dt="2020-10-19T22:12:15.616" v="321" actId="1037"/>
          <ac:spMkLst>
            <pc:docMk/>
            <pc:sldMk cId="685398324" sldId="2134804277"/>
            <ac:spMk id="105" creationId="{DC633C75-4D21-4E37-ABEB-B69D06C0A224}"/>
          </ac:spMkLst>
        </pc:spChg>
        <pc:spChg chg="mod">
          <ac:chgData name="Mariam Daniela Tristancho Pineda (PTA SAS)" userId="a45a17f7-7950-4cb5-bfab-f5c894f959a9" providerId="ADAL" clId="{7E0461DD-625F-4FFD-8EB3-FFF62574CF0B}" dt="2020-10-19T22:12:46.768" v="328" actId="1037"/>
          <ac:spMkLst>
            <pc:docMk/>
            <pc:sldMk cId="685398324" sldId="2134804277"/>
            <ac:spMk id="106" creationId="{8BF155F6-9EE4-4410-BB22-DEE4B18E9FEF}"/>
          </ac:spMkLst>
        </pc:spChg>
        <pc:spChg chg="mod">
          <ac:chgData name="Mariam Daniela Tristancho Pineda (PTA SAS)" userId="a45a17f7-7950-4cb5-bfab-f5c894f959a9" providerId="ADAL" clId="{7E0461DD-625F-4FFD-8EB3-FFF62574CF0B}" dt="2020-10-19T22:10:23.366" v="247" actId="1037"/>
          <ac:spMkLst>
            <pc:docMk/>
            <pc:sldMk cId="685398324" sldId="2134804277"/>
            <ac:spMk id="108" creationId="{E7417F2C-4445-4433-AA31-1B1D9A1C89B3}"/>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13" creationId="{441FAA60-63AD-4CC5-AD45-5D9BA9F5B68B}"/>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14" creationId="{D4928E43-184C-4F89-A5DB-B6007137710D}"/>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15" creationId="{E26055A8-02B1-4ECA-9E20-4089928DF9EB}"/>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16" creationId="{879B225E-11CB-48BD-B073-6718F5FD2747}"/>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21" creationId="{B090BFCE-20D4-4C2E-AB13-0B67385FA7AD}"/>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22" creationId="{86903DE0-ADCA-4DC8-9E6D-E9AED1F442A0}"/>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23" creationId="{EA803C8F-BBB1-4354-90E8-720062F397E0}"/>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24" creationId="{E0A25213-98A0-4D9C-B905-69EC0D854861}"/>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25" creationId="{6EEE8AFC-471F-4452-9936-7BAF0D8C6B67}"/>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26" creationId="{B3717873-697F-451F-BA49-9F0AB4550A45}"/>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27" creationId="{21108AA1-2B9D-4188-BBCC-74BBBE9302C7}"/>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28" creationId="{DCF3D11F-3DD2-486A-8119-9C38A5A436D5}"/>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29" creationId="{AF127B43-599C-4DF7-9C76-8EFCDD84F269}"/>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30" creationId="{4EFB3025-4C2C-44FD-B2C8-39B360082221}"/>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31" creationId="{865EADF7-6A89-4769-AC5C-AA4FA77A6660}"/>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32" creationId="{FC03C305-04BA-46AF-B7D7-D94598B2FE83}"/>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33" creationId="{310CB3A5-C87B-4760-B9D3-E7FEB278DACA}"/>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34" creationId="{B2D44EE1-B15C-4463-8E05-2A1954C1E647}"/>
          </ac:spMkLst>
        </pc:spChg>
        <pc:spChg chg="mod">
          <ac:chgData name="Mariam Daniela Tristancho Pineda (PTA SAS)" userId="a45a17f7-7950-4cb5-bfab-f5c894f959a9" providerId="ADAL" clId="{7E0461DD-625F-4FFD-8EB3-FFF62574CF0B}" dt="2020-10-19T22:11:42.360" v="272" actId="14100"/>
          <ac:spMkLst>
            <pc:docMk/>
            <pc:sldMk cId="685398324" sldId="2134804277"/>
            <ac:spMk id="141" creationId="{6DFBB2A7-5F2D-4D91-9156-98CB032BD858}"/>
          </ac:spMkLst>
        </pc:spChg>
        <pc:spChg chg="mod">
          <ac:chgData name="Mariam Daniela Tristancho Pineda (PTA SAS)" userId="a45a17f7-7950-4cb5-bfab-f5c894f959a9" providerId="ADAL" clId="{7E0461DD-625F-4FFD-8EB3-FFF62574CF0B}" dt="2020-10-19T22:12:51.519" v="329" actId="1037"/>
          <ac:spMkLst>
            <pc:docMk/>
            <pc:sldMk cId="685398324" sldId="2134804277"/>
            <ac:spMk id="142" creationId="{9660C67C-C249-4C29-87B1-2E22B67DE74F}"/>
          </ac:spMkLst>
        </pc:spChg>
        <pc:spChg chg="mod">
          <ac:chgData name="Mariam Daniela Tristancho Pineda (PTA SAS)" userId="a45a17f7-7950-4cb5-bfab-f5c894f959a9" providerId="ADAL" clId="{7E0461DD-625F-4FFD-8EB3-FFF62574CF0B}" dt="2020-10-19T22:12:15.616" v="321" actId="1037"/>
          <ac:spMkLst>
            <pc:docMk/>
            <pc:sldMk cId="685398324" sldId="2134804277"/>
            <ac:spMk id="144" creationId="{25AF8D90-7CF9-4004-AFE7-8FD9BCD562C6}"/>
          </ac:spMkLst>
        </pc:spChg>
        <pc:spChg chg="mod">
          <ac:chgData name="Mariam Daniela Tristancho Pineda (PTA SAS)" userId="a45a17f7-7950-4cb5-bfab-f5c894f959a9" providerId="ADAL" clId="{7E0461DD-625F-4FFD-8EB3-FFF62574CF0B}" dt="2020-10-19T22:12:15.616" v="321" actId="1037"/>
          <ac:spMkLst>
            <pc:docMk/>
            <pc:sldMk cId="685398324" sldId="2134804277"/>
            <ac:spMk id="145" creationId="{1FACAF7C-6304-4959-827F-E5EC80E0E805}"/>
          </ac:spMkLst>
        </pc:spChg>
        <pc:spChg chg="mod">
          <ac:chgData name="Mariam Daniela Tristancho Pineda (PTA SAS)" userId="a45a17f7-7950-4cb5-bfab-f5c894f959a9" providerId="ADAL" clId="{7E0461DD-625F-4FFD-8EB3-FFF62574CF0B}" dt="2020-10-19T22:12:46.768" v="328" actId="1037"/>
          <ac:spMkLst>
            <pc:docMk/>
            <pc:sldMk cId="685398324" sldId="2134804277"/>
            <ac:spMk id="146" creationId="{D86974CC-32BF-439F-A6E2-D1E82520294D}"/>
          </ac:spMkLst>
        </pc:spChg>
        <pc:spChg chg="mod">
          <ac:chgData name="Mariam Daniela Tristancho Pineda (PTA SAS)" userId="a45a17f7-7950-4cb5-bfab-f5c894f959a9" providerId="ADAL" clId="{7E0461DD-625F-4FFD-8EB3-FFF62574CF0B}" dt="2020-10-19T22:12:46.768" v="328" actId="1037"/>
          <ac:spMkLst>
            <pc:docMk/>
            <pc:sldMk cId="685398324" sldId="2134804277"/>
            <ac:spMk id="147" creationId="{58F0CDC2-9414-439E-A3CB-C4B6F7ADCE1B}"/>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49" creationId="{7DD301E2-FD8B-473E-AC06-7B1BEE6BC359}"/>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51" creationId="{6759F741-D2BA-47AD-9BE9-B5F911C114F3}"/>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54" creationId="{7CCA0A5A-A0E7-4CFD-87B3-1917D7D6D482}"/>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55" creationId="{35F89E97-6F48-4EEF-A953-195B7A0A5828}"/>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57" creationId="{1F1CC25B-2BA4-4BD5-BA03-F2FA6AE36939}"/>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65" creationId="{5ECB6BAB-01A4-4031-AFF5-666CA1F7C303}"/>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66" creationId="{D622807D-0029-496D-9FF0-3E3E825043ED}"/>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67" creationId="{775B6AE0-CB44-4723-A497-8EAECD1943BD}"/>
          </ac:spMkLst>
        </pc:spChg>
        <pc:spChg chg="mod">
          <ac:chgData name="Mariam Daniela Tristancho Pineda (PTA SAS)" userId="a45a17f7-7950-4cb5-bfab-f5c894f959a9" providerId="ADAL" clId="{7E0461DD-625F-4FFD-8EB3-FFF62574CF0B}" dt="2020-10-19T22:12:59.150" v="330" actId="1076"/>
          <ac:spMkLst>
            <pc:docMk/>
            <pc:sldMk cId="685398324" sldId="2134804277"/>
            <ac:spMk id="168" creationId="{27CE3CF4-8552-4668-8C92-72492F9C7EDE}"/>
          </ac:spMkLst>
        </pc:spChg>
        <pc:spChg chg="mod">
          <ac:chgData name="Mariam Daniela Tristancho Pineda (PTA SAS)" userId="a45a17f7-7950-4cb5-bfab-f5c894f959a9" providerId="ADAL" clId="{7E0461DD-625F-4FFD-8EB3-FFF62574CF0B}" dt="2020-10-19T22:12:51.519" v="329" actId="1037"/>
          <ac:spMkLst>
            <pc:docMk/>
            <pc:sldMk cId="685398324" sldId="2134804277"/>
            <ac:spMk id="176" creationId="{B0F58865-93CC-435C-AAD7-8207773D551B}"/>
          </ac:spMkLst>
        </pc:spChg>
      </pc:sldChg>
      <pc:sldChg chg="addSp delSp modSp add mod">
        <pc:chgData name="Mariam Daniela Tristancho Pineda (PTA SAS)" userId="a45a17f7-7950-4cb5-bfab-f5c894f959a9" providerId="ADAL" clId="{7E0461DD-625F-4FFD-8EB3-FFF62574CF0B}" dt="2020-10-19T22:22:39.819" v="427" actId="1037"/>
        <pc:sldMkLst>
          <pc:docMk/>
          <pc:sldMk cId="3831308622" sldId="2134804279"/>
        </pc:sldMkLst>
        <pc:spChg chg="mod">
          <ac:chgData name="Mariam Daniela Tristancho Pineda (PTA SAS)" userId="a45a17f7-7950-4cb5-bfab-f5c894f959a9" providerId="ADAL" clId="{7E0461DD-625F-4FFD-8EB3-FFF62574CF0B}" dt="2020-10-19T22:16:14.616" v="421" actId="1076"/>
          <ac:spMkLst>
            <pc:docMk/>
            <pc:sldMk cId="3831308622" sldId="2134804279"/>
            <ac:spMk id="3" creationId="{E0EBDA24-5DF4-4E0C-BF25-069E22B9B239}"/>
          </ac:spMkLst>
        </pc:spChg>
        <pc:spChg chg="add mod">
          <ac:chgData name="Mariam Daniela Tristancho Pineda (PTA SAS)" userId="a45a17f7-7950-4cb5-bfab-f5c894f959a9" providerId="ADAL" clId="{7E0461DD-625F-4FFD-8EB3-FFF62574CF0B}" dt="2020-10-19T22:22:39.819" v="427" actId="1037"/>
          <ac:spMkLst>
            <pc:docMk/>
            <pc:sldMk cId="3831308622" sldId="2134804279"/>
            <ac:spMk id="6" creationId="{76750B43-B56D-4350-8519-11EF5FE0EE13}"/>
          </ac:spMkLst>
        </pc:spChg>
        <pc:spChg chg="mod">
          <ac:chgData name="Mariam Daniela Tristancho Pineda (PTA SAS)" userId="a45a17f7-7950-4cb5-bfab-f5c894f959a9" providerId="ADAL" clId="{7E0461DD-625F-4FFD-8EB3-FFF62574CF0B}" dt="2020-10-19T22:15:44.321" v="383" actId="20577"/>
          <ac:spMkLst>
            <pc:docMk/>
            <pc:sldMk cId="3831308622" sldId="2134804279"/>
            <ac:spMk id="8" creationId="{E1D3488A-08B6-49AA-A393-579F2EBB08DA}"/>
          </ac:spMkLst>
        </pc:spChg>
        <pc:spChg chg="mod">
          <ac:chgData name="Mariam Daniela Tristancho Pineda (PTA SAS)" userId="a45a17f7-7950-4cb5-bfab-f5c894f959a9" providerId="ADAL" clId="{7E0461DD-625F-4FFD-8EB3-FFF62574CF0B}" dt="2020-10-19T22:15:38.945" v="380" actId="208"/>
          <ac:spMkLst>
            <pc:docMk/>
            <pc:sldMk cId="3831308622" sldId="2134804279"/>
            <ac:spMk id="14" creationId="{B16B2FAC-B20E-4A14-9B33-3B759C960A1E}"/>
          </ac:spMkLst>
        </pc:spChg>
        <pc:spChg chg="mod">
          <ac:chgData name="Mariam Daniela Tristancho Pineda (PTA SAS)" userId="a45a17f7-7950-4cb5-bfab-f5c894f959a9" providerId="ADAL" clId="{7E0461DD-625F-4FFD-8EB3-FFF62574CF0B}" dt="2020-10-19T22:15:26.014" v="379" actId="1076"/>
          <ac:spMkLst>
            <pc:docMk/>
            <pc:sldMk cId="3831308622" sldId="2134804279"/>
            <ac:spMk id="29" creationId="{5E8189E1-D7BC-4F4A-993D-EDC8B0EBCF1A}"/>
          </ac:spMkLst>
        </pc:spChg>
        <pc:spChg chg="mod">
          <ac:chgData name="Mariam Daniela Tristancho Pineda (PTA SAS)" userId="a45a17f7-7950-4cb5-bfab-f5c894f959a9" providerId="ADAL" clId="{7E0461DD-625F-4FFD-8EB3-FFF62574CF0B}" dt="2020-10-19T22:14:38.183" v="368" actId="14100"/>
          <ac:spMkLst>
            <pc:docMk/>
            <pc:sldMk cId="3831308622" sldId="2134804279"/>
            <ac:spMk id="46" creationId="{CB6AFB7A-C476-49E9-BE23-34092A48E218}"/>
          </ac:spMkLst>
        </pc:spChg>
        <pc:spChg chg="del">
          <ac:chgData name="Mariam Daniela Tristancho Pineda (PTA SAS)" userId="a45a17f7-7950-4cb5-bfab-f5c894f959a9" providerId="ADAL" clId="{7E0461DD-625F-4FFD-8EB3-FFF62574CF0B}" dt="2020-10-19T22:15:57.643" v="386" actId="478"/>
          <ac:spMkLst>
            <pc:docMk/>
            <pc:sldMk cId="3831308622" sldId="2134804279"/>
            <ac:spMk id="53" creationId="{F9C857D3-C5F6-4D00-8D9C-646D1DA60918}"/>
          </ac:spMkLst>
        </pc:spChg>
        <pc:spChg chg="mod">
          <ac:chgData name="Mariam Daniela Tristancho Pineda (PTA SAS)" userId="a45a17f7-7950-4cb5-bfab-f5c894f959a9" providerId="ADAL" clId="{7E0461DD-625F-4FFD-8EB3-FFF62574CF0B}" dt="2020-10-19T22:15:38.945" v="380" actId="208"/>
          <ac:spMkLst>
            <pc:docMk/>
            <pc:sldMk cId="3831308622" sldId="2134804279"/>
            <ac:spMk id="57" creationId="{847A2F3C-9402-4AD0-BF56-28ABDAE59259}"/>
          </ac:spMkLst>
        </pc:spChg>
        <pc:spChg chg="mod">
          <ac:chgData name="Mariam Daniela Tristancho Pineda (PTA SAS)" userId="a45a17f7-7950-4cb5-bfab-f5c894f959a9" providerId="ADAL" clId="{7E0461DD-625F-4FFD-8EB3-FFF62574CF0B}" dt="2020-10-19T22:15:38.945" v="380" actId="208"/>
          <ac:spMkLst>
            <pc:docMk/>
            <pc:sldMk cId="3831308622" sldId="2134804279"/>
            <ac:spMk id="58" creationId="{DAC27579-E9C2-4134-9476-72F607D7F944}"/>
          </ac:spMkLst>
        </pc:spChg>
        <pc:picChg chg="mod">
          <ac:chgData name="Mariam Daniela Tristancho Pineda (PTA SAS)" userId="a45a17f7-7950-4cb5-bfab-f5c894f959a9" providerId="ADAL" clId="{7E0461DD-625F-4FFD-8EB3-FFF62574CF0B}" dt="2020-10-19T22:15:50.616" v="385" actId="1076"/>
          <ac:picMkLst>
            <pc:docMk/>
            <pc:sldMk cId="3831308622" sldId="2134804279"/>
            <ac:picMk id="17" creationId="{53408C8D-C286-4C5B-8116-FF2B292DBE06}"/>
          </ac:picMkLst>
        </pc:picChg>
        <pc:picChg chg="mod">
          <ac:chgData name="Mariam Daniela Tristancho Pineda (PTA SAS)" userId="a45a17f7-7950-4cb5-bfab-f5c894f959a9" providerId="ADAL" clId="{7E0461DD-625F-4FFD-8EB3-FFF62574CF0B}" dt="2020-10-19T22:15:48.141" v="384" actId="1076"/>
          <ac:picMkLst>
            <pc:docMk/>
            <pc:sldMk cId="3831308622" sldId="2134804279"/>
            <ac:picMk id="18" creationId="{CFB0A51A-883E-4269-9A8D-DD4D063D8711}"/>
          </ac:picMkLst>
        </pc:picChg>
      </pc:sldChg>
      <pc:sldChg chg="del">
        <pc:chgData name="Mariam Daniela Tristancho Pineda (PTA SAS)" userId="a45a17f7-7950-4cb5-bfab-f5c894f959a9" providerId="ADAL" clId="{7E0461DD-625F-4FFD-8EB3-FFF62574CF0B}" dt="2020-10-19T22:05:39.218" v="64" actId="47"/>
        <pc:sldMkLst>
          <pc:docMk/>
          <pc:sldMk cId="838099151" sldId="2134804292"/>
        </pc:sldMkLst>
      </pc:sldChg>
      <pc:sldChg chg="del">
        <pc:chgData name="Mariam Daniela Tristancho Pineda (PTA SAS)" userId="a45a17f7-7950-4cb5-bfab-f5c894f959a9" providerId="ADAL" clId="{7E0461DD-625F-4FFD-8EB3-FFF62574CF0B}" dt="2020-10-19T22:13:35.913" v="332" actId="47"/>
        <pc:sldMkLst>
          <pc:docMk/>
          <pc:sldMk cId="1822149763" sldId="2134804293"/>
        </pc:sldMkLst>
      </pc:sldChg>
      <pc:sldChg chg="addSp delSp modSp add mod">
        <pc:chgData name="Mariam Daniela Tristancho Pineda (PTA SAS)" userId="a45a17f7-7950-4cb5-bfab-f5c894f959a9" providerId="ADAL" clId="{7E0461DD-625F-4FFD-8EB3-FFF62574CF0B}" dt="2020-10-20T14:37:12.739" v="494" actId="1076"/>
        <pc:sldMkLst>
          <pc:docMk/>
          <pc:sldMk cId="689766239" sldId="2134804294"/>
        </pc:sldMkLst>
        <pc:spChg chg="mod">
          <ac:chgData name="Mariam Daniela Tristancho Pineda (PTA SAS)" userId="a45a17f7-7950-4cb5-bfab-f5c894f959a9" providerId="ADAL" clId="{7E0461DD-625F-4FFD-8EB3-FFF62574CF0B}" dt="2020-10-19T22:08:52.263" v="180" actId="12789"/>
          <ac:spMkLst>
            <pc:docMk/>
            <pc:sldMk cId="689766239" sldId="2134804294"/>
            <ac:spMk id="3" creationId="{815B10B7-60B3-4C63-8431-70CC556387C9}"/>
          </ac:spMkLst>
        </pc:spChg>
        <pc:spChg chg="mod">
          <ac:chgData name="Mariam Daniela Tristancho Pineda (PTA SAS)" userId="a45a17f7-7950-4cb5-bfab-f5c894f959a9" providerId="ADAL" clId="{7E0461DD-625F-4FFD-8EB3-FFF62574CF0B}" dt="2020-10-20T14:37:08.299" v="493" actId="20577"/>
          <ac:spMkLst>
            <pc:docMk/>
            <pc:sldMk cId="689766239" sldId="2134804294"/>
            <ac:spMk id="6" creationId="{A9B6670C-9FA9-460C-B8DE-3379ABC12A8C}"/>
          </ac:spMkLst>
        </pc:spChg>
        <pc:spChg chg="add mod">
          <ac:chgData name="Mariam Daniela Tristancho Pineda (PTA SAS)" userId="a45a17f7-7950-4cb5-bfab-f5c894f959a9" providerId="ADAL" clId="{7E0461DD-625F-4FFD-8EB3-FFF62574CF0B}" dt="2020-10-19T22:24:32.490" v="448" actId="403"/>
          <ac:spMkLst>
            <pc:docMk/>
            <pc:sldMk cId="689766239" sldId="2134804294"/>
            <ac:spMk id="8" creationId="{2E2FFF04-E606-4311-9BE9-FAEE2FA6E0E2}"/>
          </ac:spMkLst>
        </pc:spChg>
        <pc:spChg chg="add mod">
          <ac:chgData name="Mariam Daniela Tristancho Pineda (PTA SAS)" userId="a45a17f7-7950-4cb5-bfab-f5c894f959a9" providerId="ADAL" clId="{7E0461DD-625F-4FFD-8EB3-FFF62574CF0B}" dt="2020-10-19T22:08:35.121" v="175" actId="164"/>
          <ac:spMkLst>
            <pc:docMk/>
            <pc:sldMk cId="689766239" sldId="2134804294"/>
            <ac:spMk id="9" creationId="{00908209-EB95-4225-8A4C-F1DF43BD2EF0}"/>
          </ac:spMkLst>
        </pc:spChg>
        <pc:spChg chg="add mod">
          <ac:chgData name="Mariam Daniela Tristancho Pineda (PTA SAS)" userId="a45a17f7-7950-4cb5-bfab-f5c894f959a9" providerId="ADAL" clId="{7E0461DD-625F-4FFD-8EB3-FFF62574CF0B}" dt="2020-10-19T22:08:35.121" v="175" actId="164"/>
          <ac:spMkLst>
            <pc:docMk/>
            <pc:sldMk cId="689766239" sldId="2134804294"/>
            <ac:spMk id="10" creationId="{6C86A42A-34A9-4DE2-8311-E238B95AF00F}"/>
          </ac:spMkLst>
        </pc:spChg>
        <pc:spChg chg="add mod">
          <ac:chgData name="Mariam Daniela Tristancho Pineda (PTA SAS)" userId="a45a17f7-7950-4cb5-bfab-f5c894f959a9" providerId="ADAL" clId="{7E0461DD-625F-4FFD-8EB3-FFF62574CF0B}" dt="2020-10-19T22:08:29.401" v="172" actId="164"/>
          <ac:spMkLst>
            <pc:docMk/>
            <pc:sldMk cId="689766239" sldId="2134804294"/>
            <ac:spMk id="11" creationId="{39D1BE7B-162C-4DC7-85E9-34EB7A36D6EB}"/>
          </ac:spMkLst>
        </pc:spChg>
        <pc:spChg chg="add mod">
          <ac:chgData name="Mariam Daniela Tristancho Pineda (PTA SAS)" userId="a45a17f7-7950-4cb5-bfab-f5c894f959a9" providerId="ADAL" clId="{7E0461DD-625F-4FFD-8EB3-FFF62574CF0B}" dt="2020-10-19T22:08:29.401" v="172" actId="164"/>
          <ac:spMkLst>
            <pc:docMk/>
            <pc:sldMk cId="689766239" sldId="2134804294"/>
            <ac:spMk id="12" creationId="{64870058-3057-4615-BB0D-9B3532171A30}"/>
          </ac:spMkLst>
        </pc:spChg>
        <pc:spChg chg="del">
          <ac:chgData name="Mariam Daniela Tristancho Pineda (PTA SAS)" userId="a45a17f7-7950-4cb5-bfab-f5c894f959a9" providerId="ADAL" clId="{7E0461DD-625F-4FFD-8EB3-FFF62574CF0B}" dt="2020-10-19T22:06:02.086" v="96" actId="478"/>
          <ac:spMkLst>
            <pc:docMk/>
            <pc:sldMk cId="689766239" sldId="2134804294"/>
            <ac:spMk id="53" creationId="{F9C857D3-C5F6-4D00-8D9C-646D1DA60918}"/>
          </ac:spMkLst>
        </pc:spChg>
        <pc:spChg chg="del mod">
          <ac:chgData name="Mariam Daniela Tristancho Pineda (PTA SAS)" userId="a45a17f7-7950-4cb5-bfab-f5c894f959a9" providerId="ADAL" clId="{7E0461DD-625F-4FFD-8EB3-FFF62574CF0B}" dt="2020-10-19T22:24:29.524" v="447" actId="478"/>
          <ac:spMkLst>
            <pc:docMk/>
            <pc:sldMk cId="689766239" sldId="2134804294"/>
            <ac:spMk id="54" creationId="{C38A9719-1AF0-4D7F-AF9E-714FBC133573}"/>
          </ac:spMkLst>
        </pc:spChg>
        <pc:spChg chg="mod">
          <ac:chgData name="Mariam Daniela Tristancho Pineda (PTA SAS)" userId="a45a17f7-7950-4cb5-bfab-f5c894f959a9" providerId="ADAL" clId="{7E0461DD-625F-4FFD-8EB3-FFF62574CF0B}" dt="2020-10-20T14:37:12.739" v="494" actId="1076"/>
          <ac:spMkLst>
            <pc:docMk/>
            <pc:sldMk cId="689766239" sldId="2134804294"/>
            <ac:spMk id="61" creationId="{650A9289-5CB4-4614-BEDF-A6E766DF033A}"/>
          </ac:spMkLst>
        </pc:spChg>
        <pc:spChg chg="del mod">
          <ac:chgData name="Mariam Daniela Tristancho Pineda (PTA SAS)" userId="a45a17f7-7950-4cb5-bfab-f5c894f959a9" providerId="ADAL" clId="{7E0461DD-625F-4FFD-8EB3-FFF62574CF0B}" dt="2020-10-19T22:07:27.066" v="145" actId="478"/>
          <ac:spMkLst>
            <pc:docMk/>
            <pc:sldMk cId="689766239" sldId="2134804294"/>
            <ac:spMk id="68" creationId="{A18C8550-895B-4843-A1B6-21EDC0673ACB}"/>
          </ac:spMkLst>
        </pc:spChg>
        <pc:spChg chg="del mod">
          <ac:chgData name="Mariam Daniela Tristancho Pineda (PTA SAS)" userId="a45a17f7-7950-4cb5-bfab-f5c894f959a9" providerId="ADAL" clId="{7E0461DD-625F-4FFD-8EB3-FFF62574CF0B}" dt="2020-10-19T22:07:26.403" v="144" actId="478"/>
          <ac:spMkLst>
            <pc:docMk/>
            <pc:sldMk cId="689766239" sldId="2134804294"/>
            <ac:spMk id="69" creationId="{E03EFC44-1066-4C28-BEB5-9D8B8475DA21}"/>
          </ac:spMkLst>
        </pc:spChg>
        <pc:spChg chg="del mod">
          <ac:chgData name="Mariam Daniela Tristancho Pineda (PTA SAS)" userId="a45a17f7-7950-4cb5-bfab-f5c894f959a9" providerId="ADAL" clId="{7E0461DD-625F-4FFD-8EB3-FFF62574CF0B}" dt="2020-10-19T22:07:25.650" v="143" actId="478"/>
          <ac:spMkLst>
            <pc:docMk/>
            <pc:sldMk cId="689766239" sldId="2134804294"/>
            <ac:spMk id="77" creationId="{752D6E0D-8107-4801-AA2E-BABE12D31E5A}"/>
          </ac:spMkLst>
        </pc:spChg>
        <pc:spChg chg="mod">
          <ac:chgData name="Mariam Daniela Tristancho Pineda (PTA SAS)" userId="a45a17f7-7950-4cb5-bfab-f5c894f959a9" providerId="ADAL" clId="{7E0461DD-625F-4FFD-8EB3-FFF62574CF0B}" dt="2020-10-19T22:08:36.421" v="176"/>
          <ac:spMkLst>
            <pc:docMk/>
            <pc:sldMk cId="689766239" sldId="2134804294"/>
            <ac:spMk id="102" creationId="{6EBF0531-DBB3-4306-A65F-094753E658BD}"/>
          </ac:spMkLst>
        </pc:spChg>
        <pc:spChg chg="mod">
          <ac:chgData name="Mariam Daniela Tristancho Pineda (PTA SAS)" userId="a45a17f7-7950-4cb5-bfab-f5c894f959a9" providerId="ADAL" clId="{7E0461DD-625F-4FFD-8EB3-FFF62574CF0B}" dt="2020-10-19T22:08:38.838" v="179" actId="20577"/>
          <ac:spMkLst>
            <pc:docMk/>
            <pc:sldMk cId="689766239" sldId="2134804294"/>
            <ac:spMk id="103" creationId="{8B94BBFC-F2D1-4504-A0A3-2F76E3C2B396}"/>
          </ac:spMkLst>
        </pc:spChg>
        <pc:spChg chg="mod">
          <ac:chgData name="Mariam Daniela Tristancho Pineda (PTA SAS)" userId="a45a17f7-7950-4cb5-bfab-f5c894f959a9" providerId="ADAL" clId="{7E0461DD-625F-4FFD-8EB3-FFF62574CF0B}" dt="2020-10-19T22:08:52.263" v="180" actId="12789"/>
          <ac:spMkLst>
            <pc:docMk/>
            <pc:sldMk cId="689766239" sldId="2134804294"/>
            <ac:spMk id="104" creationId="{0326A105-08B6-409E-9596-07BD7645DEAE}"/>
          </ac:spMkLst>
        </pc:spChg>
        <pc:spChg chg="mod">
          <ac:chgData name="Mariam Daniela Tristancho Pineda (PTA SAS)" userId="a45a17f7-7950-4cb5-bfab-f5c894f959a9" providerId="ADAL" clId="{7E0461DD-625F-4FFD-8EB3-FFF62574CF0B}" dt="2020-10-19T22:09:04.545" v="197" actId="1038"/>
          <ac:spMkLst>
            <pc:docMk/>
            <pc:sldMk cId="689766239" sldId="2134804294"/>
            <ac:spMk id="106" creationId="{8BF155F6-9EE4-4410-BB22-DEE4B18E9FEF}"/>
          </ac:spMkLst>
        </pc:spChg>
        <pc:spChg chg="mod">
          <ac:chgData name="Mariam Daniela Tristancho Pineda (PTA SAS)" userId="a45a17f7-7950-4cb5-bfab-f5c894f959a9" providerId="ADAL" clId="{7E0461DD-625F-4FFD-8EB3-FFF62574CF0B}" dt="2020-10-19T22:09:00.721" v="186" actId="1038"/>
          <ac:spMkLst>
            <pc:docMk/>
            <pc:sldMk cId="689766239" sldId="2134804294"/>
            <ac:spMk id="107" creationId="{4802A65C-C4BA-49C6-A107-DC404BE5C336}"/>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27" creationId="{73BEC0EA-3959-416F-A4C5-525162D5F070}"/>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29" creationId="{1B1D8368-9D03-4A1F-BB5C-FA8A693650E2}"/>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30" creationId="{EE8A6937-8934-42CF-8F04-92239A952AE7}"/>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31" creationId="{A20E4F12-875E-47FE-8A33-74B6A44D0A59}"/>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32" creationId="{4F2FD083-C369-4561-BE25-9CBDC30055F9}"/>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33" creationId="{20250544-0C4F-4167-8A78-3DE0C74007AF}"/>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34" creationId="{5B999821-E384-44A1-B7FF-A4C4ED483560}"/>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35" creationId="{CED7C5F3-B86F-4DA0-9994-24F7FD6B35F9}"/>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36" creationId="{FDB88927-277F-4AE8-8FA3-9CA1A1700B73}"/>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37" creationId="{F8F8DA14-A950-4AEB-A24B-177C3F208372}"/>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38" creationId="{BF99A66B-120F-49B2-A1CC-739047837BB6}"/>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39" creationId="{844A1674-BCC7-4A52-8278-32D0CC73CF58}"/>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41" creationId="{2623DE4E-1861-4CAA-B94A-BFAA4D5F0DB3}"/>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42" creationId="{49E740BE-8500-4117-AD0B-2E67208BD20B}"/>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43" creationId="{85DA9DFF-D70E-46DA-B2A5-4567F9D5D109}"/>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44" creationId="{1C5981FC-047F-4A69-9B6A-7E8815CED431}"/>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45" creationId="{DC519FD0-9445-4201-946D-656A5D5D6C84}"/>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47" creationId="{313853FA-2E51-4F3E-AE01-DDDAF6E96565}"/>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48" creationId="{8C87CB62-0687-409F-B127-BA52AD580580}"/>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49" creationId="{B0906DC3-598D-4F7D-A64E-183CF387ABFC}"/>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50" creationId="{41F6E8B5-9D97-4BA1-9EEB-DCFF2BD13CA4}"/>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51" creationId="{62081328-F323-4DA1-9DDE-784A46EE4A94}"/>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52" creationId="{29496DDD-4F17-477A-B207-9AA829455B4D}"/>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53" creationId="{DC0FBCC4-989D-4976-8983-34825D2D9047}"/>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54" creationId="{28C5640B-AA7B-4F00-B56A-C8EE9FA8497F}"/>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55" creationId="{454F4380-4BE4-4E21-AAAC-6B3C9286D5BB}"/>
          </ac:spMkLst>
        </pc:spChg>
        <pc:spChg chg="mod">
          <ac:chgData name="Mariam Daniela Tristancho Pineda (PTA SAS)" userId="a45a17f7-7950-4cb5-bfab-f5c894f959a9" providerId="ADAL" clId="{7E0461DD-625F-4FFD-8EB3-FFF62574CF0B}" dt="2020-10-19T22:09:23.968" v="204" actId="1076"/>
          <ac:spMkLst>
            <pc:docMk/>
            <pc:sldMk cId="689766239" sldId="2134804294"/>
            <ac:spMk id="156" creationId="{DF074B77-3C37-42D5-918A-F5C84802F788}"/>
          </ac:spMkLst>
        </pc:spChg>
        <pc:grpChg chg="add mod">
          <ac:chgData name="Mariam Daniela Tristancho Pineda (PTA SAS)" userId="a45a17f7-7950-4cb5-bfab-f5c894f959a9" providerId="ADAL" clId="{7E0461DD-625F-4FFD-8EB3-FFF62574CF0B}" dt="2020-10-19T22:09:13.292" v="203" actId="1037"/>
          <ac:grpSpMkLst>
            <pc:docMk/>
            <pc:sldMk cId="689766239" sldId="2134804294"/>
            <ac:grpSpMk id="13" creationId="{AD6D3F10-B35D-4796-8FF9-93147FBC94AC}"/>
          </ac:grpSpMkLst>
        </pc:grpChg>
        <pc:grpChg chg="add mod">
          <ac:chgData name="Mariam Daniela Tristancho Pineda (PTA SAS)" userId="a45a17f7-7950-4cb5-bfab-f5c894f959a9" providerId="ADAL" clId="{7E0461DD-625F-4FFD-8EB3-FFF62574CF0B}" dt="2020-10-19T22:09:12.089" v="202" actId="1038"/>
          <ac:grpSpMkLst>
            <pc:docMk/>
            <pc:sldMk cId="689766239" sldId="2134804294"/>
            <ac:grpSpMk id="14" creationId="{F919A4F9-0E48-4A62-B899-C4C49EFEC48A}"/>
          </ac:grpSpMkLst>
        </pc:grpChg>
        <pc:grpChg chg="add mod">
          <ac:chgData name="Mariam Daniela Tristancho Pineda (PTA SAS)" userId="a45a17f7-7950-4cb5-bfab-f5c894f959a9" providerId="ADAL" clId="{7E0461DD-625F-4FFD-8EB3-FFF62574CF0B}" dt="2020-10-19T22:08:52.263" v="180" actId="12789"/>
          <ac:grpSpMkLst>
            <pc:docMk/>
            <pc:sldMk cId="689766239" sldId="2134804294"/>
            <ac:grpSpMk id="101" creationId="{DBAA46BF-9BE8-4C15-9549-A5A0074BE9DA}"/>
          </ac:grpSpMkLst>
        </pc:grpChg>
      </pc:sldChg>
      <pc:sldChg chg="del">
        <pc:chgData name="Mariam Daniela Tristancho Pineda (PTA SAS)" userId="a45a17f7-7950-4cb5-bfab-f5c894f959a9" providerId="ADAL" clId="{7E0461DD-625F-4FFD-8EB3-FFF62574CF0B}" dt="2020-10-19T22:04:58.373" v="38" actId="47"/>
        <pc:sldMkLst>
          <pc:docMk/>
          <pc:sldMk cId="2442052892" sldId="2134804385"/>
        </pc:sldMkLst>
      </pc:sldChg>
      <pc:sldChg chg="modSp add mod">
        <pc:chgData name="Mariam Daniela Tristancho Pineda (PTA SAS)" userId="a45a17f7-7950-4cb5-bfab-f5c894f959a9" providerId="ADAL" clId="{7E0461DD-625F-4FFD-8EB3-FFF62574CF0B}" dt="2020-10-19T22:23:22.274" v="444" actId="1037"/>
        <pc:sldMkLst>
          <pc:docMk/>
          <pc:sldMk cId="2604800474" sldId="2134804418"/>
        </pc:sldMkLst>
        <pc:spChg chg="mod">
          <ac:chgData name="Mariam Daniela Tristancho Pineda (PTA SAS)" userId="a45a17f7-7950-4cb5-bfab-f5c894f959a9" providerId="ADAL" clId="{7E0461DD-625F-4FFD-8EB3-FFF62574CF0B}" dt="2020-10-19T22:23:22.274" v="444" actId="1037"/>
          <ac:spMkLst>
            <pc:docMk/>
            <pc:sldMk cId="2604800474" sldId="2134804418"/>
            <ac:spMk id="3" creationId="{F68A17DE-3ACC-4C72-8ED3-CE0F518FDBA1}"/>
          </ac:spMkLst>
        </pc:spChg>
        <pc:picChg chg="mod">
          <ac:chgData name="Mariam Daniela Tristancho Pineda (PTA SAS)" userId="a45a17f7-7950-4cb5-bfab-f5c894f959a9" providerId="ADAL" clId="{7E0461DD-625F-4FFD-8EB3-FFF62574CF0B}" dt="2020-10-19T22:23:11.019" v="436" actId="1035"/>
          <ac:picMkLst>
            <pc:docMk/>
            <pc:sldMk cId="2604800474" sldId="2134804418"/>
            <ac:picMk id="4" creationId="{4A14B48A-E094-4C8C-9B45-C83DEED522D1}"/>
          </ac:picMkLst>
        </pc:picChg>
        <pc:picChg chg="mod">
          <ac:chgData name="Mariam Daniela Tristancho Pineda (PTA SAS)" userId="a45a17f7-7950-4cb5-bfab-f5c894f959a9" providerId="ADAL" clId="{7E0461DD-625F-4FFD-8EB3-FFF62574CF0B}" dt="2020-10-19T22:23:07.336" v="434" actId="1038"/>
          <ac:picMkLst>
            <pc:docMk/>
            <pc:sldMk cId="2604800474" sldId="2134804418"/>
            <ac:picMk id="6" creationId="{928EE92B-BAE1-4046-A9B9-F982719A04C6}"/>
          </ac:picMkLst>
        </pc:picChg>
      </pc:sldChg>
      <pc:sldChg chg="add">
        <pc:chgData name="Mariam Daniela Tristancho Pineda (PTA SAS)" userId="a45a17f7-7950-4cb5-bfab-f5c894f959a9" providerId="ADAL" clId="{7E0461DD-625F-4FFD-8EB3-FFF62574CF0B}" dt="2020-10-20T12:45:01.846" v="452"/>
        <pc:sldMkLst>
          <pc:docMk/>
          <pc:sldMk cId="657455683" sldId="2134804441"/>
        </pc:sldMkLst>
      </pc:sldChg>
      <pc:sldChg chg="add del">
        <pc:chgData name="Mariam Daniela Tristancho Pineda (PTA SAS)" userId="a45a17f7-7950-4cb5-bfab-f5c894f959a9" providerId="ADAL" clId="{7E0461DD-625F-4FFD-8EB3-FFF62574CF0B}" dt="2020-10-20T12:44:57.455" v="451"/>
        <pc:sldMkLst>
          <pc:docMk/>
          <pc:sldMk cId="2647917730" sldId="2134804441"/>
        </pc:sldMkLst>
      </pc:sldChg>
    </pc:docChg>
  </pc:docChgLst>
  <pc:docChgLst>
    <pc:chgData name="Usuario invitado" userId="S::urn:spo:anon#ef30890cd3063e1632fa7c5913d7b57600e39ccb056aedca277405e94abf2825::" providerId="AD" clId="Web-{1BD1881F-7BFB-DFEB-A531-727C1CD697F2}"/>
    <pc:docChg chg="modSld">
      <pc:chgData name="Usuario invitado" userId="S::urn:spo:anon#ef30890cd3063e1632fa7c5913d7b57600e39ccb056aedca277405e94abf2825::" providerId="AD" clId="Web-{1BD1881F-7BFB-DFEB-A531-727C1CD697F2}" dt="2020-07-07T13:40:31.184" v="1" actId="1076"/>
      <pc:docMkLst>
        <pc:docMk/>
      </pc:docMkLst>
      <pc:sldChg chg="modSp">
        <pc:chgData name="Usuario invitado" userId="S::urn:spo:anon#ef30890cd3063e1632fa7c5913d7b57600e39ccb056aedca277405e94abf2825::" providerId="AD" clId="Web-{1BD1881F-7BFB-DFEB-A531-727C1CD697F2}" dt="2020-07-07T13:40:31.184" v="1" actId="1076"/>
        <pc:sldMkLst>
          <pc:docMk/>
          <pc:sldMk cId="888575759" sldId="2134804310"/>
        </pc:sldMkLst>
        <pc:grpChg chg="mod">
          <ac:chgData name="Usuario invitado" userId="S::urn:spo:anon#ef30890cd3063e1632fa7c5913d7b57600e39ccb056aedca277405e94abf2825::" providerId="AD" clId="Web-{1BD1881F-7BFB-DFEB-A531-727C1CD697F2}" dt="2020-07-07T13:40:31.184" v="1" actId="1076"/>
          <ac:grpSpMkLst>
            <pc:docMk/>
            <pc:sldMk cId="888575759" sldId="2134804310"/>
            <ac:grpSpMk id="5" creationId="{B8B3F25F-5EEF-49B5-AF43-A778A4A44B6A}"/>
          </ac:grpSpMkLst>
        </pc:grpChg>
        <pc:grpChg chg="mod">
          <ac:chgData name="Usuario invitado" userId="S::urn:spo:anon#ef30890cd3063e1632fa7c5913d7b57600e39ccb056aedca277405e94abf2825::" providerId="AD" clId="Web-{1BD1881F-7BFB-DFEB-A531-727C1CD697F2}" dt="2020-07-07T13:40:28.950" v="0" actId="1076"/>
          <ac:grpSpMkLst>
            <pc:docMk/>
            <pc:sldMk cId="888575759" sldId="2134804310"/>
            <ac:grpSpMk id="15" creationId="{41EBE1F9-8288-4A08-BEED-96A4EBB42235}"/>
          </ac:grpSpMkLst>
        </pc:grpChg>
      </pc:sldChg>
    </pc:docChg>
  </pc:docChgLst>
  <pc:docChgLst>
    <pc:chgData name="Andrea Mogollon Nossa (CENIT)" userId="f6a3e592-cc27-4858-b185-ff86be206069" providerId="ADAL" clId="{2CAEC1E3-2241-4370-8FDB-F4FAA904BB83}"/>
    <pc:docChg chg="undo custSel addSld delSld modSld sldOrd">
      <pc:chgData name="Andrea Mogollon Nossa (CENIT)" userId="f6a3e592-cc27-4858-b185-ff86be206069" providerId="ADAL" clId="{2CAEC1E3-2241-4370-8FDB-F4FAA904BB83}" dt="2020-06-18T02:32:15.077" v="6569" actId="167"/>
      <pc:docMkLst>
        <pc:docMk/>
      </pc:docMkLst>
      <pc:sldChg chg="del">
        <pc:chgData name="Andrea Mogollon Nossa (CENIT)" userId="f6a3e592-cc27-4858-b185-ff86be206069" providerId="ADAL" clId="{2CAEC1E3-2241-4370-8FDB-F4FAA904BB83}" dt="2020-06-17T13:09:57.099" v="2763" actId="47"/>
        <pc:sldMkLst>
          <pc:docMk/>
          <pc:sldMk cId="2393305083" sldId="342"/>
        </pc:sldMkLst>
      </pc:sldChg>
      <pc:sldChg chg="modSp mod">
        <pc:chgData name="Andrea Mogollon Nossa (CENIT)" userId="f6a3e592-cc27-4858-b185-ff86be206069" providerId="ADAL" clId="{2CAEC1E3-2241-4370-8FDB-F4FAA904BB83}" dt="2020-06-17T19:34:43.355" v="5407" actId="20577"/>
        <pc:sldMkLst>
          <pc:docMk/>
          <pc:sldMk cId="4180204205" sldId="2134804244"/>
        </pc:sldMkLst>
        <pc:spChg chg="mod">
          <ac:chgData name="Andrea Mogollon Nossa (CENIT)" userId="f6a3e592-cc27-4858-b185-ff86be206069" providerId="ADAL" clId="{2CAEC1E3-2241-4370-8FDB-F4FAA904BB83}" dt="2020-06-17T19:34:43.355" v="5407" actId="20577"/>
          <ac:spMkLst>
            <pc:docMk/>
            <pc:sldMk cId="4180204205" sldId="2134804244"/>
            <ac:spMk id="4" creationId="{9B0CE30D-625A-4CD9-98D4-3AF33243D194}"/>
          </ac:spMkLst>
        </pc:spChg>
        <pc:spChg chg="mod">
          <ac:chgData name="Andrea Mogollon Nossa (CENIT)" userId="f6a3e592-cc27-4858-b185-ff86be206069" providerId="ADAL" clId="{2CAEC1E3-2241-4370-8FDB-F4FAA904BB83}" dt="2020-06-16T22:55:59.670" v="2248" actId="1076"/>
          <ac:spMkLst>
            <pc:docMk/>
            <pc:sldMk cId="4180204205" sldId="2134804244"/>
            <ac:spMk id="26" creationId="{3EDC8468-03BA-421C-9E09-E07D908AFD96}"/>
          </ac:spMkLst>
        </pc:spChg>
        <pc:spChg chg="mod">
          <ac:chgData name="Andrea Mogollon Nossa (CENIT)" userId="f6a3e592-cc27-4858-b185-ff86be206069" providerId="ADAL" clId="{2CAEC1E3-2241-4370-8FDB-F4FAA904BB83}" dt="2020-06-16T15:44:29.715" v="96" actId="20577"/>
          <ac:spMkLst>
            <pc:docMk/>
            <pc:sldMk cId="4180204205" sldId="2134804244"/>
            <ac:spMk id="57" creationId="{5166C191-948B-4DBA-805B-CFA30673C6A1}"/>
          </ac:spMkLst>
        </pc:spChg>
        <pc:spChg chg="mod">
          <ac:chgData name="Andrea Mogollon Nossa (CENIT)" userId="f6a3e592-cc27-4858-b185-ff86be206069" providerId="ADAL" clId="{2CAEC1E3-2241-4370-8FDB-F4FAA904BB83}" dt="2020-06-16T15:44:34.134" v="98" actId="20577"/>
          <ac:spMkLst>
            <pc:docMk/>
            <pc:sldMk cId="4180204205" sldId="2134804244"/>
            <ac:spMk id="59" creationId="{59ACAE5A-D20F-4C0C-AF16-1F585FF5F4FE}"/>
          </ac:spMkLst>
        </pc:spChg>
        <pc:graphicFrameChg chg="modGraphic">
          <ac:chgData name="Andrea Mogollon Nossa (CENIT)" userId="f6a3e592-cc27-4858-b185-ff86be206069" providerId="ADAL" clId="{2CAEC1E3-2241-4370-8FDB-F4FAA904BB83}" dt="2020-06-16T15:42:59.450" v="91" actId="6549"/>
          <ac:graphicFrameMkLst>
            <pc:docMk/>
            <pc:sldMk cId="4180204205" sldId="2134804244"/>
            <ac:graphicFrameMk id="29" creationId="{2F369745-5DCF-4E94-9909-B52D2D1A1EF4}"/>
          </ac:graphicFrameMkLst>
        </pc:graphicFrameChg>
        <pc:graphicFrameChg chg="mod">
          <ac:chgData name="Andrea Mogollon Nossa (CENIT)" userId="f6a3e592-cc27-4858-b185-ff86be206069" providerId="ADAL" clId="{2CAEC1E3-2241-4370-8FDB-F4FAA904BB83}" dt="2020-06-16T15:44:14.843" v="92" actId="20577"/>
          <ac:graphicFrameMkLst>
            <pc:docMk/>
            <pc:sldMk cId="4180204205" sldId="2134804244"/>
            <ac:graphicFrameMk id="56" creationId="{8CFF7275-2CFD-476E-AC6D-F148C64CF6BF}"/>
          </ac:graphicFrameMkLst>
        </pc:graphicFrameChg>
        <pc:graphicFrameChg chg="mod">
          <ac:chgData name="Andrea Mogollon Nossa (CENIT)" userId="f6a3e592-cc27-4858-b185-ff86be206069" providerId="ADAL" clId="{2CAEC1E3-2241-4370-8FDB-F4FAA904BB83}" dt="2020-06-16T15:44:24.247" v="94" actId="20577"/>
          <ac:graphicFrameMkLst>
            <pc:docMk/>
            <pc:sldMk cId="4180204205" sldId="2134804244"/>
            <ac:graphicFrameMk id="58" creationId="{6199EDC1-5ECC-42C2-8661-38367D51AC10}"/>
          </ac:graphicFrameMkLst>
        </pc:graphicFrameChg>
      </pc:sldChg>
      <pc:sldChg chg="addSp delSp modSp mod">
        <pc:chgData name="Andrea Mogollon Nossa (CENIT)" userId="f6a3e592-cc27-4858-b185-ff86be206069" providerId="ADAL" clId="{2CAEC1E3-2241-4370-8FDB-F4FAA904BB83}" dt="2020-06-16T22:53:04.007" v="2097" actId="122"/>
        <pc:sldMkLst>
          <pc:docMk/>
          <pc:sldMk cId="1803203511" sldId="2134804247"/>
        </pc:sldMkLst>
        <pc:spChg chg="add del mod">
          <ac:chgData name="Andrea Mogollon Nossa (CENIT)" userId="f6a3e592-cc27-4858-b185-ff86be206069" providerId="ADAL" clId="{2CAEC1E3-2241-4370-8FDB-F4FAA904BB83}" dt="2020-06-16T22:49:13.364" v="2026" actId="478"/>
          <ac:spMkLst>
            <pc:docMk/>
            <pc:sldMk cId="1803203511" sldId="2134804247"/>
            <ac:spMk id="6" creationId="{ED2D84AD-F8CF-4A81-A20A-5246F2012F87}"/>
          </ac:spMkLst>
        </pc:spChg>
        <pc:spChg chg="add del mod">
          <ac:chgData name="Andrea Mogollon Nossa (CENIT)" userId="f6a3e592-cc27-4858-b185-ff86be206069" providerId="ADAL" clId="{2CAEC1E3-2241-4370-8FDB-F4FAA904BB83}" dt="2020-06-16T22:49:54.424" v="2029" actId="478"/>
          <ac:spMkLst>
            <pc:docMk/>
            <pc:sldMk cId="1803203511" sldId="2134804247"/>
            <ac:spMk id="38" creationId="{B082C2BD-C553-4CB0-9FDE-8A6F3C00EA1F}"/>
          </ac:spMkLst>
        </pc:spChg>
        <pc:spChg chg="add del mod">
          <ac:chgData name="Andrea Mogollon Nossa (CENIT)" userId="f6a3e592-cc27-4858-b185-ff86be206069" providerId="ADAL" clId="{2CAEC1E3-2241-4370-8FDB-F4FAA904BB83}" dt="2020-06-16T22:49:56.274" v="2030" actId="478"/>
          <ac:spMkLst>
            <pc:docMk/>
            <pc:sldMk cId="1803203511" sldId="2134804247"/>
            <ac:spMk id="39" creationId="{F03D88D5-0821-4E5C-9ADA-D1759EE16B1A}"/>
          </ac:spMkLst>
        </pc:spChg>
        <pc:spChg chg="mod">
          <ac:chgData name="Andrea Mogollon Nossa (CENIT)" userId="f6a3e592-cc27-4858-b185-ff86be206069" providerId="ADAL" clId="{2CAEC1E3-2241-4370-8FDB-F4FAA904BB83}" dt="2020-06-16T22:50:22.581" v="2032" actId="1076"/>
          <ac:spMkLst>
            <pc:docMk/>
            <pc:sldMk cId="1803203511" sldId="2134804247"/>
            <ac:spMk id="45" creationId="{46FC1909-641C-4539-A7D0-5E82469215D0}"/>
          </ac:spMkLst>
        </pc:spChg>
        <pc:spChg chg="mod">
          <ac:chgData name="Andrea Mogollon Nossa (CENIT)" userId="f6a3e592-cc27-4858-b185-ff86be206069" providerId="ADAL" clId="{2CAEC1E3-2241-4370-8FDB-F4FAA904BB83}" dt="2020-06-16T22:50:22.581" v="2032" actId="1076"/>
          <ac:spMkLst>
            <pc:docMk/>
            <pc:sldMk cId="1803203511" sldId="2134804247"/>
            <ac:spMk id="52" creationId="{84C7AB52-6EFF-4A44-9199-12A28F702C73}"/>
          </ac:spMkLst>
        </pc:spChg>
        <pc:spChg chg="mod">
          <ac:chgData name="Andrea Mogollon Nossa (CENIT)" userId="f6a3e592-cc27-4858-b185-ff86be206069" providerId="ADAL" clId="{2CAEC1E3-2241-4370-8FDB-F4FAA904BB83}" dt="2020-06-16T22:50:22.581" v="2032" actId="1076"/>
          <ac:spMkLst>
            <pc:docMk/>
            <pc:sldMk cId="1803203511" sldId="2134804247"/>
            <ac:spMk id="54" creationId="{C38A9719-1AF0-4D7F-AF9E-714FBC133573}"/>
          </ac:spMkLst>
        </pc:spChg>
        <pc:spChg chg="mod">
          <ac:chgData name="Andrea Mogollon Nossa (CENIT)" userId="f6a3e592-cc27-4858-b185-ff86be206069" providerId="ADAL" clId="{2CAEC1E3-2241-4370-8FDB-F4FAA904BB83}" dt="2020-06-16T22:50:22.581" v="2032" actId="1076"/>
          <ac:spMkLst>
            <pc:docMk/>
            <pc:sldMk cId="1803203511" sldId="2134804247"/>
            <ac:spMk id="56" creationId="{75723924-AC15-4E29-B327-BFC385846EEF}"/>
          </ac:spMkLst>
        </pc:spChg>
        <pc:spChg chg="mod">
          <ac:chgData name="Andrea Mogollon Nossa (CENIT)" userId="f6a3e592-cc27-4858-b185-ff86be206069" providerId="ADAL" clId="{2CAEC1E3-2241-4370-8FDB-F4FAA904BB83}" dt="2020-06-16T22:50:22.581" v="2032" actId="1076"/>
          <ac:spMkLst>
            <pc:docMk/>
            <pc:sldMk cId="1803203511" sldId="2134804247"/>
            <ac:spMk id="57" creationId="{2E80FBBF-803F-4EC5-B223-5D4906B35A85}"/>
          </ac:spMkLst>
        </pc:spChg>
        <pc:spChg chg="mod">
          <ac:chgData name="Andrea Mogollon Nossa (CENIT)" userId="f6a3e592-cc27-4858-b185-ff86be206069" providerId="ADAL" clId="{2CAEC1E3-2241-4370-8FDB-F4FAA904BB83}" dt="2020-06-16T22:50:22.581" v="2032" actId="1076"/>
          <ac:spMkLst>
            <pc:docMk/>
            <pc:sldMk cId="1803203511" sldId="2134804247"/>
            <ac:spMk id="61" creationId="{C87FE99B-24ED-4ABE-A147-3F40BB4005B1}"/>
          </ac:spMkLst>
        </pc:spChg>
        <pc:spChg chg="mod">
          <ac:chgData name="Andrea Mogollon Nossa (CENIT)" userId="f6a3e592-cc27-4858-b185-ff86be206069" providerId="ADAL" clId="{2CAEC1E3-2241-4370-8FDB-F4FAA904BB83}" dt="2020-06-16T22:50:22.581" v="2032" actId="1076"/>
          <ac:spMkLst>
            <pc:docMk/>
            <pc:sldMk cId="1803203511" sldId="2134804247"/>
            <ac:spMk id="62" creationId="{D9F7050B-AB20-4124-9287-3191CFC4E73D}"/>
          </ac:spMkLst>
        </pc:spChg>
        <pc:spChg chg="mod">
          <ac:chgData name="Andrea Mogollon Nossa (CENIT)" userId="f6a3e592-cc27-4858-b185-ff86be206069" providerId="ADAL" clId="{2CAEC1E3-2241-4370-8FDB-F4FAA904BB83}" dt="2020-06-16T22:50:22.581" v="2032" actId="1076"/>
          <ac:spMkLst>
            <pc:docMk/>
            <pc:sldMk cId="1803203511" sldId="2134804247"/>
            <ac:spMk id="63" creationId="{B37A63F7-53C5-409B-8312-F8C6EEC6B40D}"/>
          </ac:spMkLst>
        </pc:spChg>
        <pc:spChg chg="mod">
          <ac:chgData name="Andrea Mogollon Nossa (CENIT)" userId="f6a3e592-cc27-4858-b185-ff86be206069" providerId="ADAL" clId="{2CAEC1E3-2241-4370-8FDB-F4FAA904BB83}" dt="2020-06-16T22:50:22.581" v="2032" actId="1076"/>
          <ac:spMkLst>
            <pc:docMk/>
            <pc:sldMk cId="1803203511" sldId="2134804247"/>
            <ac:spMk id="64" creationId="{36339DB7-6593-4CC6-82FE-7BA3B324D9B7}"/>
          </ac:spMkLst>
        </pc:spChg>
        <pc:spChg chg="mod">
          <ac:chgData name="Andrea Mogollon Nossa (CENIT)" userId="f6a3e592-cc27-4858-b185-ff86be206069" providerId="ADAL" clId="{2CAEC1E3-2241-4370-8FDB-F4FAA904BB83}" dt="2020-06-16T22:50:22.581" v="2032" actId="1076"/>
          <ac:spMkLst>
            <pc:docMk/>
            <pc:sldMk cId="1803203511" sldId="2134804247"/>
            <ac:spMk id="65" creationId="{E508D2A7-2CAB-4CE7-891D-BBF691367054}"/>
          </ac:spMkLst>
        </pc:spChg>
        <pc:spChg chg="mod">
          <ac:chgData name="Andrea Mogollon Nossa (CENIT)" userId="f6a3e592-cc27-4858-b185-ff86be206069" providerId="ADAL" clId="{2CAEC1E3-2241-4370-8FDB-F4FAA904BB83}" dt="2020-06-16T22:50:22.581" v="2032" actId="1076"/>
          <ac:spMkLst>
            <pc:docMk/>
            <pc:sldMk cId="1803203511" sldId="2134804247"/>
            <ac:spMk id="70" creationId="{B7775212-C797-4934-96C9-E7DE33ADEA63}"/>
          </ac:spMkLst>
        </pc:spChg>
        <pc:spChg chg="mod">
          <ac:chgData name="Andrea Mogollon Nossa (CENIT)" userId="f6a3e592-cc27-4858-b185-ff86be206069" providerId="ADAL" clId="{2CAEC1E3-2241-4370-8FDB-F4FAA904BB83}" dt="2020-06-16T22:50:22.581" v="2032" actId="1076"/>
          <ac:spMkLst>
            <pc:docMk/>
            <pc:sldMk cId="1803203511" sldId="2134804247"/>
            <ac:spMk id="72" creationId="{908A24E3-100F-4B4F-A320-94D6B6130CE6}"/>
          </ac:spMkLst>
        </pc:spChg>
        <pc:spChg chg="mod">
          <ac:chgData name="Andrea Mogollon Nossa (CENIT)" userId="f6a3e592-cc27-4858-b185-ff86be206069" providerId="ADAL" clId="{2CAEC1E3-2241-4370-8FDB-F4FAA904BB83}" dt="2020-06-16T22:50:22.581" v="2032" actId="1076"/>
          <ac:spMkLst>
            <pc:docMk/>
            <pc:sldMk cId="1803203511" sldId="2134804247"/>
            <ac:spMk id="73" creationId="{88283A3B-E333-4703-B4EA-F83989300B81}"/>
          </ac:spMkLst>
        </pc:spChg>
        <pc:spChg chg="mod">
          <ac:chgData name="Andrea Mogollon Nossa (CENIT)" userId="f6a3e592-cc27-4858-b185-ff86be206069" providerId="ADAL" clId="{2CAEC1E3-2241-4370-8FDB-F4FAA904BB83}" dt="2020-06-16T22:50:22.581" v="2032" actId="1076"/>
          <ac:spMkLst>
            <pc:docMk/>
            <pc:sldMk cId="1803203511" sldId="2134804247"/>
            <ac:spMk id="77" creationId="{FD37A0F8-A2A3-43BD-8BC7-9A5118F0D753}"/>
          </ac:spMkLst>
        </pc:spChg>
        <pc:spChg chg="mod">
          <ac:chgData name="Andrea Mogollon Nossa (CENIT)" userId="f6a3e592-cc27-4858-b185-ff86be206069" providerId="ADAL" clId="{2CAEC1E3-2241-4370-8FDB-F4FAA904BB83}" dt="2020-06-16T22:50:22.581" v="2032" actId="1076"/>
          <ac:spMkLst>
            <pc:docMk/>
            <pc:sldMk cId="1803203511" sldId="2134804247"/>
            <ac:spMk id="78" creationId="{919B56D3-B798-432E-AEA6-FAE593D866F1}"/>
          </ac:spMkLst>
        </pc:spChg>
        <pc:spChg chg="mod">
          <ac:chgData name="Andrea Mogollon Nossa (CENIT)" userId="f6a3e592-cc27-4858-b185-ff86be206069" providerId="ADAL" clId="{2CAEC1E3-2241-4370-8FDB-F4FAA904BB83}" dt="2020-06-16T22:50:22.581" v="2032" actId="1076"/>
          <ac:spMkLst>
            <pc:docMk/>
            <pc:sldMk cId="1803203511" sldId="2134804247"/>
            <ac:spMk id="79" creationId="{EF05A18C-11F3-4F9D-8EE9-C21D3616819A}"/>
          </ac:spMkLst>
        </pc:spChg>
        <pc:spChg chg="mod">
          <ac:chgData name="Andrea Mogollon Nossa (CENIT)" userId="f6a3e592-cc27-4858-b185-ff86be206069" providerId="ADAL" clId="{2CAEC1E3-2241-4370-8FDB-F4FAA904BB83}" dt="2020-06-16T22:50:22.581" v="2032" actId="1076"/>
          <ac:spMkLst>
            <pc:docMk/>
            <pc:sldMk cId="1803203511" sldId="2134804247"/>
            <ac:spMk id="84" creationId="{5B500FA3-C232-46A0-8615-7D75EC026ABD}"/>
          </ac:spMkLst>
        </pc:spChg>
        <pc:spChg chg="mod">
          <ac:chgData name="Andrea Mogollon Nossa (CENIT)" userId="f6a3e592-cc27-4858-b185-ff86be206069" providerId="ADAL" clId="{2CAEC1E3-2241-4370-8FDB-F4FAA904BB83}" dt="2020-06-16T22:50:22.581" v="2032" actId="1076"/>
          <ac:spMkLst>
            <pc:docMk/>
            <pc:sldMk cId="1803203511" sldId="2134804247"/>
            <ac:spMk id="85" creationId="{2E8A8CB0-646A-47DC-A38E-55BCE175046E}"/>
          </ac:spMkLst>
        </pc:spChg>
        <pc:spChg chg="mod">
          <ac:chgData name="Andrea Mogollon Nossa (CENIT)" userId="f6a3e592-cc27-4858-b185-ff86be206069" providerId="ADAL" clId="{2CAEC1E3-2241-4370-8FDB-F4FAA904BB83}" dt="2020-06-16T22:50:22.581" v="2032" actId="1076"/>
          <ac:spMkLst>
            <pc:docMk/>
            <pc:sldMk cId="1803203511" sldId="2134804247"/>
            <ac:spMk id="86" creationId="{9696AF26-CCFE-4022-B4A0-276940E771D0}"/>
          </ac:spMkLst>
        </pc:spChg>
        <pc:spChg chg="mod">
          <ac:chgData name="Andrea Mogollon Nossa (CENIT)" userId="f6a3e592-cc27-4858-b185-ff86be206069" providerId="ADAL" clId="{2CAEC1E3-2241-4370-8FDB-F4FAA904BB83}" dt="2020-06-16T22:50:22.581" v="2032" actId="1076"/>
          <ac:spMkLst>
            <pc:docMk/>
            <pc:sldMk cId="1803203511" sldId="2134804247"/>
            <ac:spMk id="89" creationId="{795399CE-E92A-4E7E-B6B3-8E5EC89CE499}"/>
          </ac:spMkLst>
        </pc:spChg>
        <pc:spChg chg="mod">
          <ac:chgData name="Andrea Mogollon Nossa (CENIT)" userId="f6a3e592-cc27-4858-b185-ff86be206069" providerId="ADAL" clId="{2CAEC1E3-2241-4370-8FDB-F4FAA904BB83}" dt="2020-06-16T22:50:22.581" v="2032" actId="1076"/>
          <ac:spMkLst>
            <pc:docMk/>
            <pc:sldMk cId="1803203511" sldId="2134804247"/>
            <ac:spMk id="90" creationId="{9D6E8225-3269-4AAF-8396-E7266AD4FC3E}"/>
          </ac:spMkLst>
        </pc:spChg>
        <pc:spChg chg="mod">
          <ac:chgData name="Andrea Mogollon Nossa (CENIT)" userId="f6a3e592-cc27-4858-b185-ff86be206069" providerId="ADAL" clId="{2CAEC1E3-2241-4370-8FDB-F4FAA904BB83}" dt="2020-06-16T22:50:22.581" v="2032" actId="1076"/>
          <ac:spMkLst>
            <pc:docMk/>
            <pc:sldMk cId="1803203511" sldId="2134804247"/>
            <ac:spMk id="91" creationId="{F932B860-F50E-4412-9403-29B4BBCB77D2}"/>
          </ac:spMkLst>
        </pc:spChg>
        <pc:spChg chg="mod">
          <ac:chgData name="Andrea Mogollon Nossa (CENIT)" userId="f6a3e592-cc27-4858-b185-ff86be206069" providerId="ADAL" clId="{2CAEC1E3-2241-4370-8FDB-F4FAA904BB83}" dt="2020-06-16T22:50:22.581" v="2032" actId="1076"/>
          <ac:spMkLst>
            <pc:docMk/>
            <pc:sldMk cId="1803203511" sldId="2134804247"/>
            <ac:spMk id="92" creationId="{30AC11BB-E312-4AF6-B7E2-43CFEA999256}"/>
          </ac:spMkLst>
        </pc:spChg>
        <pc:spChg chg="mod">
          <ac:chgData name="Andrea Mogollon Nossa (CENIT)" userId="f6a3e592-cc27-4858-b185-ff86be206069" providerId="ADAL" clId="{2CAEC1E3-2241-4370-8FDB-F4FAA904BB83}" dt="2020-06-16T22:50:22.581" v="2032" actId="1076"/>
          <ac:spMkLst>
            <pc:docMk/>
            <pc:sldMk cId="1803203511" sldId="2134804247"/>
            <ac:spMk id="94" creationId="{8C9A6A51-23F6-4E40-965F-6AA73D06FAEA}"/>
          </ac:spMkLst>
        </pc:spChg>
        <pc:spChg chg="mod">
          <ac:chgData name="Andrea Mogollon Nossa (CENIT)" userId="f6a3e592-cc27-4858-b185-ff86be206069" providerId="ADAL" clId="{2CAEC1E3-2241-4370-8FDB-F4FAA904BB83}" dt="2020-06-16T22:50:22.581" v="2032" actId="1076"/>
          <ac:spMkLst>
            <pc:docMk/>
            <pc:sldMk cId="1803203511" sldId="2134804247"/>
            <ac:spMk id="96" creationId="{8AEAB956-0537-4480-8841-89E6A7289C6A}"/>
          </ac:spMkLst>
        </pc:spChg>
        <pc:grpChg chg="mod">
          <ac:chgData name="Andrea Mogollon Nossa (CENIT)" userId="f6a3e592-cc27-4858-b185-ff86be206069" providerId="ADAL" clId="{2CAEC1E3-2241-4370-8FDB-F4FAA904BB83}" dt="2020-06-16T22:50:22.581" v="2032" actId="1076"/>
          <ac:grpSpMkLst>
            <pc:docMk/>
            <pc:sldMk cId="1803203511" sldId="2134804247"/>
            <ac:grpSpMk id="50" creationId="{70F85EF3-A98E-43D8-A39C-98423713D9AE}"/>
          </ac:grpSpMkLst>
        </pc:grpChg>
        <pc:graphicFrameChg chg="mod modGraphic">
          <ac:chgData name="Andrea Mogollon Nossa (CENIT)" userId="f6a3e592-cc27-4858-b185-ff86be206069" providerId="ADAL" clId="{2CAEC1E3-2241-4370-8FDB-F4FAA904BB83}" dt="2020-06-16T22:53:04.007" v="2097" actId="122"/>
          <ac:graphicFrameMkLst>
            <pc:docMk/>
            <pc:sldMk cId="1803203511" sldId="2134804247"/>
            <ac:graphicFrameMk id="11" creationId="{9D9D1D21-7943-4251-B296-312E588F0E7D}"/>
          </ac:graphicFrameMkLst>
        </pc:graphicFrameChg>
      </pc:sldChg>
      <pc:sldChg chg="delSp modSp mod">
        <pc:chgData name="Andrea Mogollon Nossa (CENIT)" userId="f6a3e592-cc27-4858-b185-ff86be206069" providerId="ADAL" clId="{2CAEC1E3-2241-4370-8FDB-F4FAA904BB83}" dt="2020-06-16T22:12:13.371" v="1955" actId="478"/>
        <pc:sldMkLst>
          <pc:docMk/>
          <pc:sldMk cId="2248502622" sldId="2134804265"/>
        </pc:sldMkLst>
        <pc:spChg chg="del mod">
          <ac:chgData name="Andrea Mogollon Nossa (CENIT)" userId="f6a3e592-cc27-4858-b185-ff86be206069" providerId="ADAL" clId="{2CAEC1E3-2241-4370-8FDB-F4FAA904BB83}" dt="2020-06-16T22:12:13.371" v="1955" actId="478"/>
          <ac:spMkLst>
            <pc:docMk/>
            <pc:sldMk cId="2248502622" sldId="2134804265"/>
            <ac:spMk id="70" creationId="{8EDE28D6-DF40-4364-B0BE-AB10109D0147}"/>
          </ac:spMkLst>
        </pc:spChg>
      </pc:sldChg>
      <pc:sldChg chg="modSp mod">
        <pc:chgData name="Andrea Mogollon Nossa (CENIT)" userId="f6a3e592-cc27-4858-b185-ff86be206069" providerId="ADAL" clId="{2CAEC1E3-2241-4370-8FDB-F4FAA904BB83}" dt="2020-06-17T20:28:49.293" v="5695" actId="1076"/>
        <pc:sldMkLst>
          <pc:docMk/>
          <pc:sldMk cId="5164804" sldId="2134804270"/>
        </pc:sldMkLst>
        <pc:spChg chg="mod">
          <ac:chgData name="Andrea Mogollon Nossa (CENIT)" userId="f6a3e592-cc27-4858-b185-ff86be206069" providerId="ADAL" clId="{2CAEC1E3-2241-4370-8FDB-F4FAA904BB83}" dt="2020-06-17T20:28:49.293" v="5695" actId="1076"/>
          <ac:spMkLst>
            <pc:docMk/>
            <pc:sldMk cId="5164804" sldId="2134804270"/>
            <ac:spMk id="22" creationId="{7565957D-73CC-497F-A9EE-BA5F2A79250A}"/>
          </ac:spMkLst>
        </pc:spChg>
      </pc:sldChg>
      <pc:sldChg chg="addSp delSp modSp mod">
        <pc:chgData name="Andrea Mogollon Nossa (CENIT)" userId="f6a3e592-cc27-4858-b185-ff86be206069" providerId="ADAL" clId="{2CAEC1E3-2241-4370-8FDB-F4FAA904BB83}" dt="2020-06-17T21:25:09.571" v="6378" actId="20577"/>
        <pc:sldMkLst>
          <pc:docMk/>
          <pc:sldMk cId="685398324" sldId="2134804277"/>
        </pc:sldMkLst>
        <pc:spChg chg="del mod">
          <ac:chgData name="Andrea Mogollon Nossa (CENIT)" userId="f6a3e592-cc27-4858-b185-ff86be206069" providerId="ADAL" clId="{2CAEC1E3-2241-4370-8FDB-F4FAA904BB83}" dt="2020-06-17T21:01:21.624" v="6073" actId="478"/>
          <ac:spMkLst>
            <pc:docMk/>
            <pc:sldMk cId="685398324" sldId="2134804277"/>
            <ac:spMk id="3" creationId="{815B10B7-60B3-4C63-8431-70CC556387C9}"/>
          </ac:spMkLst>
        </pc:spChg>
        <pc:spChg chg="mod">
          <ac:chgData name="Andrea Mogollon Nossa (CENIT)" userId="f6a3e592-cc27-4858-b185-ff86be206069" providerId="ADAL" clId="{2CAEC1E3-2241-4370-8FDB-F4FAA904BB83}" dt="2020-06-17T21:14:19.278" v="6257" actId="1076"/>
          <ac:spMkLst>
            <pc:docMk/>
            <pc:sldMk cId="685398324" sldId="2134804277"/>
            <ac:spMk id="6" creationId="{6F097E8B-274A-49AC-8761-8119E3C5B68F}"/>
          </ac:spMkLst>
        </pc:spChg>
        <pc:spChg chg="mod">
          <ac:chgData name="Andrea Mogollon Nossa (CENIT)" userId="f6a3e592-cc27-4858-b185-ff86be206069" providerId="ADAL" clId="{2CAEC1E3-2241-4370-8FDB-F4FAA904BB83}" dt="2020-06-16T17:12:31.924" v="1597" actId="1076"/>
          <ac:spMkLst>
            <pc:docMk/>
            <pc:sldMk cId="685398324" sldId="2134804277"/>
            <ac:spMk id="7" creationId="{52FE2391-690B-4D13-B0BE-AD54BD4AFEAA}"/>
          </ac:spMkLst>
        </pc:spChg>
        <pc:spChg chg="mod">
          <ac:chgData name="Andrea Mogollon Nossa (CENIT)" userId="f6a3e592-cc27-4858-b185-ff86be206069" providerId="ADAL" clId="{2CAEC1E3-2241-4370-8FDB-F4FAA904BB83}" dt="2020-06-16T17:10:42.260" v="1581" actId="1076"/>
          <ac:spMkLst>
            <pc:docMk/>
            <pc:sldMk cId="685398324" sldId="2134804277"/>
            <ac:spMk id="8" creationId="{782E4B7C-0F35-45FE-B943-FBCAA2C30BC3}"/>
          </ac:spMkLst>
        </pc:spChg>
        <pc:spChg chg="add del mod">
          <ac:chgData name="Andrea Mogollon Nossa (CENIT)" userId="f6a3e592-cc27-4858-b185-ff86be206069" providerId="ADAL" clId="{2CAEC1E3-2241-4370-8FDB-F4FAA904BB83}" dt="2020-06-17T21:03:08.974" v="6102"/>
          <ac:spMkLst>
            <pc:docMk/>
            <pc:sldMk cId="685398324" sldId="2134804277"/>
            <ac:spMk id="9" creationId="{9F0786F2-DEE4-4172-840F-CF551EC2D37B}"/>
          </ac:spMkLst>
        </pc:spChg>
        <pc:spChg chg="add mod">
          <ac:chgData name="Andrea Mogollon Nossa (CENIT)" userId="f6a3e592-cc27-4858-b185-ff86be206069" providerId="ADAL" clId="{2CAEC1E3-2241-4370-8FDB-F4FAA904BB83}" dt="2020-06-17T21:12:55.686" v="6239" actId="1076"/>
          <ac:spMkLst>
            <pc:docMk/>
            <pc:sldMk cId="685398324" sldId="2134804277"/>
            <ac:spMk id="10" creationId="{581EF6D6-B646-4C41-9412-D3C8807256CB}"/>
          </ac:spMkLst>
        </pc:spChg>
        <pc:spChg chg="mod">
          <ac:chgData name="Andrea Mogollon Nossa (CENIT)" userId="f6a3e592-cc27-4858-b185-ff86be206069" providerId="ADAL" clId="{2CAEC1E3-2241-4370-8FDB-F4FAA904BB83}" dt="2020-06-16T17:10:45.596" v="1583" actId="1076"/>
          <ac:spMkLst>
            <pc:docMk/>
            <pc:sldMk cId="685398324" sldId="2134804277"/>
            <ac:spMk id="11" creationId="{81DFC592-E154-4591-B5A9-F56C74872769}"/>
          </ac:spMkLst>
        </pc:spChg>
        <pc:spChg chg="add mod">
          <ac:chgData name="Andrea Mogollon Nossa (CENIT)" userId="f6a3e592-cc27-4858-b185-ff86be206069" providerId="ADAL" clId="{2CAEC1E3-2241-4370-8FDB-F4FAA904BB83}" dt="2020-06-17T21:12:55.686" v="6239" actId="1076"/>
          <ac:spMkLst>
            <pc:docMk/>
            <pc:sldMk cId="685398324" sldId="2134804277"/>
            <ac:spMk id="12" creationId="{C439253A-F324-4629-9301-79D1D68D6668}"/>
          </ac:spMkLst>
        </pc:spChg>
        <pc:spChg chg="mod">
          <ac:chgData name="Andrea Mogollon Nossa (CENIT)" userId="f6a3e592-cc27-4858-b185-ff86be206069" providerId="ADAL" clId="{2CAEC1E3-2241-4370-8FDB-F4FAA904BB83}" dt="2020-06-17T21:14:14.309" v="6256" actId="1076"/>
          <ac:spMkLst>
            <pc:docMk/>
            <pc:sldMk cId="685398324" sldId="2134804277"/>
            <ac:spMk id="40" creationId="{2631D492-951C-4EB3-926A-C7A33457A10A}"/>
          </ac:spMkLst>
        </pc:spChg>
        <pc:spChg chg="mod">
          <ac:chgData name="Andrea Mogollon Nossa (CENIT)" userId="f6a3e592-cc27-4858-b185-ff86be206069" providerId="ADAL" clId="{2CAEC1E3-2241-4370-8FDB-F4FAA904BB83}" dt="2020-06-16T17:10:43.979" v="1582" actId="1076"/>
          <ac:spMkLst>
            <pc:docMk/>
            <pc:sldMk cId="685398324" sldId="2134804277"/>
            <ac:spMk id="42" creationId="{4B77028B-8CAF-4678-ACA2-D711B0894F35}"/>
          </ac:spMkLst>
        </pc:spChg>
        <pc:spChg chg="mod">
          <ac:chgData name="Andrea Mogollon Nossa (CENIT)" userId="f6a3e592-cc27-4858-b185-ff86be206069" providerId="ADAL" clId="{2CAEC1E3-2241-4370-8FDB-F4FAA904BB83}" dt="2020-06-16T16:47:05.466" v="1270" actId="1076"/>
          <ac:spMkLst>
            <pc:docMk/>
            <pc:sldMk cId="685398324" sldId="2134804277"/>
            <ac:spMk id="45" creationId="{8D1FB81A-0B27-4127-BC86-B03428D1F59A}"/>
          </ac:spMkLst>
        </pc:spChg>
        <pc:spChg chg="mod">
          <ac:chgData name="Andrea Mogollon Nossa (CENIT)" userId="f6a3e592-cc27-4858-b185-ff86be206069" providerId="ADAL" clId="{2CAEC1E3-2241-4370-8FDB-F4FAA904BB83}" dt="2020-06-17T21:12:36.941" v="6235" actId="1076"/>
          <ac:spMkLst>
            <pc:docMk/>
            <pc:sldMk cId="685398324" sldId="2134804277"/>
            <ac:spMk id="46" creationId="{27981B7C-00A6-4188-89CE-D66C37A27448}"/>
          </ac:spMkLst>
        </pc:spChg>
        <pc:spChg chg="mod">
          <ac:chgData name="Andrea Mogollon Nossa (CENIT)" userId="f6a3e592-cc27-4858-b185-ff86be206069" providerId="ADAL" clId="{2CAEC1E3-2241-4370-8FDB-F4FAA904BB83}" dt="2020-06-17T21:08:42.301" v="6182" actId="1076"/>
          <ac:spMkLst>
            <pc:docMk/>
            <pc:sldMk cId="685398324" sldId="2134804277"/>
            <ac:spMk id="47" creationId="{CEEB4B6C-D333-4CA0-857A-0570DA1879D6}"/>
          </ac:spMkLst>
        </pc:spChg>
        <pc:spChg chg="del mod">
          <ac:chgData name="Andrea Mogollon Nossa (CENIT)" userId="f6a3e592-cc27-4858-b185-ff86be206069" providerId="ADAL" clId="{2CAEC1E3-2241-4370-8FDB-F4FAA904BB83}" dt="2020-06-16T17:08:05.026" v="1542" actId="478"/>
          <ac:spMkLst>
            <pc:docMk/>
            <pc:sldMk cId="685398324" sldId="2134804277"/>
            <ac:spMk id="48" creationId="{FC964F82-1EE8-4416-BD74-FC36A34AA10C}"/>
          </ac:spMkLst>
        </pc:spChg>
        <pc:spChg chg="del mod">
          <ac:chgData name="Andrea Mogollon Nossa (CENIT)" userId="f6a3e592-cc27-4858-b185-ff86be206069" providerId="ADAL" clId="{2CAEC1E3-2241-4370-8FDB-F4FAA904BB83}" dt="2020-06-16T17:08:06.757" v="1543" actId="478"/>
          <ac:spMkLst>
            <pc:docMk/>
            <pc:sldMk cId="685398324" sldId="2134804277"/>
            <ac:spMk id="49" creationId="{52D2904A-8DAC-4AB7-AEDA-42A5AAB092C8}"/>
          </ac:spMkLst>
        </pc:spChg>
        <pc:spChg chg="add del mod">
          <ac:chgData name="Andrea Mogollon Nossa (CENIT)" userId="f6a3e592-cc27-4858-b185-ff86be206069" providerId="ADAL" clId="{2CAEC1E3-2241-4370-8FDB-F4FAA904BB83}" dt="2020-06-16T16:46:49.156" v="1266"/>
          <ac:spMkLst>
            <pc:docMk/>
            <pc:sldMk cId="685398324" sldId="2134804277"/>
            <ac:spMk id="50" creationId="{0D2050D4-4DE1-4E76-B678-1A10ADCB62DD}"/>
          </ac:spMkLst>
        </pc:spChg>
        <pc:spChg chg="mod">
          <ac:chgData name="Andrea Mogollon Nossa (CENIT)" userId="f6a3e592-cc27-4858-b185-ff86be206069" providerId="ADAL" clId="{2CAEC1E3-2241-4370-8FDB-F4FAA904BB83}" dt="2020-06-17T21:12:41.645" v="6237" actId="1076"/>
          <ac:spMkLst>
            <pc:docMk/>
            <pc:sldMk cId="685398324" sldId="2134804277"/>
            <ac:spMk id="51" creationId="{D1BBB9FD-BBB2-4DBE-B91B-1ABE54C48C86}"/>
          </ac:spMkLst>
        </pc:spChg>
        <pc:spChg chg="mod">
          <ac:chgData name="Andrea Mogollon Nossa (CENIT)" userId="f6a3e592-cc27-4858-b185-ff86be206069" providerId="ADAL" clId="{2CAEC1E3-2241-4370-8FDB-F4FAA904BB83}" dt="2020-06-17T21:08:42.301" v="6182" actId="1076"/>
          <ac:spMkLst>
            <pc:docMk/>
            <pc:sldMk cId="685398324" sldId="2134804277"/>
            <ac:spMk id="52" creationId="{7B36949A-E22B-4AD5-9F62-88623E4F7646}"/>
          </ac:spMkLst>
        </pc:spChg>
        <pc:spChg chg="mod">
          <ac:chgData name="Andrea Mogollon Nossa (CENIT)" userId="f6a3e592-cc27-4858-b185-ff86be206069" providerId="ADAL" clId="{2CAEC1E3-2241-4370-8FDB-F4FAA904BB83}" dt="2020-06-17T21:25:09.571" v="6378" actId="20577"/>
          <ac:spMkLst>
            <pc:docMk/>
            <pc:sldMk cId="685398324" sldId="2134804277"/>
            <ac:spMk id="53" creationId="{F9C857D3-C5F6-4D00-8D9C-646D1DA60918}"/>
          </ac:spMkLst>
        </pc:spChg>
        <pc:spChg chg="mod">
          <ac:chgData name="Andrea Mogollon Nossa (CENIT)" userId="f6a3e592-cc27-4858-b185-ff86be206069" providerId="ADAL" clId="{2CAEC1E3-2241-4370-8FDB-F4FAA904BB83}" dt="2020-06-17T21:14:52.045" v="6268" actId="1076"/>
          <ac:spMkLst>
            <pc:docMk/>
            <pc:sldMk cId="685398324" sldId="2134804277"/>
            <ac:spMk id="54" creationId="{C38A9719-1AF0-4D7F-AF9E-714FBC133573}"/>
          </ac:spMkLst>
        </pc:spChg>
        <pc:spChg chg="add del mod">
          <ac:chgData name="Andrea Mogollon Nossa (CENIT)" userId="f6a3e592-cc27-4858-b185-ff86be206069" providerId="ADAL" clId="{2CAEC1E3-2241-4370-8FDB-F4FAA904BB83}" dt="2020-06-16T16:46:49.156" v="1266"/>
          <ac:spMkLst>
            <pc:docMk/>
            <pc:sldMk cId="685398324" sldId="2134804277"/>
            <ac:spMk id="55" creationId="{1FD77C8B-497F-49C8-BA15-58B743F47C9C}"/>
          </ac:spMkLst>
        </pc:spChg>
        <pc:spChg chg="del mod">
          <ac:chgData name="Andrea Mogollon Nossa (CENIT)" userId="f6a3e592-cc27-4858-b185-ff86be206069" providerId="ADAL" clId="{2CAEC1E3-2241-4370-8FDB-F4FAA904BB83}" dt="2020-06-16T17:10:38.250" v="1580" actId="478"/>
          <ac:spMkLst>
            <pc:docMk/>
            <pc:sldMk cId="685398324" sldId="2134804277"/>
            <ac:spMk id="56" creationId="{0C89EF90-E082-46D6-862E-1A2368BBAAD1}"/>
          </ac:spMkLst>
        </pc:spChg>
        <pc:spChg chg="mod">
          <ac:chgData name="Andrea Mogollon Nossa (CENIT)" userId="f6a3e592-cc27-4858-b185-ff86be206069" providerId="ADAL" clId="{2CAEC1E3-2241-4370-8FDB-F4FAA904BB83}" dt="2020-06-17T21:02:00.709" v="6082" actId="20577"/>
          <ac:spMkLst>
            <pc:docMk/>
            <pc:sldMk cId="685398324" sldId="2134804277"/>
            <ac:spMk id="57" creationId="{48380FA4-D73B-4203-B6A3-A6970B4FD90E}"/>
          </ac:spMkLst>
        </pc:spChg>
        <pc:spChg chg="del mod">
          <ac:chgData name="Andrea Mogollon Nossa (CENIT)" userId="f6a3e592-cc27-4858-b185-ff86be206069" providerId="ADAL" clId="{2CAEC1E3-2241-4370-8FDB-F4FAA904BB83}" dt="2020-06-17T17:28:05.202" v="4569" actId="21"/>
          <ac:spMkLst>
            <pc:docMk/>
            <pc:sldMk cId="685398324" sldId="2134804277"/>
            <ac:spMk id="58" creationId="{B70591EC-E81F-4CD5-ACA8-E7BB012CA019}"/>
          </ac:spMkLst>
        </pc:spChg>
        <pc:spChg chg="mod">
          <ac:chgData name="Andrea Mogollon Nossa (CENIT)" userId="f6a3e592-cc27-4858-b185-ff86be206069" providerId="ADAL" clId="{2CAEC1E3-2241-4370-8FDB-F4FAA904BB83}" dt="2020-06-16T16:46:33.990" v="1262" actId="1076"/>
          <ac:spMkLst>
            <pc:docMk/>
            <pc:sldMk cId="685398324" sldId="2134804277"/>
            <ac:spMk id="59" creationId="{EAF78979-5F8E-4AF6-BC74-2B4E7343311B}"/>
          </ac:spMkLst>
        </pc:spChg>
        <pc:spChg chg="del mod">
          <ac:chgData name="Andrea Mogollon Nossa (CENIT)" userId="f6a3e592-cc27-4858-b185-ff86be206069" providerId="ADAL" clId="{2CAEC1E3-2241-4370-8FDB-F4FAA904BB83}" dt="2020-06-17T17:28:05.202" v="4569" actId="21"/>
          <ac:spMkLst>
            <pc:docMk/>
            <pc:sldMk cId="685398324" sldId="2134804277"/>
            <ac:spMk id="60" creationId="{8B8E41D3-64E3-4652-94B3-5581B127D9B5}"/>
          </ac:spMkLst>
        </pc:spChg>
        <pc:spChg chg="del mod">
          <ac:chgData name="Andrea Mogollon Nossa (CENIT)" userId="f6a3e592-cc27-4858-b185-ff86be206069" providerId="ADAL" clId="{2CAEC1E3-2241-4370-8FDB-F4FAA904BB83}" dt="2020-06-16T16:47:39.492" v="1283" actId="478"/>
          <ac:spMkLst>
            <pc:docMk/>
            <pc:sldMk cId="685398324" sldId="2134804277"/>
            <ac:spMk id="61" creationId="{EF8176E4-1C62-447B-BB4C-614EE33F0B4C}"/>
          </ac:spMkLst>
        </pc:spChg>
        <pc:spChg chg="add del mod">
          <ac:chgData name="Andrea Mogollon Nossa (CENIT)" userId="f6a3e592-cc27-4858-b185-ff86be206069" providerId="ADAL" clId="{2CAEC1E3-2241-4370-8FDB-F4FAA904BB83}" dt="2020-06-16T16:46:49.156" v="1266"/>
          <ac:spMkLst>
            <pc:docMk/>
            <pc:sldMk cId="685398324" sldId="2134804277"/>
            <ac:spMk id="62" creationId="{C943C293-D6A5-4E23-9057-9CB9E811710D}"/>
          </ac:spMkLst>
        </pc:spChg>
        <pc:spChg chg="add del mod">
          <ac:chgData name="Andrea Mogollon Nossa (CENIT)" userId="f6a3e592-cc27-4858-b185-ff86be206069" providerId="ADAL" clId="{2CAEC1E3-2241-4370-8FDB-F4FAA904BB83}" dt="2020-06-16T16:46:49.156" v="1266"/>
          <ac:spMkLst>
            <pc:docMk/>
            <pc:sldMk cId="685398324" sldId="2134804277"/>
            <ac:spMk id="63" creationId="{251B6818-04AE-4E98-A8D8-1764E1402EC6}"/>
          </ac:spMkLst>
        </pc:spChg>
        <pc:spChg chg="add del mod">
          <ac:chgData name="Andrea Mogollon Nossa (CENIT)" userId="f6a3e592-cc27-4858-b185-ff86be206069" providerId="ADAL" clId="{2CAEC1E3-2241-4370-8FDB-F4FAA904BB83}" dt="2020-06-16T16:46:49.156" v="1266"/>
          <ac:spMkLst>
            <pc:docMk/>
            <pc:sldMk cId="685398324" sldId="2134804277"/>
            <ac:spMk id="64" creationId="{605776FE-6ADA-4565-B87C-88C11BFDB125}"/>
          </ac:spMkLst>
        </pc:spChg>
        <pc:spChg chg="add del mod">
          <ac:chgData name="Andrea Mogollon Nossa (CENIT)" userId="f6a3e592-cc27-4858-b185-ff86be206069" providerId="ADAL" clId="{2CAEC1E3-2241-4370-8FDB-F4FAA904BB83}" dt="2020-06-16T16:46:49.156" v="1266"/>
          <ac:spMkLst>
            <pc:docMk/>
            <pc:sldMk cId="685398324" sldId="2134804277"/>
            <ac:spMk id="65" creationId="{68FBB0A4-0A8F-416D-8C0F-45B680FA8527}"/>
          </ac:spMkLst>
        </pc:spChg>
        <pc:spChg chg="add del mod">
          <ac:chgData name="Andrea Mogollon Nossa (CENIT)" userId="f6a3e592-cc27-4858-b185-ff86be206069" providerId="ADAL" clId="{2CAEC1E3-2241-4370-8FDB-F4FAA904BB83}" dt="2020-06-16T16:46:49.156" v="1266"/>
          <ac:spMkLst>
            <pc:docMk/>
            <pc:sldMk cId="685398324" sldId="2134804277"/>
            <ac:spMk id="66" creationId="{0023F4B2-A6B9-4F4E-B661-501E096A8B1D}"/>
          </ac:spMkLst>
        </pc:spChg>
        <pc:spChg chg="add del mod">
          <ac:chgData name="Andrea Mogollon Nossa (CENIT)" userId="f6a3e592-cc27-4858-b185-ff86be206069" providerId="ADAL" clId="{2CAEC1E3-2241-4370-8FDB-F4FAA904BB83}" dt="2020-06-16T16:46:49.156" v="1266"/>
          <ac:spMkLst>
            <pc:docMk/>
            <pc:sldMk cId="685398324" sldId="2134804277"/>
            <ac:spMk id="67" creationId="{3B32CDC6-1447-49FC-AD86-4FF3888AACEE}"/>
          </ac:spMkLst>
        </pc:spChg>
        <pc:spChg chg="add del mod">
          <ac:chgData name="Andrea Mogollon Nossa (CENIT)" userId="f6a3e592-cc27-4858-b185-ff86be206069" providerId="ADAL" clId="{2CAEC1E3-2241-4370-8FDB-F4FAA904BB83}" dt="2020-06-16T16:46:49.156" v="1266"/>
          <ac:spMkLst>
            <pc:docMk/>
            <pc:sldMk cId="685398324" sldId="2134804277"/>
            <ac:spMk id="68" creationId="{8B56D9E3-D85C-48EB-B3B2-86BA74C1EE16}"/>
          </ac:spMkLst>
        </pc:spChg>
        <pc:spChg chg="add del mod">
          <ac:chgData name="Andrea Mogollon Nossa (CENIT)" userId="f6a3e592-cc27-4858-b185-ff86be206069" providerId="ADAL" clId="{2CAEC1E3-2241-4370-8FDB-F4FAA904BB83}" dt="2020-06-16T16:46:49.156" v="1266"/>
          <ac:spMkLst>
            <pc:docMk/>
            <pc:sldMk cId="685398324" sldId="2134804277"/>
            <ac:spMk id="69" creationId="{578E352A-3F8C-489E-A51F-CF34A90D83DB}"/>
          </ac:spMkLst>
        </pc:spChg>
        <pc:spChg chg="mod">
          <ac:chgData name="Andrea Mogollon Nossa (CENIT)" userId="f6a3e592-cc27-4858-b185-ff86be206069" providerId="ADAL" clId="{2CAEC1E3-2241-4370-8FDB-F4FAA904BB83}" dt="2020-06-17T21:02:26.349" v="6088" actId="1076"/>
          <ac:spMkLst>
            <pc:docMk/>
            <pc:sldMk cId="685398324" sldId="2134804277"/>
            <ac:spMk id="69" creationId="{C8FFD2CE-E309-4072-9297-68D81274B40A}"/>
          </ac:spMkLst>
        </pc:spChg>
        <pc:spChg chg="add del mod">
          <ac:chgData name="Andrea Mogollon Nossa (CENIT)" userId="f6a3e592-cc27-4858-b185-ff86be206069" providerId="ADAL" clId="{2CAEC1E3-2241-4370-8FDB-F4FAA904BB83}" dt="2020-06-16T16:46:49.156" v="1266"/>
          <ac:spMkLst>
            <pc:docMk/>
            <pc:sldMk cId="685398324" sldId="2134804277"/>
            <ac:spMk id="70" creationId="{01DC31C0-E978-49D9-8F02-DCCACF189CBE}"/>
          </ac:spMkLst>
        </pc:spChg>
        <pc:spChg chg="mod">
          <ac:chgData name="Andrea Mogollon Nossa (CENIT)" userId="f6a3e592-cc27-4858-b185-ff86be206069" providerId="ADAL" clId="{2CAEC1E3-2241-4370-8FDB-F4FAA904BB83}" dt="2020-06-17T21:02:36.020" v="6091" actId="1076"/>
          <ac:spMkLst>
            <pc:docMk/>
            <pc:sldMk cId="685398324" sldId="2134804277"/>
            <ac:spMk id="70" creationId="{10CEAC64-42D3-4879-B6BE-C8E72BFE35E5}"/>
          </ac:spMkLst>
        </pc:spChg>
        <pc:spChg chg="mod">
          <ac:chgData name="Andrea Mogollon Nossa (CENIT)" userId="f6a3e592-cc27-4858-b185-ff86be206069" providerId="ADAL" clId="{2CAEC1E3-2241-4370-8FDB-F4FAA904BB83}" dt="2020-06-17T21:02:42.085" v="6093" actId="1076"/>
          <ac:spMkLst>
            <pc:docMk/>
            <pc:sldMk cId="685398324" sldId="2134804277"/>
            <ac:spMk id="71" creationId="{90F0F570-83E8-4E69-A9A0-FCCDD1A6305C}"/>
          </ac:spMkLst>
        </pc:spChg>
        <pc:spChg chg="add del mod">
          <ac:chgData name="Andrea Mogollon Nossa (CENIT)" userId="f6a3e592-cc27-4858-b185-ff86be206069" providerId="ADAL" clId="{2CAEC1E3-2241-4370-8FDB-F4FAA904BB83}" dt="2020-06-16T16:46:49.156" v="1266"/>
          <ac:spMkLst>
            <pc:docMk/>
            <pc:sldMk cId="685398324" sldId="2134804277"/>
            <ac:spMk id="71" creationId="{D9E72CCB-2FF7-48F3-9627-F57E7B0ECB24}"/>
          </ac:spMkLst>
        </pc:spChg>
        <pc:spChg chg="mod">
          <ac:chgData name="Andrea Mogollon Nossa (CENIT)" userId="f6a3e592-cc27-4858-b185-ff86be206069" providerId="ADAL" clId="{2CAEC1E3-2241-4370-8FDB-F4FAA904BB83}" dt="2020-06-17T21:02:50.596" v="6096" actId="1076"/>
          <ac:spMkLst>
            <pc:docMk/>
            <pc:sldMk cId="685398324" sldId="2134804277"/>
            <ac:spMk id="72" creationId="{4260919B-02F7-4252-A8DC-A6A9A717EDBD}"/>
          </ac:spMkLst>
        </pc:spChg>
        <pc:spChg chg="add del mod">
          <ac:chgData name="Andrea Mogollon Nossa (CENIT)" userId="f6a3e592-cc27-4858-b185-ff86be206069" providerId="ADAL" clId="{2CAEC1E3-2241-4370-8FDB-F4FAA904BB83}" dt="2020-06-16T16:46:49.156" v="1266"/>
          <ac:spMkLst>
            <pc:docMk/>
            <pc:sldMk cId="685398324" sldId="2134804277"/>
            <ac:spMk id="72" creationId="{D176F647-5957-492E-BA16-E7B55478DF1B}"/>
          </ac:spMkLst>
        </pc:spChg>
        <pc:spChg chg="add del mod">
          <ac:chgData name="Andrea Mogollon Nossa (CENIT)" userId="f6a3e592-cc27-4858-b185-ff86be206069" providerId="ADAL" clId="{2CAEC1E3-2241-4370-8FDB-F4FAA904BB83}" dt="2020-06-16T16:46:49.156" v="1266"/>
          <ac:spMkLst>
            <pc:docMk/>
            <pc:sldMk cId="685398324" sldId="2134804277"/>
            <ac:spMk id="73" creationId="{7689BECD-027C-40B8-980F-1294DF4CA22C}"/>
          </ac:spMkLst>
        </pc:spChg>
        <pc:spChg chg="del">
          <ac:chgData name="Andrea Mogollon Nossa (CENIT)" userId="f6a3e592-cc27-4858-b185-ff86be206069" providerId="ADAL" clId="{2CAEC1E3-2241-4370-8FDB-F4FAA904BB83}" dt="2020-06-17T17:28:05.202" v="4569" actId="21"/>
          <ac:spMkLst>
            <pc:docMk/>
            <pc:sldMk cId="685398324" sldId="2134804277"/>
            <ac:spMk id="73" creationId="{DC0659CB-DE42-44D1-B937-66C385216598}"/>
          </ac:spMkLst>
        </pc:spChg>
        <pc:spChg chg="add del mod">
          <ac:chgData name="Andrea Mogollon Nossa (CENIT)" userId="f6a3e592-cc27-4858-b185-ff86be206069" providerId="ADAL" clId="{2CAEC1E3-2241-4370-8FDB-F4FAA904BB83}" dt="2020-06-16T16:46:49.156" v="1266"/>
          <ac:spMkLst>
            <pc:docMk/>
            <pc:sldMk cId="685398324" sldId="2134804277"/>
            <ac:spMk id="74" creationId="{214236B6-275B-4440-B4F3-DF97552BD417}"/>
          </ac:spMkLst>
        </pc:spChg>
        <pc:spChg chg="mod">
          <ac:chgData name="Andrea Mogollon Nossa (CENIT)" userId="f6a3e592-cc27-4858-b185-ff86be206069" providerId="ADAL" clId="{2CAEC1E3-2241-4370-8FDB-F4FAA904BB83}" dt="2020-06-17T21:10:51.853" v="6209" actId="1076"/>
          <ac:spMkLst>
            <pc:docMk/>
            <pc:sldMk cId="685398324" sldId="2134804277"/>
            <ac:spMk id="74" creationId="{B33AE336-9430-49D7-A74B-E3F446F53353}"/>
          </ac:spMkLst>
        </pc:spChg>
        <pc:spChg chg="mod">
          <ac:chgData name="Andrea Mogollon Nossa (CENIT)" userId="f6a3e592-cc27-4858-b185-ff86be206069" providerId="ADAL" clId="{2CAEC1E3-2241-4370-8FDB-F4FAA904BB83}" dt="2020-06-17T17:28:57.797" v="4575" actId="1076"/>
          <ac:spMkLst>
            <pc:docMk/>
            <pc:sldMk cId="685398324" sldId="2134804277"/>
            <ac:spMk id="75" creationId="{10CA6977-1DFC-403C-A45F-5C7F8E4CD4C3}"/>
          </ac:spMkLst>
        </pc:spChg>
        <pc:spChg chg="add del mod">
          <ac:chgData name="Andrea Mogollon Nossa (CENIT)" userId="f6a3e592-cc27-4858-b185-ff86be206069" providerId="ADAL" clId="{2CAEC1E3-2241-4370-8FDB-F4FAA904BB83}" dt="2020-06-16T16:46:49.156" v="1266"/>
          <ac:spMkLst>
            <pc:docMk/>
            <pc:sldMk cId="685398324" sldId="2134804277"/>
            <ac:spMk id="75" creationId="{30FEED49-D357-438D-8918-A6479390E327}"/>
          </ac:spMkLst>
        </pc:spChg>
        <pc:spChg chg="add del mod">
          <ac:chgData name="Andrea Mogollon Nossa (CENIT)" userId="f6a3e592-cc27-4858-b185-ff86be206069" providerId="ADAL" clId="{2CAEC1E3-2241-4370-8FDB-F4FAA904BB83}" dt="2020-06-16T16:46:49.156" v="1266"/>
          <ac:spMkLst>
            <pc:docMk/>
            <pc:sldMk cId="685398324" sldId="2134804277"/>
            <ac:spMk id="76" creationId="{C3B2599F-09F3-4F7A-8D54-ECE97E4C34F4}"/>
          </ac:spMkLst>
        </pc:spChg>
        <pc:spChg chg="mod">
          <ac:chgData name="Andrea Mogollon Nossa (CENIT)" userId="f6a3e592-cc27-4858-b185-ff86be206069" providerId="ADAL" clId="{2CAEC1E3-2241-4370-8FDB-F4FAA904BB83}" dt="2020-06-17T21:08:42.301" v="6182" actId="1076"/>
          <ac:spMkLst>
            <pc:docMk/>
            <pc:sldMk cId="685398324" sldId="2134804277"/>
            <ac:spMk id="76" creationId="{F6C39026-16E8-46B2-BBB2-C363EF966425}"/>
          </ac:spMkLst>
        </pc:spChg>
        <pc:spChg chg="mod">
          <ac:chgData name="Andrea Mogollon Nossa (CENIT)" userId="f6a3e592-cc27-4858-b185-ff86be206069" providerId="ADAL" clId="{2CAEC1E3-2241-4370-8FDB-F4FAA904BB83}" dt="2020-06-17T21:08:42.301" v="6182" actId="1076"/>
          <ac:spMkLst>
            <pc:docMk/>
            <pc:sldMk cId="685398324" sldId="2134804277"/>
            <ac:spMk id="77" creationId="{250DDC32-7399-472D-8369-461782ED2483}"/>
          </ac:spMkLst>
        </pc:spChg>
        <pc:spChg chg="add del mod">
          <ac:chgData name="Andrea Mogollon Nossa (CENIT)" userId="f6a3e592-cc27-4858-b185-ff86be206069" providerId="ADAL" clId="{2CAEC1E3-2241-4370-8FDB-F4FAA904BB83}" dt="2020-06-16T16:46:49.156" v="1266"/>
          <ac:spMkLst>
            <pc:docMk/>
            <pc:sldMk cId="685398324" sldId="2134804277"/>
            <ac:spMk id="77" creationId="{C06629C1-31FD-44D9-9335-4506F888955E}"/>
          </ac:spMkLst>
        </pc:spChg>
        <pc:spChg chg="mod ord">
          <ac:chgData name="Andrea Mogollon Nossa (CENIT)" userId="f6a3e592-cc27-4858-b185-ff86be206069" providerId="ADAL" clId="{2CAEC1E3-2241-4370-8FDB-F4FAA904BB83}" dt="2020-06-17T21:08:46.156" v="6183" actId="1076"/>
          <ac:spMkLst>
            <pc:docMk/>
            <pc:sldMk cId="685398324" sldId="2134804277"/>
            <ac:spMk id="78" creationId="{9207C83B-D9D1-4EF5-A6BA-47A0F83FCE5C}"/>
          </ac:spMkLst>
        </pc:spChg>
        <pc:spChg chg="add del mod">
          <ac:chgData name="Andrea Mogollon Nossa (CENIT)" userId="f6a3e592-cc27-4858-b185-ff86be206069" providerId="ADAL" clId="{2CAEC1E3-2241-4370-8FDB-F4FAA904BB83}" dt="2020-06-16T16:46:49.156" v="1266"/>
          <ac:spMkLst>
            <pc:docMk/>
            <pc:sldMk cId="685398324" sldId="2134804277"/>
            <ac:spMk id="78" creationId="{BEC4AE2F-4612-4DC8-9B96-87BFC6AD1D7E}"/>
          </ac:spMkLst>
        </pc:spChg>
        <pc:spChg chg="add del mod">
          <ac:chgData name="Andrea Mogollon Nossa (CENIT)" userId="f6a3e592-cc27-4858-b185-ff86be206069" providerId="ADAL" clId="{2CAEC1E3-2241-4370-8FDB-F4FAA904BB83}" dt="2020-06-16T16:46:49.156" v="1266"/>
          <ac:spMkLst>
            <pc:docMk/>
            <pc:sldMk cId="685398324" sldId="2134804277"/>
            <ac:spMk id="79" creationId="{B3A8629E-5487-40A8-B701-24D3AD37BC67}"/>
          </ac:spMkLst>
        </pc:spChg>
        <pc:spChg chg="mod">
          <ac:chgData name="Andrea Mogollon Nossa (CENIT)" userId="f6a3e592-cc27-4858-b185-ff86be206069" providerId="ADAL" clId="{2CAEC1E3-2241-4370-8FDB-F4FAA904BB83}" dt="2020-06-17T21:08:42.301" v="6182" actId="1076"/>
          <ac:spMkLst>
            <pc:docMk/>
            <pc:sldMk cId="685398324" sldId="2134804277"/>
            <ac:spMk id="79" creationId="{D1B5F9E2-B140-409E-964D-510149FDA0A6}"/>
          </ac:spMkLst>
        </pc:spChg>
        <pc:spChg chg="add del mod">
          <ac:chgData name="Andrea Mogollon Nossa (CENIT)" userId="f6a3e592-cc27-4858-b185-ff86be206069" providerId="ADAL" clId="{2CAEC1E3-2241-4370-8FDB-F4FAA904BB83}" dt="2020-06-16T16:46:49.156" v="1266"/>
          <ac:spMkLst>
            <pc:docMk/>
            <pc:sldMk cId="685398324" sldId="2134804277"/>
            <ac:spMk id="80" creationId="{C25A11B5-4722-44F3-97DC-AD1AA7C23465}"/>
          </ac:spMkLst>
        </pc:spChg>
        <pc:spChg chg="mod">
          <ac:chgData name="Andrea Mogollon Nossa (CENIT)" userId="f6a3e592-cc27-4858-b185-ff86be206069" providerId="ADAL" clId="{2CAEC1E3-2241-4370-8FDB-F4FAA904BB83}" dt="2020-06-17T21:10:43.077" v="6206" actId="1076"/>
          <ac:spMkLst>
            <pc:docMk/>
            <pc:sldMk cId="685398324" sldId="2134804277"/>
            <ac:spMk id="80" creationId="{EECEA763-7F2B-4DAF-B4D2-08130142AA14}"/>
          </ac:spMkLst>
        </pc:spChg>
        <pc:spChg chg="add del mod">
          <ac:chgData name="Andrea Mogollon Nossa (CENIT)" userId="f6a3e592-cc27-4858-b185-ff86be206069" providerId="ADAL" clId="{2CAEC1E3-2241-4370-8FDB-F4FAA904BB83}" dt="2020-06-16T16:46:49.156" v="1266"/>
          <ac:spMkLst>
            <pc:docMk/>
            <pc:sldMk cId="685398324" sldId="2134804277"/>
            <ac:spMk id="81" creationId="{1B6056EF-3CE2-4FDC-A063-081EFD440973}"/>
          </ac:spMkLst>
        </pc:spChg>
        <pc:spChg chg="mod">
          <ac:chgData name="Andrea Mogollon Nossa (CENIT)" userId="f6a3e592-cc27-4858-b185-ff86be206069" providerId="ADAL" clId="{2CAEC1E3-2241-4370-8FDB-F4FAA904BB83}" dt="2020-06-17T20:58:41.805" v="6067" actId="1076"/>
          <ac:spMkLst>
            <pc:docMk/>
            <pc:sldMk cId="685398324" sldId="2134804277"/>
            <ac:spMk id="81" creationId="{C631E4FA-DE7B-421C-942A-141780DC78A4}"/>
          </ac:spMkLst>
        </pc:spChg>
        <pc:spChg chg="add del mod">
          <ac:chgData name="Andrea Mogollon Nossa (CENIT)" userId="f6a3e592-cc27-4858-b185-ff86be206069" providerId="ADAL" clId="{2CAEC1E3-2241-4370-8FDB-F4FAA904BB83}" dt="2020-06-16T16:46:49.156" v="1266"/>
          <ac:spMkLst>
            <pc:docMk/>
            <pc:sldMk cId="685398324" sldId="2134804277"/>
            <ac:spMk id="82" creationId="{3D282625-2AED-415F-B5BC-78211C2F0390}"/>
          </ac:spMkLst>
        </pc:spChg>
        <pc:spChg chg="mod">
          <ac:chgData name="Andrea Mogollon Nossa (CENIT)" userId="f6a3e592-cc27-4858-b185-ff86be206069" providerId="ADAL" clId="{2CAEC1E3-2241-4370-8FDB-F4FAA904BB83}" dt="2020-06-17T21:14:24.861" v="6258" actId="1076"/>
          <ac:spMkLst>
            <pc:docMk/>
            <pc:sldMk cId="685398324" sldId="2134804277"/>
            <ac:spMk id="82" creationId="{A365855A-28E1-4840-82FA-0C3F7779753F}"/>
          </ac:spMkLst>
        </pc:spChg>
        <pc:spChg chg="mod ord">
          <ac:chgData name="Andrea Mogollon Nossa (CENIT)" userId="f6a3e592-cc27-4858-b185-ff86be206069" providerId="ADAL" clId="{2CAEC1E3-2241-4370-8FDB-F4FAA904BB83}" dt="2020-06-17T21:08:42.301" v="6182" actId="1076"/>
          <ac:spMkLst>
            <pc:docMk/>
            <pc:sldMk cId="685398324" sldId="2134804277"/>
            <ac:spMk id="83" creationId="{832E5B7E-355E-4CF8-BAC5-D34E4003AA45}"/>
          </ac:spMkLst>
        </pc:spChg>
        <pc:spChg chg="add del mod">
          <ac:chgData name="Andrea Mogollon Nossa (CENIT)" userId="f6a3e592-cc27-4858-b185-ff86be206069" providerId="ADAL" clId="{2CAEC1E3-2241-4370-8FDB-F4FAA904BB83}" dt="2020-06-16T17:10:21.973" v="1577" actId="478"/>
          <ac:spMkLst>
            <pc:docMk/>
            <pc:sldMk cId="685398324" sldId="2134804277"/>
            <ac:spMk id="83" creationId="{E0F3E01F-DBC8-4005-A369-A295B53F998E}"/>
          </ac:spMkLst>
        </pc:spChg>
        <pc:spChg chg="add del mod">
          <ac:chgData name="Andrea Mogollon Nossa (CENIT)" userId="f6a3e592-cc27-4858-b185-ff86be206069" providerId="ADAL" clId="{2CAEC1E3-2241-4370-8FDB-F4FAA904BB83}" dt="2020-06-16T17:10:21.973" v="1577" actId="478"/>
          <ac:spMkLst>
            <pc:docMk/>
            <pc:sldMk cId="685398324" sldId="2134804277"/>
            <ac:spMk id="84" creationId="{3B98216E-DC2F-4390-961F-BE0EB0E250F0}"/>
          </ac:spMkLst>
        </pc:spChg>
        <pc:spChg chg="add del mod">
          <ac:chgData name="Andrea Mogollon Nossa (CENIT)" userId="f6a3e592-cc27-4858-b185-ff86be206069" providerId="ADAL" clId="{2CAEC1E3-2241-4370-8FDB-F4FAA904BB83}" dt="2020-06-16T17:10:21.973" v="1577" actId="478"/>
          <ac:spMkLst>
            <pc:docMk/>
            <pc:sldMk cId="685398324" sldId="2134804277"/>
            <ac:spMk id="85" creationId="{AE2D9D29-BC81-469A-8CAD-0C139F7719DF}"/>
          </ac:spMkLst>
        </pc:spChg>
        <pc:spChg chg="add del mod">
          <ac:chgData name="Andrea Mogollon Nossa (CENIT)" userId="f6a3e592-cc27-4858-b185-ff86be206069" providerId="ADAL" clId="{2CAEC1E3-2241-4370-8FDB-F4FAA904BB83}" dt="2020-06-16T16:56:44.031" v="1347" actId="478"/>
          <ac:spMkLst>
            <pc:docMk/>
            <pc:sldMk cId="685398324" sldId="2134804277"/>
            <ac:spMk id="86" creationId="{17E8EC5B-7109-40F8-96D4-854ECE46FFB4}"/>
          </ac:spMkLst>
        </pc:spChg>
        <pc:spChg chg="add del mod">
          <ac:chgData name="Andrea Mogollon Nossa (CENIT)" userId="f6a3e592-cc27-4858-b185-ff86be206069" providerId="ADAL" clId="{2CAEC1E3-2241-4370-8FDB-F4FAA904BB83}" dt="2020-06-16T16:56:42.305" v="1346" actId="478"/>
          <ac:spMkLst>
            <pc:docMk/>
            <pc:sldMk cId="685398324" sldId="2134804277"/>
            <ac:spMk id="87" creationId="{C573C151-E165-4C59-A087-897A75B570BD}"/>
          </ac:spMkLst>
        </pc:spChg>
        <pc:spChg chg="add del mod">
          <ac:chgData name="Andrea Mogollon Nossa (CENIT)" userId="f6a3e592-cc27-4858-b185-ff86be206069" providerId="ADAL" clId="{2CAEC1E3-2241-4370-8FDB-F4FAA904BB83}" dt="2020-06-16T17:10:21.973" v="1577" actId="478"/>
          <ac:spMkLst>
            <pc:docMk/>
            <pc:sldMk cId="685398324" sldId="2134804277"/>
            <ac:spMk id="88" creationId="{3F0796D2-A0E5-443F-A291-1129C93AA015}"/>
          </ac:spMkLst>
        </pc:spChg>
        <pc:spChg chg="add del mod">
          <ac:chgData name="Andrea Mogollon Nossa (CENIT)" userId="f6a3e592-cc27-4858-b185-ff86be206069" providerId="ADAL" clId="{2CAEC1E3-2241-4370-8FDB-F4FAA904BB83}" dt="2020-06-16T17:10:21.973" v="1577" actId="478"/>
          <ac:spMkLst>
            <pc:docMk/>
            <pc:sldMk cId="685398324" sldId="2134804277"/>
            <ac:spMk id="89" creationId="{69F5D981-11FE-48D8-B3E3-802E2C0D83C5}"/>
          </ac:spMkLst>
        </pc:spChg>
        <pc:spChg chg="add del mod">
          <ac:chgData name="Andrea Mogollon Nossa (CENIT)" userId="f6a3e592-cc27-4858-b185-ff86be206069" providerId="ADAL" clId="{2CAEC1E3-2241-4370-8FDB-F4FAA904BB83}" dt="2020-06-16T17:10:21.973" v="1577" actId="478"/>
          <ac:spMkLst>
            <pc:docMk/>
            <pc:sldMk cId="685398324" sldId="2134804277"/>
            <ac:spMk id="90" creationId="{67CE6F3A-B94B-4A26-844D-3F185948A155}"/>
          </ac:spMkLst>
        </pc:spChg>
        <pc:spChg chg="add del mod">
          <ac:chgData name="Andrea Mogollon Nossa (CENIT)" userId="f6a3e592-cc27-4858-b185-ff86be206069" providerId="ADAL" clId="{2CAEC1E3-2241-4370-8FDB-F4FAA904BB83}" dt="2020-06-16T17:10:21.973" v="1577" actId="478"/>
          <ac:spMkLst>
            <pc:docMk/>
            <pc:sldMk cId="685398324" sldId="2134804277"/>
            <ac:spMk id="91" creationId="{6221D484-9F63-4FA4-A3CF-73D14E33DA49}"/>
          </ac:spMkLst>
        </pc:spChg>
        <pc:spChg chg="add del mod">
          <ac:chgData name="Andrea Mogollon Nossa (CENIT)" userId="f6a3e592-cc27-4858-b185-ff86be206069" providerId="ADAL" clId="{2CAEC1E3-2241-4370-8FDB-F4FAA904BB83}" dt="2020-06-16T17:10:21.973" v="1577" actId="478"/>
          <ac:spMkLst>
            <pc:docMk/>
            <pc:sldMk cId="685398324" sldId="2134804277"/>
            <ac:spMk id="92" creationId="{09B54264-CAA8-410D-82E1-25534FB79555}"/>
          </ac:spMkLst>
        </pc:spChg>
        <pc:spChg chg="add del mod">
          <ac:chgData name="Andrea Mogollon Nossa (CENIT)" userId="f6a3e592-cc27-4858-b185-ff86be206069" providerId="ADAL" clId="{2CAEC1E3-2241-4370-8FDB-F4FAA904BB83}" dt="2020-06-16T17:10:21.973" v="1577" actId="478"/>
          <ac:spMkLst>
            <pc:docMk/>
            <pc:sldMk cId="685398324" sldId="2134804277"/>
            <ac:spMk id="93" creationId="{69439CBA-5330-4F9E-86B0-7C7F34734D00}"/>
          </ac:spMkLst>
        </pc:spChg>
        <pc:spChg chg="add del mod">
          <ac:chgData name="Andrea Mogollon Nossa (CENIT)" userId="f6a3e592-cc27-4858-b185-ff86be206069" providerId="ADAL" clId="{2CAEC1E3-2241-4370-8FDB-F4FAA904BB83}" dt="2020-06-16T17:10:21.973" v="1577" actId="478"/>
          <ac:spMkLst>
            <pc:docMk/>
            <pc:sldMk cId="685398324" sldId="2134804277"/>
            <ac:spMk id="94" creationId="{58DABFF9-7337-4569-9991-2CA1D5825D6D}"/>
          </ac:spMkLst>
        </pc:spChg>
        <pc:spChg chg="mod">
          <ac:chgData name="Andrea Mogollon Nossa (CENIT)" userId="f6a3e592-cc27-4858-b185-ff86be206069" providerId="ADAL" clId="{2CAEC1E3-2241-4370-8FDB-F4FAA904BB83}" dt="2020-06-17T21:12:29.156" v="6232" actId="1076"/>
          <ac:spMkLst>
            <pc:docMk/>
            <pc:sldMk cId="685398324" sldId="2134804277"/>
            <ac:spMk id="96" creationId="{1DFEF71A-A80A-4597-AAC9-DB256058084B}"/>
          </ac:spMkLst>
        </pc:spChg>
        <pc:spChg chg="mod">
          <ac:chgData name="Andrea Mogollon Nossa (CENIT)" userId="f6a3e592-cc27-4858-b185-ff86be206069" providerId="ADAL" clId="{2CAEC1E3-2241-4370-8FDB-F4FAA904BB83}" dt="2020-06-17T13:13:18.463" v="2769" actId="255"/>
          <ac:spMkLst>
            <pc:docMk/>
            <pc:sldMk cId="685398324" sldId="2134804277"/>
            <ac:spMk id="97" creationId="{99300021-C267-43BD-A0F5-B3ECE622345E}"/>
          </ac:spMkLst>
        </pc:spChg>
        <pc:spChg chg="add del mod">
          <ac:chgData name="Andrea Mogollon Nossa (CENIT)" userId="f6a3e592-cc27-4858-b185-ff86be206069" providerId="ADAL" clId="{2CAEC1E3-2241-4370-8FDB-F4FAA904BB83}" dt="2020-06-16T17:10:21.973" v="1577" actId="478"/>
          <ac:spMkLst>
            <pc:docMk/>
            <pc:sldMk cId="685398324" sldId="2134804277"/>
            <ac:spMk id="98" creationId="{6428A7A9-3122-4006-8875-CC7495A32344}"/>
          </ac:spMkLst>
        </pc:spChg>
        <pc:spChg chg="mod">
          <ac:chgData name="Andrea Mogollon Nossa (CENIT)" userId="f6a3e592-cc27-4858-b185-ff86be206069" providerId="ADAL" clId="{2CAEC1E3-2241-4370-8FDB-F4FAA904BB83}" dt="2020-06-17T21:12:31.750" v="6233" actId="1076"/>
          <ac:spMkLst>
            <pc:docMk/>
            <pc:sldMk cId="685398324" sldId="2134804277"/>
            <ac:spMk id="99" creationId="{90CC82AC-D82E-4F89-AC67-093894759099}"/>
          </ac:spMkLst>
        </pc:spChg>
        <pc:spChg chg="mod">
          <ac:chgData name="Andrea Mogollon Nossa (CENIT)" userId="f6a3e592-cc27-4858-b185-ff86be206069" providerId="ADAL" clId="{2CAEC1E3-2241-4370-8FDB-F4FAA904BB83}" dt="2020-06-17T21:14:07.429" v="6254" actId="1076"/>
          <ac:spMkLst>
            <pc:docMk/>
            <pc:sldMk cId="685398324" sldId="2134804277"/>
            <ac:spMk id="100" creationId="{1835F856-5B59-4AFF-86DE-2F0968B76CF7}"/>
          </ac:spMkLst>
        </pc:spChg>
        <pc:spChg chg="add del mod">
          <ac:chgData name="Andrea Mogollon Nossa (CENIT)" userId="f6a3e592-cc27-4858-b185-ff86be206069" providerId="ADAL" clId="{2CAEC1E3-2241-4370-8FDB-F4FAA904BB83}" dt="2020-06-16T17:10:21.973" v="1577" actId="478"/>
          <ac:spMkLst>
            <pc:docMk/>
            <pc:sldMk cId="685398324" sldId="2134804277"/>
            <ac:spMk id="101" creationId="{049DE981-EBD9-4BAC-84C9-A3484C813847}"/>
          </ac:spMkLst>
        </pc:spChg>
        <pc:spChg chg="mod">
          <ac:chgData name="Andrea Mogollon Nossa (CENIT)" userId="f6a3e592-cc27-4858-b185-ff86be206069" providerId="ADAL" clId="{2CAEC1E3-2241-4370-8FDB-F4FAA904BB83}" dt="2020-06-17T21:10:05.725" v="6201" actId="1076"/>
          <ac:spMkLst>
            <pc:docMk/>
            <pc:sldMk cId="685398324" sldId="2134804277"/>
            <ac:spMk id="102" creationId="{101F3273-AA10-47F1-9872-07AD50130DF5}"/>
          </ac:spMkLst>
        </pc:spChg>
        <pc:spChg chg="mod">
          <ac:chgData name="Andrea Mogollon Nossa (CENIT)" userId="f6a3e592-cc27-4858-b185-ff86be206069" providerId="ADAL" clId="{2CAEC1E3-2241-4370-8FDB-F4FAA904BB83}" dt="2020-06-17T21:12:34.725" v="6234" actId="1076"/>
          <ac:spMkLst>
            <pc:docMk/>
            <pc:sldMk cId="685398324" sldId="2134804277"/>
            <ac:spMk id="103" creationId="{BDBCDC72-F935-45A4-AE31-C045019965AF}"/>
          </ac:spMkLst>
        </pc:spChg>
        <pc:spChg chg="mod">
          <ac:chgData name="Andrea Mogollon Nossa (CENIT)" userId="f6a3e592-cc27-4858-b185-ff86be206069" providerId="ADAL" clId="{2CAEC1E3-2241-4370-8FDB-F4FAA904BB83}" dt="2020-06-17T21:14:38.517" v="6265" actId="1076"/>
          <ac:spMkLst>
            <pc:docMk/>
            <pc:sldMk cId="685398324" sldId="2134804277"/>
            <ac:spMk id="104" creationId="{0326A105-08B6-409E-9596-07BD7645DEAE}"/>
          </ac:spMkLst>
        </pc:spChg>
        <pc:spChg chg="mod">
          <ac:chgData name="Andrea Mogollon Nossa (CENIT)" userId="f6a3e592-cc27-4858-b185-ff86be206069" providerId="ADAL" clId="{2CAEC1E3-2241-4370-8FDB-F4FAA904BB83}" dt="2020-06-17T21:14:02.122" v="6252" actId="20577"/>
          <ac:spMkLst>
            <pc:docMk/>
            <pc:sldMk cId="685398324" sldId="2134804277"/>
            <ac:spMk id="105" creationId="{DC633C75-4D21-4E37-ABEB-B69D06C0A224}"/>
          </ac:spMkLst>
        </pc:spChg>
        <pc:spChg chg="mod">
          <ac:chgData name="Andrea Mogollon Nossa (CENIT)" userId="f6a3e592-cc27-4858-b185-ff86be206069" providerId="ADAL" clId="{2CAEC1E3-2241-4370-8FDB-F4FAA904BB83}" dt="2020-06-17T21:14:36.154" v="6264" actId="20577"/>
          <ac:spMkLst>
            <pc:docMk/>
            <pc:sldMk cId="685398324" sldId="2134804277"/>
            <ac:spMk id="106" creationId="{8BF155F6-9EE4-4410-BB22-DEE4B18E9FEF}"/>
          </ac:spMkLst>
        </pc:spChg>
        <pc:spChg chg="del mod">
          <ac:chgData name="Andrea Mogollon Nossa (CENIT)" userId="f6a3e592-cc27-4858-b185-ff86be206069" providerId="ADAL" clId="{2CAEC1E3-2241-4370-8FDB-F4FAA904BB83}" dt="2020-06-17T21:14:47.702" v="6267" actId="478"/>
          <ac:spMkLst>
            <pc:docMk/>
            <pc:sldMk cId="685398324" sldId="2134804277"/>
            <ac:spMk id="107" creationId="{4802A65C-C4BA-49C6-A107-DC404BE5C336}"/>
          </ac:spMkLst>
        </pc:spChg>
        <pc:spChg chg="mod">
          <ac:chgData name="Andrea Mogollon Nossa (CENIT)" userId="f6a3e592-cc27-4858-b185-ff86be206069" providerId="ADAL" clId="{2CAEC1E3-2241-4370-8FDB-F4FAA904BB83}" dt="2020-06-17T21:08:42.301" v="6182" actId="1076"/>
          <ac:spMkLst>
            <pc:docMk/>
            <pc:sldMk cId="685398324" sldId="2134804277"/>
            <ac:spMk id="108" creationId="{E7417F2C-4445-4433-AA31-1B1D9A1C89B3}"/>
          </ac:spMkLst>
        </pc:spChg>
        <pc:spChg chg="add del mod">
          <ac:chgData name="Andrea Mogollon Nossa (CENIT)" userId="f6a3e592-cc27-4858-b185-ff86be206069" providerId="ADAL" clId="{2CAEC1E3-2241-4370-8FDB-F4FAA904BB83}" dt="2020-06-16T17:10:21.973" v="1577" actId="478"/>
          <ac:spMkLst>
            <pc:docMk/>
            <pc:sldMk cId="685398324" sldId="2134804277"/>
            <ac:spMk id="109" creationId="{6463A0B1-5B58-42DB-A202-6581174CE01D}"/>
          </ac:spMkLst>
        </pc:spChg>
        <pc:spChg chg="add del mod">
          <ac:chgData name="Andrea Mogollon Nossa (CENIT)" userId="f6a3e592-cc27-4858-b185-ff86be206069" providerId="ADAL" clId="{2CAEC1E3-2241-4370-8FDB-F4FAA904BB83}" dt="2020-06-16T17:10:21.973" v="1577" actId="478"/>
          <ac:spMkLst>
            <pc:docMk/>
            <pc:sldMk cId="685398324" sldId="2134804277"/>
            <ac:spMk id="110" creationId="{6CA8880C-7297-4174-BC36-D5CDB344EAEA}"/>
          </ac:spMkLst>
        </pc:spChg>
        <pc:spChg chg="add del mod">
          <ac:chgData name="Andrea Mogollon Nossa (CENIT)" userId="f6a3e592-cc27-4858-b185-ff86be206069" providerId="ADAL" clId="{2CAEC1E3-2241-4370-8FDB-F4FAA904BB83}" dt="2020-06-16T17:10:21.973" v="1577" actId="478"/>
          <ac:spMkLst>
            <pc:docMk/>
            <pc:sldMk cId="685398324" sldId="2134804277"/>
            <ac:spMk id="111" creationId="{7651DAC1-53EC-4E6B-B1FF-AB831EF6324C}"/>
          </ac:spMkLst>
        </pc:spChg>
        <pc:spChg chg="add del mod">
          <ac:chgData name="Andrea Mogollon Nossa (CENIT)" userId="f6a3e592-cc27-4858-b185-ff86be206069" providerId="ADAL" clId="{2CAEC1E3-2241-4370-8FDB-F4FAA904BB83}" dt="2020-06-16T17:10:21.973" v="1577" actId="478"/>
          <ac:spMkLst>
            <pc:docMk/>
            <pc:sldMk cId="685398324" sldId="2134804277"/>
            <ac:spMk id="112" creationId="{71E31981-C587-4065-8156-651DF015C5EC}"/>
          </ac:spMkLst>
        </pc:spChg>
        <pc:spChg chg="add del mod">
          <ac:chgData name="Andrea Mogollon Nossa (CENIT)" userId="f6a3e592-cc27-4858-b185-ff86be206069" providerId="ADAL" clId="{2CAEC1E3-2241-4370-8FDB-F4FAA904BB83}" dt="2020-06-16T17:10:21.973" v="1577" actId="478"/>
          <ac:spMkLst>
            <pc:docMk/>
            <pc:sldMk cId="685398324" sldId="2134804277"/>
            <ac:spMk id="113" creationId="{4E834FEC-74F4-4453-802C-616311326C63}"/>
          </ac:spMkLst>
        </pc:spChg>
        <pc:spChg chg="add del mod">
          <ac:chgData name="Andrea Mogollon Nossa (CENIT)" userId="f6a3e592-cc27-4858-b185-ff86be206069" providerId="ADAL" clId="{2CAEC1E3-2241-4370-8FDB-F4FAA904BB83}" dt="2020-06-16T17:10:21.973" v="1577" actId="478"/>
          <ac:spMkLst>
            <pc:docMk/>
            <pc:sldMk cId="685398324" sldId="2134804277"/>
            <ac:spMk id="114" creationId="{5109FFEF-797A-4DD5-98F8-3029CB19579D}"/>
          </ac:spMkLst>
        </pc:spChg>
        <pc:spChg chg="add del mod">
          <ac:chgData name="Andrea Mogollon Nossa (CENIT)" userId="f6a3e592-cc27-4858-b185-ff86be206069" providerId="ADAL" clId="{2CAEC1E3-2241-4370-8FDB-F4FAA904BB83}" dt="2020-06-16T17:10:21.973" v="1577" actId="478"/>
          <ac:spMkLst>
            <pc:docMk/>
            <pc:sldMk cId="685398324" sldId="2134804277"/>
            <ac:spMk id="115" creationId="{DCC16FB7-C640-44A4-A363-B24E38A387ED}"/>
          </ac:spMkLst>
        </pc:spChg>
        <pc:spChg chg="add del mod">
          <ac:chgData name="Andrea Mogollon Nossa (CENIT)" userId="f6a3e592-cc27-4858-b185-ff86be206069" providerId="ADAL" clId="{2CAEC1E3-2241-4370-8FDB-F4FAA904BB83}" dt="2020-06-16T17:10:21.973" v="1577" actId="478"/>
          <ac:spMkLst>
            <pc:docMk/>
            <pc:sldMk cId="685398324" sldId="2134804277"/>
            <ac:spMk id="116" creationId="{3590FC42-11A3-4C5F-AE41-25EB11148DAA}"/>
          </ac:spMkLst>
        </pc:spChg>
        <pc:spChg chg="add del mod">
          <ac:chgData name="Andrea Mogollon Nossa (CENIT)" userId="f6a3e592-cc27-4858-b185-ff86be206069" providerId="ADAL" clId="{2CAEC1E3-2241-4370-8FDB-F4FAA904BB83}" dt="2020-06-16T17:10:21.973" v="1577" actId="478"/>
          <ac:spMkLst>
            <pc:docMk/>
            <pc:sldMk cId="685398324" sldId="2134804277"/>
            <ac:spMk id="117" creationId="{2340CB77-F894-42D1-82AC-A7EF0DF485D9}"/>
          </ac:spMkLst>
        </pc:spChg>
        <pc:spChg chg="add del mod ord">
          <ac:chgData name="Andrea Mogollon Nossa (CENIT)" userId="f6a3e592-cc27-4858-b185-ff86be206069" providerId="ADAL" clId="{2CAEC1E3-2241-4370-8FDB-F4FAA904BB83}" dt="2020-06-16T17:10:21.973" v="1577" actId="478"/>
          <ac:spMkLst>
            <pc:docMk/>
            <pc:sldMk cId="685398324" sldId="2134804277"/>
            <ac:spMk id="118" creationId="{521244BA-9DC2-4DE8-92EB-10F732712929}"/>
          </ac:spMkLst>
        </pc:spChg>
        <pc:spChg chg="add del mod">
          <ac:chgData name="Andrea Mogollon Nossa (CENIT)" userId="f6a3e592-cc27-4858-b185-ff86be206069" providerId="ADAL" clId="{2CAEC1E3-2241-4370-8FDB-F4FAA904BB83}" dt="2020-06-16T17:10:21.973" v="1577" actId="478"/>
          <ac:spMkLst>
            <pc:docMk/>
            <pc:sldMk cId="685398324" sldId="2134804277"/>
            <ac:spMk id="119" creationId="{66F535F0-66AD-4FAC-8020-93625EF3AFFE}"/>
          </ac:spMkLst>
        </pc:spChg>
        <pc:spChg chg="add del mod">
          <ac:chgData name="Andrea Mogollon Nossa (CENIT)" userId="f6a3e592-cc27-4858-b185-ff86be206069" providerId="ADAL" clId="{2CAEC1E3-2241-4370-8FDB-F4FAA904BB83}" dt="2020-06-16T17:10:21.973" v="1577" actId="478"/>
          <ac:spMkLst>
            <pc:docMk/>
            <pc:sldMk cId="685398324" sldId="2134804277"/>
            <ac:spMk id="120" creationId="{94191329-95ED-4032-9272-887D408A35B7}"/>
          </ac:spMkLst>
        </pc:spChg>
        <pc:spChg chg="add mod ord">
          <ac:chgData name="Andrea Mogollon Nossa (CENIT)" userId="f6a3e592-cc27-4858-b185-ff86be206069" providerId="ADAL" clId="{2CAEC1E3-2241-4370-8FDB-F4FAA904BB83}" dt="2020-06-17T21:22:40.833" v="6346" actId="14100"/>
          <ac:spMkLst>
            <pc:docMk/>
            <pc:sldMk cId="685398324" sldId="2134804277"/>
            <ac:spMk id="121" creationId="{B090BFCE-20D4-4C2E-AB13-0B67385FA7AD}"/>
          </ac:spMkLst>
        </pc:spChg>
        <pc:spChg chg="add mod">
          <ac:chgData name="Andrea Mogollon Nossa (CENIT)" userId="f6a3e592-cc27-4858-b185-ff86be206069" providerId="ADAL" clId="{2CAEC1E3-2241-4370-8FDB-F4FAA904BB83}" dt="2020-06-17T21:23:00.646" v="6348" actId="1076"/>
          <ac:spMkLst>
            <pc:docMk/>
            <pc:sldMk cId="685398324" sldId="2134804277"/>
            <ac:spMk id="122" creationId="{86903DE0-ADCA-4DC8-9E6D-E9AED1F442A0}"/>
          </ac:spMkLst>
        </pc:spChg>
        <pc:spChg chg="add mod">
          <ac:chgData name="Andrea Mogollon Nossa (CENIT)" userId="f6a3e592-cc27-4858-b185-ff86be206069" providerId="ADAL" clId="{2CAEC1E3-2241-4370-8FDB-F4FAA904BB83}" dt="2020-06-17T17:37:29.882" v="4711" actId="1076"/>
          <ac:spMkLst>
            <pc:docMk/>
            <pc:sldMk cId="685398324" sldId="2134804277"/>
            <ac:spMk id="123" creationId="{EA803C8F-BBB1-4354-90E8-720062F397E0}"/>
          </ac:spMkLst>
        </pc:spChg>
        <pc:spChg chg="add mod">
          <ac:chgData name="Andrea Mogollon Nossa (CENIT)" userId="f6a3e592-cc27-4858-b185-ff86be206069" providerId="ADAL" clId="{2CAEC1E3-2241-4370-8FDB-F4FAA904BB83}" dt="2020-06-17T21:17:50.526" v="6300" actId="20577"/>
          <ac:spMkLst>
            <pc:docMk/>
            <pc:sldMk cId="685398324" sldId="2134804277"/>
            <ac:spMk id="124" creationId="{E0A25213-98A0-4D9C-B905-69EC0D854861}"/>
          </ac:spMkLst>
        </pc:spChg>
        <pc:spChg chg="add mod">
          <ac:chgData name="Andrea Mogollon Nossa (CENIT)" userId="f6a3e592-cc27-4858-b185-ff86be206069" providerId="ADAL" clId="{2CAEC1E3-2241-4370-8FDB-F4FAA904BB83}" dt="2020-06-17T17:37:25.654" v="4709" actId="1076"/>
          <ac:spMkLst>
            <pc:docMk/>
            <pc:sldMk cId="685398324" sldId="2134804277"/>
            <ac:spMk id="125" creationId="{6EEE8AFC-471F-4452-9936-7BAF0D8C6B67}"/>
          </ac:spMkLst>
        </pc:spChg>
        <pc:spChg chg="add mod">
          <ac:chgData name="Andrea Mogollon Nossa (CENIT)" userId="f6a3e592-cc27-4858-b185-ff86be206069" providerId="ADAL" clId="{2CAEC1E3-2241-4370-8FDB-F4FAA904BB83}" dt="2020-06-17T21:17:43.570" v="6298" actId="20577"/>
          <ac:spMkLst>
            <pc:docMk/>
            <pc:sldMk cId="685398324" sldId="2134804277"/>
            <ac:spMk id="126" creationId="{B3717873-697F-451F-BA49-9F0AB4550A45}"/>
          </ac:spMkLst>
        </pc:spChg>
        <pc:spChg chg="add mod">
          <ac:chgData name="Andrea Mogollon Nossa (CENIT)" userId="f6a3e592-cc27-4858-b185-ff86be206069" providerId="ADAL" clId="{2CAEC1E3-2241-4370-8FDB-F4FAA904BB83}" dt="2020-06-17T21:18:14.787" v="6308" actId="20577"/>
          <ac:spMkLst>
            <pc:docMk/>
            <pc:sldMk cId="685398324" sldId="2134804277"/>
            <ac:spMk id="127" creationId="{21108AA1-2B9D-4188-BBCC-74BBBE9302C7}"/>
          </ac:spMkLst>
        </pc:spChg>
        <pc:spChg chg="add mod">
          <ac:chgData name="Andrea Mogollon Nossa (CENIT)" userId="f6a3e592-cc27-4858-b185-ff86be206069" providerId="ADAL" clId="{2CAEC1E3-2241-4370-8FDB-F4FAA904BB83}" dt="2020-06-17T17:38:17.187" v="4728" actId="1076"/>
          <ac:spMkLst>
            <pc:docMk/>
            <pc:sldMk cId="685398324" sldId="2134804277"/>
            <ac:spMk id="128" creationId="{DCF3D11F-3DD2-486A-8119-9C38A5A436D5}"/>
          </ac:spMkLst>
        </pc:spChg>
        <pc:spChg chg="add mod">
          <ac:chgData name="Andrea Mogollon Nossa (CENIT)" userId="f6a3e592-cc27-4858-b185-ff86be206069" providerId="ADAL" clId="{2CAEC1E3-2241-4370-8FDB-F4FAA904BB83}" dt="2020-06-17T21:18:43.697" v="6320" actId="20577"/>
          <ac:spMkLst>
            <pc:docMk/>
            <pc:sldMk cId="685398324" sldId="2134804277"/>
            <ac:spMk id="129" creationId="{AF127B43-599C-4DF7-9C76-8EFCDD84F269}"/>
          </ac:spMkLst>
        </pc:spChg>
        <pc:spChg chg="add mod">
          <ac:chgData name="Andrea Mogollon Nossa (CENIT)" userId="f6a3e592-cc27-4858-b185-ff86be206069" providerId="ADAL" clId="{2CAEC1E3-2241-4370-8FDB-F4FAA904BB83}" dt="2020-06-17T17:37:33.793" v="4713" actId="1076"/>
          <ac:spMkLst>
            <pc:docMk/>
            <pc:sldMk cId="685398324" sldId="2134804277"/>
            <ac:spMk id="130" creationId="{4EFB3025-4C2C-44FD-B2C8-39B360082221}"/>
          </ac:spMkLst>
        </pc:spChg>
        <pc:spChg chg="add mod">
          <ac:chgData name="Andrea Mogollon Nossa (CENIT)" userId="f6a3e592-cc27-4858-b185-ff86be206069" providerId="ADAL" clId="{2CAEC1E3-2241-4370-8FDB-F4FAA904BB83}" dt="2020-06-17T17:38:18.828" v="4729" actId="1076"/>
          <ac:spMkLst>
            <pc:docMk/>
            <pc:sldMk cId="685398324" sldId="2134804277"/>
            <ac:spMk id="131" creationId="{865EADF7-6A89-4769-AC5C-AA4FA77A6660}"/>
          </ac:spMkLst>
        </pc:spChg>
        <pc:spChg chg="add mod">
          <ac:chgData name="Andrea Mogollon Nossa (CENIT)" userId="f6a3e592-cc27-4858-b185-ff86be206069" providerId="ADAL" clId="{2CAEC1E3-2241-4370-8FDB-F4FAA904BB83}" dt="2020-06-17T21:18:16.481" v="6310" actId="20577"/>
          <ac:spMkLst>
            <pc:docMk/>
            <pc:sldMk cId="685398324" sldId="2134804277"/>
            <ac:spMk id="132" creationId="{FC03C305-04BA-46AF-B7D7-D94598B2FE83}"/>
          </ac:spMkLst>
        </pc:spChg>
        <pc:spChg chg="add mod">
          <ac:chgData name="Andrea Mogollon Nossa (CENIT)" userId="f6a3e592-cc27-4858-b185-ff86be206069" providerId="ADAL" clId="{2CAEC1E3-2241-4370-8FDB-F4FAA904BB83}" dt="2020-06-17T21:18:12.698" v="6306" actId="20577"/>
          <ac:spMkLst>
            <pc:docMk/>
            <pc:sldMk cId="685398324" sldId="2134804277"/>
            <ac:spMk id="133" creationId="{310CB3A5-C87B-4760-B9D3-E7FEB278DACA}"/>
          </ac:spMkLst>
        </pc:spChg>
        <pc:spChg chg="add mod">
          <ac:chgData name="Andrea Mogollon Nossa (CENIT)" userId="f6a3e592-cc27-4858-b185-ff86be206069" providerId="ADAL" clId="{2CAEC1E3-2241-4370-8FDB-F4FAA904BB83}" dt="2020-06-17T17:38:20.178" v="4730" actId="1076"/>
          <ac:spMkLst>
            <pc:docMk/>
            <pc:sldMk cId="685398324" sldId="2134804277"/>
            <ac:spMk id="134" creationId="{B2D44EE1-B15C-4463-8E05-2A1954C1E647}"/>
          </ac:spMkLst>
        </pc:spChg>
        <pc:spChg chg="add mod">
          <ac:chgData name="Andrea Mogollon Nossa (CENIT)" userId="f6a3e592-cc27-4858-b185-ff86be206069" providerId="ADAL" clId="{2CAEC1E3-2241-4370-8FDB-F4FAA904BB83}" dt="2020-06-17T21:18:53.876" v="6322" actId="20577"/>
          <ac:spMkLst>
            <pc:docMk/>
            <pc:sldMk cId="685398324" sldId="2134804277"/>
            <ac:spMk id="135" creationId="{94A77529-CA0E-46B5-943E-8812CDB7A78D}"/>
          </ac:spMkLst>
        </pc:spChg>
        <pc:spChg chg="add mod">
          <ac:chgData name="Andrea Mogollon Nossa (CENIT)" userId="f6a3e592-cc27-4858-b185-ff86be206069" providerId="ADAL" clId="{2CAEC1E3-2241-4370-8FDB-F4FAA904BB83}" dt="2020-06-17T17:39:03.310" v="4745" actId="1076"/>
          <ac:spMkLst>
            <pc:docMk/>
            <pc:sldMk cId="685398324" sldId="2134804277"/>
            <ac:spMk id="136" creationId="{CDAAE380-0192-4B9C-B37C-FE9CD8489A0A}"/>
          </ac:spMkLst>
        </pc:spChg>
        <pc:spChg chg="mod">
          <ac:chgData name="Andrea Mogollon Nossa (CENIT)" userId="f6a3e592-cc27-4858-b185-ff86be206069" providerId="ADAL" clId="{2CAEC1E3-2241-4370-8FDB-F4FAA904BB83}" dt="2020-06-17T21:02:28.236" v="6089" actId="20577"/>
          <ac:spMkLst>
            <pc:docMk/>
            <pc:sldMk cId="685398324" sldId="2134804277"/>
            <ac:spMk id="137" creationId="{F2F1441C-82E3-4978-ADB4-2E81AB714A12}"/>
          </ac:spMkLst>
        </pc:spChg>
        <pc:spChg chg="mod">
          <ac:chgData name="Andrea Mogollon Nossa (CENIT)" userId="f6a3e592-cc27-4858-b185-ff86be206069" providerId="ADAL" clId="{2CAEC1E3-2241-4370-8FDB-F4FAA904BB83}" dt="2020-06-16T17:04:15.661" v="1482" actId="1582"/>
          <ac:spMkLst>
            <pc:docMk/>
            <pc:sldMk cId="685398324" sldId="2134804277"/>
            <ac:spMk id="138" creationId="{B7572FF5-C3B2-41FB-AC8B-11068157874D}"/>
          </ac:spMkLst>
        </pc:spChg>
        <pc:spChg chg="mod">
          <ac:chgData name="Andrea Mogollon Nossa (CENIT)" userId="f6a3e592-cc27-4858-b185-ff86be206069" providerId="ADAL" clId="{2CAEC1E3-2241-4370-8FDB-F4FAA904BB83}" dt="2020-06-16T16:58:01.701" v="1353" actId="1582"/>
          <ac:spMkLst>
            <pc:docMk/>
            <pc:sldMk cId="685398324" sldId="2134804277"/>
            <ac:spMk id="139" creationId="{2227F15F-B01E-49E7-B6F1-35FB55117734}"/>
          </ac:spMkLst>
        </pc:spChg>
        <pc:spChg chg="mod">
          <ac:chgData name="Andrea Mogollon Nossa (CENIT)" userId="f6a3e592-cc27-4858-b185-ff86be206069" providerId="ADAL" clId="{2CAEC1E3-2241-4370-8FDB-F4FAA904BB83}" dt="2020-06-17T21:11:48.108" v="6221" actId="1076"/>
          <ac:spMkLst>
            <pc:docMk/>
            <pc:sldMk cId="685398324" sldId="2134804277"/>
            <ac:spMk id="140" creationId="{2062ABD7-3E18-481C-BE0F-59304E710CAD}"/>
          </ac:spMkLst>
        </pc:spChg>
        <pc:spChg chg="mod">
          <ac:chgData name="Andrea Mogollon Nossa (CENIT)" userId="f6a3e592-cc27-4858-b185-ff86be206069" providerId="ADAL" clId="{2CAEC1E3-2241-4370-8FDB-F4FAA904BB83}" dt="2020-06-17T21:08:42.301" v="6182" actId="1076"/>
          <ac:spMkLst>
            <pc:docMk/>
            <pc:sldMk cId="685398324" sldId="2134804277"/>
            <ac:spMk id="141" creationId="{6DFBB2A7-5F2D-4D91-9156-98CB032BD858}"/>
          </ac:spMkLst>
        </pc:spChg>
        <pc:spChg chg="mod">
          <ac:chgData name="Andrea Mogollon Nossa (CENIT)" userId="f6a3e592-cc27-4858-b185-ff86be206069" providerId="ADAL" clId="{2CAEC1E3-2241-4370-8FDB-F4FAA904BB83}" dt="2020-06-17T21:08:42.301" v="6182" actId="1076"/>
          <ac:spMkLst>
            <pc:docMk/>
            <pc:sldMk cId="685398324" sldId="2134804277"/>
            <ac:spMk id="142" creationId="{9660C67C-C249-4C29-87B1-2E22B67DE74F}"/>
          </ac:spMkLst>
        </pc:spChg>
        <pc:spChg chg="add mod">
          <ac:chgData name="Andrea Mogollon Nossa (CENIT)" userId="f6a3e592-cc27-4858-b185-ff86be206069" providerId="ADAL" clId="{2CAEC1E3-2241-4370-8FDB-F4FAA904BB83}" dt="2020-06-17T21:20:14.493" v="6333" actId="20577"/>
          <ac:spMkLst>
            <pc:docMk/>
            <pc:sldMk cId="685398324" sldId="2134804277"/>
            <ac:spMk id="143" creationId="{92043131-3755-4946-AA99-1BAB416E79D7}"/>
          </ac:spMkLst>
        </pc:spChg>
        <pc:spChg chg="mod">
          <ac:chgData name="Andrea Mogollon Nossa (CENIT)" userId="f6a3e592-cc27-4858-b185-ff86be206069" providerId="ADAL" clId="{2CAEC1E3-2241-4370-8FDB-F4FAA904BB83}" dt="2020-06-17T21:14:05.533" v="6253" actId="1076"/>
          <ac:spMkLst>
            <pc:docMk/>
            <pc:sldMk cId="685398324" sldId="2134804277"/>
            <ac:spMk id="144" creationId="{25AF8D90-7CF9-4004-AFE7-8FD9BCD562C6}"/>
          </ac:spMkLst>
        </pc:spChg>
        <pc:spChg chg="mod">
          <ac:chgData name="Andrea Mogollon Nossa (CENIT)" userId="f6a3e592-cc27-4858-b185-ff86be206069" providerId="ADAL" clId="{2CAEC1E3-2241-4370-8FDB-F4FAA904BB83}" dt="2020-06-17T21:14:10.069" v="6255" actId="1076"/>
          <ac:spMkLst>
            <pc:docMk/>
            <pc:sldMk cId="685398324" sldId="2134804277"/>
            <ac:spMk id="145" creationId="{1FACAF7C-6304-4959-827F-E5EC80E0E805}"/>
          </ac:spMkLst>
        </pc:spChg>
        <pc:spChg chg="mod">
          <ac:chgData name="Andrea Mogollon Nossa (CENIT)" userId="f6a3e592-cc27-4858-b185-ff86be206069" providerId="ADAL" clId="{2CAEC1E3-2241-4370-8FDB-F4FAA904BB83}" dt="2020-06-17T21:10:39.397" v="6205" actId="14100"/>
          <ac:spMkLst>
            <pc:docMk/>
            <pc:sldMk cId="685398324" sldId="2134804277"/>
            <ac:spMk id="146" creationId="{D86974CC-32BF-439F-A6E2-D1E82520294D}"/>
          </ac:spMkLst>
        </pc:spChg>
        <pc:spChg chg="mod">
          <ac:chgData name="Andrea Mogollon Nossa (CENIT)" userId="f6a3e592-cc27-4858-b185-ff86be206069" providerId="ADAL" clId="{2CAEC1E3-2241-4370-8FDB-F4FAA904BB83}" dt="2020-06-17T21:10:47.317" v="6207" actId="1076"/>
          <ac:spMkLst>
            <pc:docMk/>
            <pc:sldMk cId="685398324" sldId="2134804277"/>
            <ac:spMk id="147" creationId="{58F0CDC2-9414-439E-A3CB-C4B6F7ADCE1B}"/>
          </ac:spMkLst>
        </pc:spChg>
        <pc:spChg chg="mod">
          <ac:chgData name="Andrea Mogollon Nossa (CENIT)" userId="f6a3e592-cc27-4858-b185-ff86be206069" providerId="ADAL" clId="{2CAEC1E3-2241-4370-8FDB-F4FAA904BB83}" dt="2020-06-17T21:08:42.301" v="6182" actId="1076"/>
          <ac:spMkLst>
            <pc:docMk/>
            <pc:sldMk cId="685398324" sldId="2134804277"/>
            <ac:spMk id="148" creationId="{3D0EFFEA-E9FE-4053-B9D8-C9F8D8881270}"/>
          </ac:spMkLst>
        </pc:spChg>
        <pc:spChg chg="add mod">
          <ac:chgData name="Andrea Mogollon Nossa (CENIT)" userId="f6a3e592-cc27-4858-b185-ff86be206069" providerId="ADAL" clId="{2CAEC1E3-2241-4370-8FDB-F4FAA904BB83}" dt="2020-06-17T21:18:05.605" v="6304" actId="20577"/>
          <ac:spMkLst>
            <pc:docMk/>
            <pc:sldMk cId="685398324" sldId="2134804277"/>
            <ac:spMk id="149" creationId="{7DD301E2-FD8B-473E-AC06-7B1BEE6BC359}"/>
          </ac:spMkLst>
        </pc:spChg>
        <pc:spChg chg="add mod">
          <ac:chgData name="Andrea Mogollon Nossa (CENIT)" userId="f6a3e592-cc27-4858-b185-ff86be206069" providerId="ADAL" clId="{2CAEC1E3-2241-4370-8FDB-F4FAA904BB83}" dt="2020-06-17T17:39:07.747" v="4746" actId="1076"/>
          <ac:spMkLst>
            <pc:docMk/>
            <pc:sldMk cId="685398324" sldId="2134804277"/>
            <ac:spMk id="150" creationId="{18B0FAF4-B25E-430A-B44F-BB89581DF8C7}"/>
          </ac:spMkLst>
        </pc:spChg>
        <pc:spChg chg="add mod">
          <ac:chgData name="Andrea Mogollon Nossa (CENIT)" userId="f6a3e592-cc27-4858-b185-ff86be206069" providerId="ADAL" clId="{2CAEC1E3-2241-4370-8FDB-F4FAA904BB83}" dt="2020-06-17T17:39:10.372" v="4747" actId="1076"/>
          <ac:spMkLst>
            <pc:docMk/>
            <pc:sldMk cId="685398324" sldId="2134804277"/>
            <ac:spMk id="151" creationId="{6759F741-D2BA-47AD-9BE9-B5F911C114F3}"/>
          </ac:spMkLst>
        </pc:spChg>
        <pc:spChg chg="add mod">
          <ac:chgData name="Andrea Mogollon Nossa (CENIT)" userId="f6a3e592-cc27-4858-b185-ff86be206069" providerId="ADAL" clId="{2CAEC1E3-2241-4370-8FDB-F4FAA904BB83}" dt="2020-06-17T21:17:14.189" v="6294" actId="1076"/>
          <ac:spMkLst>
            <pc:docMk/>
            <pc:sldMk cId="685398324" sldId="2134804277"/>
            <ac:spMk id="152" creationId="{7A395937-9DFA-4F55-91C6-913660069E89}"/>
          </ac:spMkLst>
        </pc:spChg>
        <pc:spChg chg="add mod">
          <ac:chgData name="Andrea Mogollon Nossa (CENIT)" userId="f6a3e592-cc27-4858-b185-ff86be206069" providerId="ADAL" clId="{2CAEC1E3-2241-4370-8FDB-F4FAA904BB83}" dt="2020-06-17T21:17:21.484" v="6296" actId="1076"/>
          <ac:spMkLst>
            <pc:docMk/>
            <pc:sldMk cId="685398324" sldId="2134804277"/>
            <ac:spMk id="153" creationId="{4D3DF7EF-4C67-47D9-B3B2-1EE8EBA2B408}"/>
          </ac:spMkLst>
        </pc:spChg>
        <pc:spChg chg="add mod">
          <ac:chgData name="Andrea Mogollon Nossa (CENIT)" userId="f6a3e592-cc27-4858-b185-ff86be206069" providerId="ADAL" clId="{2CAEC1E3-2241-4370-8FDB-F4FAA904BB83}" dt="2020-06-17T21:22:15.366" v="6340" actId="1076"/>
          <ac:spMkLst>
            <pc:docMk/>
            <pc:sldMk cId="685398324" sldId="2134804277"/>
            <ac:spMk id="154" creationId="{7CCA0A5A-A0E7-4CFD-87B3-1917D7D6D482}"/>
          </ac:spMkLst>
        </pc:spChg>
        <pc:spChg chg="add mod">
          <ac:chgData name="Andrea Mogollon Nossa (CENIT)" userId="f6a3e592-cc27-4858-b185-ff86be206069" providerId="ADAL" clId="{2CAEC1E3-2241-4370-8FDB-F4FAA904BB83}" dt="2020-06-17T21:19:19.421" v="6323" actId="1076"/>
          <ac:spMkLst>
            <pc:docMk/>
            <pc:sldMk cId="685398324" sldId="2134804277"/>
            <ac:spMk id="155" creationId="{35F89E97-6F48-4EEF-A953-195B7A0A5828}"/>
          </ac:spMkLst>
        </pc:spChg>
        <pc:spChg chg="add mod">
          <ac:chgData name="Andrea Mogollon Nossa (CENIT)" userId="f6a3e592-cc27-4858-b185-ff86be206069" providerId="ADAL" clId="{2CAEC1E3-2241-4370-8FDB-F4FAA904BB83}" dt="2020-06-17T21:11:38.332" v="6219" actId="1076"/>
          <ac:spMkLst>
            <pc:docMk/>
            <pc:sldMk cId="685398324" sldId="2134804277"/>
            <ac:spMk id="156" creationId="{E9BCE429-585B-45A6-85A4-C7E36494C46F}"/>
          </ac:spMkLst>
        </pc:spChg>
        <pc:spChg chg="add del mod">
          <ac:chgData name="Andrea Mogollon Nossa (CENIT)" userId="f6a3e592-cc27-4858-b185-ff86be206069" providerId="ADAL" clId="{2CAEC1E3-2241-4370-8FDB-F4FAA904BB83}" dt="2020-06-17T17:32:47.743" v="4608" actId="478"/>
          <ac:spMkLst>
            <pc:docMk/>
            <pc:sldMk cId="685398324" sldId="2134804277"/>
            <ac:spMk id="157" creationId="{DD5D718D-B25C-437E-BC96-1A7CE8E6136A}"/>
          </ac:spMkLst>
        </pc:spChg>
        <pc:spChg chg="add del mod">
          <ac:chgData name="Andrea Mogollon Nossa (CENIT)" userId="f6a3e592-cc27-4858-b185-ff86be206069" providerId="ADAL" clId="{2CAEC1E3-2241-4370-8FDB-F4FAA904BB83}" dt="2020-06-17T17:34:12.191" v="4654" actId="478"/>
          <ac:spMkLst>
            <pc:docMk/>
            <pc:sldMk cId="685398324" sldId="2134804277"/>
            <ac:spMk id="158" creationId="{F86C3756-4DC3-4B09-AB0A-AC45886C3934}"/>
          </ac:spMkLst>
        </pc:spChg>
        <pc:spChg chg="add mod">
          <ac:chgData name="Andrea Mogollon Nossa (CENIT)" userId="f6a3e592-cc27-4858-b185-ff86be206069" providerId="ADAL" clId="{2CAEC1E3-2241-4370-8FDB-F4FAA904BB83}" dt="2020-06-17T21:13:38.013" v="6246" actId="1076"/>
          <ac:spMkLst>
            <pc:docMk/>
            <pc:sldMk cId="685398324" sldId="2134804277"/>
            <ac:spMk id="159" creationId="{0414BD16-5AD5-4608-995D-08C9D27746E1}"/>
          </ac:spMkLst>
        </pc:spChg>
        <pc:spChg chg="add mod">
          <ac:chgData name="Andrea Mogollon Nossa (CENIT)" userId="f6a3e592-cc27-4858-b185-ff86be206069" providerId="ADAL" clId="{2CAEC1E3-2241-4370-8FDB-F4FAA904BB83}" dt="2020-06-17T21:13:44.776" v="6248" actId="20577"/>
          <ac:spMkLst>
            <pc:docMk/>
            <pc:sldMk cId="685398324" sldId="2134804277"/>
            <ac:spMk id="160" creationId="{D8414B9E-A552-4BCE-AE55-8089DA4FCB0A}"/>
          </ac:spMkLst>
        </pc:spChg>
        <pc:spChg chg="add mod">
          <ac:chgData name="Andrea Mogollon Nossa (CENIT)" userId="f6a3e592-cc27-4858-b185-ff86be206069" providerId="ADAL" clId="{2CAEC1E3-2241-4370-8FDB-F4FAA904BB83}" dt="2020-06-17T21:13:41.940" v="6247" actId="1076"/>
          <ac:spMkLst>
            <pc:docMk/>
            <pc:sldMk cId="685398324" sldId="2134804277"/>
            <ac:spMk id="161" creationId="{53AD37EB-B346-4460-9981-82CA1C730DF2}"/>
          </ac:spMkLst>
        </pc:spChg>
        <pc:spChg chg="add mod">
          <ac:chgData name="Andrea Mogollon Nossa (CENIT)" userId="f6a3e592-cc27-4858-b185-ff86be206069" providerId="ADAL" clId="{2CAEC1E3-2241-4370-8FDB-F4FAA904BB83}" dt="2020-06-17T21:17:19.014" v="6295" actId="1076"/>
          <ac:spMkLst>
            <pc:docMk/>
            <pc:sldMk cId="685398324" sldId="2134804277"/>
            <ac:spMk id="162" creationId="{340970B5-B4C0-44C0-A487-91F5170AC55E}"/>
          </ac:spMkLst>
        </pc:spChg>
        <pc:spChg chg="add mod">
          <ac:chgData name="Andrea Mogollon Nossa (CENIT)" userId="f6a3e592-cc27-4858-b185-ff86be206069" providerId="ADAL" clId="{2CAEC1E3-2241-4370-8FDB-F4FAA904BB83}" dt="2020-06-17T21:17:19.014" v="6295" actId="1076"/>
          <ac:spMkLst>
            <pc:docMk/>
            <pc:sldMk cId="685398324" sldId="2134804277"/>
            <ac:spMk id="163" creationId="{E68DC65A-93B8-4587-BF1A-B897E00D4BA9}"/>
          </ac:spMkLst>
        </pc:spChg>
        <pc:spChg chg="add mod">
          <ac:chgData name="Andrea Mogollon Nossa (CENIT)" userId="f6a3e592-cc27-4858-b185-ff86be206069" providerId="ADAL" clId="{2CAEC1E3-2241-4370-8FDB-F4FAA904BB83}" dt="2020-06-17T21:13:55.580" v="6250" actId="1076"/>
          <ac:spMkLst>
            <pc:docMk/>
            <pc:sldMk cId="685398324" sldId="2134804277"/>
            <ac:spMk id="164" creationId="{C61A6580-57EA-404B-8AB3-3154ED4D91E2}"/>
          </ac:spMkLst>
        </pc:spChg>
        <pc:spChg chg="add mod">
          <ac:chgData name="Andrea Mogollon Nossa (CENIT)" userId="f6a3e592-cc27-4858-b185-ff86be206069" providerId="ADAL" clId="{2CAEC1E3-2241-4370-8FDB-F4FAA904BB83}" dt="2020-06-17T21:19:34.998" v="6327" actId="1076"/>
          <ac:spMkLst>
            <pc:docMk/>
            <pc:sldMk cId="685398324" sldId="2134804277"/>
            <ac:spMk id="165" creationId="{5ECB6BAB-01A4-4031-AFF5-666CA1F7C303}"/>
          </ac:spMkLst>
        </pc:spChg>
        <pc:spChg chg="add mod">
          <ac:chgData name="Andrea Mogollon Nossa (CENIT)" userId="f6a3e592-cc27-4858-b185-ff86be206069" providerId="ADAL" clId="{2CAEC1E3-2241-4370-8FDB-F4FAA904BB83}" dt="2020-06-17T21:22:28.270" v="6345" actId="1076"/>
          <ac:spMkLst>
            <pc:docMk/>
            <pc:sldMk cId="685398324" sldId="2134804277"/>
            <ac:spMk id="166" creationId="{D622807D-0029-496D-9FF0-3E3E825043ED}"/>
          </ac:spMkLst>
        </pc:spChg>
        <pc:spChg chg="add mod">
          <ac:chgData name="Andrea Mogollon Nossa (CENIT)" userId="f6a3e592-cc27-4858-b185-ff86be206069" providerId="ADAL" clId="{2CAEC1E3-2241-4370-8FDB-F4FAA904BB83}" dt="2020-06-17T21:19:30.070" v="6326" actId="1076"/>
          <ac:spMkLst>
            <pc:docMk/>
            <pc:sldMk cId="685398324" sldId="2134804277"/>
            <ac:spMk id="167" creationId="{775B6AE0-CB44-4723-A497-8EAECD1943BD}"/>
          </ac:spMkLst>
        </pc:spChg>
        <pc:spChg chg="add mod">
          <ac:chgData name="Andrea Mogollon Nossa (CENIT)" userId="f6a3e592-cc27-4858-b185-ff86be206069" providerId="ADAL" clId="{2CAEC1E3-2241-4370-8FDB-F4FAA904BB83}" dt="2020-06-17T21:22:23.414" v="6343" actId="1076"/>
          <ac:spMkLst>
            <pc:docMk/>
            <pc:sldMk cId="685398324" sldId="2134804277"/>
            <ac:spMk id="168" creationId="{27CE3CF4-8552-4668-8C92-72492F9C7EDE}"/>
          </ac:spMkLst>
        </pc:spChg>
        <pc:spChg chg="add mod">
          <ac:chgData name="Andrea Mogollon Nossa (CENIT)" userId="f6a3e592-cc27-4858-b185-ff86be206069" providerId="ADAL" clId="{2CAEC1E3-2241-4370-8FDB-F4FAA904BB83}" dt="2020-06-17T21:12:39.046" v="6236" actId="1076"/>
          <ac:spMkLst>
            <pc:docMk/>
            <pc:sldMk cId="685398324" sldId="2134804277"/>
            <ac:spMk id="169" creationId="{815661F8-4E4B-455A-B8FB-8F4E2F66C8A0}"/>
          </ac:spMkLst>
        </pc:spChg>
        <pc:spChg chg="add mod">
          <ac:chgData name="Andrea Mogollon Nossa (CENIT)" userId="f6a3e592-cc27-4858-b185-ff86be206069" providerId="ADAL" clId="{2CAEC1E3-2241-4370-8FDB-F4FAA904BB83}" dt="2020-06-17T21:22:19.357" v="6341" actId="1076"/>
          <ac:spMkLst>
            <pc:docMk/>
            <pc:sldMk cId="685398324" sldId="2134804277"/>
            <ac:spMk id="170" creationId="{B2F3BBE0-6656-46AE-B393-9E0F8F4D849B}"/>
          </ac:spMkLst>
        </pc:spChg>
        <pc:spChg chg="add mod">
          <ac:chgData name="Andrea Mogollon Nossa (CENIT)" userId="f6a3e592-cc27-4858-b185-ff86be206069" providerId="ADAL" clId="{2CAEC1E3-2241-4370-8FDB-F4FAA904BB83}" dt="2020-06-17T21:22:21.270" v="6342" actId="1076"/>
          <ac:spMkLst>
            <pc:docMk/>
            <pc:sldMk cId="685398324" sldId="2134804277"/>
            <ac:spMk id="171" creationId="{E70F20BE-E504-47E7-80A0-49DF0D1CB34F}"/>
          </ac:spMkLst>
        </pc:spChg>
        <pc:spChg chg="add mod">
          <ac:chgData name="Andrea Mogollon Nossa (CENIT)" userId="f6a3e592-cc27-4858-b185-ff86be206069" providerId="ADAL" clId="{2CAEC1E3-2241-4370-8FDB-F4FAA904BB83}" dt="2020-06-17T21:08:42.301" v="6182" actId="1076"/>
          <ac:spMkLst>
            <pc:docMk/>
            <pc:sldMk cId="685398324" sldId="2134804277"/>
            <ac:spMk id="172" creationId="{170F7383-CBE6-4527-BD9C-0DABD3EFC817}"/>
          </ac:spMkLst>
        </pc:spChg>
        <pc:spChg chg="add del mod">
          <ac:chgData name="Andrea Mogollon Nossa (CENIT)" userId="f6a3e592-cc27-4858-b185-ff86be206069" providerId="ADAL" clId="{2CAEC1E3-2241-4370-8FDB-F4FAA904BB83}" dt="2020-06-17T21:11:43.132" v="6220" actId="478"/>
          <ac:spMkLst>
            <pc:docMk/>
            <pc:sldMk cId="685398324" sldId="2134804277"/>
            <ac:spMk id="173" creationId="{DA14828A-44F9-42BF-9DE4-4EB6F289D131}"/>
          </ac:spMkLst>
        </pc:spChg>
        <pc:spChg chg="add mod">
          <ac:chgData name="Andrea Mogollon Nossa (CENIT)" userId="f6a3e592-cc27-4858-b185-ff86be206069" providerId="ADAL" clId="{2CAEC1E3-2241-4370-8FDB-F4FAA904BB83}" dt="2020-06-17T21:08:42.301" v="6182" actId="1076"/>
          <ac:spMkLst>
            <pc:docMk/>
            <pc:sldMk cId="685398324" sldId="2134804277"/>
            <ac:spMk id="174" creationId="{DC1FC889-7C64-4E13-8CA3-F2AA0C731F2C}"/>
          </ac:spMkLst>
        </pc:spChg>
        <pc:spChg chg="add mod">
          <ac:chgData name="Andrea Mogollon Nossa (CENIT)" userId="f6a3e592-cc27-4858-b185-ff86be206069" providerId="ADAL" clId="{2CAEC1E3-2241-4370-8FDB-F4FAA904BB83}" dt="2020-06-17T21:13:25.574" v="6243" actId="14100"/>
          <ac:spMkLst>
            <pc:docMk/>
            <pc:sldMk cId="685398324" sldId="2134804277"/>
            <ac:spMk id="175" creationId="{C6A85CE0-D516-4D47-80B2-B2B61C459D20}"/>
          </ac:spMkLst>
        </pc:spChg>
        <pc:spChg chg="add mod">
          <ac:chgData name="Andrea Mogollon Nossa (CENIT)" userId="f6a3e592-cc27-4858-b185-ff86be206069" providerId="ADAL" clId="{2CAEC1E3-2241-4370-8FDB-F4FAA904BB83}" dt="2020-06-17T21:14:33.980" v="6262" actId="20577"/>
          <ac:spMkLst>
            <pc:docMk/>
            <pc:sldMk cId="685398324" sldId="2134804277"/>
            <ac:spMk id="176" creationId="{B0F58865-93CC-435C-AAD7-8207773D551B}"/>
          </ac:spMkLst>
        </pc:spChg>
        <pc:cxnChg chg="mod">
          <ac:chgData name="Andrea Mogollon Nossa (CENIT)" userId="f6a3e592-cc27-4858-b185-ff86be206069" providerId="ADAL" clId="{2CAEC1E3-2241-4370-8FDB-F4FAA904BB83}" dt="2020-06-17T21:12:49.253" v="6238" actId="14100"/>
          <ac:cxnSpMkLst>
            <pc:docMk/>
            <pc:sldMk cId="685398324" sldId="2134804277"/>
            <ac:cxnSpMk id="95" creationId="{992CCE25-00CE-4C15-881A-068C6B1A3F0E}"/>
          </ac:cxnSpMkLst>
        </pc:cxnChg>
      </pc:sldChg>
      <pc:sldChg chg="addSp modSp mod">
        <pc:chgData name="Andrea Mogollon Nossa (CENIT)" userId="f6a3e592-cc27-4858-b185-ff86be206069" providerId="ADAL" clId="{2CAEC1E3-2241-4370-8FDB-F4FAA904BB83}" dt="2020-06-17T21:29:21.120" v="6504" actId="113"/>
        <pc:sldMkLst>
          <pc:docMk/>
          <pc:sldMk cId="3831308622" sldId="2134804279"/>
        </pc:sldMkLst>
        <pc:spChg chg="add mod">
          <ac:chgData name="Andrea Mogollon Nossa (CENIT)" userId="f6a3e592-cc27-4858-b185-ff86be206069" providerId="ADAL" clId="{2CAEC1E3-2241-4370-8FDB-F4FAA904BB83}" dt="2020-06-17T21:29:18.550" v="6503" actId="1076"/>
          <ac:spMkLst>
            <pc:docMk/>
            <pc:sldMk cId="3831308622" sldId="2134804279"/>
            <ac:spMk id="3" creationId="{E0EBDA24-5DF4-4E0C-BF25-069E22B9B239}"/>
          </ac:spMkLst>
        </pc:spChg>
        <pc:spChg chg="mod">
          <ac:chgData name="Andrea Mogollon Nossa (CENIT)" userId="f6a3e592-cc27-4858-b185-ff86be206069" providerId="ADAL" clId="{2CAEC1E3-2241-4370-8FDB-F4FAA904BB83}" dt="2020-06-17T21:28:23.514" v="6493" actId="113"/>
          <ac:spMkLst>
            <pc:docMk/>
            <pc:sldMk cId="3831308622" sldId="2134804279"/>
            <ac:spMk id="14" creationId="{B16B2FAC-B20E-4A14-9B33-3B759C960A1E}"/>
          </ac:spMkLst>
        </pc:spChg>
        <pc:spChg chg="mod">
          <ac:chgData name="Andrea Mogollon Nossa (CENIT)" userId="f6a3e592-cc27-4858-b185-ff86be206069" providerId="ADAL" clId="{2CAEC1E3-2241-4370-8FDB-F4FAA904BB83}" dt="2020-06-17T14:34:31.011" v="4123" actId="20577"/>
          <ac:spMkLst>
            <pc:docMk/>
            <pc:sldMk cId="3831308622" sldId="2134804279"/>
            <ac:spMk id="29" creationId="{5E8189E1-D7BC-4F4A-993D-EDC8B0EBCF1A}"/>
          </ac:spMkLst>
        </pc:spChg>
        <pc:spChg chg="mod">
          <ac:chgData name="Andrea Mogollon Nossa (CENIT)" userId="f6a3e592-cc27-4858-b185-ff86be206069" providerId="ADAL" clId="{2CAEC1E3-2241-4370-8FDB-F4FAA904BB83}" dt="2020-06-17T14:35:24.340" v="4128" actId="1076"/>
          <ac:spMkLst>
            <pc:docMk/>
            <pc:sldMk cId="3831308622" sldId="2134804279"/>
            <ac:spMk id="47" creationId="{549F76F1-522F-428A-AB55-523D393B185B}"/>
          </ac:spMkLst>
        </pc:spChg>
        <pc:spChg chg="mod">
          <ac:chgData name="Andrea Mogollon Nossa (CENIT)" userId="f6a3e592-cc27-4858-b185-ff86be206069" providerId="ADAL" clId="{2CAEC1E3-2241-4370-8FDB-F4FAA904BB83}" dt="2020-06-17T21:29:13.540" v="6502" actId="14100"/>
          <ac:spMkLst>
            <pc:docMk/>
            <pc:sldMk cId="3831308622" sldId="2134804279"/>
            <ac:spMk id="57" creationId="{847A2F3C-9402-4AD0-BF56-28ABDAE59259}"/>
          </ac:spMkLst>
        </pc:spChg>
        <pc:spChg chg="mod">
          <ac:chgData name="Andrea Mogollon Nossa (CENIT)" userId="f6a3e592-cc27-4858-b185-ff86be206069" providerId="ADAL" clId="{2CAEC1E3-2241-4370-8FDB-F4FAA904BB83}" dt="2020-06-17T21:29:21.120" v="6504" actId="113"/>
          <ac:spMkLst>
            <pc:docMk/>
            <pc:sldMk cId="3831308622" sldId="2134804279"/>
            <ac:spMk id="58" creationId="{DAC27579-E9C2-4134-9476-72F607D7F944}"/>
          </ac:spMkLst>
        </pc:spChg>
      </pc:sldChg>
      <pc:sldChg chg="addSp delSp modSp mod">
        <pc:chgData name="Andrea Mogollon Nossa (CENIT)" userId="f6a3e592-cc27-4858-b185-ff86be206069" providerId="ADAL" clId="{2CAEC1E3-2241-4370-8FDB-F4FAA904BB83}" dt="2020-06-17T20:42:12.205" v="5973" actId="14100"/>
        <pc:sldMkLst>
          <pc:docMk/>
          <pc:sldMk cId="383958496" sldId="2134804281"/>
        </pc:sldMkLst>
        <pc:spChg chg="mod">
          <ac:chgData name="Andrea Mogollon Nossa (CENIT)" userId="f6a3e592-cc27-4858-b185-ff86be206069" providerId="ADAL" clId="{2CAEC1E3-2241-4370-8FDB-F4FAA904BB83}" dt="2020-06-17T20:42:12.205" v="5973" actId="14100"/>
          <ac:spMkLst>
            <pc:docMk/>
            <pc:sldMk cId="383958496" sldId="2134804281"/>
            <ac:spMk id="4" creationId="{9B0CE30D-625A-4CD9-98D4-3AF33243D194}"/>
          </ac:spMkLst>
        </pc:spChg>
        <pc:spChg chg="add mod">
          <ac:chgData name="Andrea Mogollon Nossa (CENIT)" userId="f6a3e592-cc27-4858-b185-ff86be206069" providerId="ADAL" clId="{2CAEC1E3-2241-4370-8FDB-F4FAA904BB83}" dt="2020-06-16T15:48:10.563" v="120" actId="1076"/>
          <ac:spMkLst>
            <pc:docMk/>
            <pc:sldMk cId="383958496" sldId="2134804281"/>
            <ac:spMk id="33" creationId="{257A51C8-EB6E-4CAA-8ED7-3E4E7C0B3A8A}"/>
          </ac:spMkLst>
        </pc:spChg>
        <pc:spChg chg="mod">
          <ac:chgData name="Andrea Mogollon Nossa (CENIT)" userId="f6a3e592-cc27-4858-b185-ff86be206069" providerId="ADAL" clId="{2CAEC1E3-2241-4370-8FDB-F4FAA904BB83}" dt="2020-06-16T15:47:50.855" v="118" actId="20577"/>
          <ac:spMkLst>
            <pc:docMk/>
            <pc:sldMk cId="383958496" sldId="2134804281"/>
            <ac:spMk id="54" creationId="{18FCD16F-84E8-4671-A091-C0264D480522}"/>
          </ac:spMkLst>
        </pc:spChg>
        <pc:spChg chg="mod">
          <ac:chgData name="Andrea Mogollon Nossa (CENIT)" userId="f6a3e592-cc27-4858-b185-ff86be206069" providerId="ADAL" clId="{2CAEC1E3-2241-4370-8FDB-F4FAA904BB83}" dt="2020-06-16T15:49:45.905" v="132" actId="20577"/>
          <ac:spMkLst>
            <pc:docMk/>
            <pc:sldMk cId="383958496" sldId="2134804281"/>
            <ac:spMk id="59" creationId="{59ACAE5A-D20F-4C0C-AF16-1F585FF5F4FE}"/>
          </ac:spMkLst>
        </pc:spChg>
        <pc:graphicFrameChg chg="add del mod">
          <ac:chgData name="Andrea Mogollon Nossa (CENIT)" userId="f6a3e592-cc27-4858-b185-ff86be206069" providerId="ADAL" clId="{2CAEC1E3-2241-4370-8FDB-F4FAA904BB83}" dt="2020-06-16T15:49:39.881" v="129" actId="1076"/>
          <ac:graphicFrameMkLst>
            <pc:docMk/>
            <pc:sldMk cId="383958496" sldId="2134804281"/>
            <ac:graphicFrameMk id="34" creationId="{02B2869B-7E4D-490B-8846-042149DA7C69}"/>
          </ac:graphicFrameMkLst>
        </pc:graphicFrameChg>
        <pc:graphicFrameChg chg="mod">
          <ac:chgData name="Andrea Mogollon Nossa (CENIT)" userId="f6a3e592-cc27-4858-b185-ff86be206069" providerId="ADAL" clId="{2CAEC1E3-2241-4370-8FDB-F4FAA904BB83}" dt="2020-06-16T15:49:05.676" v="122" actId="20577"/>
          <ac:graphicFrameMkLst>
            <pc:docMk/>
            <pc:sldMk cId="383958496" sldId="2134804281"/>
            <ac:graphicFrameMk id="56" creationId="{8CFF7275-2CFD-476E-AC6D-F148C64CF6BF}"/>
          </ac:graphicFrameMkLst>
        </pc:graphicFrameChg>
      </pc:sldChg>
      <pc:sldChg chg="delSp modSp mod">
        <pc:chgData name="Andrea Mogollon Nossa (CENIT)" userId="f6a3e592-cc27-4858-b185-ff86be206069" providerId="ADAL" clId="{2CAEC1E3-2241-4370-8FDB-F4FAA904BB83}" dt="2020-06-17T20:42:03.897" v="5960" actId="20577"/>
        <pc:sldMkLst>
          <pc:docMk/>
          <pc:sldMk cId="4094272692" sldId="2134804282"/>
        </pc:sldMkLst>
        <pc:spChg chg="mod">
          <ac:chgData name="Andrea Mogollon Nossa (CENIT)" userId="f6a3e592-cc27-4858-b185-ff86be206069" providerId="ADAL" clId="{2CAEC1E3-2241-4370-8FDB-F4FAA904BB83}" dt="2020-06-17T20:42:03.897" v="5960" actId="20577"/>
          <ac:spMkLst>
            <pc:docMk/>
            <pc:sldMk cId="4094272692" sldId="2134804282"/>
            <ac:spMk id="4" creationId="{9B0CE30D-625A-4CD9-98D4-3AF33243D194}"/>
          </ac:spMkLst>
        </pc:spChg>
        <pc:spChg chg="del mod">
          <ac:chgData name="Andrea Mogollon Nossa (CENIT)" userId="f6a3e592-cc27-4858-b185-ff86be206069" providerId="ADAL" clId="{2CAEC1E3-2241-4370-8FDB-F4FAA904BB83}" dt="2020-06-17T13:12:11.975" v="2768" actId="478"/>
          <ac:spMkLst>
            <pc:docMk/>
            <pc:sldMk cId="4094272692" sldId="2134804282"/>
            <ac:spMk id="43" creationId="{BCBC9E1C-A934-4193-BA31-51F1F2C04CFD}"/>
          </ac:spMkLst>
        </pc:spChg>
        <pc:spChg chg="mod">
          <ac:chgData name="Andrea Mogollon Nossa (CENIT)" userId="f6a3e592-cc27-4858-b185-ff86be206069" providerId="ADAL" clId="{2CAEC1E3-2241-4370-8FDB-F4FAA904BB83}" dt="2020-06-17T13:12:05.754" v="2767" actId="108"/>
          <ac:spMkLst>
            <pc:docMk/>
            <pc:sldMk cId="4094272692" sldId="2134804282"/>
            <ac:spMk id="47" creationId="{89F53308-CD6C-40B8-8AE9-97110B2DCF26}"/>
          </ac:spMkLst>
        </pc:spChg>
        <pc:spChg chg="mod">
          <ac:chgData name="Andrea Mogollon Nossa (CENIT)" userId="f6a3e592-cc27-4858-b185-ff86be206069" providerId="ADAL" clId="{2CAEC1E3-2241-4370-8FDB-F4FAA904BB83}" dt="2020-06-16T16:42:01.459" v="1126" actId="1076"/>
          <ac:spMkLst>
            <pc:docMk/>
            <pc:sldMk cId="4094272692" sldId="2134804282"/>
            <ac:spMk id="61" creationId="{138DCF18-9876-4282-8277-FD5C3720C955}"/>
          </ac:spMkLst>
        </pc:spChg>
        <pc:spChg chg="mod">
          <ac:chgData name="Andrea Mogollon Nossa (CENIT)" userId="f6a3e592-cc27-4858-b185-ff86be206069" providerId="ADAL" clId="{2CAEC1E3-2241-4370-8FDB-F4FAA904BB83}" dt="2020-06-17T14:04:33.659" v="3040" actId="1076"/>
          <ac:spMkLst>
            <pc:docMk/>
            <pc:sldMk cId="4094272692" sldId="2134804282"/>
            <ac:spMk id="71" creationId="{E9DE0F76-2326-4291-B0EE-DDA9C039E05F}"/>
          </ac:spMkLst>
        </pc:spChg>
        <pc:graphicFrameChg chg="modGraphic">
          <ac:chgData name="Andrea Mogollon Nossa (CENIT)" userId="f6a3e592-cc27-4858-b185-ff86be206069" providerId="ADAL" clId="{2CAEC1E3-2241-4370-8FDB-F4FAA904BB83}" dt="2020-06-16T16:39:27.821" v="1003" actId="20577"/>
          <ac:graphicFrameMkLst>
            <pc:docMk/>
            <pc:sldMk cId="4094272692" sldId="2134804282"/>
            <ac:graphicFrameMk id="6" creationId="{696E929C-842E-4A14-B3B2-9D0BBEE92173}"/>
          </ac:graphicFrameMkLst>
        </pc:graphicFrameChg>
        <pc:graphicFrameChg chg="modGraphic">
          <ac:chgData name="Andrea Mogollon Nossa (CENIT)" userId="f6a3e592-cc27-4858-b185-ff86be206069" providerId="ADAL" clId="{2CAEC1E3-2241-4370-8FDB-F4FAA904BB83}" dt="2020-06-17T14:06:06.150" v="3041" actId="14734"/>
          <ac:graphicFrameMkLst>
            <pc:docMk/>
            <pc:sldMk cId="4094272692" sldId="2134804282"/>
            <ac:graphicFrameMk id="8" creationId="{9EAC8BE2-E9F7-49C2-9B40-7EF667D4FE82}"/>
          </ac:graphicFrameMkLst>
        </pc:graphicFrameChg>
        <pc:graphicFrameChg chg="mod">
          <ac:chgData name="Andrea Mogollon Nossa (CENIT)" userId="f6a3e592-cc27-4858-b185-ff86be206069" providerId="ADAL" clId="{2CAEC1E3-2241-4370-8FDB-F4FAA904BB83}" dt="2020-06-16T16:40:27.925" v="1009" actId="20577"/>
          <ac:graphicFrameMkLst>
            <pc:docMk/>
            <pc:sldMk cId="4094272692" sldId="2134804282"/>
            <ac:graphicFrameMk id="39" creationId="{5B59E694-0DBE-4A0B-901D-BEC487255BF4}"/>
          </ac:graphicFrameMkLst>
        </pc:graphicFrameChg>
        <pc:graphicFrameChg chg="mod">
          <ac:chgData name="Andrea Mogollon Nossa (CENIT)" userId="f6a3e592-cc27-4858-b185-ff86be206069" providerId="ADAL" clId="{2CAEC1E3-2241-4370-8FDB-F4FAA904BB83}" dt="2020-06-16T16:44:25.745" v="1252" actId="20577"/>
          <ac:graphicFrameMkLst>
            <pc:docMk/>
            <pc:sldMk cId="4094272692" sldId="2134804282"/>
            <ac:graphicFrameMk id="42" creationId="{F76758D9-DF29-4C65-8046-FB9AE5C702A6}"/>
          </ac:graphicFrameMkLst>
        </pc:graphicFrameChg>
      </pc:sldChg>
      <pc:sldChg chg="modSp mod">
        <pc:chgData name="Andrea Mogollon Nossa (CENIT)" userId="f6a3e592-cc27-4858-b185-ff86be206069" providerId="ADAL" clId="{2CAEC1E3-2241-4370-8FDB-F4FAA904BB83}" dt="2020-06-17T20:41:19.503" v="5948" actId="122"/>
        <pc:sldMkLst>
          <pc:docMk/>
          <pc:sldMk cId="2275827461" sldId="2134804285"/>
        </pc:sldMkLst>
        <pc:spChg chg="mod">
          <ac:chgData name="Andrea Mogollon Nossa (CENIT)" userId="f6a3e592-cc27-4858-b185-ff86be206069" providerId="ADAL" clId="{2CAEC1E3-2241-4370-8FDB-F4FAA904BB83}" dt="2020-06-17T20:41:19.503" v="5948" actId="122"/>
          <ac:spMkLst>
            <pc:docMk/>
            <pc:sldMk cId="2275827461" sldId="2134804285"/>
            <ac:spMk id="55" creationId="{71D2E868-A54D-4479-B446-29F9C50FDEA5}"/>
          </ac:spMkLst>
        </pc:spChg>
      </pc:sldChg>
      <pc:sldChg chg="modSp mod">
        <pc:chgData name="Andrea Mogollon Nossa (CENIT)" userId="f6a3e592-cc27-4858-b185-ff86be206069" providerId="ADAL" clId="{2CAEC1E3-2241-4370-8FDB-F4FAA904BB83}" dt="2020-06-17T21:27:06.941" v="6487" actId="1076"/>
        <pc:sldMkLst>
          <pc:docMk/>
          <pc:sldMk cId="3055166102" sldId="2134804286"/>
        </pc:sldMkLst>
        <pc:spChg chg="mod">
          <ac:chgData name="Andrea Mogollon Nossa (CENIT)" userId="f6a3e592-cc27-4858-b185-ff86be206069" providerId="ADAL" clId="{2CAEC1E3-2241-4370-8FDB-F4FAA904BB83}" dt="2020-06-17T21:27:01.713" v="6485" actId="123"/>
          <ac:spMkLst>
            <pc:docMk/>
            <pc:sldMk cId="3055166102" sldId="2134804286"/>
            <ac:spMk id="21" creationId="{FCFE65B7-3A35-4722-84A8-FEC6DADDBA49}"/>
          </ac:spMkLst>
        </pc:spChg>
        <pc:spChg chg="mod">
          <ac:chgData name="Andrea Mogollon Nossa (CENIT)" userId="f6a3e592-cc27-4858-b185-ff86be206069" providerId="ADAL" clId="{2CAEC1E3-2241-4370-8FDB-F4FAA904BB83}" dt="2020-06-17T21:27:04.685" v="6486" actId="1076"/>
          <ac:spMkLst>
            <pc:docMk/>
            <pc:sldMk cId="3055166102" sldId="2134804286"/>
            <ac:spMk id="22" creationId="{7565957D-73CC-497F-A9EE-BA5F2A79250A}"/>
          </ac:spMkLst>
        </pc:spChg>
        <pc:spChg chg="mod">
          <ac:chgData name="Andrea Mogollon Nossa (CENIT)" userId="f6a3e592-cc27-4858-b185-ff86be206069" providerId="ADAL" clId="{2CAEC1E3-2241-4370-8FDB-F4FAA904BB83}" dt="2020-06-17T21:26:58.263" v="6483" actId="123"/>
          <ac:spMkLst>
            <pc:docMk/>
            <pc:sldMk cId="3055166102" sldId="2134804286"/>
            <ac:spMk id="23" creationId="{2090C287-4A91-45B9-8277-A5A2EF2B34A0}"/>
          </ac:spMkLst>
        </pc:spChg>
        <pc:spChg chg="mod">
          <ac:chgData name="Andrea Mogollon Nossa (CENIT)" userId="f6a3e592-cc27-4858-b185-ff86be206069" providerId="ADAL" clId="{2CAEC1E3-2241-4370-8FDB-F4FAA904BB83}" dt="2020-06-17T21:27:06.941" v="6487" actId="1076"/>
          <ac:spMkLst>
            <pc:docMk/>
            <pc:sldMk cId="3055166102" sldId="2134804286"/>
            <ac:spMk id="26" creationId="{DDE70F6C-1ADB-475F-BE97-D0A8A27E8FE6}"/>
          </ac:spMkLst>
        </pc:spChg>
      </pc:sldChg>
      <pc:sldChg chg="addSp delSp modSp mod">
        <pc:chgData name="Andrea Mogollon Nossa (CENIT)" userId="f6a3e592-cc27-4858-b185-ff86be206069" providerId="ADAL" clId="{2CAEC1E3-2241-4370-8FDB-F4FAA904BB83}" dt="2020-06-17T21:26:08.518" v="6425" actId="20577"/>
        <pc:sldMkLst>
          <pc:docMk/>
          <pc:sldMk cId="3972105642" sldId="2134804288"/>
        </pc:sldMkLst>
        <pc:spChg chg="mod">
          <ac:chgData name="Andrea Mogollon Nossa (CENIT)" userId="f6a3e592-cc27-4858-b185-ff86be206069" providerId="ADAL" clId="{2CAEC1E3-2241-4370-8FDB-F4FAA904BB83}" dt="2020-06-16T23:16:52.478" v="2566" actId="1076"/>
          <ac:spMkLst>
            <pc:docMk/>
            <pc:sldMk cId="3972105642" sldId="2134804288"/>
            <ac:spMk id="3" creationId="{1524C45A-97FD-4A0C-A286-8B4FC211198E}"/>
          </ac:spMkLst>
        </pc:spChg>
        <pc:spChg chg="mod">
          <ac:chgData name="Andrea Mogollon Nossa (CENIT)" userId="f6a3e592-cc27-4858-b185-ff86be206069" providerId="ADAL" clId="{2CAEC1E3-2241-4370-8FDB-F4FAA904BB83}" dt="2020-06-17T21:26:08.518" v="6425" actId="20577"/>
          <ac:spMkLst>
            <pc:docMk/>
            <pc:sldMk cId="3972105642" sldId="2134804288"/>
            <ac:spMk id="4" creationId="{4E416E0B-B198-4FBD-9A5E-87C11F598EB2}"/>
          </ac:spMkLst>
        </pc:spChg>
        <pc:spChg chg="mod">
          <ac:chgData name="Andrea Mogollon Nossa (CENIT)" userId="f6a3e592-cc27-4858-b185-ff86be206069" providerId="ADAL" clId="{2CAEC1E3-2241-4370-8FDB-F4FAA904BB83}" dt="2020-06-16T23:00:36.286" v="2274" actId="14100"/>
          <ac:spMkLst>
            <pc:docMk/>
            <pc:sldMk cId="3972105642" sldId="2134804288"/>
            <ac:spMk id="5" creationId="{6E9A1754-20A7-4B35-82A8-CAADFE6AA79E}"/>
          </ac:spMkLst>
        </pc:spChg>
        <pc:spChg chg="del mod">
          <ac:chgData name="Andrea Mogollon Nossa (CENIT)" userId="f6a3e592-cc27-4858-b185-ff86be206069" providerId="ADAL" clId="{2CAEC1E3-2241-4370-8FDB-F4FAA904BB83}" dt="2020-06-16T23:03:58.804" v="2310" actId="478"/>
          <ac:spMkLst>
            <pc:docMk/>
            <pc:sldMk cId="3972105642" sldId="2134804288"/>
            <ac:spMk id="6" creationId="{36E1CC32-B124-41BD-9B60-B0A2BB29B3A3}"/>
          </ac:spMkLst>
        </pc:spChg>
        <pc:spChg chg="del mod">
          <ac:chgData name="Andrea Mogollon Nossa (CENIT)" userId="f6a3e592-cc27-4858-b185-ff86be206069" providerId="ADAL" clId="{2CAEC1E3-2241-4370-8FDB-F4FAA904BB83}" dt="2020-06-16T23:04:01.212" v="2311" actId="478"/>
          <ac:spMkLst>
            <pc:docMk/>
            <pc:sldMk cId="3972105642" sldId="2134804288"/>
            <ac:spMk id="7" creationId="{4796F9FF-6CFC-4E1F-90D6-8A91FC509433}"/>
          </ac:spMkLst>
        </pc:spChg>
        <pc:spChg chg="del mod">
          <ac:chgData name="Andrea Mogollon Nossa (CENIT)" userId="f6a3e592-cc27-4858-b185-ff86be206069" providerId="ADAL" clId="{2CAEC1E3-2241-4370-8FDB-F4FAA904BB83}" dt="2020-06-16T23:04:01.486" v="2312" actId="478"/>
          <ac:spMkLst>
            <pc:docMk/>
            <pc:sldMk cId="3972105642" sldId="2134804288"/>
            <ac:spMk id="8" creationId="{77BA9FDC-7761-4825-AE32-6FBFADCC2CE8}"/>
          </ac:spMkLst>
        </pc:spChg>
        <pc:spChg chg="del mod">
          <ac:chgData name="Andrea Mogollon Nossa (CENIT)" userId="f6a3e592-cc27-4858-b185-ff86be206069" providerId="ADAL" clId="{2CAEC1E3-2241-4370-8FDB-F4FAA904BB83}" dt="2020-06-16T23:04:02.298" v="2313" actId="478"/>
          <ac:spMkLst>
            <pc:docMk/>
            <pc:sldMk cId="3972105642" sldId="2134804288"/>
            <ac:spMk id="9" creationId="{8F4253BD-503A-4DF5-B588-0E1DDEF4B05C}"/>
          </ac:spMkLst>
        </pc:spChg>
        <pc:spChg chg="add mod">
          <ac:chgData name="Andrea Mogollon Nossa (CENIT)" userId="f6a3e592-cc27-4858-b185-ff86be206069" providerId="ADAL" clId="{2CAEC1E3-2241-4370-8FDB-F4FAA904BB83}" dt="2020-06-16T23:14:23.974" v="2520" actId="113"/>
          <ac:spMkLst>
            <pc:docMk/>
            <pc:sldMk cId="3972105642" sldId="2134804288"/>
            <ac:spMk id="10" creationId="{A192B800-F5BA-4DF6-AD24-3F9707FAC6B5}"/>
          </ac:spMkLst>
        </pc:spChg>
        <pc:spChg chg="del mod">
          <ac:chgData name="Andrea Mogollon Nossa (CENIT)" userId="f6a3e592-cc27-4858-b185-ff86be206069" providerId="ADAL" clId="{2CAEC1E3-2241-4370-8FDB-F4FAA904BB83}" dt="2020-06-16T23:04:03.552" v="2314" actId="478"/>
          <ac:spMkLst>
            <pc:docMk/>
            <pc:sldMk cId="3972105642" sldId="2134804288"/>
            <ac:spMk id="12" creationId="{942A6D2A-2C32-41F0-8999-85F328EEC4FC}"/>
          </ac:spMkLst>
        </pc:spChg>
        <pc:spChg chg="del">
          <ac:chgData name="Andrea Mogollon Nossa (CENIT)" userId="f6a3e592-cc27-4858-b185-ff86be206069" providerId="ADAL" clId="{2CAEC1E3-2241-4370-8FDB-F4FAA904BB83}" dt="2020-06-16T23:03:46.754" v="2305" actId="478"/>
          <ac:spMkLst>
            <pc:docMk/>
            <pc:sldMk cId="3972105642" sldId="2134804288"/>
            <ac:spMk id="13" creationId="{34D94376-F64F-4EC4-A2ED-32BE593E93F6}"/>
          </ac:spMkLst>
        </pc:spChg>
        <pc:spChg chg="del">
          <ac:chgData name="Andrea Mogollon Nossa (CENIT)" userId="f6a3e592-cc27-4858-b185-ff86be206069" providerId="ADAL" clId="{2CAEC1E3-2241-4370-8FDB-F4FAA904BB83}" dt="2020-06-16T23:03:49.534" v="2307" actId="478"/>
          <ac:spMkLst>
            <pc:docMk/>
            <pc:sldMk cId="3972105642" sldId="2134804288"/>
            <ac:spMk id="14" creationId="{4B440DE2-0BCC-4C08-B9A7-A5FC0AE54C67}"/>
          </ac:spMkLst>
        </pc:spChg>
        <pc:spChg chg="del">
          <ac:chgData name="Andrea Mogollon Nossa (CENIT)" userId="f6a3e592-cc27-4858-b185-ff86be206069" providerId="ADAL" clId="{2CAEC1E3-2241-4370-8FDB-F4FAA904BB83}" dt="2020-06-16T23:03:51.944" v="2309" actId="478"/>
          <ac:spMkLst>
            <pc:docMk/>
            <pc:sldMk cId="3972105642" sldId="2134804288"/>
            <ac:spMk id="16" creationId="{10660EED-74D3-43A0-B33D-A726B2D0CC0F}"/>
          </ac:spMkLst>
        </pc:spChg>
        <pc:spChg chg="del">
          <ac:chgData name="Andrea Mogollon Nossa (CENIT)" userId="f6a3e592-cc27-4858-b185-ff86be206069" providerId="ADAL" clId="{2CAEC1E3-2241-4370-8FDB-F4FAA904BB83}" dt="2020-06-16T23:03:47.602" v="2306" actId="478"/>
          <ac:spMkLst>
            <pc:docMk/>
            <pc:sldMk cId="3972105642" sldId="2134804288"/>
            <ac:spMk id="21" creationId="{8181986E-0514-4787-9C98-54C73075CD26}"/>
          </ac:spMkLst>
        </pc:spChg>
        <pc:spChg chg="del">
          <ac:chgData name="Andrea Mogollon Nossa (CENIT)" userId="f6a3e592-cc27-4858-b185-ff86be206069" providerId="ADAL" clId="{2CAEC1E3-2241-4370-8FDB-F4FAA904BB83}" dt="2020-06-16T23:03:51.308" v="2308" actId="478"/>
          <ac:spMkLst>
            <pc:docMk/>
            <pc:sldMk cId="3972105642" sldId="2134804288"/>
            <ac:spMk id="22" creationId="{9D8C9AC8-5BD8-4179-93CB-361E8AC503AE}"/>
          </ac:spMkLst>
        </pc:spChg>
        <pc:spChg chg="mod">
          <ac:chgData name="Andrea Mogollon Nossa (CENIT)" userId="f6a3e592-cc27-4858-b185-ff86be206069" providerId="ADAL" clId="{2CAEC1E3-2241-4370-8FDB-F4FAA904BB83}" dt="2020-06-16T22:59:59.215" v="2268" actId="1076"/>
          <ac:spMkLst>
            <pc:docMk/>
            <pc:sldMk cId="3972105642" sldId="2134804288"/>
            <ac:spMk id="24" creationId="{389B18D5-C39A-47EE-B3A9-7DEE4189E676}"/>
          </ac:spMkLst>
        </pc:spChg>
        <pc:spChg chg="mod">
          <ac:chgData name="Andrea Mogollon Nossa (CENIT)" userId="f6a3e592-cc27-4858-b185-ff86be206069" providerId="ADAL" clId="{2CAEC1E3-2241-4370-8FDB-F4FAA904BB83}" dt="2020-06-16T22:59:59.215" v="2268" actId="1076"/>
          <ac:spMkLst>
            <pc:docMk/>
            <pc:sldMk cId="3972105642" sldId="2134804288"/>
            <ac:spMk id="25" creationId="{52048D91-45AA-408F-9D1F-D2E9F2D37210}"/>
          </ac:spMkLst>
        </pc:spChg>
        <pc:spChg chg="del mod">
          <ac:chgData name="Andrea Mogollon Nossa (CENIT)" userId="f6a3e592-cc27-4858-b185-ff86be206069" providerId="ADAL" clId="{2CAEC1E3-2241-4370-8FDB-F4FAA904BB83}" dt="2020-06-16T23:03:45.117" v="2303" actId="478"/>
          <ac:spMkLst>
            <pc:docMk/>
            <pc:sldMk cId="3972105642" sldId="2134804288"/>
            <ac:spMk id="26" creationId="{BDEF7728-FC62-473C-967E-BFC849B89777}"/>
          </ac:spMkLst>
        </pc:spChg>
        <pc:spChg chg="mod">
          <ac:chgData name="Andrea Mogollon Nossa (CENIT)" userId="f6a3e592-cc27-4858-b185-ff86be206069" providerId="ADAL" clId="{2CAEC1E3-2241-4370-8FDB-F4FAA904BB83}" dt="2020-06-16T23:00:03.424" v="2269" actId="1076"/>
          <ac:spMkLst>
            <pc:docMk/>
            <pc:sldMk cId="3972105642" sldId="2134804288"/>
            <ac:spMk id="27" creationId="{626ADC92-4AB0-48C8-94D3-787A8F6B3965}"/>
          </ac:spMkLst>
        </pc:spChg>
        <pc:spChg chg="del mod">
          <ac:chgData name="Andrea Mogollon Nossa (CENIT)" userId="f6a3e592-cc27-4858-b185-ff86be206069" providerId="ADAL" clId="{2CAEC1E3-2241-4370-8FDB-F4FAA904BB83}" dt="2020-06-16T23:03:42.026" v="2301" actId="478"/>
          <ac:spMkLst>
            <pc:docMk/>
            <pc:sldMk cId="3972105642" sldId="2134804288"/>
            <ac:spMk id="30" creationId="{152FC885-7F3C-469B-8D07-51B372D4A99A}"/>
          </ac:spMkLst>
        </pc:spChg>
        <pc:spChg chg="del">
          <ac:chgData name="Andrea Mogollon Nossa (CENIT)" userId="f6a3e592-cc27-4858-b185-ff86be206069" providerId="ADAL" clId="{2CAEC1E3-2241-4370-8FDB-F4FAA904BB83}" dt="2020-06-16T23:03:45.858" v="2304" actId="478"/>
          <ac:spMkLst>
            <pc:docMk/>
            <pc:sldMk cId="3972105642" sldId="2134804288"/>
            <ac:spMk id="31" creationId="{4561B9E8-FD82-4164-AC7B-8EC56FB209DF}"/>
          </ac:spMkLst>
        </pc:spChg>
        <pc:spChg chg="del mod">
          <ac:chgData name="Andrea Mogollon Nossa (CENIT)" userId="f6a3e592-cc27-4858-b185-ff86be206069" providerId="ADAL" clId="{2CAEC1E3-2241-4370-8FDB-F4FAA904BB83}" dt="2020-06-16T23:05:46.455" v="2374" actId="478"/>
          <ac:spMkLst>
            <pc:docMk/>
            <pc:sldMk cId="3972105642" sldId="2134804288"/>
            <ac:spMk id="32" creationId="{2E03E595-6B8E-4EAD-8B72-53C1B453F5D0}"/>
          </ac:spMkLst>
        </pc:spChg>
        <pc:spChg chg="mod">
          <ac:chgData name="Andrea Mogollon Nossa (CENIT)" userId="f6a3e592-cc27-4858-b185-ff86be206069" providerId="ADAL" clId="{2CAEC1E3-2241-4370-8FDB-F4FAA904BB83}" dt="2020-06-17T13:44:40.685" v="2958" actId="1076"/>
          <ac:spMkLst>
            <pc:docMk/>
            <pc:sldMk cId="3972105642" sldId="2134804288"/>
            <ac:spMk id="33" creationId="{7789E6CD-12A8-49BE-BB62-0F2E7B9DA7BD}"/>
          </ac:spMkLst>
        </pc:spChg>
        <pc:spChg chg="add del mod">
          <ac:chgData name="Andrea Mogollon Nossa (CENIT)" userId="f6a3e592-cc27-4858-b185-ff86be206069" providerId="ADAL" clId="{2CAEC1E3-2241-4370-8FDB-F4FAA904BB83}" dt="2020-06-17T13:45:18.393" v="2969" actId="20577"/>
          <ac:spMkLst>
            <pc:docMk/>
            <pc:sldMk cId="3972105642" sldId="2134804288"/>
            <ac:spMk id="37" creationId="{3711A2D9-52BE-4CB1-B730-5A820326C85E}"/>
          </ac:spMkLst>
        </pc:spChg>
        <pc:spChg chg="mod">
          <ac:chgData name="Andrea Mogollon Nossa (CENIT)" userId="f6a3e592-cc27-4858-b185-ff86be206069" providerId="ADAL" clId="{2CAEC1E3-2241-4370-8FDB-F4FAA904BB83}" dt="2020-06-17T13:44:40.685" v="2958" actId="1076"/>
          <ac:spMkLst>
            <pc:docMk/>
            <pc:sldMk cId="3972105642" sldId="2134804288"/>
            <ac:spMk id="38" creationId="{DA34B12E-EB9B-46FF-91FB-EC5344118F0F}"/>
          </ac:spMkLst>
        </pc:spChg>
        <pc:spChg chg="del">
          <ac:chgData name="Andrea Mogollon Nossa (CENIT)" userId="f6a3e592-cc27-4858-b185-ff86be206069" providerId="ADAL" clId="{2CAEC1E3-2241-4370-8FDB-F4FAA904BB83}" dt="2020-06-16T23:01:16.161" v="2286" actId="478"/>
          <ac:spMkLst>
            <pc:docMk/>
            <pc:sldMk cId="3972105642" sldId="2134804288"/>
            <ac:spMk id="50" creationId="{E85ACB51-44A7-41E9-B936-2B072F1EF8B0}"/>
          </ac:spMkLst>
        </pc:spChg>
        <pc:spChg chg="del">
          <ac:chgData name="Andrea Mogollon Nossa (CENIT)" userId="f6a3e592-cc27-4858-b185-ff86be206069" providerId="ADAL" clId="{2CAEC1E3-2241-4370-8FDB-F4FAA904BB83}" dt="2020-06-16T23:04:39.735" v="2324" actId="478"/>
          <ac:spMkLst>
            <pc:docMk/>
            <pc:sldMk cId="3972105642" sldId="2134804288"/>
            <ac:spMk id="53" creationId="{264C4AF9-70B4-4918-82EC-234256610321}"/>
          </ac:spMkLst>
        </pc:spChg>
        <pc:spChg chg="del mod">
          <ac:chgData name="Andrea Mogollon Nossa (CENIT)" userId="f6a3e592-cc27-4858-b185-ff86be206069" providerId="ADAL" clId="{2CAEC1E3-2241-4370-8FDB-F4FAA904BB83}" dt="2020-06-16T23:04:38.535" v="2323" actId="478"/>
          <ac:spMkLst>
            <pc:docMk/>
            <pc:sldMk cId="3972105642" sldId="2134804288"/>
            <ac:spMk id="56" creationId="{AE881D4B-169B-4E47-B0A1-AEE50A186C6E}"/>
          </ac:spMkLst>
        </pc:spChg>
        <pc:spChg chg="del">
          <ac:chgData name="Andrea Mogollon Nossa (CENIT)" userId="f6a3e592-cc27-4858-b185-ff86be206069" providerId="ADAL" clId="{2CAEC1E3-2241-4370-8FDB-F4FAA904BB83}" dt="2020-06-16T23:04:35.794" v="2321" actId="478"/>
          <ac:spMkLst>
            <pc:docMk/>
            <pc:sldMk cId="3972105642" sldId="2134804288"/>
            <ac:spMk id="57" creationId="{83D25550-66EB-4BE6-8087-F110A09FCA2A}"/>
          </ac:spMkLst>
        </pc:spChg>
        <pc:spChg chg="del">
          <ac:chgData name="Andrea Mogollon Nossa (CENIT)" userId="f6a3e592-cc27-4858-b185-ff86be206069" providerId="ADAL" clId="{2CAEC1E3-2241-4370-8FDB-F4FAA904BB83}" dt="2020-06-16T23:04:46.150" v="2328" actId="478"/>
          <ac:spMkLst>
            <pc:docMk/>
            <pc:sldMk cId="3972105642" sldId="2134804288"/>
            <ac:spMk id="62" creationId="{560B3A00-37D0-4347-B18E-47C3D302FC45}"/>
          </ac:spMkLst>
        </pc:spChg>
        <pc:spChg chg="mod">
          <ac:chgData name="Andrea Mogollon Nossa (CENIT)" userId="f6a3e592-cc27-4858-b185-ff86be206069" providerId="ADAL" clId="{2CAEC1E3-2241-4370-8FDB-F4FAA904BB83}" dt="2020-06-17T13:40:38.372" v="2929" actId="1076"/>
          <ac:spMkLst>
            <pc:docMk/>
            <pc:sldMk cId="3972105642" sldId="2134804288"/>
            <ac:spMk id="62" creationId="{86B3BC84-3FA8-44F3-9E3E-59D0739B9318}"/>
          </ac:spMkLst>
        </pc:spChg>
        <pc:spChg chg="mod">
          <ac:chgData name="Andrea Mogollon Nossa (CENIT)" userId="f6a3e592-cc27-4858-b185-ff86be206069" providerId="ADAL" clId="{2CAEC1E3-2241-4370-8FDB-F4FAA904BB83}" dt="2020-06-17T13:47:36.321" v="3017" actId="14100"/>
          <ac:spMkLst>
            <pc:docMk/>
            <pc:sldMk cId="3972105642" sldId="2134804288"/>
            <ac:spMk id="63" creationId="{51677489-FC2B-4FD1-AEFD-56F1823C4DD5}"/>
          </ac:spMkLst>
        </pc:spChg>
        <pc:spChg chg="del">
          <ac:chgData name="Andrea Mogollon Nossa (CENIT)" userId="f6a3e592-cc27-4858-b185-ff86be206069" providerId="ADAL" clId="{2CAEC1E3-2241-4370-8FDB-F4FAA904BB83}" dt="2020-06-16T23:04:58.503" v="2338" actId="478"/>
          <ac:spMkLst>
            <pc:docMk/>
            <pc:sldMk cId="3972105642" sldId="2134804288"/>
            <ac:spMk id="63" creationId="{FB9675CF-27AB-4CDE-9855-95E82BCCE626}"/>
          </ac:spMkLst>
        </pc:spChg>
        <pc:spChg chg="mod">
          <ac:chgData name="Andrea Mogollon Nossa (CENIT)" userId="f6a3e592-cc27-4858-b185-ff86be206069" providerId="ADAL" clId="{2CAEC1E3-2241-4370-8FDB-F4FAA904BB83}" dt="2020-06-17T13:46:40.152" v="3005" actId="20577"/>
          <ac:spMkLst>
            <pc:docMk/>
            <pc:sldMk cId="3972105642" sldId="2134804288"/>
            <ac:spMk id="64" creationId="{0E1F4205-8CA9-4A1C-9852-5354A2D5BA6D}"/>
          </ac:spMkLst>
        </pc:spChg>
        <pc:spChg chg="del">
          <ac:chgData name="Andrea Mogollon Nossa (CENIT)" userId="f6a3e592-cc27-4858-b185-ff86be206069" providerId="ADAL" clId="{2CAEC1E3-2241-4370-8FDB-F4FAA904BB83}" dt="2020-06-16T23:04:45.382" v="2327" actId="478"/>
          <ac:spMkLst>
            <pc:docMk/>
            <pc:sldMk cId="3972105642" sldId="2134804288"/>
            <ac:spMk id="65" creationId="{9B16E40E-B2E4-4BEE-98B2-B1EDEF0AFF37}"/>
          </ac:spMkLst>
        </pc:spChg>
        <pc:spChg chg="mod">
          <ac:chgData name="Andrea Mogollon Nossa (CENIT)" userId="f6a3e592-cc27-4858-b185-ff86be206069" providerId="ADAL" clId="{2CAEC1E3-2241-4370-8FDB-F4FAA904BB83}" dt="2020-06-17T13:46:36.043" v="3003" actId="20577"/>
          <ac:spMkLst>
            <pc:docMk/>
            <pc:sldMk cId="3972105642" sldId="2134804288"/>
            <ac:spMk id="65" creationId="{C2A97AAE-273C-42A5-B6F0-B43634490DE4}"/>
          </ac:spMkLst>
        </pc:spChg>
        <pc:spChg chg="add del mod">
          <ac:chgData name="Andrea Mogollon Nossa (CENIT)" userId="f6a3e592-cc27-4858-b185-ff86be206069" providerId="ADAL" clId="{2CAEC1E3-2241-4370-8FDB-F4FAA904BB83}" dt="2020-06-16T23:04:54.368" v="2335" actId="478"/>
          <ac:spMkLst>
            <pc:docMk/>
            <pc:sldMk cId="3972105642" sldId="2134804288"/>
            <ac:spMk id="66" creationId="{1E9AC2CA-5D72-4664-97C6-1DBFE040A6FF}"/>
          </ac:spMkLst>
        </pc:spChg>
        <pc:spChg chg="mod">
          <ac:chgData name="Andrea Mogollon Nossa (CENIT)" userId="f6a3e592-cc27-4858-b185-ff86be206069" providerId="ADAL" clId="{2CAEC1E3-2241-4370-8FDB-F4FAA904BB83}" dt="2020-06-17T13:39:15.433" v="2921" actId="1076"/>
          <ac:spMkLst>
            <pc:docMk/>
            <pc:sldMk cId="3972105642" sldId="2134804288"/>
            <ac:spMk id="66" creationId="{4F30DB82-6F5F-4773-8ADC-002150EA4DCB}"/>
          </ac:spMkLst>
        </pc:spChg>
        <pc:spChg chg="mod">
          <ac:chgData name="Andrea Mogollon Nossa (CENIT)" userId="f6a3e592-cc27-4858-b185-ff86be206069" providerId="ADAL" clId="{2CAEC1E3-2241-4370-8FDB-F4FAA904BB83}" dt="2020-06-16T23:00:10.487" v="2270" actId="1076"/>
          <ac:spMkLst>
            <pc:docMk/>
            <pc:sldMk cId="3972105642" sldId="2134804288"/>
            <ac:spMk id="67" creationId="{0B609A71-0C9E-44AA-A60D-A49754DFA355}"/>
          </ac:spMkLst>
        </pc:spChg>
        <pc:spChg chg="mod">
          <ac:chgData name="Andrea Mogollon Nossa (CENIT)" userId="f6a3e592-cc27-4858-b185-ff86be206069" providerId="ADAL" clId="{2CAEC1E3-2241-4370-8FDB-F4FAA904BB83}" dt="2020-06-16T23:00:03.424" v="2269" actId="1076"/>
          <ac:spMkLst>
            <pc:docMk/>
            <pc:sldMk cId="3972105642" sldId="2134804288"/>
            <ac:spMk id="68" creationId="{A3F481BB-1FAB-4410-826E-0D16095DC8A2}"/>
          </ac:spMkLst>
        </pc:spChg>
        <pc:spChg chg="mod">
          <ac:chgData name="Andrea Mogollon Nossa (CENIT)" userId="f6a3e592-cc27-4858-b185-ff86be206069" providerId="ADAL" clId="{2CAEC1E3-2241-4370-8FDB-F4FAA904BB83}" dt="2020-06-16T23:00:10.487" v="2270" actId="1076"/>
          <ac:spMkLst>
            <pc:docMk/>
            <pc:sldMk cId="3972105642" sldId="2134804288"/>
            <ac:spMk id="69" creationId="{C3C823BF-995B-45B7-AFA2-0AAD6DB53BD5}"/>
          </ac:spMkLst>
        </pc:spChg>
        <pc:spChg chg="mod">
          <ac:chgData name="Andrea Mogollon Nossa (CENIT)" userId="f6a3e592-cc27-4858-b185-ff86be206069" providerId="ADAL" clId="{2CAEC1E3-2241-4370-8FDB-F4FAA904BB83}" dt="2020-06-17T13:39:08.891" v="2919" actId="1076"/>
          <ac:spMkLst>
            <pc:docMk/>
            <pc:sldMk cId="3972105642" sldId="2134804288"/>
            <ac:spMk id="70" creationId="{6F8256D5-7314-478B-BF21-066A63342058}"/>
          </ac:spMkLst>
        </pc:spChg>
        <pc:spChg chg="mod">
          <ac:chgData name="Andrea Mogollon Nossa (CENIT)" userId="f6a3e592-cc27-4858-b185-ff86be206069" providerId="ADAL" clId="{2CAEC1E3-2241-4370-8FDB-F4FAA904BB83}" dt="2020-06-17T13:39:02.818" v="2917" actId="1076"/>
          <ac:spMkLst>
            <pc:docMk/>
            <pc:sldMk cId="3972105642" sldId="2134804288"/>
            <ac:spMk id="71" creationId="{3E498C09-BA6B-48BD-8F13-09DCB59426E9}"/>
          </ac:spMkLst>
        </pc:spChg>
        <pc:spChg chg="del mod">
          <ac:chgData name="Andrea Mogollon Nossa (CENIT)" userId="f6a3e592-cc27-4858-b185-ff86be206069" providerId="ADAL" clId="{2CAEC1E3-2241-4370-8FDB-F4FAA904BB83}" dt="2020-06-16T23:08:42.689" v="2406" actId="21"/>
          <ac:spMkLst>
            <pc:docMk/>
            <pc:sldMk cId="3972105642" sldId="2134804288"/>
            <ac:spMk id="73" creationId="{1A612971-2525-4AC4-A4C4-6F63D62AD2F5}"/>
          </ac:spMkLst>
        </pc:spChg>
        <pc:spChg chg="del mod">
          <ac:chgData name="Andrea Mogollon Nossa (CENIT)" userId="f6a3e592-cc27-4858-b185-ff86be206069" providerId="ADAL" clId="{2CAEC1E3-2241-4370-8FDB-F4FAA904BB83}" dt="2020-06-16T23:08:42.689" v="2406" actId="21"/>
          <ac:spMkLst>
            <pc:docMk/>
            <pc:sldMk cId="3972105642" sldId="2134804288"/>
            <ac:spMk id="74" creationId="{4DF73A1C-4872-4CB8-BC5C-CBC329B31BD6}"/>
          </ac:spMkLst>
        </pc:spChg>
        <pc:spChg chg="del mod">
          <ac:chgData name="Andrea Mogollon Nossa (CENIT)" userId="f6a3e592-cc27-4858-b185-ff86be206069" providerId="ADAL" clId="{2CAEC1E3-2241-4370-8FDB-F4FAA904BB83}" dt="2020-06-16T23:08:42.689" v="2406" actId="21"/>
          <ac:spMkLst>
            <pc:docMk/>
            <pc:sldMk cId="3972105642" sldId="2134804288"/>
            <ac:spMk id="75" creationId="{017D53E6-DAE3-48ED-AFCC-D64B59BFC4B0}"/>
          </ac:spMkLst>
        </pc:spChg>
        <pc:spChg chg="mod">
          <ac:chgData name="Andrea Mogollon Nossa (CENIT)" userId="f6a3e592-cc27-4858-b185-ff86be206069" providerId="ADAL" clId="{2CAEC1E3-2241-4370-8FDB-F4FAA904BB83}" dt="2020-06-17T13:36:32.011" v="2898" actId="1076"/>
          <ac:spMkLst>
            <pc:docMk/>
            <pc:sldMk cId="3972105642" sldId="2134804288"/>
            <ac:spMk id="75" creationId="{E9820DB7-E155-4785-B36A-779BDD021F16}"/>
          </ac:spMkLst>
        </pc:spChg>
        <pc:spChg chg="del mod">
          <ac:chgData name="Andrea Mogollon Nossa (CENIT)" userId="f6a3e592-cc27-4858-b185-ff86be206069" providerId="ADAL" clId="{2CAEC1E3-2241-4370-8FDB-F4FAA904BB83}" dt="2020-06-16T23:02:54.825" v="2287" actId="478"/>
          <ac:spMkLst>
            <pc:docMk/>
            <pc:sldMk cId="3972105642" sldId="2134804288"/>
            <ac:spMk id="76" creationId="{4ABB0941-BF1C-4321-95A4-6A3CEAE276E8}"/>
          </ac:spMkLst>
        </pc:spChg>
        <pc:spChg chg="mod">
          <ac:chgData name="Andrea Mogollon Nossa (CENIT)" userId="f6a3e592-cc27-4858-b185-ff86be206069" providerId="ADAL" clId="{2CAEC1E3-2241-4370-8FDB-F4FAA904BB83}" dt="2020-06-17T13:38:43.425" v="2913" actId="1076"/>
          <ac:spMkLst>
            <pc:docMk/>
            <pc:sldMk cId="3972105642" sldId="2134804288"/>
            <ac:spMk id="76" creationId="{F7430276-8BE1-4D7D-9089-ED915CFF78A4}"/>
          </ac:spMkLst>
        </pc:spChg>
        <pc:spChg chg="mod">
          <ac:chgData name="Andrea Mogollon Nossa (CENIT)" userId="f6a3e592-cc27-4858-b185-ff86be206069" providerId="ADAL" clId="{2CAEC1E3-2241-4370-8FDB-F4FAA904BB83}" dt="2020-06-17T13:44:40.685" v="2958" actId="1076"/>
          <ac:spMkLst>
            <pc:docMk/>
            <pc:sldMk cId="3972105642" sldId="2134804288"/>
            <ac:spMk id="77" creationId="{65386130-7BA3-422A-B5C5-16298505DDBF}"/>
          </ac:spMkLst>
        </pc:spChg>
        <pc:spChg chg="del mod">
          <ac:chgData name="Andrea Mogollon Nossa (CENIT)" userId="f6a3e592-cc27-4858-b185-ff86be206069" providerId="ADAL" clId="{2CAEC1E3-2241-4370-8FDB-F4FAA904BB83}" dt="2020-06-16T23:08:42.689" v="2406" actId="21"/>
          <ac:spMkLst>
            <pc:docMk/>
            <pc:sldMk cId="3972105642" sldId="2134804288"/>
            <ac:spMk id="77" creationId="{91957BC7-266D-4E44-B8DF-BDB5BDAE97A3}"/>
          </ac:spMkLst>
        </pc:spChg>
        <pc:spChg chg="del mod">
          <ac:chgData name="Andrea Mogollon Nossa (CENIT)" userId="f6a3e592-cc27-4858-b185-ff86be206069" providerId="ADAL" clId="{2CAEC1E3-2241-4370-8FDB-F4FAA904BB83}" dt="2020-06-16T23:08:42.689" v="2406" actId="21"/>
          <ac:spMkLst>
            <pc:docMk/>
            <pc:sldMk cId="3972105642" sldId="2134804288"/>
            <ac:spMk id="78" creationId="{683416F6-4367-435F-A5F2-D587E1BA88D3}"/>
          </ac:spMkLst>
        </pc:spChg>
        <pc:spChg chg="mod">
          <ac:chgData name="Andrea Mogollon Nossa (CENIT)" userId="f6a3e592-cc27-4858-b185-ff86be206069" providerId="ADAL" clId="{2CAEC1E3-2241-4370-8FDB-F4FAA904BB83}" dt="2020-06-17T13:44:40.685" v="2958" actId="1076"/>
          <ac:spMkLst>
            <pc:docMk/>
            <pc:sldMk cId="3972105642" sldId="2134804288"/>
            <ac:spMk id="78" creationId="{B03BCF6B-DEDC-401D-BC0D-1E9BCD707CD8}"/>
          </ac:spMkLst>
        </pc:spChg>
        <pc:spChg chg="mod">
          <ac:chgData name="Andrea Mogollon Nossa (CENIT)" userId="f6a3e592-cc27-4858-b185-ff86be206069" providerId="ADAL" clId="{2CAEC1E3-2241-4370-8FDB-F4FAA904BB83}" dt="2020-06-16T23:08:29.936" v="2404" actId="1076"/>
          <ac:spMkLst>
            <pc:docMk/>
            <pc:sldMk cId="3972105642" sldId="2134804288"/>
            <ac:spMk id="79" creationId="{988D6AAB-14F4-4400-86C0-1F28FB0B97BE}"/>
          </ac:spMkLst>
        </pc:spChg>
        <pc:spChg chg="mod">
          <ac:chgData name="Andrea Mogollon Nossa (CENIT)" userId="f6a3e592-cc27-4858-b185-ff86be206069" providerId="ADAL" clId="{2CAEC1E3-2241-4370-8FDB-F4FAA904BB83}" dt="2020-06-17T13:44:40.685" v="2958" actId="1076"/>
          <ac:spMkLst>
            <pc:docMk/>
            <pc:sldMk cId="3972105642" sldId="2134804288"/>
            <ac:spMk id="80" creationId="{C82439E8-7F56-42D0-8AA6-AF836C3B5192}"/>
          </ac:spMkLst>
        </pc:spChg>
        <pc:spChg chg="del">
          <ac:chgData name="Andrea Mogollon Nossa (CENIT)" userId="f6a3e592-cc27-4858-b185-ff86be206069" providerId="ADAL" clId="{2CAEC1E3-2241-4370-8FDB-F4FAA904BB83}" dt="2020-06-16T23:03:43.979" v="2302" actId="478"/>
          <ac:spMkLst>
            <pc:docMk/>
            <pc:sldMk cId="3972105642" sldId="2134804288"/>
            <ac:spMk id="80" creationId="{EB1190E3-0EF8-4192-AAF4-C1FACD6D0F97}"/>
          </ac:spMkLst>
        </pc:spChg>
        <pc:spChg chg="mod">
          <ac:chgData name="Andrea Mogollon Nossa (CENIT)" userId="f6a3e592-cc27-4858-b185-ff86be206069" providerId="ADAL" clId="{2CAEC1E3-2241-4370-8FDB-F4FAA904BB83}" dt="2020-06-17T13:45:09.876" v="2967" actId="20577"/>
          <ac:spMkLst>
            <pc:docMk/>
            <pc:sldMk cId="3972105642" sldId="2134804288"/>
            <ac:spMk id="81" creationId="{55664DF5-A233-44A7-9101-538787CD3FB0}"/>
          </ac:spMkLst>
        </pc:spChg>
        <pc:spChg chg="del">
          <ac:chgData name="Andrea Mogollon Nossa (CENIT)" userId="f6a3e592-cc27-4858-b185-ff86be206069" providerId="ADAL" clId="{2CAEC1E3-2241-4370-8FDB-F4FAA904BB83}" dt="2020-06-16T23:04:43.023" v="2326" actId="478"/>
          <ac:spMkLst>
            <pc:docMk/>
            <pc:sldMk cId="3972105642" sldId="2134804288"/>
            <ac:spMk id="82" creationId="{7B0D236E-94A5-4828-80DF-7454CC50BAF3}"/>
          </ac:spMkLst>
        </pc:spChg>
        <pc:spChg chg="mod">
          <ac:chgData name="Andrea Mogollon Nossa (CENIT)" userId="f6a3e592-cc27-4858-b185-ff86be206069" providerId="ADAL" clId="{2CAEC1E3-2241-4370-8FDB-F4FAA904BB83}" dt="2020-06-17T13:44:40.685" v="2958" actId="1076"/>
          <ac:spMkLst>
            <pc:docMk/>
            <pc:sldMk cId="3972105642" sldId="2134804288"/>
            <ac:spMk id="82" creationId="{94A2CEE5-73FD-4EF6-AF7A-AE0CEC1BEC69}"/>
          </ac:spMkLst>
        </pc:spChg>
        <pc:spChg chg="del">
          <ac:chgData name="Andrea Mogollon Nossa (CENIT)" userId="f6a3e592-cc27-4858-b185-ff86be206069" providerId="ADAL" clId="{2CAEC1E3-2241-4370-8FDB-F4FAA904BB83}" dt="2020-06-16T23:05:22.167" v="2357" actId="478"/>
          <ac:spMkLst>
            <pc:docMk/>
            <pc:sldMk cId="3972105642" sldId="2134804288"/>
            <ac:spMk id="83" creationId="{6CFE662F-A878-48BE-9E6C-D75CD711788D}"/>
          </ac:spMkLst>
        </pc:spChg>
        <pc:spChg chg="mod">
          <ac:chgData name="Andrea Mogollon Nossa (CENIT)" userId="f6a3e592-cc27-4858-b185-ff86be206069" providerId="ADAL" clId="{2CAEC1E3-2241-4370-8FDB-F4FAA904BB83}" dt="2020-06-17T13:44:40.685" v="2958" actId="1076"/>
          <ac:spMkLst>
            <pc:docMk/>
            <pc:sldMk cId="3972105642" sldId="2134804288"/>
            <ac:spMk id="84" creationId="{81A3376C-4189-4D1A-BD63-AA027216F7C5}"/>
          </ac:spMkLst>
        </pc:spChg>
        <pc:spChg chg="del">
          <ac:chgData name="Andrea Mogollon Nossa (CENIT)" userId="f6a3e592-cc27-4858-b185-ff86be206069" providerId="ADAL" clId="{2CAEC1E3-2241-4370-8FDB-F4FAA904BB83}" dt="2020-06-16T23:05:17.853" v="2353" actId="478"/>
          <ac:spMkLst>
            <pc:docMk/>
            <pc:sldMk cId="3972105642" sldId="2134804288"/>
            <ac:spMk id="84" creationId="{8718CF92-8E1E-4C1A-8CF4-9999E5AC0405}"/>
          </ac:spMkLst>
        </pc:spChg>
        <pc:spChg chg="mod">
          <ac:chgData name="Andrea Mogollon Nossa (CENIT)" userId="f6a3e592-cc27-4858-b185-ff86be206069" providerId="ADAL" clId="{2CAEC1E3-2241-4370-8FDB-F4FAA904BB83}" dt="2020-06-17T13:44:40.685" v="2958" actId="1076"/>
          <ac:spMkLst>
            <pc:docMk/>
            <pc:sldMk cId="3972105642" sldId="2134804288"/>
            <ac:spMk id="85" creationId="{D3E89A44-BEBD-4DF4-96CB-2DE96FC9B704}"/>
          </ac:spMkLst>
        </pc:spChg>
        <pc:spChg chg="del">
          <ac:chgData name="Andrea Mogollon Nossa (CENIT)" userId="f6a3e592-cc27-4858-b185-ff86be206069" providerId="ADAL" clId="{2CAEC1E3-2241-4370-8FDB-F4FAA904BB83}" dt="2020-06-16T23:04:42.062" v="2325" actId="478"/>
          <ac:spMkLst>
            <pc:docMk/>
            <pc:sldMk cId="3972105642" sldId="2134804288"/>
            <ac:spMk id="85" creationId="{F67E0F04-5B76-4061-BA77-3FDBC59E3CA5}"/>
          </ac:spMkLst>
        </pc:spChg>
        <pc:spChg chg="mod">
          <ac:chgData name="Andrea Mogollon Nossa (CENIT)" userId="f6a3e592-cc27-4858-b185-ff86be206069" providerId="ADAL" clId="{2CAEC1E3-2241-4370-8FDB-F4FAA904BB83}" dt="2020-06-17T13:44:40.685" v="2958" actId="1076"/>
          <ac:spMkLst>
            <pc:docMk/>
            <pc:sldMk cId="3972105642" sldId="2134804288"/>
            <ac:spMk id="86" creationId="{98E1961C-4258-45D2-B731-6FEE987FF03B}"/>
          </ac:spMkLst>
        </pc:spChg>
        <pc:spChg chg="del">
          <ac:chgData name="Andrea Mogollon Nossa (CENIT)" userId="f6a3e592-cc27-4858-b185-ff86be206069" providerId="ADAL" clId="{2CAEC1E3-2241-4370-8FDB-F4FAA904BB83}" dt="2020-06-16T23:05:11.362" v="2349" actId="478"/>
          <ac:spMkLst>
            <pc:docMk/>
            <pc:sldMk cId="3972105642" sldId="2134804288"/>
            <ac:spMk id="86" creationId="{B7F71AA4-05AB-4C7A-B8E6-FCE01758D33D}"/>
          </ac:spMkLst>
        </pc:spChg>
        <pc:spChg chg="mod">
          <ac:chgData name="Andrea Mogollon Nossa (CENIT)" userId="f6a3e592-cc27-4858-b185-ff86be206069" providerId="ADAL" clId="{2CAEC1E3-2241-4370-8FDB-F4FAA904BB83}" dt="2020-06-17T13:45:24.395" v="2971" actId="20577"/>
          <ac:spMkLst>
            <pc:docMk/>
            <pc:sldMk cId="3972105642" sldId="2134804288"/>
            <ac:spMk id="87" creationId="{FE811B0C-88CE-4A45-95A3-61C236577A97}"/>
          </ac:spMkLst>
        </pc:spChg>
        <pc:spChg chg="del">
          <ac:chgData name="Andrea Mogollon Nossa (CENIT)" userId="f6a3e592-cc27-4858-b185-ff86be206069" providerId="ADAL" clId="{2CAEC1E3-2241-4370-8FDB-F4FAA904BB83}" dt="2020-06-16T23:05:27.741" v="2361" actId="478"/>
          <ac:spMkLst>
            <pc:docMk/>
            <pc:sldMk cId="3972105642" sldId="2134804288"/>
            <ac:spMk id="88" creationId="{2741A0BB-6A26-40F6-8674-8213280B9A6D}"/>
          </ac:spMkLst>
        </pc:spChg>
        <pc:spChg chg="mod">
          <ac:chgData name="Andrea Mogollon Nossa (CENIT)" userId="f6a3e592-cc27-4858-b185-ff86be206069" providerId="ADAL" clId="{2CAEC1E3-2241-4370-8FDB-F4FAA904BB83}" dt="2020-06-17T13:44:40.685" v="2958" actId="1076"/>
          <ac:spMkLst>
            <pc:docMk/>
            <pc:sldMk cId="3972105642" sldId="2134804288"/>
            <ac:spMk id="88" creationId="{3447B149-62E7-4F91-B357-EEF8F25B3D30}"/>
          </ac:spMkLst>
        </pc:spChg>
        <pc:spChg chg="del">
          <ac:chgData name="Andrea Mogollon Nossa (CENIT)" userId="f6a3e592-cc27-4858-b185-ff86be206069" providerId="ADAL" clId="{2CAEC1E3-2241-4370-8FDB-F4FAA904BB83}" dt="2020-06-16T23:05:01.964" v="2341" actId="478"/>
          <ac:spMkLst>
            <pc:docMk/>
            <pc:sldMk cId="3972105642" sldId="2134804288"/>
            <ac:spMk id="89" creationId="{2D6C91B8-0964-4440-A934-61A4A4A0577B}"/>
          </ac:spMkLst>
        </pc:spChg>
        <pc:spChg chg="del">
          <ac:chgData name="Andrea Mogollon Nossa (CENIT)" userId="f6a3e592-cc27-4858-b185-ff86be206069" providerId="ADAL" clId="{2CAEC1E3-2241-4370-8FDB-F4FAA904BB83}" dt="2020-06-16T23:05:09.895" v="2348" actId="478"/>
          <ac:spMkLst>
            <pc:docMk/>
            <pc:sldMk cId="3972105642" sldId="2134804288"/>
            <ac:spMk id="90" creationId="{1071DDB5-D2C3-4A28-92C6-2945861BBF27}"/>
          </ac:spMkLst>
        </pc:spChg>
        <pc:spChg chg="mod">
          <ac:chgData name="Andrea Mogollon Nossa (CENIT)" userId="f6a3e592-cc27-4858-b185-ff86be206069" providerId="ADAL" clId="{2CAEC1E3-2241-4370-8FDB-F4FAA904BB83}" dt="2020-06-17T13:46:09.723" v="2996" actId="20577"/>
          <ac:spMkLst>
            <pc:docMk/>
            <pc:sldMk cId="3972105642" sldId="2134804288"/>
            <ac:spMk id="90" creationId="{3DD1B703-CBC4-4032-B4CC-F26A8E1B3141}"/>
          </ac:spMkLst>
        </pc:spChg>
        <pc:spChg chg="del mod">
          <ac:chgData name="Andrea Mogollon Nossa (CENIT)" userId="f6a3e592-cc27-4858-b185-ff86be206069" providerId="ADAL" clId="{2CAEC1E3-2241-4370-8FDB-F4FAA904BB83}" dt="2020-06-16T23:05:00.858" v="2340" actId="478"/>
          <ac:spMkLst>
            <pc:docMk/>
            <pc:sldMk cId="3972105642" sldId="2134804288"/>
            <ac:spMk id="91" creationId="{8B2516A4-DE8A-4981-A2D5-8A7CC6E0EBEB}"/>
          </ac:spMkLst>
        </pc:spChg>
        <pc:spChg chg="mod">
          <ac:chgData name="Andrea Mogollon Nossa (CENIT)" userId="f6a3e592-cc27-4858-b185-ff86be206069" providerId="ADAL" clId="{2CAEC1E3-2241-4370-8FDB-F4FAA904BB83}" dt="2020-06-17T13:46:12.600" v="3000" actId="20577"/>
          <ac:spMkLst>
            <pc:docMk/>
            <pc:sldMk cId="3972105642" sldId="2134804288"/>
            <ac:spMk id="91" creationId="{C4519715-3ED2-473C-A37A-D053DFEEEB4C}"/>
          </ac:spMkLst>
        </pc:spChg>
        <pc:spChg chg="del mod">
          <ac:chgData name="Andrea Mogollon Nossa (CENIT)" userId="f6a3e592-cc27-4858-b185-ff86be206069" providerId="ADAL" clId="{2CAEC1E3-2241-4370-8FDB-F4FAA904BB83}" dt="2020-06-16T23:05:05.762" v="2344" actId="478"/>
          <ac:spMkLst>
            <pc:docMk/>
            <pc:sldMk cId="3972105642" sldId="2134804288"/>
            <ac:spMk id="92" creationId="{02C114A7-1876-44E9-93D5-261C609FFFD5}"/>
          </ac:spMkLst>
        </pc:spChg>
        <pc:spChg chg="mod">
          <ac:chgData name="Andrea Mogollon Nossa (CENIT)" userId="f6a3e592-cc27-4858-b185-ff86be206069" providerId="ADAL" clId="{2CAEC1E3-2241-4370-8FDB-F4FAA904BB83}" dt="2020-06-17T13:46:07.740" v="2994" actId="20577"/>
          <ac:spMkLst>
            <pc:docMk/>
            <pc:sldMk cId="3972105642" sldId="2134804288"/>
            <ac:spMk id="92" creationId="{AD681933-702A-43CF-A064-804C78715B48}"/>
          </ac:spMkLst>
        </pc:spChg>
        <pc:spChg chg="mod">
          <ac:chgData name="Andrea Mogollon Nossa (CENIT)" userId="f6a3e592-cc27-4858-b185-ff86be206069" providerId="ADAL" clId="{2CAEC1E3-2241-4370-8FDB-F4FAA904BB83}" dt="2020-06-17T13:46:05.556" v="2992" actId="20577"/>
          <ac:spMkLst>
            <pc:docMk/>
            <pc:sldMk cId="3972105642" sldId="2134804288"/>
            <ac:spMk id="93" creationId="{0B137BED-2166-4F59-9E9A-13FBEA77A192}"/>
          </ac:spMkLst>
        </pc:spChg>
        <pc:spChg chg="del mod">
          <ac:chgData name="Andrea Mogollon Nossa (CENIT)" userId="f6a3e592-cc27-4858-b185-ff86be206069" providerId="ADAL" clId="{2CAEC1E3-2241-4370-8FDB-F4FAA904BB83}" dt="2020-06-16T23:05:08.787" v="2347" actId="478"/>
          <ac:spMkLst>
            <pc:docMk/>
            <pc:sldMk cId="3972105642" sldId="2134804288"/>
            <ac:spMk id="93" creationId="{337E6039-6840-4E31-A847-172162B0F10B}"/>
          </ac:spMkLst>
        </pc:spChg>
        <pc:spChg chg="del">
          <ac:chgData name="Andrea Mogollon Nossa (CENIT)" userId="f6a3e592-cc27-4858-b185-ff86be206069" providerId="ADAL" clId="{2CAEC1E3-2241-4370-8FDB-F4FAA904BB83}" dt="2020-06-16T23:04:57.629" v="2337" actId="478"/>
          <ac:spMkLst>
            <pc:docMk/>
            <pc:sldMk cId="3972105642" sldId="2134804288"/>
            <ac:spMk id="94" creationId="{7F0E08A7-4797-4ECF-B0E8-4DCA185EFD09}"/>
          </ac:spMkLst>
        </pc:spChg>
        <pc:spChg chg="del">
          <ac:chgData name="Andrea Mogollon Nossa (CENIT)" userId="f6a3e592-cc27-4858-b185-ff86be206069" providerId="ADAL" clId="{2CAEC1E3-2241-4370-8FDB-F4FAA904BB83}" dt="2020-06-16T23:04:56.055" v="2336" actId="478"/>
          <ac:spMkLst>
            <pc:docMk/>
            <pc:sldMk cId="3972105642" sldId="2134804288"/>
            <ac:spMk id="95" creationId="{17AC4B32-D61A-4671-AF1E-B47094819F77}"/>
          </ac:spMkLst>
        </pc:spChg>
        <pc:spChg chg="mod">
          <ac:chgData name="Andrea Mogollon Nossa (CENIT)" userId="f6a3e592-cc27-4858-b185-ff86be206069" providerId="ADAL" clId="{2CAEC1E3-2241-4370-8FDB-F4FAA904BB83}" dt="2020-06-17T13:41:12.195" v="2931" actId="1076"/>
          <ac:spMkLst>
            <pc:docMk/>
            <pc:sldMk cId="3972105642" sldId="2134804288"/>
            <ac:spMk id="95" creationId="{4E4338E8-9272-4ADB-9AB6-B5891B7A87EF}"/>
          </ac:spMkLst>
        </pc:spChg>
        <pc:spChg chg="mod">
          <ac:chgData name="Andrea Mogollon Nossa (CENIT)" userId="f6a3e592-cc27-4858-b185-ff86be206069" providerId="ADAL" clId="{2CAEC1E3-2241-4370-8FDB-F4FAA904BB83}" dt="2020-06-17T13:47:11.992" v="3012" actId="14100"/>
          <ac:spMkLst>
            <pc:docMk/>
            <pc:sldMk cId="3972105642" sldId="2134804288"/>
            <ac:spMk id="96" creationId="{7300C06E-0474-4E1E-BDDF-A63C980856F7}"/>
          </ac:spMkLst>
        </pc:spChg>
        <pc:spChg chg="del mod">
          <ac:chgData name="Andrea Mogollon Nossa (CENIT)" userId="f6a3e592-cc27-4858-b185-ff86be206069" providerId="ADAL" clId="{2CAEC1E3-2241-4370-8FDB-F4FAA904BB83}" dt="2020-06-16T23:05:21.147" v="2356" actId="478"/>
          <ac:spMkLst>
            <pc:docMk/>
            <pc:sldMk cId="3972105642" sldId="2134804288"/>
            <ac:spMk id="96" creationId="{88EDB5EC-FEF4-4BDA-BE56-78337E348709}"/>
          </ac:spMkLst>
        </pc:spChg>
        <pc:spChg chg="del mod">
          <ac:chgData name="Andrea Mogollon Nossa (CENIT)" userId="f6a3e592-cc27-4858-b185-ff86be206069" providerId="ADAL" clId="{2CAEC1E3-2241-4370-8FDB-F4FAA904BB83}" dt="2020-06-16T23:05:25.959" v="2360" actId="478"/>
          <ac:spMkLst>
            <pc:docMk/>
            <pc:sldMk cId="3972105642" sldId="2134804288"/>
            <ac:spMk id="97" creationId="{1C2647E4-B565-4E74-BFE3-ACC3B7ACD1AE}"/>
          </ac:spMkLst>
        </pc:spChg>
        <pc:spChg chg="mod">
          <ac:chgData name="Andrea Mogollon Nossa (CENIT)" userId="f6a3e592-cc27-4858-b185-ff86be206069" providerId="ADAL" clId="{2CAEC1E3-2241-4370-8FDB-F4FAA904BB83}" dt="2020-06-17T13:44:51.681" v="2966" actId="1076"/>
          <ac:spMkLst>
            <pc:docMk/>
            <pc:sldMk cId="3972105642" sldId="2134804288"/>
            <ac:spMk id="98" creationId="{94071527-212F-4487-9C84-3C53C7117592}"/>
          </ac:spMkLst>
        </pc:spChg>
        <pc:spChg chg="del mod">
          <ac:chgData name="Andrea Mogollon Nossa (CENIT)" userId="f6a3e592-cc27-4858-b185-ff86be206069" providerId="ADAL" clId="{2CAEC1E3-2241-4370-8FDB-F4FAA904BB83}" dt="2020-06-16T23:08:42.689" v="2406" actId="21"/>
          <ac:spMkLst>
            <pc:docMk/>
            <pc:sldMk cId="3972105642" sldId="2134804288"/>
            <ac:spMk id="98" creationId="{D842B70B-3816-42C9-8C28-29B9B1CCF4E4}"/>
          </ac:spMkLst>
        </pc:spChg>
        <pc:spChg chg="del mod">
          <ac:chgData name="Andrea Mogollon Nossa (CENIT)" userId="f6a3e592-cc27-4858-b185-ff86be206069" providerId="ADAL" clId="{2CAEC1E3-2241-4370-8FDB-F4FAA904BB83}" dt="2020-06-16T23:00:53.138" v="2279" actId="478"/>
          <ac:spMkLst>
            <pc:docMk/>
            <pc:sldMk cId="3972105642" sldId="2134804288"/>
            <ac:spMk id="99" creationId="{46B11BDE-3938-4538-8689-C5B80752FFF3}"/>
          </ac:spMkLst>
        </pc:spChg>
        <pc:spChg chg="mod">
          <ac:chgData name="Andrea Mogollon Nossa (CENIT)" userId="f6a3e592-cc27-4858-b185-ff86be206069" providerId="ADAL" clId="{2CAEC1E3-2241-4370-8FDB-F4FAA904BB83}" dt="2020-06-16T23:17:28.222" v="2571" actId="14100"/>
          <ac:spMkLst>
            <pc:docMk/>
            <pc:sldMk cId="3972105642" sldId="2134804288"/>
            <ac:spMk id="100" creationId="{65BEA0CF-3025-4182-BB7C-7FCB9677B093}"/>
          </ac:spMkLst>
        </pc:spChg>
        <pc:spChg chg="mod">
          <ac:chgData name="Andrea Mogollon Nossa (CENIT)" userId="f6a3e592-cc27-4858-b185-ff86be206069" providerId="ADAL" clId="{2CAEC1E3-2241-4370-8FDB-F4FAA904BB83}" dt="2020-06-16T23:03:13.680" v="2294" actId="14100"/>
          <ac:spMkLst>
            <pc:docMk/>
            <pc:sldMk cId="3972105642" sldId="2134804288"/>
            <ac:spMk id="101" creationId="{69EAD6EC-44EF-4157-BA6D-9433BAF52D36}"/>
          </ac:spMkLst>
        </pc:spChg>
        <pc:spChg chg="del">
          <ac:chgData name="Andrea Mogollon Nossa (CENIT)" userId="f6a3e592-cc27-4858-b185-ff86be206069" providerId="ADAL" clId="{2CAEC1E3-2241-4370-8FDB-F4FAA904BB83}" dt="2020-06-17T00:39:41.885" v="2704" actId="478"/>
          <ac:spMkLst>
            <pc:docMk/>
            <pc:sldMk cId="3972105642" sldId="2134804288"/>
            <ac:spMk id="102" creationId="{3E36CC8F-1C55-428F-A2C0-52CE853F1BF0}"/>
          </ac:spMkLst>
        </pc:spChg>
        <pc:spChg chg="del mod">
          <ac:chgData name="Andrea Mogollon Nossa (CENIT)" userId="f6a3e592-cc27-4858-b185-ff86be206069" providerId="ADAL" clId="{2CAEC1E3-2241-4370-8FDB-F4FAA904BB83}" dt="2020-06-16T23:05:16.840" v="2352" actId="478"/>
          <ac:spMkLst>
            <pc:docMk/>
            <pc:sldMk cId="3972105642" sldId="2134804288"/>
            <ac:spMk id="102" creationId="{D31B8ACE-EBE6-4DD1-B97B-95CCC4881F6E}"/>
          </ac:spMkLst>
        </pc:spChg>
        <pc:spChg chg="mod">
          <ac:chgData name="Andrea Mogollon Nossa (CENIT)" userId="f6a3e592-cc27-4858-b185-ff86be206069" providerId="ADAL" clId="{2CAEC1E3-2241-4370-8FDB-F4FAA904BB83}" dt="2020-06-17T13:44:40.685" v="2958" actId="1076"/>
          <ac:spMkLst>
            <pc:docMk/>
            <pc:sldMk cId="3972105642" sldId="2134804288"/>
            <ac:spMk id="103" creationId="{EAB5FB81-51BD-4B45-B02E-4D00C22C82CB}"/>
          </ac:spMkLst>
        </pc:spChg>
        <pc:spChg chg="del mod">
          <ac:chgData name="Andrea Mogollon Nossa (CENIT)" userId="f6a3e592-cc27-4858-b185-ff86be206069" providerId="ADAL" clId="{2CAEC1E3-2241-4370-8FDB-F4FAA904BB83}" dt="2020-06-16T23:00:50.944" v="2278" actId="478"/>
          <ac:spMkLst>
            <pc:docMk/>
            <pc:sldMk cId="3972105642" sldId="2134804288"/>
            <ac:spMk id="104" creationId="{6DF2514C-63E0-475A-AF3E-E17CC97991F0}"/>
          </ac:spMkLst>
        </pc:spChg>
        <pc:spChg chg="mod">
          <ac:chgData name="Andrea Mogollon Nossa (CENIT)" userId="f6a3e592-cc27-4858-b185-ff86be206069" providerId="ADAL" clId="{2CAEC1E3-2241-4370-8FDB-F4FAA904BB83}" dt="2020-06-17T13:44:40.685" v="2958" actId="1076"/>
          <ac:spMkLst>
            <pc:docMk/>
            <pc:sldMk cId="3972105642" sldId="2134804288"/>
            <ac:spMk id="104" creationId="{C3400F72-3867-45F1-88BE-58E569B2E7C2}"/>
          </ac:spMkLst>
        </pc:spChg>
        <pc:spChg chg="del mod">
          <ac:chgData name="Andrea Mogollon Nossa (CENIT)" userId="f6a3e592-cc27-4858-b185-ff86be206069" providerId="ADAL" clId="{2CAEC1E3-2241-4370-8FDB-F4FAA904BB83}" dt="2020-06-16T23:09:30.454" v="2416" actId="21"/>
          <ac:spMkLst>
            <pc:docMk/>
            <pc:sldMk cId="3972105642" sldId="2134804288"/>
            <ac:spMk id="105" creationId="{07B5251E-4E3E-4252-A21F-A9D003BFEB05}"/>
          </ac:spMkLst>
        </pc:spChg>
        <pc:spChg chg="mod">
          <ac:chgData name="Andrea Mogollon Nossa (CENIT)" userId="f6a3e592-cc27-4858-b185-ff86be206069" providerId="ADAL" clId="{2CAEC1E3-2241-4370-8FDB-F4FAA904BB83}" dt="2020-06-17T13:44:40.685" v="2958" actId="1076"/>
          <ac:spMkLst>
            <pc:docMk/>
            <pc:sldMk cId="3972105642" sldId="2134804288"/>
            <ac:spMk id="105" creationId="{91FA3AEB-14E6-4F91-87E5-B04AF3A4062C}"/>
          </ac:spMkLst>
        </pc:spChg>
        <pc:spChg chg="mod">
          <ac:chgData name="Andrea Mogollon Nossa (CENIT)" userId="f6a3e592-cc27-4858-b185-ff86be206069" providerId="ADAL" clId="{2CAEC1E3-2241-4370-8FDB-F4FAA904BB83}" dt="2020-06-17T19:59:05.108" v="5513" actId="20577"/>
          <ac:spMkLst>
            <pc:docMk/>
            <pc:sldMk cId="3972105642" sldId="2134804288"/>
            <ac:spMk id="106" creationId="{35E26E95-A46B-4DFF-AAB8-2D6D1A35193D}"/>
          </ac:spMkLst>
        </pc:spChg>
        <pc:spChg chg="mod">
          <ac:chgData name="Andrea Mogollon Nossa (CENIT)" userId="f6a3e592-cc27-4858-b185-ff86be206069" providerId="ADAL" clId="{2CAEC1E3-2241-4370-8FDB-F4FAA904BB83}" dt="2020-06-17T13:46:03.053" v="2990" actId="20577"/>
          <ac:spMkLst>
            <pc:docMk/>
            <pc:sldMk cId="3972105642" sldId="2134804288"/>
            <ac:spMk id="107" creationId="{1264672C-2222-456B-B245-CF43DCF96BD8}"/>
          </ac:spMkLst>
        </pc:spChg>
        <pc:spChg chg="del mod">
          <ac:chgData name="Andrea Mogollon Nossa (CENIT)" userId="f6a3e592-cc27-4858-b185-ff86be206069" providerId="ADAL" clId="{2CAEC1E3-2241-4370-8FDB-F4FAA904BB83}" dt="2020-06-16T23:09:30.454" v="2416" actId="21"/>
          <ac:spMkLst>
            <pc:docMk/>
            <pc:sldMk cId="3972105642" sldId="2134804288"/>
            <ac:spMk id="107" creationId="{8C0BD9F6-1754-4031-A445-AB961596B670}"/>
          </ac:spMkLst>
        </pc:spChg>
        <pc:spChg chg="del">
          <ac:chgData name="Andrea Mogollon Nossa (CENIT)" userId="f6a3e592-cc27-4858-b185-ff86be206069" providerId="ADAL" clId="{2CAEC1E3-2241-4370-8FDB-F4FAA904BB83}" dt="2020-06-16T23:05:30.680" v="2363" actId="478"/>
          <ac:spMkLst>
            <pc:docMk/>
            <pc:sldMk cId="3972105642" sldId="2134804288"/>
            <ac:spMk id="108" creationId="{A8D90A47-B75D-43E1-9B4D-A6E7651C37FB}"/>
          </ac:spMkLst>
        </pc:spChg>
        <pc:spChg chg="del">
          <ac:chgData name="Andrea Mogollon Nossa (CENIT)" userId="f6a3e592-cc27-4858-b185-ff86be206069" providerId="ADAL" clId="{2CAEC1E3-2241-4370-8FDB-F4FAA904BB83}" dt="2020-06-16T23:05:29.559" v="2362" actId="478"/>
          <ac:spMkLst>
            <pc:docMk/>
            <pc:sldMk cId="3972105642" sldId="2134804288"/>
            <ac:spMk id="109" creationId="{DA8DE495-F1F4-45F3-9CF7-A72AEA39871A}"/>
          </ac:spMkLst>
        </pc:spChg>
        <pc:spChg chg="del">
          <ac:chgData name="Andrea Mogollon Nossa (CENIT)" userId="f6a3e592-cc27-4858-b185-ff86be206069" providerId="ADAL" clId="{2CAEC1E3-2241-4370-8FDB-F4FAA904BB83}" dt="2020-06-16T23:05:42.415" v="2373" actId="478"/>
          <ac:spMkLst>
            <pc:docMk/>
            <pc:sldMk cId="3972105642" sldId="2134804288"/>
            <ac:spMk id="110" creationId="{AC1FB416-14EE-43C0-AB16-19BE46E3409A}"/>
          </ac:spMkLst>
        </pc:spChg>
        <pc:spChg chg="del">
          <ac:chgData name="Andrea Mogollon Nossa (CENIT)" userId="f6a3e592-cc27-4858-b185-ff86be206069" providerId="ADAL" clId="{2CAEC1E3-2241-4370-8FDB-F4FAA904BB83}" dt="2020-06-16T23:05:41.076" v="2372" actId="478"/>
          <ac:spMkLst>
            <pc:docMk/>
            <pc:sldMk cId="3972105642" sldId="2134804288"/>
            <ac:spMk id="111" creationId="{41BC5629-7F3F-40D8-9D1A-0F11F1FB4B6F}"/>
          </ac:spMkLst>
        </pc:spChg>
        <pc:spChg chg="del mod">
          <ac:chgData name="Andrea Mogollon Nossa (CENIT)" userId="f6a3e592-cc27-4858-b185-ff86be206069" providerId="ADAL" clId="{2CAEC1E3-2241-4370-8FDB-F4FAA904BB83}" dt="2020-06-16T23:05:40.144" v="2371" actId="478"/>
          <ac:spMkLst>
            <pc:docMk/>
            <pc:sldMk cId="3972105642" sldId="2134804288"/>
            <ac:spMk id="112" creationId="{A5320992-B576-458A-A517-010DC736BDD7}"/>
          </ac:spMkLst>
        </pc:spChg>
        <pc:spChg chg="del">
          <ac:chgData name="Andrea Mogollon Nossa (CENIT)" userId="f6a3e592-cc27-4858-b185-ff86be206069" providerId="ADAL" clId="{2CAEC1E3-2241-4370-8FDB-F4FAA904BB83}" dt="2020-06-16T23:05:33.035" v="2365" actId="478"/>
          <ac:spMkLst>
            <pc:docMk/>
            <pc:sldMk cId="3972105642" sldId="2134804288"/>
            <ac:spMk id="113" creationId="{9026EEA7-D0F8-4D07-AA1D-B528FF785B2F}"/>
          </ac:spMkLst>
        </pc:spChg>
        <pc:spChg chg="add mod">
          <ac:chgData name="Andrea Mogollon Nossa (CENIT)" userId="f6a3e592-cc27-4858-b185-ff86be206069" providerId="ADAL" clId="{2CAEC1E3-2241-4370-8FDB-F4FAA904BB83}" dt="2020-06-16T23:03:20.894" v="2295" actId="1076"/>
          <ac:spMkLst>
            <pc:docMk/>
            <pc:sldMk cId="3972105642" sldId="2134804288"/>
            <ac:spMk id="114" creationId="{5FC9CB71-87BB-40AF-8B70-47E1CB40C223}"/>
          </ac:spMkLst>
        </pc:spChg>
        <pc:spChg chg="del mod">
          <ac:chgData name="Andrea Mogollon Nossa (CENIT)" userId="f6a3e592-cc27-4858-b185-ff86be206069" providerId="ADAL" clId="{2CAEC1E3-2241-4370-8FDB-F4FAA904BB83}" dt="2020-06-16T23:05:36.896" v="2368" actId="478"/>
          <ac:spMkLst>
            <pc:docMk/>
            <pc:sldMk cId="3972105642" sldId="2134804288"/>
            <ac:spMk id="115" creationId="{BDAFB097-6420-45BF-84A8-4B2A7AD8FCDD}"/>
          </ac:spMkLst>
        </pc:spChg>
        <pc:spChg chg="del">
          <ac:chgData name="Andrea Mogollon Nossa (CENIT)" userId="f6a3e592-cc27-4858-b185-ff86be206069" providerId="ADAL" clId="{2CAEC1E3-2241-4370-8FDB-F4FAA904BB83}" dt="2020-06-16T23:05:32.131" v="2364" actId="478"/>
          <ac:spMkLst>
            <pc:docMk/>
            <pc:sldMk cId="3972105642" sldId="2134804288"/>
            <ac:spMk id="116" creationId="{62C11895-E23B-46EE-AF0B-442BDD607D00}"/>
          </ac:spMkLst>
        </pc:spChg>
        <pc:spChg chg="mod">
          <ac:chgData name="Andrea Mogollon Nossa (CENIT)" userId="f6a3e592-cc27-4858-b185-ff86be206069" providerId="ADAL" clId="{2CAEC1E3-2241-4370-8FDB-F4FAA904BB83}" dt="2020-06-17T13:40:38.372" v="2929" actId="1076"/>
          <ac:spMkLst>
            <pc:docMk/>
            <pc:sldMk cId="3972105642" sldId="2134804288"/>
            <ac:spMk id="117" creationId="{25E04EC8-7C3C-4341-80A4-FFC93FAF501F}"/>
          </ac:spMkLst>
        </pc:spChg>
        <pc:spChg chg="del">
          <ac:chgData name="Andrea Mogollon Nossa (CENIT)" userId="f6a3e592-cc27-4858-b185-ff86be206069" providerId="ADAL" clId="{2CAEC1E3-2241-4370-8FDB-F4FAA904BB83}" dt="2020-06-16T22:58:25.234" v="2250" actId="478"/>
          <ac:spMkLst>
            <pc:docMk/>
            <pc:sldMk cId="3972105642" sldId="2134804288"/>
            <ac:spMk id="117" creationId="{EB4D9E0C-1983-4262-9307-F5F5BB6BDBAE}"/>
          </ac:spMkLst>
        </pc:spChg>
        <pc:spChg chg="add mod">
          <ac:chgData name="Andrea Mogollon Nossa (CENIT)" userId="f6a3e592-cc27-4858-b185-ff86be206069" providerId="ADAL" clId="{2CAEC1E3-2241-4370-8FDB-F4FAA904BB83}" dt="2020-06-16T23:03:24.374" v="2296" actId="1076"/>
          <ac:spMkLst>
            <pc:docMk/>
            <pc:sldMk cId="3972105642" sldId="2134804288"/>
            <ac:spMk id="118" creationId="{4595D805-A213-43C8-B637-A714BE5381A5}"/>
          </ac:spMkLst>
        </pc:spChg>
        <pc:spChg chg="mod">
          <ac:chgData name="Andrea Mogollon Nossa (CENIT)" userId="f6a3e592-cc27-4858-b185-ff86be206069" providerId="ADAL" clId="{2CAEC1E3-2241-4370-8FDB-F4FAA904BB83}" dt="2020-06-17T13:45:23.077" v="2970" actId="1076"/>
          <ac:spMkLst>
            <pc:docMk/>
            <pc:sldMk cId="3972105642" sldId="2134804288"/>
            <ac:spMk id="118" creationId="{4C802F63-4193-4D6B-AE48-0B8E22BDA942}"/>
          </ac:spMkLst>
        </pc:spChg>
        <pc:spChg chg="add mod">
          <ac:chgData name="Andrea Mogollon Nossa (CENIT)" userId="f6a3e592-cc27-4858-b185-ff86be206069" providerId="ADAL" clId="{2CAEC1E3-2241-4370-8FDB-F4FAA904BB83}" dt="2020-06-16T23:03:28.006" v="2297" actId="1076"/>
          <ac:spMkLst>
            <pc:docMk/>
            <pc:sldMk cId="3972105642" sldId="2134804288"/>
            <ac:spMk id="119" creationId="{7EC1E586-865D-4AE6-8E83-6DD1A461383A}"/>
          </ac:spMkLst>
        </pc:spChg>
        <pc:spChg chg="mod">
          <ac:chgData name="Andrea Mogollon Nossa (CENIT)" userId="f6a3e592-cc27-4858-b185-ff86be206069" providerId="ADAL" clId="{2CAEC1E3-2241-4370-8FDB-F4FAA904BB83}" dt="2020-06-17T13:44:40.685" v="2958" actId="1076"/>
          <ac:spMkLst>
            <pc:docMk/>
            <pc:sldMk cId="3972105642" sldId="2134804288"/>
            <ac:spMk id="119" creationId="{D4BD1269-A3B7-4A64-8069-05631EEB0009}"/>
          </ac:spMkLst>
        </pc:spChg>
        <pc:spChg chg="add mod">
          <ac:chgData name="Andrea Mogollon Nossa (CENIT)" userId="f6a3e592-cc27-4858-b185-ff86be206069" providerId="ADAL" clId="{2CAEC1E3-2241-4370-8FDB-F4FAA904BB83}" dt="2020-06-16T23:03:39.302" v="2300" actId="14100"/>
          <ac:spMkLst>
            <pc:docMk/>
            <pc:sldMk cId="3972105642" sldId="2134804288"/>
            <ac:spMk id="120" creationId="{8AC43903-3E05-4E77-83F5-D173AA753F73}"/>
          </ac:spMkLst>
        </pc:spChg>
        <pc:spChg chg="mod">
          <ac:chgData name="Andrea Mogollon Nossa (CENIT)" userId="f6a3e592-cc27-4858-b185-ff86be206069" providerId="ADAL" clId="{2CAEC1E3-2241-4370-8FDB-F4FAA904BB83}" dt="2020-06-17T13:38:50.740" v="2915" actId="1076"/>
          <ac:spMkLst>
            <pc:docMk/>
            <pc:sldMk cId="3972105642" sldId="2134804288"/>
            <ac:spMk id="120" creationId="{E54A52E2-5DFF-469A-BC81-5C61FE5F498F}"/>
          </ac:spMkLst>
        </pc:spChg>
        <pc:spChg chg="add mod">
          <ac:chgData name="Andrea Mogollon Nossa (CENIT)" userId="f6a3e592-cc27-4858-b185-ff86be206069" providerId="ADAL" clId="{2CAEC1E3-2241-4370-8FDB-F4FAA904BB83}" dt="2020-06-17T13:44:40.685" v="2958" actId="1076"/>
          <ac:spMkLst>
            <pc:docMk/>
            <pc:sldMk cId="3972105642" sldId="2134804288"/>
            <ac:spMk id="121" creationId="{33D17D00-C5E0-4296-BB51-8B9CF48F67F8}"/>
          </ac:spMkLst>
        </pc:spChg>
        <pc:spChg chg="mod">
          <ac:chgData name="Andrea Mogollon Nossa (CENIT)" userId="f6a3e592-cc27-4858-b185-ff86be206069" providerId="ADAL" clId="{2CAEC1E3-2241-4370-8FDB-F4FAA904BB83}" dt="2020-06-16T23:11:06.238" v="2445" actId="1076"/>
          <ac:spMkLst>
            <pc:docMk/>
            <pc:sldMk cId="3972105642" sldId="2134804288"/>
            <ac:spMk id="122" creationId="{977AA09D-5209-43EC-82D8-E76ADC7BF2E0}"/>
          </ac:spMkLst>
        </pc:spChg>
        <pc:spChg chg="mod">
          <ac:chgData name="Andrea Mogollon Nossa (CENIT)" userId="f6a3e592-cc27-4858-b185-ff86be206069" providerId="ADAL" clId="{2CAEC1E3-2241-4370-8FDB-F4FAA904BB83}" dt="2020-06-17T13:39:22.737" v="2923" actId="1076"/>
          <ac:spMkLst>
            <pc:docMk/>
            <pc:sldMk cId="3972105642" sldId="2134804288"/>
            <ac:spMk id="122" creationId="{A39E0C61-1A00-44A1-A517-87EB913EE3CA}"/>
          </ac:spMkLst>
        </pc:spChg>
        <pc:spChg chg="mod">
          <ac:chgData name="Andrea Mogollon Nossa (CENIT)" userId="f6a3e592-cc27-4858-b185-ff86be206069" providerId="ADAL" clId="{2CAEC1E3-2241-4370-8FDB-F4FAA904BB83}" dt="2020-06-17T13:45:40.584" v="2976" actId="1076"/>
          <ac:spMkLst>
            <pc:docMk/>
            <pc:sldMk cId="3972105642" sldId="2134804288"/>
            <ac:spMk id="123" creationId="{3442115D-EC92-485A-8CD2-11FDFFAB652E}"/>
          </ac:spMkLst>
        </pc:spChg>
        <pc:spChg chg="mod">
          <ac:chgData name="Andrea Mogollon Nossa (CENIT)" userId="f6a3e592-cc27-4858-b185-ff86be206069" providerId="ADAL" clId="{2CAEC1E3-2241-4370-8FDB-F4FAA904BB83}" dt="2020-06-16T23:11:08.544" v="2446" actId="1076"/>
          <ac:spMkLst>
            <pc:docMk/>
            <pc:sldMk cId="3972105642" sldId="2134804288"/>
            <ac:spMk id="123" creationId="{B7B2CB6A-5941-466A-A7D0-8B81D284EE83}"/>
          </ac:spMkLst>
        </pc:spChg>
        <pc:spChg chg="mod">
          <ac:chgData name="Andrea Mogollon Nossa (CENIT)" userId="f6a3e592-cc27-4858-b185-ff86be206069" providerId="ADAL" clId="{2CAEC1E3-2241-4370-8FDB-F4FAA904BB83}" dt="2020-06-17T13:41:12.195" v="2931" actId="1076"/>
          <ac:spMkLst>
            <pc:docMk/>
            <pc:sldMk cId="3972105642" sldId="2134804288"/>
            <ac:spMk id="124" creationId="{0192B1BE-7E12-4FA2-8A13-BF1535F63413}"/>
          </ac:spMkLst>
        </pc:spChg>
        <pc:spChg chg="del">
          <ac:chgData name="Andrea Mogollon Nossa (CENIT)" userId="f6a3e592-cc27-4858-b185-ff86be206069" providerId="ADAL" clId="{2CAEC1E3-2241-4370-8FDB-F4FAA904BB83}" dt="2020-06-16T23:08:42.689" v="2406" actId="21"/>
          <ac:spMkLst>
            <pc:docMk/>
            <pc:sldMk cId="3972105642" sldId="2134804288"/>
            <ac:spMk id="124" creationId="{56A00630-1505-4DF0-820C-AE3746126A3B}"/>
          </ac:spMkLst>
        </pc:spChg>
        <pc:spChg chg="del">
          <ac:chgData name="Andrea Mogollon Nossa (CENIT)" userId="f6a3e592-cc27-4858-b185-ff86be206069" providerId="ADAL" clId="{2CAEC1E3-2241-4370-8FDB-F4FAA904BB83}" dt="2020-06-17T13:47:48.240" v="3020" actId="478"/>
          <ac:spMkLst>
            <pc:docMk/>
            <pc:sldMk cId="3972105642" sldId="2134804288"/>
            <ac:spMk id="125" creationId="{9F7953BA-08B8-41AB-921C-EB108DB7A0DE}"/>
          </ac:spMkLst>
        </pc:spChg>
        <pc:spChg chg="del">
          <ac:chgData name="Andrea Mogollon Nossa (CENIT)" userId="f6a3e592-cc27-4858-b185-ff86be206069" providerId="ADAL" clId="{2CAEC1E3-2241-4370-8FDB-F4FAA904BB83}" dt="2020-06-17T13:47:51.816" v="3023" actId="478"/>
          <ac:spMkLst>
            <pc:docMk/>
            <pc:sldMk cId="3972105642" sldId="2134804288"/>
            <ac:spMk id="126" creationId="{7B96189B-1F4E-475F-9B8B-5D1F1C5B7438}"/>
          </ac:spMkLst>
        </pc:spChg>
        <pc:spChg chg="del">
          <ac:chgData name="Andrea Mogollon Nossa (CENIT)" userId="f6a3e592-cc27-4858-b185-ff86be206069" providerId="ADAL" clId="{2CAEC1E3-2241-4370-8FDB-F4FAA904BB83}" dt="2020-06-17T13:47:47.475" v="3019" actId="478"/>
          <ac:spMkLst>
            <pc:docMk/>
            <pc:sldMk cId="3972105642" sldId="2134804288"/>
            <ac:spMk id="127" creationId="{28FDC0C8-718F-4A25-B8A5-83A62B27FD1B}"/>
          </ac:spMkLst>
        </pc:spChg>
        <pc:spChg chg="del mod">
          <ac:chgData name="Andrea Mogollon Nossa (CENIT)" userId="f6a3e592-cc27-4858-b185-ff86be206069" providerId="ADAL" clId="{2CAEC1E3-2241-4370-8FDB-F4FAA904BB83}" dt="2020-06-17T13:47:49.814" v="3022" actId="478"/>
          <ac:spMkLst>
            <pc:docMk/>
            <pc:sldMk cId="3972105642" sldId="2134804288"/>
            <ac:spMk id="128" creationId="{1B81E860-9775-490E-8921-9504ABA7D771}"/>
          </ac:spMkLst>
        </pc:spChg>
        <pc:spChg chg="del">
          <ac:chgData name="Andrea Mogollon Nossa (CENIT)" userId="f6a3e592-cc27-4858-b185-ff86be206069" providerId="ADAL" clId="{2CAEC1E3-2241-4370-8FDB-F4FAA904BB83}" dt="2020-06-17T13:47:53.211" v="3024" actId="478"/>
          <ac:spMkLst>
            <pc:docMk/>
            <pc:sldMk cId="3972105642" sldId="2134804288"/>
            <ac:spMk id="129" creationId="{5547E264-0776-449F-9A3B-7B6A092FB298}"/>
          </ac:spMkLst>
        </pc:spChg>
        <pc:spChg chg="add mod">
          <ac:chgData name="Andrea Mogollon Nossa (CENIT)" userId="f6a3e592-cc27-4858-b185-ff86be206069" providerId="ADAL" clId="{2CAEC1E3-2241-4370-8FDB-F4FAA904BB83}" dt="2020-06-17T13:45:31.975" v="2973" actId="20577"/>
          <ac:spMkLst>
            <pc:docMk/>
            <pc:sldMk cId="3972105642" sldId="2134804288"/>
            <ac:spMk id="130" creationId="{87BE4D39-585A-439A-9AD3-A09D201B12FA}"/>
          </ac:spMkLst>
        </pc:spChg>
        <pc:spChg chg="add mod">
          <ac:chgData name="Andrea Mogollon Nossa (CENIT)" userId="f6a3e592-cc27-4858-b185-ff86be206069" providerId="ADAL" clId="{2CAEC1E3-2241-4370-8FDB-F4FAA904BB83}" dt="2020-06-17T13:35:09.252" v="2886" actId="1076"/>
          <ac:spMkLst>
            <pc:docMk/>
            <pc:sldMk cId="3972105642" sldId="2134804288"/>
            <ac:spMk id="131" creationId="{8889283B-005D-488D-86F9-CDCDA28E5F7B}"/>
          </ac:spMkLst>
        </pc:spChg>
        <pc:spChg chg="mod">
          <ac:chgData name="Andrea Mogollon Nossa (CENIT)" userId="f6a3e592-cc27-4858-b185-ff86be206069" providerId="ADAL" clId="{2CAEC1E3-2241-4370-8FDB-F4FAA904BB83}" dt="2020-06-17T13:44:40.685" v="2958" actId="1076"/>
          <ac:spMkLst>
            <pc:docMk/>
            <pc:sldMk cId="3972105642" sldId="2134804288"/>
            <ac:spMk id="132" creationId="{2B4D8A13-DB92-41A8-AFD2-5B2874EF1BF3}"/>
          </ac:spMkLst>
        </pc:spChg>
        <pc:spChg chg="add mod">
          <ac:chgData name="Andrea Mogollon Nossa (CENIT)" userId="f6a3e592-cc27-4858-b185-ff86be206069" providerId="ADAL" clId="{2CAEC1E3-2241-4370-8FDB-F4FAA904BB83}" dt="2020-06-16T23:12:58.953" v="2499" actId="20577"/>
          <ac:spMkLst>
            <pc:docMk/>
            <pc:sldMk cId="3972105642" sldId="2134804288"/>
            <ac:spMk id="132" creationId="{6A90B078-206F-4E1D-89A1-298F78E33B76}"/>
          </ac:spMkLst>
        </pc:spChg>
        <pc:spChg chg="mod">
          <ac:chgData name="Andrea Mogollon Nossa (CENIT)" userId="f6a3e592-cc27-4858-b185-ff86be206069" providerId="ADAL" clId="{2CAEC1E3-2241-4370-8FDB-F4FAA904BB83}" dt="2020-06-17T13:45:35.430" v="2974" actId="1076"/>
          <ac:spMkLst>
            <pc:docMk/>
            <pc:sldMk cId="3972105642" sldId="2134804288"/>
            <ac:spMk id="133" creationId="{3D0435A1-4663-4846-971D-86057AF520BB}"/>
          </ac:spMkLst>
        </pc:spChg>
        <pc:spChg chg="add del mod">
          <ac:chgData name="Andrea Mogollon Nossa (CENIT)" userId="f6a3e592-cc27-4858-b185-ff86be206069" providerId="ADAL" clId="{2CAEC1E3-2241-4370-8FDB-F4FAA904BB83}" dt="2020-06-16T23:12:56.388" v="2497" actId="20577"/>
          <ac:spMkLst>
            <pc:docMk/>
            <pc:sldMk cId="3972105642" sldId="2134804288"/>
            <ac:spMk id="133" creationId="{DB96E95E-854F-43C5-96C3-F7AE75CE00DC}"/>
          </ac:spMkLst>
        </pc:spChg>
        <pc:spChg chg="add mod">
          <ac:chgData name="Andrea Mogollon Nossa (CENIT)" userId="f6a3e592-cc27-4858-b185-ff86be206069" providerId="ADAL" clId="{2CAEC1E3-2241-4370-8FDB-F4FAA904BB83}" dt="2020-06-17T13:35:09.252" v="2886" actId="1076"/>
          <ac:spMkLst>
            <pc:docMk/>
            <pc:sldMk cId="3972105642" sldId="2134804288"/>
            <ac:spMk id="134" creationId="{2015B74C-B102-4125-897E-A341F263D14B}"/>
          </ac:spMkLst>
        </pc:spChg>
        <pc:spChg chg="add mod">
          <ac:chgData name="Andrea Mogollon Nossa (CENIT)" userId="f6a3e592-cc27-4858-b185-ff86be206069" providerId="ADAL" clId="{2CAEC1E3-2241-4370-8FDB-F4FAA904BB83}" dt="2020-06-17T13:35:09.252" v="2886" actId="1076"/>
          <ac:spMkLst>
            <pc:docMk/>
            <pc:sldMk cId="3972105642" sldId="2134804288"/>
            <ac:spMk id="135" creationId="{965631E9-4740-4B58-A1AB-6ED9AA0B8ABC}"/>
          </ac:spMkLst>
        </pc:spChg>
        <pc:spChg chg="add mod">
          <ac:chgData name="Andrea Mogollon Nossa (CENIT)" userId="f6a3e592-cc27-4858-b185-ff86be206069" providerId="ADAL" clId="{2CAEC1E3-2241-4370-8FDB-F4FAA904BB83}" dt="2020-06-17T13:44:40.685" v="2958" actId="1076"/>
          <ac:spMkLst>
            <pc:docMk/>
            <pc:sldMk cId="3972105642" sldId="2134804288"/>
            <ac:spMk id="136" creationId="{DC2DE3F9-ECAC-40AD-A20A-B32B38C58757}"/>
          </ac:spMkLst>
        </pc:spChg>
        <pc:spChg chg="add mod">
          <ac:chgData name="Andrea Mogollon Nossa (CENIT)" userId="f6a3e592-cc27-4858-b185-ff86be206069" providerId="ADAL" clId="{2CAEC1E3-2241-4370-8FDB-F4FAA904BB83}" dt="2020-06-17T13:44:40.685" v="2958" actId="1076"/>
          <ac:spMkLst>
            <pc:docMk/>
            <pc:sldMk cId="3972105642" sldId="2134804288"/>
            <ac:spMk id="137" creationId="{BDEF36B3-92BD-43BC-AD5C-2DF950D99692}"/>
          </ac:spMkLst>
        </pc:spChg>
        <pc:spChg chg="add mod">
          <ac:chgData name="Andrea Mogollon Nossa (CENIT)" userId="f6a3e592-cc27-4858-b185-ff86be206069" providerId="ADAL" clId="{2CAEC1E3-2241-4370-8FDB-F4FAA904BB83}" dt="2020-06-17T13:44:40.685" v="2958" actId="1076"/>
          <ac:spMkLst>
            <pc:docMk/>
            <pc:sldMk cId="3972105642" sldId="2134804288"/>
            <ac:spMk id="138" creationId="{0A50029C-6FF1-4E5B-8FE3-9A0E8C0D7425}"/>
          </ac:spMkLst>
        </pc:spChg>
        <pc:spChg chg="add del mod">
          <ac:chgData name="Andrea Mogollon Nossa (CENIT)" userId="f6a3e592-cc27-4858-b185-ff86be206069" providerId="ADAL" clId="{2CAEC1E3-2241-4370-8FDB-F4FAA904BB83}" dt="2020-06-16T23:11:23.070" v="2460" actId="478"/>
          <ac:spMkLst>
            <pc:docMk/>
            <pc:sldMk cId="3972105642" sldId="2134804288"/>
            <ac:spMk id="139" creationId="{2081A9DE-A3C9-46F7-8972-92EE6C09BA01}"/>
          </ac:spMkLst>
        </pc:spChg>
        <pc:spChg chg="mod">
          <ac:chgData name="Andrea Mogollon Nossa (CENIT)" userId="f6a3e592-cc27-4858-b185-ff86be206069" providerId="ADAL" clId="{2CAEC1E3-2241-4370-8FDB-F4FAA904BB83}" dt="2020-06-17T13:45:16.246" v="2968" actId="1076"/>
          <ac:spMkLst>
            <pc:docMk/>
            <pc:sldMk cId="3972105642" sldId="2134804288"/>
            <ac:spMk id="139" creationId="{DD70D3A2-5195-4278-89DE-C7B5909EBB84}"/>
          </ac:spMkLst>
        </pc:spChg>
        <pc:spChg chg="add mod">
          <ac:chgData name="Andrea Mogollon Nossa (CENIT)" userId="f6a3e592-cc27-4858-b185-ff86be206069" providerId="ADAL" clId="{2CAEC1E3-2241-4370-8FDB-F4FAA904BB83}" dt="2020-06-17T13:44:40.685" v="2958" actId="1076"/>
          <ac:spMkLst>
            <pc:docMk/>
            <pc:sldMk cId="3972105642" sldId="2134804288"/>
            <ac:spMk id="140" creationId="{2192EC14-9AFE-49A4-ACE7-7007DE218105}"/>
          </ac:spMkLst>
        </pc:spChg>
        <pc:spChg chg="add mod">
          <ac:chgData name="Andrea Mogollon Nossa (CENIT)" userId="f6a3e592-cc27-4858-b185-ff86be206069" providerId="ADAL" clId="{2CAEC1E3-2241-4370-8FDB-F4FAA904BB83}" dt="2020-06-16T23:13:40.831" v="2512" actId="6549"/>
          <ac:spMkLst>
            <pc:docMk/>
            <pc:sldMk cId="3972105642" sldId="2134804288"/>
            <ac:spMk id="141" creationId="{69FF13A6-B914-4228-B818-FA84C77810D8}"/>
          </ac:spMkLst>
        </pc:spChg>
        <pc:spChg chg="mod">
          <ac:chgData name="Andrea Mogollon Nossa (CENIT)" userId="f6a3e592-cc27-4858-b185-ff86be206069" providerId="ADAL" clId="{2CAEC1E3-2241-4370-8FDB-F4FAA904BB83}" dt="2020-06-17T13:46:38.965" v="3004" actId="1076"/>
          <ac:spMkLst>
            <pc:docMk/>
            <pc:sldMk cId="3972105642" sldId="2134804288"/>
            <ac:spMk id="141" creationId="{A8D9BAF4-4638-4531-A212-B02CC3C2B3F8}"/>
          </ac:spMkLst>
        </pc:spChg>
        <pc:spChg chg="add mod">
          <ac:chgData name="Andrea Mogollon Nossa (CENIT)" userId="f6a3e592-cc27-4858-b185-ff86be206069" providerId="ADAL" clId="{2CAEC1E3-2241-4370-8FDB-F4FAA904BB83}" dt="2020-06-16T23:13:01.950" v="2501" actId="20577"/>
          <ac:spMkLst>
            <pc:docMk/>
            <pc:sldMk cId="3972105642" sldId="2134804288"/>
            <ac:spMk id="142" creationId="{09BA4622-4FF0-4AE7-A2BE-CA9EB89C56FC}"/>
          </ac:spMkLst>
        </pc:spChg>
        <pc:spChg chg="mod">
          <ac:chgData name="Andrea Mogollon Nossa (CENIT)" userId="f6a3e592-cc27-4858-b185-ff86be206069" providerId="ADAL" clId="{2CAEC1E3-2241-4370-8FDB-F4FAA904BB83}" dt="2020-06-17T13:45:29.252" v="2972" actId="1076"/>
          <ac:spMkLst>
            <pc:docMk/>
            <pc:sldMk cId="3972105642" sldId="2134804288"/>
            <ac:spMk id="142" creationId="{F6CFB0F8-5E6E-40EC-ACA9-CE69E63E9E53}"/>
          </ac:spMkLst>
        </pc:spChg>
        <pc:spChg chg="add mod">
          <ac:chgData name="Andrea Mogollon Nossa (CENIT)" userId="f6a3e592-cc27-4858-b185-ff86be206069" providerId="ADAL" clId="{2CAEC1E3-2241-4370-8FDB-F4FAA904BB83}" dt="2020-06-17T13:35:09.252" v="2886" actId="1076"/>
          <ac:spMkLst>
            <pc:docMk/>
            <pc:sldMk cId="3972105642" sldId="2134804288"/>
            <ac:spMk id="143" creationId="{3B6CC448-71E4-48AD-AC27-24C2C48F7494}"/>
          </ac:spMkLst>
        </pc:spChg>
        <pc:spChg chg="add mod">
          <ac:chgData name="Andrea Mogollon Nossa (CENIT)" userId="f6a3e592-cc27-4858-b185-ff86be206069" providerId="ADAL" clId="{2CAEC1E3-2241-4370-8FDB-F4FAA904BB83}" dt="2020-06-17T13:35:09.252" v="2886" actId="1076"/>
          <ac:spMkLst>
            <pc:docMk/>
            <pc:sldMk cId="3972105642" sldId="2134804288"/>
            <ac:spMk id="144" creationId="{459CE26A-2C70-483D-8505-6145B8B804E7}"/>
          </ac:spMkLst>
        </pc:spChg>
        <pc:spChg chg="add mod">
          <ac:chgData name="Andrea Mogollon Nossa (CENIT)" userId="f6a3e592-cc27-4858-b185-ff86be206069" providerId="ADAL" clId="{2CAEC1E3-2241-4370-8FDB-F4FAA904BB83}" dt="2020-06-17T13:35:09.252" v="2886" actId="1076"/>
          <ac:spMkLst>
            <pc:docMk/>
            <pc:sldMk cId="3972105642" sldId="2134804288"/>
            <ac:spMk id="145" creationId="{73499BFD-F641-4498-BC47-3D42BE7BF515}"/>
          </ac:spMkLst>
        </pc:spChg>
        <pc:spChg chg="add mod">
          <ac:chgData name="Andrea Mogollon Nossa (CENIT)" userId="f6a3e592-cc27-4858-b185-ff86be206069" providerId="ADAL" clId="{2CAEC1E3-2241-4370-8FDB-F4FAA904BB83}" dt="2020-06-17T13:35:09.252" v="2886" actId="1076"/>
          <ac:spMkLst>
            <pc:docMk/>
            <pc:sldMk cId="3972105642" sldId="2134804288"/>
            <ac:spMk id="146" creationId="{044A596C-01C5-4049-AD23-91F31E1CC4A1}"/>
          </ac:spMkLst>
        </pc:spChg>
        <pc:spChg chg="add mod">
          <ac:chgData name="Andrea Mogollon Nossa (CENIT)" userId="f6a3e592-cc27-4858-b185-ff86be206069" providerId="ADAL" clId="{2CAEC1E3-2241-4370-8FDB-F4FAA904BB83}" dt="2020-06-17T13:35:09.252" v="2886" actId="1076"/>
          <ac:spMkLst>
            <pc:docMk/>
            <pc:sldMk cId="3972105642" sldId="2134804288"/>
            <ac:spMk id="147" creationId="{E4AEA615-7563-4C1B-A271-099D66D37367}"/>
          </ac:spMkLst>
        </pc:spChg>
        <pc:spChg chg="add mod">
          <ac:chgData name="Andrea Mogollon Nossa (CENIT)" userId="f6a3e592-cc27-4858-b185-ff86be206069" providerId="ADAL" clId="{2CAEC1E3-2241-4370-8FDB-F4FAA904BB83}" dt="2020-06-17T13:35:09.252" v="2886" actId="1076"/>
          <ac:spMkLst>
            <pc:docMk/>
            <pc:sldMk cId="3972105642" sldId="2134804288"/>
            <ac:spMk id="148" creationId="{C466D27F-D52B-4D18-AB1A-B4A5A9F42324}"/>
          </ac:spMkLst>
        </pc:spChg>
        <pc:spChg chg="add mod">
          <ac:chgData name="Andrea Mogollon Nossa (CENIT)" userId="f6a3e592-cc27-4858-b185-ff86be206069" providerId="ADAL" clId="{2CAEC1E3-2241-4370-8FDB-F4FAA904BB83}" dt="2020-06-17T13:35:09.252" v="2886" actId="1076"/>
          <ac:spMkLst>
            <pc:docMk/>
            <pc:sldMk cId="3972105642" sldId="2134804288"/>
            <ac:spMk id="149" creationId="{26DDE36A-BBEB-4220-A185-CCDB2EE3D917}"/>
          </ac:spMkLst>
        </pc:spChg>
        <pc:spChg chg="add mod">
          <ac:chgData name="Andrea Mogollon Nossa (CENIT)" userId="f6a3e592-cc27-4858-b185-ff86be206069" providerId="ADAL" clId="{2CAEC1E3-2241-4370-8FDB-F4FAA904BB83}" dt="2020-06-17T13:45:59.803" v="2988" actId="20577"/>
          <ac:spMkLst>
            <pc:docMk/>
            <pc:sldMk cId="3972105642" sldId="2134804288"/>
            <ac:spMk id="150" creationId="{1C6B11C4-1308-4BF3-BB98-C70CE2518459}"/>
          </ac:spMkLst>
        </pc:spChg>
        <pc:spChg chg="add mod">
          <ac:chgData name="Andrea Mogollon Nossa (CENIT)" userId="f6a3e592-cc27-4858-b185-ff86be206069" providerId="ADAL" clId="{2CAEC1E3-2241-4370-8FDB-F4FAA904BB83}" dt="2020-06-17T13:45:56.778" v="2984" actId="20577"/>
          <ac:spMkLst>
            <pc:docMk/>
            <pc:sldMk cId="3972105642" sldId="2134804288"/>
            <ac:spMk id="151" creationId="{E1D12F42-18F9-40F6-8EFF-433E9B9F0592}"/>
          </ac:spMkLst>
        </pc:spChg>
        <pc:spChg chg="add mod">
          <ac:chgData name="Andrea Mogollon Nossa (CENIT)" userId="f6a3e592-cc27-4858-b185-ff86be206069" providerId="ADAL" clId="{2CAEC1E3-2241-4370-8FDB-F4FAA904BB83}" dt="2020-06-17T13:45:53.848" v="2980" actId="20577"/>
          <ac:spMkLst>
            <pc:docMk/>
            <pc:sldMk cId="3972105642" sldId="2134804288"/>
            <ac:spMk id="152" creationId="{6249E4F1-2D8E-4097-9179-EBC1401827BA}"/>
          </ac:spMkLst>
        </pc:spChg>
        <pc:spChg chg="add mod">
          <ac:chgData name="Andrea Mogollon Nossa (CENIT)" userId="f6a3e592-cc27-4858-b185-ff86be206069" providerId="ADAL" clId="{2CAEC1E3-2241-4370-8FDB-F4FAA904BB83}" dt="2020-06-17T13:45:51.580" v="2978" actId="20577"/>
          <ac:spMkLst>
            <pc:docMk/>
            <pc:sldMk cId="3972105642" sldId="2134804288"/>
            <ac:spMk id="153" creationId="{EBCEC452-242A-41DC-B20E-8FCEB57C4FE5}"/>
          </ac:spMkLst>
        </pc:spChg>
        <pc:spChg chg="mod">
          <ac:chgData name="Andrea Mogollon Nossa (CENIT)" userId="f6a3e592-cc27-4858-b185-ff86be206069" providerId="ADAL" clId="{2CAEC1E3-2241-4370-8FDB-F4FAA904BB83}" dt="2020-06-17T13:44:40.685" v="2958" actId="1076"/>
          <ac:spMkLst>
            <pc:docMk/>
            <pc:sldMk cId="3972105642" sldId="2134804288"/>
            <ac:spMk id="154" creationId="{2D118A3A-F9B1-4373-81CB-37E150897A64}"/>
          </ac:spMkLst>
        </pc:spChg>
        <pc:spChg chg="mod">
          <ac:chgData name="Andrea Mogollon Nossa (CENIT)" userId="f6a3e592-cc27-4858-b185-ff86be206069" providerId="ADAL" clId="{2CAEC1E3-2241-4370-8FDB-F4FAA904BB83}" dt="2020-06-17T13:39:35.140" v="2926" actId="1076"/>
          <ac:spMkLst>
            <pc:docMk/>
            <pc:sldMk cId="3972105642" sldId="2134804288"/>
            <ac:spMk id="155" creationId="{E55B9259-4EF1-4902-86B4-55035FFA0223}"/>
          </ac:spMkLst>
        </pc:spChg>
        <pc:spChg chg="mod">
          <ac:chgData name="Andrea Mogollon Nossa (CENIT)" userId="f6a3e592-cc27-4858-b185-ff86be206069" providerId="ADAL" clId="{2CAEC1E3-2241-4370-8FDB-F4FAA904BB83}" dt="2020-06-17T13:44:40.685" v="2958" actId="1076"/>
          <ac:spMkLst>
            <pc:docMk/>
            <pc:sldMk cId="3972105642" sldId="2134804288"/>
            <ac:spMk id="156" creationId="{EBAD52F6-3A50-47C4-A8A6-F9957211FE0C}"/>
          </ac:spMkLst>
        </pc:spChg>
        <pc:spChg chg="mod">
          <ac:chgData name="Andrea Mogollon Nossa (CENIT)" userId="f6a3e592-cc27-4858-b185-ff86be206069" providerId="ADAL" clId="{2CAEC1E3-2241-4370-8FDB-F4FAA904BB83}" dt="2020-06-17T19:58:10.739" v="5494" actId="1076"/>
          <ac:spMkLst>
            <pc:docMk/>
            <pc:sldMk cId="3972105642" sldId="2134804288"/>
            <ac:spMk id="157" creationId="{99817ECC-A9CE-487D-A447-63834E8CDB42}"/>
          </ac:spMkLst>
        </pc:spChg>
        <pc:spChg chg="mod">
          <ac:chgData name="Andrea Mogollon Nossa (CENIT)" userId="f6a3e592-cc27-4858-b185-ff86be206069" providerId="ADAL" clId="{2CAEC1E3-2241-4370-8FDB-F4FAA904BB83}" dt="2020-06-17T13:47:19.400" v="3013" actId="1076"/>
          <ac:spMkLst>
            <pc:docMk/>
            <pc:sldMk cId="3972105642" sldId="2134804288"/>
            <ac:spMk id="158" creationId="{1419E290-EB81-48FD-9FE7-BB69C3A55F9B}"/>
          </ac:spMkLst>
        </pc:spChg>
        <pc:spChg chg="mod">
          <ac:chgData name="Andrea Mogollon Nossa (CENIT)" userId="f6a3e592-cc27-4858-b185-ff86be206069" providerId="ADAL" clId="{2CAEC1E3-2241-4370-8FDB-F4FAA904BB83}" dt="2020-06-17T13:39:56.897" v="2928" actId="1076"/>
          <ac:spMkLst>
            <pc:docMk/>
            <pc:sldMk cId="3972105642" sldId="2134804288"/>
            <ac:spMk id="159" creationId="{AC5431C5-08AE-45CB-89CC-44576AD161AE}"/>
          </ac:spMkLst>
        </pc:spChg>
        <pc:spChg chg="mod">
          <ac:chgData name="Andrea Mogollon Nossa (CENIT)" userId="f6a3e592-cc27-4858-b185-ff86be206069" providerId="ADAL" clId="{2CAEC1E3-2241-4370-8FDB-F4FAA904BB83}" dt="2020-06-17T13:47:42.747" v="3018" actId="1076"/>
          <ac:spMkLst>
            <pc:docMk/>
            <pc:sldMk cId="3972105642" sldId="2134804288"/>
            <ac:spMk id="160" creationId="{B4FEEF27-B06C-4BEC-AB6B-022835691884}"/>
          </ac:spMkLst>
        </pc:spChg>
        <pc:spChg chg="mod">
          <ac:chgData name="Andrea Mogollon Nossa (CENIT)" userId="f6a3e592-cc27-4858-b185-ff86be206069" providerId="ADAL" clId="{2CAEC1E3-2241-4370-8FDB-F4FAA904BB83}" dt="2020-06-17T13:47:42.747" v="3018" actId="1076"/>
          <ac:spMkLst>
            <pc:docMk/>
            <pc:sldMk cId="3972105642" sldId="2134804288"/>
            <ac:spMk id="161" creationId="{E1FB320D-93BB-4E5E-8B1F-01F3EE9BE992}"/>
          </ac:spMkLst>
        </pc:spChg>
        <pc:spChg chg="mod">
          <ac:chgData name="Andrea Mogollon Nossa (CENIT)" userId="f6a3e592-cc27-4858-b185-ff86be206069" providerId="ADAL" clId="{2CAEC1E3-2241-4370-8FDB-F4FAA904BB83}" dt="2020-06-17T13:46:48.098" v="3006" actId="1076"/>
          <ac:spMkLst>
            <pc:docMk/>
            <pc:sldMk cId="3972105642" sldId="2134804288"/>
            <ac:spMk id="162" creationId="{6911BCA5-CA63-42AB-899E-09B501CBAAF8}"/>
          </ac:spMkLst>
        </pc:spChg>
        <pc:spChg chg="mod">
          <ac:chgData name="Andrea Mogollon Nossa (CENIT)" userId="f6a3e592-cc27-4858-b185-ff86be206069" providerId="ADAL" clId="{2CAEC1E3-2241-4370-8FDB-F4FAA904BB83}" dt="2020-06-17T13:46:52.716" v="3007" actId="1076"/>
          <ac:spMkLst>
            <pc:docMk/>
            <pc:sldMk cId="3972105642" sldId="2134804288"/>
            <ac:spMk id="163" creationId="{AA59E27B-C332-4588-A79C-03B73DF9E177}"/>
          </ac:spMkLst>
        </pc:spChg>
        <pc:spChg chg="mod">
          <ac:chgData name="Andrea Mogollon Nossa (CENIT)" userId="f6a3e592-cc27-4858-b185-ff86be206069" providerId="ADAL" clId="{2CAEC1E3-2241-4370-8FDB-F4FAA904BB83}" dt="2020-06-17T13:39:30.714" v="2925" actId="1076"/>
          <ac:spMkLst>
            <pc:docMk/>
            <pc:sldMk cId="3972105642" sldId="2134804288"/>
            <ac:spMk id="164" creationId="{7EA67C76-C50B-4A11-852B-672BF8D888A6}"/>
          </ac:spMkLst>
        </pc:spChg>
        <pc:spChg chg="del mod">
          <ac:chgData name="Andrea Mogollon Nossa (CENIT)" userId="f6a3e592-cc27-4858-b185-ff86be206069" providerId="ADAL" clId="{2CAEC1E3-2241-4370-8FDB-F4FAA904BB83}" dt="2020-06-17T20:03:09.184" v="5567" actId="478"/>
          <ac:spMkLst>
            <pc:docMk/>
            <pc:sldMk cId="3972105642" sldId="2134804288"/>
            <ac:spMk id="165" creationId="{88182965-6606-4519-A0D6-EB88DDF04091}"/>
          </ac:spMkLst>
        </pc:spChg>
        <pc:spChg chg="del mod">
          <ac:chgData name="Andrea Mogollon Nossa (CENIT)" userId="f6a3e592-cc27-4858-b185-ff86be206069" providerId="ADAL" clId="{2CAEC1E3-2241-4370-8FDB-F4FAA904BB83}" dt="2020-06-17T20:03:09.184" v="5567" actId="478"/>
          <ac:spMkLst>
            <pc:docMk/>
            <pc:sldMk cId="3972105642" sldId="2134804288"/>
            <ac:spMk id="166" creationId="{2C3D5691-8414-442D-8811-64DB867F4E4D}"/>
          </ac:spMkLst>
        </pc:spChg>
        <pc:spChg chg="del">
          <ac:chgData name="Andrea Mogollon Nossa (CENIT)" userId="f6a3e592-cc27-4858-b185-ff86be206069" providerId="ADAL" clId="{2CAEC1E3-2241-4370-8FDB-F4FAA904BB83}" dt="2020-06-17T20:03:09.184" v="5567" actId="478"/>
          <ac:spMkLst>
            <pc:docMk/>
            <pc:sldMk cId="3972105642" sldId="2134804288"/>
            <ac:spMk id="167" creationId="{5B10B864-70B1-46D4-B7EF-EAEA82A4B41D}"/>
          </ac:spMkLst>
        </pc:spChg>
        <pc:spChg chg="del">
          <ac:chgData name="Andrea Mogollon Nossa (CENIT)" userId="f6a3e592-cc27-4858-b185-ff86be206069" providerId="ADAL" clId="{2CAEC1E3-2241-4370-8FDB-F4FAA904BB83}" dt="2020-06-17T20:03:09.184" v="5567" actId="478"/>
          <ac:spMkLst>
            <pc:docMk/>
            <pc:sldMk cId="3972105642" sldId="2134804288"/>
            <ac:spMk id="168" creationId="{B00504A4-CC7F-4C15-8B79-6311130D897F}"/>
          </ac:spMkLst>
        </pc:spChg>
        <pc:spChg chg="del">
          <ac:chgData name="Andrea Mogollon Nossa (CENIT)" userId="f6a3e592-cc27-4858-b185-ff86be206069" providerId="ADAL" clId="{2CAEC1E3-2241-4370-8FDB-F4FAA904BB83}" dt="2020-06-17T20:03:09.184" v="5567" actId="478"/>
          <ac:spMkLst>
            <pc:docMk/>
            <pc:sldMk cId="3972105642" sldId="2134804288"/>
            <ac:spMk id="169" creationId="{0AC0A371-B78E-44C5-915B-C4B31D1E1A79}"/>
          </ac:spMkLst>
        </pc:spChg>
        <pc:spChg chg="mod">
          <ac:chgData name="Andrea Mogollon Nossa (CENIT)" userId="f6a3e592-cc27-4858-b185-ff86be206069" providerId="ADAL" clId="{2CAEC1E3-2241-4370-8FDB-F4FAA904BB83}" dt="2020-06-17T00:41:00.467" v="2729" actId="1076"/>
          <ac:spMkLst>
            <pc:docMk/>
            <pc:sldMk cId="3972105642" sldId="2134804288"/>
            <ac:spMk id="170" creationId="{6A4985B7-CFDA-4919-B35C-1A906980524E}"/>
          </ac:spMkLst>
        </pc:spChg>
        <pc:spChg chg="mod">
          <ac:chgData name="Andrea Mogollon Nossa (CENIT)" userId="f6a3e592-cc27-4858-b185-ff86be206069" providerId="ADAL" clId="{2CAEC1E3-2241-4370-8FDB-F4FAA904BB83}" dt="2020-06-17T00:41:18.929" v="2733" actId="14100"/>
          <ac:spMkLst>
            <pc:docMk/>
            <pc:sldMk cId="3972105642" sldId="2134804288"/>
            <ac:spMk id="171" creationId="{CD36C93B-858F-4E33-A56F-518042C604AB}"/>
          </ac:spMkLst>
        </pc:spChg>
        <pc:spChg chg="mod">
          <ac:chgData name="Andrea Mogollon Nossa (CENIT)" userId="f6a3e592-cc27-4858-b185-ff86be206069" providerId="ADAL" clId="{2CAEC1E3-2241-4370-8FDB-F4FAA904BB83}" dt="2020-06-17T00:41:23.319" v="2734" actId="1076"/>
          <ac:spMkLst>
            <pc:docMk/>
            <pc:sldMk cId="3972105642" sldId="2134804288"/>
            <ac:spMk id="172" creationId="{9D21624C-09A0-4BAC-BC9A-9B80B9BCB9BB}"/>
          </ac:spMkLst>
        </pc:spChg>
        <pc:spChg chg="mod">
          <ac:chgData name="Andrea Mogollon Nossa (CENIT)" userId="f6a3e592-cc27-4858-b185-ff86be206069" providerId="ADAL" clId="{2CAEC1E3-2241-4370-8FDB-F4FAA904BB83}" dt="2020-06-17T00:41:00.467" v="2729" actId="1076"/>
          <ac:spMkLst>
            <pc:docMk/>
            <pc:sldMk cId="3972105642" sldId="2134804288"/>
            <ac:spMk id="173" creationId="{1EA2C09D-165C-43D8-B8B2-5E1CAC01F1D6}"/>
          </ac:spMkLst>
        </pc:spChg>
        <pc:spChg chg="mod">
          <ac:chgData name="Andrea Mogollon Nossa (CENIT)" userId="f6a3e592-cc27-4858-b185-ff86be206069" providerId="ADAL" clId="{2CAEC1E3-2241-4370-8FDB-F4FAA904BB83}" dt="2020-06-17T00:41:00.467" v="2729" actId="1076"/>
          <ac:spMkLst>
            <pc:docMk/>
            <pc:sldMk cId="3972105642" sldId="2134804288"/>
            <ac:spMk id="174" creationId="{296C90A4-4A0B-4006-A9EF-B1B5D356D784}"/>
          </ac:spMkLst>
        </pc:spChg>
        <pc:spChg chg="mod">
          <ac:chgData name="Andrea Mogollon Nossa (CENIT)" userId="f6a3e592-cc27-4858-b185-ff86be206069" providerId="ADAL" clId="{2CAEC1E3-2241-4370-8FDB-F4FAA904BB83}" dt="2020-06-17T00:41:00.467" v="2729" actId="1076"/>
          <ac:spMkLst>
            <pc:docMk/>
            <pc:sldMk cId="3972105642" sldId="2134804288"/>
            <ac:spMk id="175" creationId="{A43C161E-C8C6-4DE5-BC5F-3E9A61FA0B33}"/>
          </ac:spMkLst>
        </pc:spChg>
        <pc:spChg chg="mod">
          <ac:chgData name="Andrea Mogollon Nossa (CENIT)" userId="f6a3e592-cc27-4858-b185-ff86be206069" providerId="ADAL" clId="{2CAEC1E3-2241-4370-8FDB-F4FAA904BB83}" dt="2020-06-17T00:41:00.467" v="2729" actId="1076"/>
          <ac:spMkLst>
            <pc:docMk/>
            <pc:sldMk cId="3972105642" sldId="2134804288"/>
            <ac:spMk id="176" creationId="{11A08FE8-133D-4269-87AD-945C5966A2EE}"/>
          </ac:spMkLst>
        </pc:spChg>
        <pc:spChg chg="mod">
          <ac:chgData name="Andrea Mogollon Nossa (CENIT)" userId="f6a3e592-cc27-4858-b185-ff86be206069" providerId="ADAL" clId="{2CAEC1E3-2241-4370-8FDB-F4FAA904BB83}" dt="2020-06-17T00:41:00.467" v="2729" actId="1076"/>
          <ac:spMkLst>
            <pc:docMk/>
            <pc:sldMk cId="3972105642" sldId="2134804288"/>
            <ac:spMk id="177" creationId="{3E99A803-E8D3-4B93-8296-7A32E6509D07}"/>
          </ac:spMkLst>
        </pc:spChg>
        <pc:spChg chg="mod">
          <ac:chgData name="Andrea Mogollon Nossa (CENIT)" userId="f6a3e592-cc27-4858-b185-ff86be206069" providerId="ADAL" clId="{2CAEC1E3-2241-4370-8FDB-F4FAA904BB83}" dt="2020-06-17T00:41:00.467" v="2729" actId="1076"/>
          <ac:spMkLst>
            <pc:docMk/>
            <pc:sldMk cId="3972105642" sldId="2134804288"/>
            <ac:spMk id="178" creationId="{C71CC98A-1955-4E5D-9D69-80C29981E644}"/>
          </ac:spMkLst>
        </pc:spChg>
        <pc:spChg chg="mod">
          <ac:chgData name="Andrea Mogollon Nossa (CENIT)" userId="f6a3e592-cc27-4858-b185-ff86be206069" providerId="ADAL" clId="{2CAEC1E3-2241-4370-8FDB-F4FAA904BB83}" dt="2020-06-17T00:41:00.467" v="2729" actId="1076"/>
          <ac:spMkLst>
            <pc:docMk/>
            <pc:sldMk cId="3972105642" sldId="2134804288"/>
            <ac:spMk id="179" creationId="{10C5E4BF-FEF4-4A54-8C7B-28037E8A16E5}"/>
          </ac:spMkLst>
        </pc:spChg>
        <pc:spChg chg="mod">
          <ac:chgData name="Andrea Mogollon Nossa (CENIT)" userId="f6a3e592-cc27-4858-b185-ff86be206069" providerId="ADAL" clId="{2CAEC1E3-2241-4370-8FDB-F4FAA904BB83}" dt="2020-06-17T00:41:00.467" v="2729" actId="1076"/>
          <ac:spMkLst>
            <pc:docMk/>
            <pc:sldMk cId="3972105642" sldId="2134804288"/>
            <ac:spMk id="180" creationId="{A9DBE556-7649-436A-91D7-E63BFDC0E75A}"/>
          </ac:spMkLst>
        </pc:spChg>
        <pc:spChg chg="mod">
          <ac:chgData name="Andrea Mogollon Nossa (CENIT)" userId="f6a3e592-cc27-4858-b185-ff86be206069" providerId="ADAL" clId="{2CAEC1E3-2241-4370-8FDB-F4FAA904BB83}" dt="2020-06-17T00:41:00.467" v="2729" actId="1076"/>
          <ac:spMkLst>
            <pc:docMk/>
            <pc:sldMk cId="3972105642" sldId="2134804288"/>
            <ac:spMk id="181" creationId="{69B33750-142B-4903-AC71-3805F0C05B98}"/>
          </ac:spMkLst>
        </pc:spChg>
        <pc:spChg chg="mod">
          <ac:chgData name="Andrea Mogollon Nossa (CENIT)" userId="f6a3e592-cc27-4858-b185-ff86be206069" providerId="ADAL" clId="{2CAEC1E3-2241-4370-8FDB-F4FAA904BB83}" dt="2020-06-17T00:41:00.467" v="2729" actId="1076"/>
          <ac:spMkLst>
            <pc:docMk/>
            <pc:sldMk cId="3972105642" sldId="2134804288"/>
            <ac:spMk id="182" creationId="{F19D6EB7-9760-45AF-A1F8-0ECB6FAD2E55}"/>
          </ac:spMkLst>
        </pc:spChg>
        <pc:spChg chg="mod">
          <ac:chgData name="Andrea Mogollon Nossa (CENIT)" userId="f6a3e592-cc27-4858-b185-ff86be206069" providerId="ADAL" clId="{2CAEC1E3-2241-4370-8FDB-F4FAA904BB83}" dt="2020-06-17T00:41:00.467" v="2729" actId="1076"/>
          <ac:spMkLst>
            <pc:docMk/>
            <pc:sldMk cId="3972105642" sldId="2134804288"/>
            <ac:spMk id="183" creationId="{16F1FB1B-3EEC-4087-80C1-B6BAF2C74F2E}"/>
          </ac:spMkLst>
        </pc:spChg>
        <pc:spChg chg="mod">
          <ac:chgData name="Andrea Mogollon Nossa (CENIT)" userId="f6a3e592-cc27-4858-b185-ff86be206069" providerId="ADAL" clId="{2CAEC1E3-2241-4370-8FDB-F4FAA904BB83}" dt="2020-06-17T00:41:00.467" v="2729" actId="1076"/>
          <ac:spMkLst>
            <pc:docMk/>
            <pc:sldMk cId="3972105642" sldId="2134804288"/>
            <ac:spMk id="184" creationId="{47701719-41E3-4A14-A94C-EA163B3BCDBC}"/>
          </ac:spMkLst>
        </pc:spChg>
        <pc:spChg chg="mod">
          <ac:chgData name="Andrea Mogollon Nossa (CENIT)" userId="f6a3e592-cc27-4858-b185-ff86be206069" providerId="ADAL" clId="{2CAEC1E3-2241-4370-8FDB-F4FAA904BB83}" dt="2020-06-17T00:41:00.467" v="2729" actId="1076"/>
          <ac:spMkLst>
            <pc:docMk/>
            <pc:sldMk cId="3972105642" sldId="2134804288"/>
            <ac:spMk id="185" creationId="{52989975-7951-4288-B58B-44A911CE0CDF}"/>
          </ac:spMkLst>
        </pc:spChg>
        <pc:spChg chg="mod">
          <ac:chgData name="Andrea Mogollon Nossa (CENIT)" userId="f6a3e592-cc27-4858-b185-ff86be206069" providerId="ADAL" clId="{2CAEC1E3-2241-4370-8FDB-F4FAA904BB83}" dt="2020-06-17T00:41:00.467" v="2729" actId="1076"/>
          <ac:spMkLst>
            <pc:docMk/>
            <pc:sldMk cId="3972105642" sldId="2134804288"/>
            <ac:spMk id="186" creationId="{A5455FBE-F627-42CC-9FCC-BC62F42222F0}"/>
          </ac:spMkLst>
        </pc:spChg>
        <pc:spChg chg="mod">
          <ac:chgData name="Andrea Mogollon Nossa (CENIT)" userId="f6a3e592-cc27-4858-b185-ff86be206069" providerId="ADAL" clId="{2CAEC1E3-2241-4370-8FDB-F4FAA904BB83}" dt="2020-06-17T00:41:00.467" v="2729" actId="1076"/>
          <ac:spMkLst>
            <pc:docMk/>
            <pc:sldMk cId="3972105642" sldId="2134804288"/>
            <ac:spMk id="187" creationId="{C68CFFFA-3ED5-44D4-9DCE-2B34BF96A3EC}"/>
          </ac:spMkLst>
        </pc:spChg>
        <pc:spChg chg="mod">
          <ac:chgData name="Andrea Mogollon Nossa (CENIT)" userId="f6a3e592-cc27-4858-b185-ff86be206069" providerId="ADAL" clId="{2CAEC1E3-2241-4370-8FDB-F4FAA904BB83}" dt="2020-06-17T00:41:00.467" v="2729" actId="1076"/>
          <ac:spMkLst>
            <pc:docMk/>
            <pc:sldMk cId="3972105642" sldId="2134804288"/>
            <ac:spMk id="188" creationId="{44D9C693-3818-4AC6-86C6-8CAAF9E973ED}"/>
          </ac:spMkLst>
        </pc:spChg>
        <pc:spChg chg="mod">
          <ac:chgData name="Andrea Mogollon Nossa (CENIT)" userId="f6a3e592-cc27-4858-b185-ff86be206069" providerId="ADAL" clId="{2CAEC1E3-2241-4370-8FDB-F4FAA904BB83}" dt="2020-06-17T00:41:00.467" v="2729" actId="1076"/>
          <ac:spMkLst>
            <pc:docMk/>
            <pc:sldMk cId="3972105642" sldId="2134804288"/>
            <ac:spMk id="189" creationId="{27DA0FF6-3B07-40D2-B412-BF14D4779524}"/>
          </ac:spMkLst>
        </pc:spChg>
        <pc:spChg chg="mod">
          <ac:chgData name="Andrea Mogollon Nossa (CENIT)" userId="f6a3e592-cc27-4858-b185-ff86be206069" providerId="ADAL" clId="{2CAEC1E3-2241-4370-8FDB-F4FAA904BB83}" dt="2020-06-17T00:41:00.467" v="2729" actId="1076"/>
          <ac:spMkLst>
            <pc:docMk/>
            <pc:sldMk cId="3972105642" sldId="2134804288"/>
            <ac:spMk id="190" creationId="{CF7EB90D-96D2-4990-9DBA-759B87DC488F}"/>
          </ac:spMkLst>
        </pc:spChg>
        <pc:spChg chg="mod">
          <ac:chgData name="Andrea Mogollon Nossa (CENIT)" userId="f6a3e592-cc27-4858-b185-ff86be206069" providerId="ADAL" clId="{2CAEC1E3-2241-4370-8FDB-F4FAA904BB83}" dt="2020-06-17T00:41:00.467" v="2729" actId="1076"/>
          <ac:spMkLst>
            <pc:docMk/>
            <pc:sldMk cId="3972105642" sldId="2134804288"/>
            <ac:spMk id="191" creationId="{EA41803D-BBE1-43F9-852F-C997982BA1BF}"/>
          </ac:spMkLst>
        </pc:spChg>
        <pc:spChg chg="mod">
          <ac:chgData name="Andrea Mogollon Nossa (CENIT)" userId="f6a3e592-cc27-4858-b185-ff86be206069" providerId="ADAL" clId="{2CAEC1E3-2241-4370-8FDB-F4FAA904BB83}" dt="2020-06-17T00:41:00.467" v="2729" actId="1076"/>
          <ac:spMkLst>
            <pc:docMk/>
            <pc:sldMk cId="3972105642" sldId="2134804288"/>
            <ac:spMk id="192" creationId="{C668E719-2ACA-4B60-9F8B-CDEA7B4123ED}"/>
          </ac:spMkLst>
        </pc:spChg>
        <pc:spChg chg="mod">
          <ac:chgData name="Andrea Mogollon Nossa (CENIT)" userId="f6a3e592-cc27-4858-b185-ff86be206069" providerId="ADAL" clId="{2CAEC1E3-2241-4370-8FDB-F4FAA904BB83}" dt="2020-06-17T00:41:00.467" v="2729" actId="1076"/>
          <ac:spMkLst>
            <pc:docMk/>
            <pc:sldMk cId="3972105642" sldId="2134804288"/>
            <ac:spMk id="193" creationId="{166FA57D-7679-4CC1-9B3A-C4D7B34A355B}"/>
          </ac:spMkLst>
        </pc:spChg>
        <pc:spChg chg="mod">
          <ac:chgData name="Andrea Mogollon Nossa (CENIT)" userId="f6a3e592-cc27-4858-b185-ff86be206069" providerId="ADAL" clId="{2CAEC1E3-2241-4370-8FDB-F4FAA904BB83}" dt="2020-06-17T00:41:00.467" v="2729" actId="1076"/>
          <ac:spMkLst>
            <pc:docMk/>
            <pc:sldMk cId="3972105642" sldId="2134804288"/>
            <ac:spMk id="194" creationId="{DFAA6187-7C48-4900-A85B-4E597400D327}"/>
          </ac:spMkLst>
        </pc:spChg>
        <pc:spChg chg="mod">
          <ac:chgData name="Andrea Mogollon Nossa (CENIT)" userId="f6a3e592-cc27-4858-b185-ff86be206069" providerId="ADAL" clId="{2CAEC1E3-2241-4370-8FDB-F4FAA904BB83}" dt="2020-06-17T00:41:00.467" v="2729" actId="1076"/>
          <ac:spMkLst>
            <pc:docMk/>
            <pc:sldMk cId="3972105642" sldId="2134804288"/>
            <ac:spMk id="195" creationId="{15ACD528-2610-4243-8C90-4630CAE98857}"/>
          </ac:spMkLst>
        </pc:spChg>
        <pc:spChg chg="mod">
          <ac:chgData name="Andrea Mogollon Nossa (CENIT)" userId="f6a3e592-cc27-4858-b185-ff86be206069" providerId="ADAL" clId="{2CAEC1E3-2241-4370-8FDB-F4FAA904BB83}" dt="2020-06-17T00:41:00.467" v="2729" actId="1076"/>
          <ac:spMkLst>
            <pc:docMk/>
            <pc:sldMk cId="3972105642" sldId="2134804288"/>
            <ac:spMk id="196" creationId="{975436EC-58E0-48E2-A269-6C4D4BCF7B4A}"/>
          </ac:spMkLst>
        </pc:spChg>
        <pc:spChg chg="del">
          <ac:chgData name="Andrea Mogollon Nossa (CENIT)" userId="f6a3e592-cc27-4858-b185-ff86be206069" providerId="ADAL" clId="{2CAEC1E3-2241-4370-8FDB-F4FAA904BB83}" dt="2020-06-17T20:03:09.184" v="5567" actId="478"/>
          <ac:spMkLst>
            <pc:docMk/>
            <pc:sldMk cId="3972105642" sldId="2134804288"/>
            <ac:spMk id="197" creationId="{E1BFB25D-4251-4EE2-8536-86E897FBDA5A}"/>
          </ac:spMkLst>
        </pc:spChg>
        <pc:spChg chg="del">
          <ac:chgData name="Andrea Mogollon Nossa (CENIT)" userId="f6a3e592-cc27-4858-b185-ff86be206069" providerId="ADAL" clId="{2CAEC1E3-2241-4370-8FDB-F4FAA904BB83}" dt="2020-06-17T20:03:09.184" v="5567" actId="478"/>
          <ac:spMkLst>
            <pc:docMk/>
            <pc:sldMk cId="3972105642" sldId="2134804288"/>
            <ac:spMk id="198" creationId="{8AF8F09D-72B9-45DF-AF8D-5F2D9E6AA990}"/>
          </ac:spMkLst>
        </pc:spChg>
        <pc:spChg chg="del">
          <ac:chgData name="Andrea Mogollon Nossa (CENIT)" userId="f6a3e592-cc27-4858-b185-ff86be206069" providerId="ADAL" clId="{2CAEC1E3-2241-4370-8FDB-F4FAA904BB83}" dt="2020-06-17T20:03:09.184" v="5567" actId="478"/>
          <ac:spMkLst>
            <pc:docMk/>
            <pc:sldMk cId="3972105642" sldId="2134804288"/>
            <ac:spMk id="199" creationId="{6B967254-9BF9-41C9-B68B-4498BA1CEDA1}"/>
          </ac:spMkLst>
        </pc:spChg>
        <pc:spChg chg="del">
          <ac:chgData name="Andrea Mogollon Nossa (CENIT)" userId="f6a3e592-cc27-4858-b185-ff86be206069" providerId="ADAL" clId="{2CAEC1E3-2241-4370-8FDB-F4FAA904BB83}" dt="2020-06-17T20:03:09.184" v="5567" actId="478"/>
          <ac:spMkLst>
            <pc:docMk/>
            <pc:sldMk cId="3972105642" sldId="2134804288"/>
            <ac:spMk id="200" creationId="{4355305E-ECA3-4A92-B14E-9180DE961743}"/>
          </ac:spMkLst>
        </pc:spChg>
        <pc:spChg chg="del">
          <ac:chgData name="Andrea Mogollon Nossa (CENIT)" userId="f6a3e592-cc27-4858-b185-ff86be206069" providerId="ADAL" clId="{2CAEC1E3-2241-4370-8FDB-F4FAA904BB83}" dt="2020-06-17T20:03:09.184" v="5567" actId="478"/>
          <ac:spMkLst>
            <pc:docMk/>
            <pc:sldMk cId="3972105642" sldId="2134804288"/>
            <ac:spMk id="201" creationId="{3237594A-EB43-4AC6-B5BF-D9034E086644}"/>
          </ac:spMkLst>
        </pc:spChg>
        <pc:spChg chg="del">
          <ac:chgData name="Andrea Mogollon Nossa (CENIT)" userId="f6a3e592-cc27-4858-b185-ff86be206069" providerId="ADAL" clId="{2CAEC1E3-2241-4370-8FDB-F4FAA904BB83}" dt="2020-06-17T20:03:09.184" v="5567" actId="478"/>
          <ac:spMkLst>
            <pc:docMk/>
            <pc:sldMk cId="3972105642" sldId="2134804288"/>
            <ac:spMk id="202" creationId="{39988F86-AFA6-404C-8467-0253FC4643AB}"/>
          </ac:spMkLst>
        </pc:spChg>
        <pc:spChg chg="del">
          <ac:chgData name="Andrea Mogollon Nossa (CENIT)" userId="f6a3e592-cc27-4858-b185-ff86be206069" providerId="ADAL" clId="{2CAEC1E3-2241-4370-8FDB-F4FAA904BB83}" dt="2020-06-17T20:03:09.184" v="5567" actId="478"/>
          <ac:spMkLst>
            <pc:docMk/>
            <pc:sldMk cId="3972105642" sldId="2134804288"/>
            <ac:spMk id="203" creationId="{2BA9A1F3-874E-492D-835A-D1B89CEEA195}"/>
          </ac:spMkLst>
        </pc:spChg>
        <pc:spChg chg="del">
          <ac:chgData name="Andrea Mogollon Nossa (CENIT)" userId="f6a3e592-cc27-4858-b185-ff86be206069" providerId="ADAL" clId="{2CAEC1E3-2241-4370-8FDB-F4FAA904BB83}" dt="2020-06-17T20:03:09.184" v="5567" actId="478"/>
          <ac:spMkLst>
            <pc:docMk/>
            <pc:sldMk cId="3972105642" sldId="2134804288"/>
            <ac:spMk id="204" creationId="{A7811C59-1D22-4EB0-BADF-629F183ADA9D}"/>
          </ac:spMkLst>
        </pc:spChg>
        <pc:spChg chg="del">
          <ac:chgData name="Andrea Mogollon Nossa (CENIT)" userId="f6a3e592-cc27-4858-b185-ff86be206069" providerId="ADAL" clId="{2CAEC1E3-2241-4370-8FDB-F4FAA904BB83}" dt="2020-06-17T20:03:09.184" v="5567" actId="478"/>
          <ac:spMkLst>
            <pc:docMk/>
            <pc:sldMk cId="3972105642" sldId="2134804288"/>
            <ac:spMk id="205" creationId="{D13DFFB7-EBF7-4843-B70A-781A007C0641}"/>
          </ac:spMkLst>
        </pc:spChg>
        <pc:spChg chg="del">
          <ac:chgData name="Andrea Mogollon Nossa (CENIT)" userId="f6a3e592-cc27-4858-b185-ff86be206069" providerId="ADAL" clId="{2CAEC1E3-2241-4370-8FDB-F4FAA904BB83}" dt="2020-06-17T20:03:09.184" v="5567" actId="478"/>
          <ac:spMkLst>
            <pc:docMk/>
            <pc:sldMk cId="3972105642" sldId="2134804288"/>
            <ac:spMk id="206" creationId="{001BF6B4-F10C-498C-8197-8B18561C47D3}"/>
          </ac:spMkLst>
        </pc:spChg>
        <pc:spChg chg="del">
          <ac:chgData name="Andrea Mogollon Nossa (CENIT)" userId="f6a3e592-cc27-4858-b185-ff86be206069" providerId="ADAL" clId="{2CAEC1E3-2241-4370-8FDB-F4FAA904BB83}" dt="2020-06-17T20:03:09.184" v="5567" actId="478"/>
          <ac:spMkLst>
            <pc:docMk/>
            <pc:sldMk cId="3972105642" sldId="2134804288"/>
            <ac:spMk id="207" creationId="{4DC56ADD-AE94-4E23-B0F1-80CE3C771376}"/>
          </ac:spMkLst>
        </pc:spChg>
        <pc:spChg chg="del">
          <ac:chgData name="Andrea Mogollon Nossa (CENIT)" userId="f6a3e592-cc27-4858-b185-ff86be206069" providerId="ADAL" clId="{2CAEC1E3-2241-4370-8FDB-F4FAA904BB83}" dt="2020-06-17T20:03:09.184" v="5567" actId="478"/>
          <ac:spMkLst>
            <pc:docMk/>
            <pc:sldMk cId="3972105642" sldId="2134804288"/>
            <ac:spMk id="208" creationId="{5DD7D93F-235F-4389-BC6F-DB96258DBED2}"/>
          </ac:spMkLst>
        </pc:spChg>
        <pc:spChg chg="del">
          <ac:chgData name="Andrea Mogollon Nossa (CENIT)" userId="f6a3e592-cc27-4858-b185-ff86be206069" providerId="ADAL" clId="{2CAEC1E3-2241-4370-8FDB-F4FAA904BB83}" dt="2020-06-17T20:03:09.184" v="5567" actId="478"/>
          <ac:spMkLst>
            <pc:docMk/>
            <pc:sldMk cId="3972105642" sldId="2134804288"/>
            <ac:spMk id="209" creationId="{4EAF9B4D-91C8-4894-B543-3B1D33977581}"/>
          </ac:spMkLst>
        </pc:spChg>
        <pc:spChg chg="del">
          <ac:chgData name="Andrea Mogollon Nossa (CENIT)" userId="f6a3e592-cc27-4858-b185-ff86be206069" providerId="ADAL" clId="{2CAEC1E3-2241-4370-8FDB-F4FAA904BB83}" dt="2020-06-17T20:03:09.184" v="5567" actId="478"/>
          <ac:spMkLst>
            <pc:docMk/>
            <pc:sldMk cId="3972105642" sldId="2134804288"/>
            <ac:spMk id="210" creationId="{7A82F63B-8C0B-48BA-99B7-6BFBC4D6054C}"/>
          </ac:spMkLst>
        </pc:spChg>
        <pc:spChg chg="add mod ord">
          <ac:chgData name="Andrea Mogollon Nossa (CENIT)" userId="f6a3e592-cc27-4858-b185-ff86be206069" providerId="ADAL" clId="{2CAEC1E3-2241-4370-8FDB-F4FAA904BB83}" dt="2020-06-17T19:59:14.179" v="5514" actId="167"/>
          <ac:spMkLst>
            <pc:docMk/>
            <pc:sldMk cId="3972105642" sldId="2134804288"/>
            <ac:spMk id="211" creationId="{BEBD2354-D13C-46A2-BAB0-256286065BEE}"/>
          </ac:spMkLst>
        </pc:spChg>
        <pc:spChg chg="add mod">
          <ac:chgData name="Andrea Mogollon Nossa (CENIT)" userId="f6a3e592-cc27-4858-b185-ff86be206069" providerId="ADAL" clId="{2CAEC1E3-2241-4370-8FDB-F4FAA904BB83}" dt="2020-06-17T20:03:13.093" v="5569" actId="1076"/>
          <ac:spMkLst>
            <pc:docMk/>
            <pc:sldMk cId="3972105642" sldId="2134804288"/>
            <ac:spMk id="212" creationId="{EE2D7611-C813-4612-8077-80CDA560D000}"/>
          </ac:spMkLst>
        </pc:spChg>
        <pc:spChg chg="add mod">
          <ac:chgData name="Andrea Mogollon Nossa (CENIT)" userId="f6a3e592-cc27-4858-b185-ff86be206069" providerId="ADAL" clId="{2CAEC1E3-2241-4370-8FDB-F4FAA904BB83}" dt="2020-06-17T20:03:13.093" v="5569" actId="1076"/>
          <ac:spMkLst>
            <pc:docMk/>
            <pc:sldMk cId="3972105642" sldId="2134804288"/>
            <ac:spMk id="213" creationId="{CA66B9D5-BBCC-4B05-8D95-45191426A332}"/>
          </ac:spMkLst>
        </pc:spChg>
        <pc:spChg chg="add mod">
          <ac:chgData name="Andrea Mogollon Nossa (CENIT)" userId="f6a3e592-cc27-4858-b185-ff86be206069" providerId="ADAL" clId="{2CAEC1E3-2241-4370-8FDB-F4FAA904BB83}" dt="2020-06-17T20:03:13.093" v="5569" actId="1076"/>
          <ac:spMkLst>
            <pc:docMk/>
            <pc:sldMk cId="3972105642" sldId="2134804288"/>
            <ac:spMk id="214" creationId="{547EDF1A-1A87-43A9-8B7A-46A7D57B5845}"/>
          </ac:spMkLst>
        </pc:spChg>
        <pc:spChg chg="add mod">
          <ac:chgData name="Andrea Mogollon Nossa (CENIT)" userId="f6a3e592-cc27-4858-b185-ff86be206069" providerId="ADAL" clId="{2CAEC1E3-2241-4370-8FDB-F4FAA904BB83}" dt="2020-06-17T20:03:13.093" v="5569" actId="1076"/>
          <ac:spMkLst>
            <pc:docMk/>
            <pc:sldMk cId="3972105642" sldId="2134804288"/>
            <ac:spMk id="215" creationId="{26849765-7002-45D4-97E0-428EB8DF0D09}"/>
          </ac:spMkLst>
        </pc:spChg>
        <pc:spChg chg="add mod">
          <ac:chgData name="Andrea Mogollon Nossa (CENIT)" userId="f6a3e592-cc27-4858-b185-ff86be206069" providerId="ADAL" clId="{2CAEC1E3-2241-4370-8FDB-F4FAA904BB83}" dt="2020-06-17T20:03:13.093" v="5569" actId="1076"/>
          <ac:spMkLst>
            <pc:docMk/>
            <pc:sldMk cId="3972105642" sldId="2134804288"/>
            <ac:spMk id="216" creationId="{612B05B7-837D-42F4-BAA5-81EEFF6B153C}"/>
          </ac:spMkLst>
        </pc:spChg>
        <pc:spChg chg="add mod">
          <ac:chgData name="Andrea Mogollon Nossa (CENIT)" userId="f6a3e592-cc27-4858-b185-ff86be206069" providerId="ADAL" clId="{2CAEC1E3-2241-4370-8FDB-F4FAA904BB83}" dt="2020-06-17T20:03:13.093" v="5569" actId="1076"/>
          <ac:spMkLst>
            <pc:docMk/>
            <pc:sldMk cId="3972105642" sldId="2134804288"/>
            <ac:spMk id="217" creationId="{0E7B22B2-8E4F-4FB9-B0AB-24F35D9C9284}"/>
          </ac:spMkLst>
        </pc:spChg>
        <pc:spChg chg="add mod">
          <ac:chgData name="Andrea Mogollon Nossa (CENIT)" userId="f6a3e592-cc27-4858-b185-ff86be206069" providerId="ADAL" clId="{2CAEC1E3-2241-4370-8FDB-F4FAA904BB83}" dt="2020-06-17T20:03:13.093" v="5569" actId="1076"/>
          <ac:spMkLst>
            <pc:docMk/>
            <pc:sldMk cId="3972105642" sldId="2134804288"/>
            <ac:spMk id="218" creationId="{7BCAA4F1-6692-4DFB-AB2C-9B65CBB0BA02}"/>
          </ac:spMkLst>
        </pc:spChg>
        <pc:spChg chg="add mod">
          <ac:chgData name="Andrea Mogollon Nossa (CENIT)" userId="f6a3e592-cc27-4858-b185-ff86be206069" providerId="ADAL" clId="{2CAEC1E3-2241-4370-8FDB-F4FAA904BB83}" dt="2020-06-17T20:03:13.093" v="5569" actId="1076"/>
          <ac:spMkLst>
            <pc:docMk/>
            <pc:sldMk cId="3972105642" sldId="2134804288"/>
            <ac:spMk id="219" creationId="{912CDA63-D8C4-4724-B524-554DB175D260}"/>
          </ac:spMkLst>
        </pc:spChg>
        <pc:spChg chg="add mod">
          <ac:chgData name="Andrea Mogollon Nossa (CENIT)" userId="f6a3e592-cc27-4858-b185-ff86be206069" providerId="ADAL" clId="{2CAEC1E3-2241-4370-8FDB-F4FAA904BB83}" dt="2020-06-17T20:04:10.396" v="5574" actId="20577"/>
          <ac:spMkLst>
            <pc:docMk/>
            <pc:sldMk cId="3972105642" sldId="2134804288"/>
            <ac:spMk id="220" creationId="{EF8EBCF9-3990-4E86-84D8-419EFE32D0B8}"/>
          </ac:spMkLst>
        </pc:spChg>
        <pc:spChg chg="add mod">
          <ac:chgData name="Andrea Mogollon Nossa (CENIT)" userId="f6a3e592-cc27-4858-b185-ff86be206069" providerId="ADAL" clId="{2CAEC1E3-2241-4370-8FDB-F4FAA904BB83}" dt="2020-06-17T20:03:13.093" v="5569" actId="1076"/>
          <ac:spMkLst>
            <pc:docMk/>
            <pc:sldMk cId="3972105642" sldId="2134804288"/>
            <ac:spMk id="221" creationId="{316F0B14-06E6-4774-802E-8D63BA74A3DB}"/>
          </ac:spMkLst>
        </pc:spChg>
        <pc:spChg chg="add mod">
          <ac:chgData name="Andrea Mogollon Nossa (CENIT)" userId="f6a3e592-cc27-4858-b185-ff86be206069" providerId="ADAL" clId="{2CAEC1E3-2241-4370-8FDB-F4FAA904BB83}" dt="2020-06-17T20:03:13.093" v="5569" actId="1076"/>
          <ac:spMkLst>
            <pc:docMk/>
            <pc:sldMk cId="3972105642" sldId="2134804288"/>
            <ac:spMk id="222" creationId="{00B54047-F19E-4BD8-BCF2-DB1E1CFC7E18}"/>
          </ac:spMkLst>
        </pc:spChg>
        <pc:spChg chg="add mod">
          <ac:chgData name="Andrea Mogollon Nossa (CENIT)" userId="f6a3e592-cc27-4858-b185-ff86be206069" providerId="ADAL" clId="{2CAEC1E3-2241-4370-8FDB-F4FAA904BB83}" dt="2020-06-17T20:03:13.093" v="5569" actId="1076"/>
          <ac:spMkLst>
            <pc:docMk/>
            <pc:sldMk cId="3972105642" sldId="2134804288"/>
            <ac:spMk id="223" creationId="{7D571531-9AF9-4E12-8652-2595EE68B5C9}"/>
          </ac:spMkLst>
        </pc:spChg>
        <pc:spChg chg="add mod">
          <ac:chgData name="Andrea Mogollon Nossa (CENIT)" userId="f6a3e592-cc27-4858-b185-ff86be206069" providerId="ADAL" clId="{2CAEC1E3-2241-4370-8FDB-F4FAA904BB83}" dt="2020-06-17T20:04:20.420" v="5575" actId="1076"/>
          <ac:spMkLst>
            <pc:docMk/>
            <pc:sldMk cId="3972105642" sldId="2134804288"/>
            <ac:spMk id="224" creationId="{2A18CA60-A987-4C86-854F-211030F4F652}"/>
          </ac:spMkLst>
        </pc:spChg>
        <pc:spChg chg="add mod">
          <ac:chgData name="Andrea Mogollon Nossa (CENIT)" userId="f6a3e592-cc27-4858-b185-ff86be206069" providerId="ADAL" clId="{2CAEC1E3-2241-4370-8FDB-F4FAA904BB83}" dt="2020-06-17T20:03:13.093" v="5569" actId="1076"/>
          <ac:spMkLst>
            <pc:docMk/>
            <pc:sldMk cId="3972105642" sldId="2134804288"/>
            <ac:spMk id="225" creationId="{4CE74844-580B-453B-9307-482A6E4EB536}"/>
          </ac:spMkLst>
        </pc:spChg>
        <pc:spChg chg="add mod">
          <ac:chgData name="Andrea Mogollon Nossa (CENIT)" userId="f6a3e592-cc27-4858-b185-ff86be206069" providerId="ADAL" clId="{2CAEC1E3-2241-4370-8FDB-F4FAA904BB83}" dt="2020-06-17T20:03:13.093" v="5569" actId="1076"/>
          <ac:spMkLst>
            <pc:docMk/>
            <pc:sldMk cId="3972105642" sldId="2134804288"/>
            <ac:spMk id="226" creationId="{77140922-8076-4076-898D-EE5FF98BA7A7}"/>
          </ac:spMkLst>
        </pc:spChg>
        <pc:spChg chg="add mod">
          <ac:chgData name="Andrea Mogollon Nossa (CENIT)" userId="f6a3e592-cc27-4858-b185-ff86be206069" providerId="ADAL" clId="{2CAEC1E3-2241-4370-8FDB-F4FAA904BB83}" dt="2020-06-17T20:03:13.093" v="5569" actId="1076"/>
          <ac:spMkLst>
            <pc:docMk/>
            <pc:sldMk cId="3972105642" sldId="2134804288"/>
            <ac:spMk id="227" creationId="{9B2DD729-475C-4FC2-ADA2-80CED8866979}"/>
          </ac:spMkLst>
        </pc:spChg>
        <pc:spChg chg="add mod">
          <ac:chgData name="Andrea Mogollon Nossa (CENIT)" userId="f6a3e592-cc27-4858-b185-ff86be206069" providerId="ADAL" clId="{2CAEC1E3-2241-4370-8FDB-F4FAA904BB83}" dt="2020-06-17T20:03:13.093" v="5569" actId="1076"/>
          <ac:spMkLst>
            <pc:docMk/>
            <pc:sldMk cId="3972105642" sldId="2134804288"/>
            <ac:spMk id="228" creationId="{47CA3843-4A1A-421D-ADA1-CC79DC873C03}"/>
          </ac:spMkLst>
        </pc:spChg>
        <pc:spChg chg="add mod">
          <ac:chgData name="Andrea Mogollon Nossa (CENIT)" userId="f6a3e592-cc27-4858-b185-ff86be206069" providerId="ADAL" clId="{2CAEC1E3-2241-4370-8FDB-F4FAA904BB83}" dt="2020-06-17T20:03:13.093" v="5569" actId="1076"/>
          <ac:spMkLst>
            <pc:docMk/>
            <pc:sldMk cId="3972105642" sldId="2134804288"/>
            <ac:spMk id="229" creationId="{F0361A92-7966-4D3E-B786-22FB64CAD639}"/>
          </ac:spMkLst>
        </pc:spChg>
        <pc:spChg chg="add mod">
          <ac:chgData name="Andrea Mogollon Nossa (CENIT)" userId="f6a3e592-cc27-4858-b185-ff86be206069" providerId="ADAL" clId="{2CAEC1E3-2241-4370-8FDB-F4FAA904BB83}" dt="2020-06-17T20:03:13.093" v="5569" actId="1076"/>
          <ac:spMkLst>
            <pc:docMk/>
            <pc:sldMk cId="3972105642" sldId="2134804288"/>
            <ac:spMk id="230" creationId="{186DCAC2-DCCF-4D63-8E3E-2BA5B48E4A46}"/>
          </ac:spMkLst>
        </pc:spChg>
        <pc:cxnChg chg="mod">
          <ac:chgData name="Andrea Mogollon Nossa (CENIT)" userId="f6a3e592-cc27-4858-b185-ff86be206069" providerId="ADAL" clId="{2CAEC1E3-2241-4370-8FDB-F4FAA904BB83}" dt="2020-06-17T13:44:47.546" v="2965" actId="1036"/>
          <ac:cxnSpMkLst>
            <pc:docMk/>
            <pc:sldMk cId="3972105642" sldId="2134804288"/>
            <ac:cxnSpMk id="97" creationId="{E32FBCED-3C2F-4F33-86D3-F05FA8DADE11}"/>
          </ac:cxnSpMkLst>
        </pc:cxnChg>
        <pc:cxnChg chg="del">
          <ac:chgData name="Andrea Mogollon Nossa (CENIT)" userId="f6a3e592-cc27-4858-b185-ff86be206069" providerId="ADAL" clId="{2CAEC1E3-2241-4370-8FDB-F4FAA904BB83}" dt="2020-06-17T00:39:42.815" v="2705" actId="478"/>
          <ac:cxnSpMkLst>
            <pc:docMk/>
            <pc:sldMk cId="3972105642" sldId="2134804288"/>
            <ac:cxnSpMk id="99" creationId="{73113A7D-6D7E-4E41-9EB9-BC99F9681A4E}"/>
          </ac:cxnSpMkLst>
        </pc:cxnChg>
      </pc:sldChg>
      <pc:sldChg chg="modSp mod">
        <pc:chgData name="Andrea Mogollon Nossa (CENIT)" userId="f6a3e592-cc27-4858-b185-ff86be206069" providerId="ADAL" clId="{2CAEC1E3-2241-4370-8FDB-F4FAA904BB83}" dt="2020-06-17T20:35:22.310" v="5930" actId="113"/>
        <pc:sldMkLst>
          <pc:docMk/>
          <pc:sldMk cId="2228275924" sldId="2134804290"/>
        </pc:sldMkLst>
        <pc:spChg chg="mod">
          <ac:chgData name="Andrea Mogollon Nossa (CENIT)" userId="f6a3e592-cc27-4858-b185-ff86be206069" providerId="ADAL" clId="{2CAEC1E3-2241-4370-8FDB-F4FAA904BB83}" dt="2020-06-17T20:35:08.891" v="5925" actId="1076"/>
          <ac:spMkLst>
            <pc:docMk/>
            <pc:sldMk cId="2228275924" sldId="2134804290"/>
            <ac:spMk id="3" creationId="{F33C3FEB-3B94-495F-B36C-9690559AB5DC}"/>
          </ac:spMkLst>
        </pc:spChg>
        <pc:spChg chg="mod">
          <ac:chgData name="Andrea Mogollon Nossa (CENIT)" userId="f6a3e592-cc27-4858-b185-ff86be206069" providerId="ADAL" clId="{2CAEC1E3-2241-4370-8FDB-F4FAA904BB83}" dt="2020-06-17T20:32:20.094" v="5763" actId="113"/>
          <ac:spMkLst>
            <pc:docMk/>
            <pc:sldMk cId="2228275924" sldId="2134804290"/>
            <ac:spMk id="12" creationId="{3A307530-BCDC-4973-B304-B8FEE0F522F4}"/>
          </ac:spMkLst>
        </pc:spChg>
        <pc:spChg chg="mod">
          <ac:chgData name="Andrea Mogollon Nossa (CENIT)" userId="f6a3e592-cc27-4858-b185-ff86be206069" providerId="ADAL" clId="{2CAEC1E3-2241-4370-8FDB-F4FAA904BB83}" dt="2020-06-17T20:35:22.310" v="5930" actId="113"/>
          <ac:spMkLst>
            <pc:docMk/>
            <pc:sldMk cId="2228275924" sldId="2134804290"/>
            <ac:spMk id="13" creationId="{12A8301C-0526-4E85-96D1-DE6DBBE140FE}"/>
          </ac:spMkLst>
        </pc:spChg>
        <pc:spChg chg="mod">
          <ac:chgData name="Andrea Mogollon Nossa (CENIT)" userId="f6a3e592-cc27-4858-b185-ff86be206069" providerId="ADAL" clId="{2CAEC1E3-2241-4370-8FDB-F4FAA904BB83}" dt="2020-06-17T20:34:24.742" v="5854" actId="113"/>
          <ac:spMkLst>
            <pc:docMk/>
            <pc:sldMk cId="2228275924" sldId="2134804290"/>
            <ac:spMk id="14" creationId="{6E2F6659-F5D4-46C0-9A44-1569330522A6}"/>
          </ac:spMkLst>
        </pc:spChg>
        <pc:spChg chg="mod">
          <ac:chgData name="Andrea Mogollon Nossa (CENIT)" userId="f6a3e592-cc27-4858-b185-ff86be206069" providerId="ADAL" clId="{2CAEC1E3-2241-4370-8FDB-F4FAA904BB83}" dt="2020-06-17T20:31:39.153" v="5758" actId="113"/>
          <ac:spMkLst>
            <pc:docMk/>
            <pc:sldMk cId="2228275924" sldId="2134804290"/>
            <ac:spMk id="25" creationId="{A320D459-088F-4447-82D6-C9EBF8EFD0B3}"/>
          </ac:spMkLst>
        </pc:spChg>
        <pc:spChg chg="mod">
          <ac:chgData name="Andrea Mogollon Nossa (CENIT)" userId="f6a3e592-cc27-4858-b185-ff86be206069" providerId="ADAL" clId="{2CAEC1E3-2241-4370-8FDB-F4FAA904BB83}" dt="2020-06-17T20:33:40.038" v="5843" actId="113"/>
          <ac:spMkLst>
            <pc:docMk/>
            <pc:sldMk cId="2228275924" sldId="2134804290"/>
            <ac:spMk id="27" creationId="{3D4ADDFC-E0A3-4264-BC05-5B575E8BB5F2}"/>
          </ac:spMkLst>
        </pc:spChg>
      </pc:sldChg>
      <pc:sldChg chg="addSp delSp modSp mod">
        <pc:chgData name="Andrea Mogollon Nossa (CENIT)" userId="f6a3e592-cc27-4858-b185-ff86be206069" providerId="ADAL" clId="{2CAEC1E3-2241-4370-8FDB-F4FAA904BB83}" dt="2020-06-18T02:32:15.077" v="6569" actId="167"/>
        <pc:sldMkLst>
          <pc:docMk/>
          <pc:sldMk cId="838099151" sldId="2134804292"/>
        </pc:sldMkLst>
        <pc:spChg chg="mod">
          <ac:chgData name="Andrea Mogollon Nossa (CENIT)" userId="f6a3e592-cc27-4858-b185-ff86be206069" providerId="ADAL" clId="{2CAEC1E3-2241-4370-8FDB-F4FAA904BB83}" dt="2020-06-17T15:03:14.092" v="4458" actId="1076"/>
          <ac:spMkLst>
            <pc:docMk/>
            <pc:sldMk cId="838099151" sldId="2134804292"/>
            <ac:spMk id="3" creationId="{815B10B7-60B3-4C63-8431-70CC556387C9}"/>
          </ac:spMkLst>
        </pc:spChg>
        <pc:spChg chg="add mod ord">
          <ac:chgData name="Andrea Mogollon Nossa (CENIT)" userId="f6a3e592-cc27-4858-b185-ff86be206069" providerId="ADAL" clId="{2CAEC1E3-2241-4370-8FDB-F4FAA904BB83}" dt="2020-06-17T20:14:48.887" v="5598" actId="167"/>
          <ac:spMkLst>
            <pc:docMk/>
            <pc:sldMk cId="838099151" sldId="2134804292"/>
            <ac:spMk id="6" creationId="{0BDC2BE6-ED2C-45B9-B477-BD471E3E4C02}"/>
          </ac:spMkLst>
        </pc:spChg>
        <pc:spChg chg="add del mod">
          <ac:chgData name="Andrea Mogollon Nossa (CENIT)" userId="f6a3e592-cc27-4858-b185-ff86be206069" providerId="ADAL" clId="{2CAEC1E3-2241-4370-8FDB-F4FAA904BB83}" dt="2020-06-16T15:52:45.864" v="173"/>
          <ac:spMkLst>
            <pc:docMk/>
            <pc:sldMk cId="838099151" sldId="2134804292"/>
            <ac:spMk id="6" creationId="{190C367A-B3C5-457B-B27B-A3FA03E931F9}"/>
          </ac:spMkLst>
        </pc:spChg>
        <pc:spChg chg="mod">
          <ac:chgData name="Andrea Mogollon Nossa (CENIT)" userId="f6a3e592-cc27-4858-b185-ff86be206069" providerId="ADAL" clId="{2CAEC1E3-2241-4370-8FDB-F4FAA904BB83}" dt="2020-06-17T20:36:05.295" v="5932" actId="20577"/>
          <ac:spMkLst>
            <pc:docMk/>
            <pc:sldMk cId="838099151" sldId="2134804292"/>
            <ac:spMk id="7" creationId="{52FE2391-690B-4D13-B0BE-AD54BD4AFEAA}"/>
          </ac:spMkLst>
        </pc:spChg>
        <pc:spChg chg="add mod">
          <ac:chgData name="Andrea Mogollon Nossa (CENIT)" userId="f6a3e592-cc27-4858-b185-ff86be206069" providerId="ADAL" clId="{2CAEC1E3-2241-4370-8FDB-F4FAA904BB83}" dt="2020-06-16T16:18:35.956" v="716" actId="1076"/>
          <ac:spMkLst>
            <pc:docMk/>
            <pc:sldMk cId="838099151" sldId="2134804292"/>
            <ac:spMk id="8" creationId="{DD71BF06-B04C-46D4-9585-65ACB77D82D1}"/>
          </ac:spMkLst>
        </pc:spChg>
        <pc:spChg chg="add mod">
          <ac:chgData name="Andrea Mogollon Nossa (CENIT)" userId="f6a3e592-cc27-4858-b185-ff86be206069" providerId="ADAL" clId="{2CAEC1E3-2241-4370-8FDB-F4FAA904BB83}" dt="2020-06-17T20:21:56.412" v="5687" actId="20577"/>
          <ac:spMkLst>
            <pc:docMk/>
            <pc:sldMk cId="838099151" sldId="2134804292"/>
            <ac:spMk id="9" creationId="{6F922DD3-801F-4B3D-9B4D-DBEC1EC37D57}"/>
          </ac:spMkLst>
        </pc:spChg>
        <pc:spChg chg="add del mod">
          <ac:chgData name="Andrea Mogollon Nossa (CENIT)" userId="f6a3e592-cc27-4858-b185-ff86be206069" providerId="ADAL" clId="{2CAEC1E3-2241-4370-8FDB-F4FAA904BB83}" dt="2020-06-17T14:54:56.902" v="4395" actId="478"/>
          <ac:spMkLst>
            <pc:docMk/>
            <pc:sldMk cId="838099151" sldId="2134804292"/>
            <ac:spMk id="10" creationId="{4A982F53-1FC7-4922-8170-CE132C164698}"/>
          </ac:spMkLst>
        </pc:spChg>
        <pc:spChg chg="add del mod">
          <ac:chgData name="Andrea Mogollon Nossa (CENIT)" userId="f6a3e592-cc27-4858-b185-ff86be206069" providerId="ADAL" clId="{2CAEC1E3-2241-4370-8FDB-F4FAA904BB83}" dt="2020-06-16T22:21:01.728" v="2016" actId="478"/>
          <ac:spMkLst>
            <pc:docMk/>
            <pc:sldMk cId="838099151" sldId="2134804292"/>
            <ac:spMk id="11" creationId="{A8F4B94B-DB91-4996-8CAB-C58EE5F844FE}"/>
          </ac:spMkLst>
        </pc:spChg>
        <pc:spChg chg="mod">
          <ac:chgData name="Andrea Mogollon Nossa (CENIT)" userId="f6a3e592-cc27-4858-b185-ff86be206069" providerId="ADAL" clId="{2CAEC1E3-2241-4370-8FDB-F4FAA904BB83}" dt="2020-06-17T15:03:33.667" v="4462" actId="1076"/>
          <ac:spMkLst>
            <pc:docMk/>
            <pc:sldMk cId="838099151" sldId="2134804292"/>
            <ac:spMk id="13" creationId="{D1CF4700-4906-4F29-B146-BA40E72EA40A}"/>
          </ac:spMkLst>
        </pc:spChg>
        <pc:spChg chg="add mod">
          <ac:chgData name="Andrea Mogollon Nossa (CENIT)" userId="f6a3e592-cc27-4858-b185-ff86be206069" providerId="ADAL" clId="{2CAEC1E3-2241-4370-8FDB-F4FAA904BB83}" dt="2020-06-17T20:36:39.697" v="5934" actId="20578"/>
          <ac:spMkLst>
            <pc:docMk/>
            <pc:sldMk cId="838099151" sldId="2134804292"/>
            <ac:spMk id="14" creationId="{8AB679CB-F4D7-4A91-8B7C-AF57F212E854}"/>
          </ac:spMkLst>
        </pc:spChg>
        <pc:spChg chg="mod">
          <ac:chgData name="Andrea Mogollon Nossa (CENIT)" userId="f6a3e592-cc27-4858-b185-ff86be206069" providerId="ADAL" clId="{2CAEC1E3-2241-4370-8FDB-F4FAA904BB83}" dt="2020-06-17T15:03:33.667" v="4462" actId="1076"/>
          <ac:spMkLst>
            <pc:docMk/>
            <pc:sldMk cId="838099151" sldId="2134804292"/>
            <ac:spMk id="40" creationId="{D1132571-22C6-4A24-931F-862227F6062D}"/>
          </ac:spMkLst>
        </pc:spChg>
        <pc:spChg chg="mod">
          <ac:chgData name="Andrea Mogollon Nossa (CENIT)" userId="f6a3e592-cc27-4858-b185-ff86be206069" providerId="ADAL" clId="{2CAEC1E3-2241-4370-8FDB-F4FAA904BB83}" dt="2020-06-17T15:03:33.667" v="4462" actId="1076"/>
          <ac:spMkLst>
            <pc:docMk/>
            <pc:sldMk cId="838099151" sldId="2134804292"/>
            <ac:spMk id="41" creationId="{CCB4BB0D-CEFB-4C0D-841C-32888E931D7E}"/>
          </ac:spMkLst>
        </pc:spChg>
        <pc:spChg chg="mod">
          <ac:chgData name="Andrea Mogollon Nossa (CENIT)" userId="f6a3e592-cc27-4858-b185-ff86be206069" providerId="ADAL" clId="{2CAEC1E3-2241-4370-8FDB-F4FAA904BB83}" dt="2020-06-17T15:13:38.502" v="4566" actId="14100"/>
          <ac:spMkLst>
            <pc:docMk/>
            <pc:sldMk cId="838099151" sldId="2134804292"/>
            <ac:spMk id="42" creationId="{D738484B-A1FE-4D14-B0E6-2C43B61812C6}"/>
          </ac:spMkLst>
        </pc:spChg>
        <pc:spChg chg="add mod">
          <ac:chgData name="Andrea Mogollon Nossa (CENIT)" userId="f6a3e592-cc27-4858-b185-ff86be206069" providerId="ADAL" clId="{2CAEC1E3-2241-4370-8FDB-F4FAA904BB83}" dt="2020-06-16T16:18:35.956" v="716" actId="1076"/>
          <ac:spMkLst>
            <pc:docMk/>
            <pc:sldMk cId="838099151" sldId="2134804292"/>
            <ac:spMk id="43" creationId="{9E99B233-8A5B-44E6-A802-87EAA9553E24}"/>
          </ac:spMkLst>
        </pc:spChg>
        <pc:spChg chg="add mod">
          <ac:chgData name="Andrea Mogollon Nossa (CENIT)" userId="f6a3e592-cc27-4858-b185-ff86be206069" providerId="ADAL" clId="{2CAEC1E3-2241-4370-8FDB-F4FAA904BB83}" dt="2020-06-18T02:21:16.513" v="6553" actId="20577"/>
          <ac:spMkLst>
            <pc:docMk/>
            <pc:sldMk cId="838099151" sldId="2134804292"/>
            <ac:spMk id="44" creationId="{E239B605-6964-49EB-B22A-9FCE640E48BE}"/>
          </ac:spMkLst>
        </pc:spChg>
        <pc:spChg chg="mod">
          <ac:chgData name="Andrea Mogollon Nossa (CENIT)" userId="f6a3e592-cc27-4858-b185-ff86be206069" providerId="ADAL" clId="{2CAEC1E3-2241-4370-8FDB-F4FAA904BB83}" dt="2020-06-17T15:03:14.092" v="4458" actId="1076"/>
          <ac:spMkLst>
            <pc:docMk/>
            <pc:sldMk cId="838099151" sldId="2134804292"/>
            <ac:spMk id="45" creationId="{FE8ED9F7-3608-4810-95FA-CCA357FF8DD5}"/>
          </ac:spMkLst>
        </pc:spChg>
        <pc:spChg chg="del mod">
          <ac:chgData name="Andrea Mogollon Nossa (CENIT)" userId="f6a3e592-cc27-4858-b185-ff86be206069" providerId="ADAL" clId="{2CAEC1E3-2241-4370-8FDB-F4FAA904BB83}" dt="2020-06-17T14:58:43.746" v="4419" actId="478"/>
          <ac:spMkLst>
            <pc:docMk/>
            <pc:sldMk cId="838099151" sldId="2134804292"/>
            <ac:spMk id="46" creationId="{37613081-A8A7-4283-97BA-0F79BCAFB2C8}"/>
          </ac:spMkLst>
        </pc:spChg>
        <pc:spChg chg="add mod">
          <ac:chgData name="Andrea Mogollon Nossa (CENIT)" userId="f6a3e592-cc27-4858-b185-ff86be206069" providerId="ADAL" clId="{2CAEC1E3-2241-4370-8FDB-F4FAA904BB83}" dt="2020-06-16T16:18:35.956" v="716" actId="1076"/>
          <ac:spMkLst>
            <pc:docMk/>
            <pc:sldMk cId="838099151" sldId="2134804292"/>
            <ac:spMk id="47" creationId="{BF5EEC85-5BBC-4AC0-BFF6-FC2E72B5FA13}"/>
          </ac:spMkLst>
        </pc:spChg>
        <pc:spChg chg="add mod">
          <ac:chgData name="Andrea Mogollon Nossa (CENIT)" userId="f6a3e592-cc27-4858-b185-ff86be206069" providerId="ADAL" clId="{2CAEC1E3-2241-4370-8FDB-F4FAA904BB83}" dt="2020-06-17T20:17:30.174" v="5638" actId="20577"/>
          <ac:spMkLst>
            <pc:docMk/>
            <pc:sldMk cId="838099151" sldId="2134804292"/>
            <ac:spMk id="48" creationId="{42AE1721-865B-4FA1-9DB2-04731ADDC02E}"/>
          </ac:spMkLst>
        </pc:spChg>
        <pc:spChg chg="mod">
          <ac:chgData name="Andrea Mogollon Nossa (CENIT)" userId="f6a3e592-cc27-4858-b185-ff86be206069" providerId="ADAL" clId="{2CAEC1E3-2241-4370-8FDB-F4FAA904BB83}" dt="2020-06-17T15:13:41.311" v="4567" actId="14100"/>
          <ac:spMkLst>
            <pc:docMk/>
            <pc:sldMk cId="838099151" sldId="2134804292"/>
            <ac:spMk id="49" creationId="{AA424A2E-6D9A-4F45-8D12-089063FB713D}"/>
          </ac:spMkLst>
        </pc:spChg>
        <pc:spChg chg="mod">
          <ac:chgData name="Andrea Mogollon Nossa (CENIT)" userId="f6a3e592-cc27-4858-b185-ff86be206069" providerId="ADAL" clId="{2CAEC1E3-2241-4370-8FDB-F4FAA904BB83}" dt="2020-06-17T20:36:02.184" v="5931"/>
          <ac:spMkLst>
            <pc:docMk/>
            <pc:sldMk cId="838099151" sldId="2134804292"/>
            <ac:spMk id="50" creationId="{5AEE6479-611C-4B25-9D86-68C74F4E6840}"/>
          </ac:spMkLst>
        </pc:spChg>
        <pc:spChg chg="del mod">
          <ac:chgData name="Andrea Mogollon Nossa (CENIT)" userId="f6a3e592-cc27-4858-b185-ff86be206069" providerId="ADAL" clId="{2CAEC1E3-2241-4370-8FDB-F4FAA904BB83}" dt="2020-06-16T15:51:04.663" v="135" actId="478"/>
          <ac:spMkLst>
            <pc:docMk/>
            <pc:sldMk cId="838099151" sldId="2134804292"/>
            <ac:spMk id="51" creationId="{84388FAE-20AC-4F67-9CB4-3FF36D413906}"/>
          </ac:spMkLst>
        </pc:spChg>
        <pc:spChg chg="add mod">
          <ac:chgData name="Andrea Mogollon Nossa (CENIT)" userId="f6a3e592-cc27-4858-b185-ff86be206069" providerId="ADAL" clId="{2CAEC1E3-2241-4370-8FDB-F4FAA904BB83}" dt="2020-06-17T20:17:54.005" v="5648" actId="20577"/>
          <ac:spMkLst>
            <pc:docMk/>
            <pc:sldMk cId="838099151" sldId="2134804292"/>
            <ac:spMk id="52" creationId="{2AD1363D-77A4-4B18-8087-0B267A4558ED}"/>
          </ac:spMkLst>
        </pc:spChg>
        <pc:spChg chg="mod">
          <ac:chgData name="Andrea Mogollon Nossa (CENIT)" userId="f6a3e592-cc27-4858-b185-ff86be206069" providerId="ADAL" clId="{2CAEC1E3-2241-4370-8FDB-F4FAA904BB83}" dt="2020-06-17T21:26:21.864" v="6452" actId="20577"/>
          <ac:spMkLst>
            <pc:docMk/>
            <pc:sldMk cId="838099151" sldId="2134804292"/>
            <ac:spMk id="53" creationId="{F9C857D3-C5F6-4D00-8D9C-646D1DA60918}"/>
          </ac:spMkLst>
        </pc:spChg>
        <pc:spChg chg="mod">
          <ac:chgData name="Andrea Mogollon Nossa (CENIT)" userId="f6a3e592-cc27-4858-b185-ff86be206069" providerId="ADAL" clId="{2CAEC1E3-2241-4370-8FDB-F4FAA904BB83}" dt="2020-06-17T20:21:48.507" v="5683" actId="14100"/>
          <ac:spMkLst>
            <pc:docMk/>
            <pc:sldMk cId="838099151" sldId="2134804292"/>
            <ac:spMk id="54" creationId="{C38A9719-1AF0-4D7F-AF9E-714FBC133573}"/>
          </ac:spMkLst>
        </pc:spChg>
        <pc:spChg chg="add mod">
          <ac:chgData name="Andrea Mogollon Nossa (CENIT)" userId="f6a3e592-cc27-4858-b185-ff86be206069" providerId="ADAL" clId="{2CAEC1E3-2241-4370-8FDB-F4FAA904BB83}" dt="2020-06-16T16:18:35.956" v="716" actId="1076"/>
          <ac:spMkLst>
            <pc:docMk/>
            <pc:sldMk cId="838099151" sldId="2134804292"/>
            <ac:spMk id="55" creationId="{3303E99B-C92B-47E7-8D82-C8AAB6B8C380}"/>
          </ac:spMkLst>
        </pc:spChg>
        <pc:spChg chg="add mod">
          <ac:chgData name="Andrea Mogollon Nossa (CENIT)" userId="f6a3e592-cc27-4858-b185-ff86be206069" providerId="ADAL" clId="{2CAEC1E3-2241-4370-8FDB-F4FAA904BB83}" dt="2020-06-17T20:19:55.419" v="5676" actId="20577"/>
          <ac:spMkLst>
            <pc:docMk/>
            <pc:sldMk cId="838099151" sldId="2134804292"/>
            <ac:spMk id="56" creationId="{4F0BB8E1-0E03-4A52-9BB1-7AC2ED86FFBE}"/>
          </ac:spMkLst>
        </pc:spChg>
        <pc:spChg chg="add mod">
          <ac:chgData name="Andrea Mogollon Nossa (CENIT)" userId="f6a3e592-cc27-4858-b185-ff86be206069" providerId="ADAL" clId="{2CAEC1E3-2241-4370-8FDB-F4FAA904BB83}" dt="2020-06-16T16:18:35.956" v="716" actId="1076"/>
          <ac:spMkLst>
            <pc:docMk/>
            <pc:sldMk cId="838099151" sldId="2134804292"/>
            <ac:spMk id="57" creationId="{0FB34961-9380-4A9B-A2B6-992F21508C64}"/>
          </ac:spMkLst>
        </pc:spChg>
        <pc:spChg chg="add mod">
          <ac:chgData name="Andrea Mogollon Nossa (CENIT)" userId="f6a3e592-cc27-4858-b185-ff86be206069" providerId="ADAL" clId="{2CAEC1E3-2241-4370-8FDB-F4FAA904BB83}" dt="2020-06-16T16:18:35.956" v="716" actId="1076"/>
          <ac:spMkLst>
            <pc:docMk/>
            <pc:sldMk cId="838099151" sldId="2134804292"/>
            <ac:spMk id="58" creationId="{74F606FB-9410-44F0-9F53-ACCA9F228C24}"/>
          </ac:spMkLst>
        </pc:spChg>
        <pc:spChg chg="add mod">
          <ac:chgData name="Andrea Mogollon Nossa (CENIT)" userId="f6a3e592-cc27-4858-b185-ff86be206069" providerId="ADAL" clId="{2CAEC1E3-2241-4370-8FDB-F4FAA904BB83}" dt="2020-06-17T20:19:53.731" v="5674" actId="20577"/>
          <ac:spMkLst>
            <pc:docMk/>
            <pc:sldMk cId="838099151" sldId="2134804292"/>
            <ac:spMk id="59" creationId="{97F69600-5EC2-415F-899E-3158E1DD0E4E}"/>
          </ac:spMkLst>
        </pc:spChg>
        <pc:spChg chg="add mod">
          <ac:chgData name="Andrea Mogollon Nossa (CENIT)" userId="f6a3e592-cc27-4858-b185-ff86be206069" providerId="ADAL" clId="{2CAEC1E3-2241-4370-8FDB-F4FAA904BB83}" dt="2020-06-18T02:07:55.746" v="6535" actId="14100"/>
          <ac:spMkLst>
            <pc:docMk/>
            <pc:sldMk cId="838099151" sldId="2134804292"/>
            <ac:spMk id="60" creationId="{E78B2A6C-DEF5-4176-9EC8-F1C34E8F7D53}"/>
          </ac:spMkLst>
        </pc:spChg>
        <pc:spChg chg="add mod">
          <ac:chgData name="Andrea Mogollon Nossa (CENIT)" userId="f6a3e592-cc27-4858-b185-ff86be206069" providerId="ADAL" clId="{2CAEC1E3-2241-4370-8FDB-F4FAA904BB83}" dt="2020-06-16T16:18:35.956" v="716" actId="1076"/>
          <ac:spMkLst>
            <pc:docMk/>
            <pc:sldMk cId="838099151" sldId="2134804292"/>
            <ac:spMk id="61" creationId="{1F7F6559-3F08-4F7E-A909-B96E01AB7528}"/>
          </ac:spMkLst>
        </pc:spChg>
        <pc:spChg chg="add mod">
          <ac:chgData name="Andrea Mogollon Nossa (CENIT)" userId="f6a3e592-cc27-4858-b185-ff86be206069" providerId="ADAL" clId="{2CAEC1E3-2241-4370-8FDB-F4FAA904BB83}" dt="2020-06-17T20:19:15.340" v="5672" actId="20577"/>
          <ac:spMkLst>
            <pc:docMk/>
            <pc:sldMk cId="838099151" sldId="2134804292"/>
            <ac:spMk id="62" creationId="{1F18B743-7CA7-4168-93CE-0B2A698A9D4B}"/>
          </ac:spMkLst>
        </pc:spChg>
        <pc:spChg chg="add mod">
          <ac:chgData name="Andrea Mogollon Nossa (CENIT)" userId="f6a3e592-cc27-4858-b185-ff86be206069" providerId="ADAL" clId="{2CAEC1E3-2241-4370-8FDB-F4FAA904BB83}" dt="2020-06-16T16:18:35.956" v="716" actId="1076"/>
          <ac:spMkLst>
            <pc:docMk/>
            <pc:sldMk cId="838099151" sldId="2134804292"/>
            <ac:spMk id="63" creationId="{AB5F3A10-3A0A-4AD1-810F-ECFBAF93D3A3}"/>
          </ac:spMkLst>
        </pc:spChg>
        <pc:spChg chg="add mod">
          <ac:chgData name="Andrea Mogollon Nossa (CENIT)" userId="f6a3e592-cc27-4858-b185-ff86be206069" providerId="ADAL" clId="{2CAEC1E3-2241-4370-8FDB-F4FAA904BB83}" dt="2020-06-17T20:19:11.949" v="5670" actId="20577"/>
          <ac:spMkLst>
            <pc:docMk/>
            <pc:sldMk cId="838099151" sldId="2134804292"/>
            <ac:spMk id="64" creationId="{C1641CFC-CF7F-498D-B4D0-3EC07F8B6FCA}"/>
          </ac:spMkLst>
        </pc:spChg>
        <pc:spChg chg="add mod">
          <ac:chgData name="Andrea Mogollon Nossa (CENIT)" userId="f6a3e592-cc27-4858-b185-ff86be206069" providerId="ADAL" clId="{2CAEC1E3-2241-4370-8FDB-F4FAA904BB83}" dt="2020-06-18T02:07:45.645" v="6533" actId="14100"/>
          <ac:spMkLst>
            <pc:docMk/>
            <pc:sldMk cId="838099151" sldId="2134804292"/>
            <ac:spMk id="65" creationId="{75F4E58E-0C8C-4616-AE69-3937079E0044}"/>
          </ac:spMkLst>
        </pc:spChg>
        <pc:spChg chg="add mod">
          <ac:chgData name="Andrea Mogollon Nossa (CENIT)" userId="f6a3e592-cc27-4858-b185-ff86be206069" providerId="ADAL" clId="{2CAEC1E3-2241-4370-8FDB-F4FAA904BB83}" dt="2020-06-16T16:18:35.956" v="716" actId="1076"/>
          <ac:spMkLst>
            <pc:docMk/>
            <pc:sldMk cId="838099151" sldId="2134804292"/>
            <ac:spMk id="66" creationId="{C1B3BC7F-010E-4F7C-9215-3BC0CB51B95F}"/>
          </ac:spMkLst>
        </pc:spChg>
        <pc:spChg chg="add mod">
          <ac:chgData name="Andrea Mogollon Nossa (CENIT)" userId="f6a3e592-cc27-4858-b185-ff86be206069" providerId="ADAL" clId="{2CAEC1E3-2241-4370-8FDB-F4FAA904BB83}" dt="2020-06-18T02:07:41.043" v="6531" actId="1076"/>
          <ac:spMkLst>
            <pc:docMk/>
            <pc:sldMk cId="838099151" sldId="2134804292"/>
            <ac:spMk id="67" creationId="{B6194378-B50F-421A-B27B-1B4AFC5ED155}"/>
          </ac:spMkLst>
        </pc:spChg>
        <pc:spChg chg="add mod">
          <ac:chgData name="Andrea Mogollon Nossa (CENIT)" userId="f6a3e592-cc27-4858-b185-ff86be206069" providerId="ADAL" clId="{2CAEC1E3-2241-4370-8FDB-F4FAA904BB83}" dt="2020-06-18T02:07:49.843" v="6534" actId="1076"/>
          <ac:spMkLst>
            <pc:docMk/>
            <pc:sldMk cId="838099151" sldId="2134804292"/>
            <ac:spMk id="68" creationId="{1E9FFA51-5316-41A7-8371-6FF614BF6768}"/>
          </ac:spMkLst>
        </pc:spChg>
        <pc:spChg chg="add mod">
          <ac:chgData name="Andrea Mogollon Nossa (CENIT)" userId="f6a3e592-cc27-4858-b185-ff86be206069" providerId="ADAL" clId="{2CAEC1E3-2241-4370-8FDB-F4FAA904BB83}" dt="2020-06-18T02:07:37.996" v="6530" actId="1076"/>
          <ac:spMkLst>
            <pc:docMk/>
            <pc:sldMk cId="838099151" sldId="2134804292"/>
            <ac:spMk id="69" creationId="{A9C3CC04-9C5E-4AB6-9E92-09DAF9B16ADC}"/>
          </ac:spMkLst>
        </pc:spChg>
        <pc:spChg chg="mod">
          <ac:chgData name="Andrea Mogollon Nossa (CENIT)" userId="f6a3e592-cc27-4858-b185-ff86be206069" providerId="ADAL" clId="{2CAEC1E3-2241-4370-8FDB-F4FAA904BB83}" dt="2020-06-17T20:21:25.913" v="5679" actId="20577"/>
          <ac:spMkLst>
            <pc:docMk/>
            <pc:sldMk cId="838099151" sldId="2134804292"/>
            <ac:spMk id="71" creationId="{A69B7E9C-1301-476B-9B8D-50B1CA3CB77F}"/>
          </ac:spMkLst>
        </pc:spChg>
        <pc:spChg chg="ord">
          <ac:chgData name="Andrea Mogollon Nossa (CENIT)" userId="f6a3e592-cc27-4858-b185-ff86be206069" providerId="ADAL" clId="{2CAEC1E3-2241-4370-8FDB-F4FAA904BB83}" dt="2020-06-17T00:10:02.819" v="2645" actId="166"/>
          <ac:spMkLst>
            <pc:docMk/>
            <pc:sldMk cId="838099151" sldId="2134804292"/>
            <ac:spMk id="72" creationId="{622D38D3-D447-4679-8F81-A3EC3CD4CFF6}"/>
          </ac:spMkLst>
        </pc:spChg>
        <pc:spChg chg="mod">
          <ac:chgData name="Andrea Mogollon Nossa (CENIT)" userId="f6a3e592-cc27-4858-b185-ff86be206069" providerId="ADAL" clId="{2CAEC1E3-2241-4370-8FDB-F4FAA904BB83}" dt="2020-06-17T15:03:14.092" v="4458" actId="1076"/>
          <ac:spMkLst>
            <pc:docMk/>
            <pc:sldMk cId="838099151" sldId="2134804292"/>
            <ac:spMk id="73" creationId="{504BE693-A6BF-4CAB-971A-BC7D1287E952}"/>
          </ac:spMkLst>
        </pc:spChg>
        <pc:spChg chg="mod">
          <ac:chgData name="Andrea Mogollon Nossa (CENIT)" userId="f6a3e592-cc27-4858-b185-ff86be206069" providerId="ADAL" clId="{2CAEC1E3-2241-4370-8FDB-F4FAA904BB83}" dt="2020-06-17T15:03:33.667" v="4462" actId="1076"/>
          <ac:spMkLst>
            <pc:docMk/>
            <pc:sldMk cId="838099151" sldId="2134804292"/>
            <ac:spMk id="74" creationId="{B5886F35-849B-48A6-97F5-BE8E727DCABB}"/>
          </ac:spMkLst>
        </pc:spChg>
        <pc:spChg chg="mod">
          <ac:chgData name="Andrea Mogollon Nossa (CENIT)" userId="f6a3e592-cc27-4858-b185-ff86be206069" providerId="ADAL" clId="{2CAEC1E3-2241-4370-8FDB-F4FAA904BB83}" dt="2020-06-17T15:03:33.667" v="4462" actId="1076"/>
          <ac:spMkLst>
            <pc:docMk/>
            <pc:sldMk cId="838099151" sldId="2134804292"/>
            <ac:spMk id="75" creationId="{6145BB97-3119-4821-8D9F-A6CBDE6564FA}"/>
          </ac:spMkLst>
        </pc:spChg>
        <pc:spChg chg="mod">
          <ac:chgData name="Andrea Mogollon Nossa (CENIT)" userId="f6a3e592-cc27-4858-b185-ff86be206069" providerId="ADAL" clId="{2CAEC1E3-2241-4370-8FDB-F4FAA904BB83}" dt="2020-06-17T15:03:33.667" v="4462" actId="1076"/>
          <ac:spMkLst>
            <pc:docMk/>
            <pc:sldMk cId="838099151" sldId="2134804292"/>
            <ac:spMk id="76" creationId="{C4889BF1-BFE2-4B20-AB47-50C8708C5811}"/>
          </ac:spMkLst>
        </pc:spChg>
        <pc:spChg chg="mod">
          <ac:chgData name="Andrea Mogollon Nossa (CENIT)" userId="f6a3e592-cc27-4858-b185-ff86be206069" providerId="ADAL" clId="{2CAEC1E3-2241-4370-8FDB-F4FAA904BB83}" dt="2020-06-17T15:03:45.402" v="4464" actId="1076"/>
          <ac:spMkLst>
            <pc:docMk/>
            <pc:sldMk cId="838099151" sldId="2134804292"/>
            <ac:spMk id="77" creationId="{FE57AFEB-C555-4E4A-8CCA-35D95283E0B0}"/>
          </ac:spMkLst>
        </pc:spChg>
        <pc:spChg chg="mod">
          <ac:chgData name="Andrea Mogollon Nossa (CENIT)" userId="f6a3e592-cc27-4858-b185-ff86be206069" providerId="ADAL" clId="{2CAEC1E3-2241-4370-8FDB-F4FAA904BB83}" dt="2020-06-17T15:03:33.667" v="4462" actId="1076"/>
          <ac:spMkLst>
            <pc:docMk/>
            <pc:sldMk cId="838099151" sldId="2134804292"/>
            <ac:spMk id="78" creationId="{29484C37-A93F-435C-BB46-AAD296179DA7}"/>
          </ac:spMkLst>
        </pc:spChg>
        <pc:spChg chg="mod">
          <ac:chgData name="Andrea Mogollon Nossa (CENIT)" userId="f6a3e592-cc27-4858-b185-ff86be206069" providerId="ADAL" clId="{2CAEC1E3-2241-4370-8FDB-F4FAA904BB83}" dt="2020-06-17T15:03:33.667" v="4462" actId="1076"/>
          <ac:spMkLst>
            <pc:docMk/>
            <pc:sldMk cId="838099151" sldId="2134804292"/>
            <ac:spMk id="79" creationId="{E7635D01-CF5B-467A-AD0E-714418970E68}"/>
          </ac:spMkLst>
        </pc:spChg>
        <pc:spChg chg="mod">
          <ac:chgData name="Andrea Mogollon Nossa (CENIT)" userId="f6a3e592-cc27-4858-b185-ff86be206069" providerId="ADAL" clId="{2CAEC1E3-2241-4370-8FDB-F4FAA904BB83}" dt="2020-06-17T15:03:33.667" v="4462" actId="1076"/>
          <ac:spMkLst>
            <pc:docMk/>
            <pc:sldMk cId="838099151" sldId="2134804292"/>
            <ac:spMk id="80" creationId="{D66A88FF-E3F2-4BEC-8E12-DCBEE6A096ED}"/>
          </ac:spMkLst>
        </pc:spChg>
        <pc:spChg chg="mod">
          <ac:chgData name="Andrea Mogollon Nossa (CENIT)" userId="f6a3e592-cc27-4858-b185-ff86be206069" providerId="ADAL" clId="{2CAEC1E3-2241-4370-8FDB-F4FAA904BB83}" dt="2020-06-17T15:13:47.090" v="4568" actId="1076"/>
          <ac:spMkLst>
            <pc:docMk/>
            <pc:sldMk cId="838099151" sldId="2134804292"/>
            <ac:spMk id="81" creationId="{A742467B-5CB0-468E-8115-5070DDA010C6}"/>
          </ac:spMkLst>
        </pc:spChg>
        <pc:spChg chg="mod">
          <ac:chgData name="Andrea Mogollon Nossa (CENIT)" userId="f6a3e592-cc27-4858-b185-ff86be206069" providerId="ADAL" clId="{2CAEC1E3-2241-4370-8FDB-F4FAA904BB83}" dt="2020-06-17T15:03:14.092" v="4458" actId="1076"/>
          <ac:spMkLst>
            <pc:docMk/>
            <pc:sldMk cId="838099151" sldId="2134804292"/>
            <ac:spMk id="82" creationId="{9F1674CE-F25C-4C2A-AA04-EC08592CA6BF}"/>
          </ac:spMkLst>
        </pc:spChg>
        <pc:spChg chg="mod">
          <ac:chgData name="Andrea Mogollon Nossa (CENIT)" userId="f6a3e592-cc27-4858-b185-ff86be206069" providerId="ADAL" clId="{2CAEC1E3-2241-4370-8FDB-F4FAA904BB83}" dt="2020-06-17T15:03:33.667" v="4462" actId="1076"/>
          <ac:spMkLst>
            <pc:docMk/>
            <pc:sldMk cId="838099151" sldId="2134804292"/>
            <ac:spMk id="83" creationId="{C506A4AA-FCB3-45B4-B3F4-65268296A051}"/>
          </ac:spMkLst>
        </pc:spChg>
        <pc:spChg chg="mod">
          <ac:chgData name="Andrea Mogollon Nossa (CENIT)" userId="f6a3e592-cc27-4858-b185-ff86be206069" providerId="ADAL" clId="{2CAEC1E3-2241-4370-8FDB-F4FAA904BB83}" dt="2020-06-17T15:03:33.667" v="4462" actId="1076"/>
          <ac:spMkLst>
            <pc:docMk/>
            <pc:sldMk cId="838099151" sldId="2134804292"/>
            <ac:spMk id="84" creationId="{AE70C292-631F-4FBA-9407-4F63FA529DB7}"/>
          </ac:spMkLst>
        </pc:spChg>
        <pc:spChg chg="mod">
          <ac:chgData name="Andrea Mogollon Nossa (CENIT)" userId="f6a3e592-cc27-4858-b185-ff86be206069" providerId="ADAL" clId="{2CAEC1E3-2241-4370-8FDB-F4FAA904BB83}" dt="2020-06-17T15:03:33.667" v="4462" actId="1076"/>
          <ac:spMkLst>
            <pc:docMk/>
            <pc:sldMk cId="838099151" sldId="2134804292"/>
            <ac:spMk id="85" creationId="{20DF9912-3C8C-4E4C-AED3-8A1393F70375}"/>
          </ac:spMkLst>
        </pc:spChg>
        <pc:spChg chg="add mod">
          <ac:chgData name="Andrea Mogollon Nossa (CENIT)" userId="f6a3e592-cc27-4858-b185-ff86be206069" providerId="ADAL" clId="{2CAEC1E3-2241-4370-8FDB-F4FAA904BB83}" dt="2020-06-18T02:08:05.080" v="6537" actId="1076"/>
          <ac:spMkLst>
            <pc:docMk/>
            <pc:sldMk cId="838099151" sldId="2134804292"/>
            <ac:spMk id="86" creationId="{D0C29538-EFD3-4024-85E0-E215B2CB81A0}"/>
          </ac:spMkLst>
        </pc:spChg>
        <pc:spChg chg="add mod">
          <ac:chgData name="Andrea Mogollon Nossa (CENIT)" userId="f6a3e592-cc27-4858-b185-ff86be206069" providerId="ADAL" clId="{2CAEC1E3-2241-4370-8FDB-F4FAA904BB83}" dt="2020-06-18T02:16:29.791" v="6547" actId="20577"/>
          <ac:spMkLst>
            <pc:docMk/>
            <pc:sldMk cId="838099151" sldId="2134804292"/>
            <ac:spMk id="87" creationId="{563162A5-41B5-4D13-845B-8A3E8F064FC1}"/>
          </ac:spMkLst>
        </pc:spChg>
        <pc:spChg chg="mod">
          <ac:chgData name="Andrea Mogollon Nossa (CENIT)" userId="f6a3e592-cc27-4858-b185-ff86be206069" providerId="ADAL" clId="{2CAEC1E3-2241-4370-8FDB-F4FAA904BB83}" dt="2020-06-17T15:03:14.092" v="4458" actId="1076"/>
          <ac:spMkLst>
            <pc:docMk/>
            <pc:sldMk cId="838099151" sldId="2134804292"/>
            <ac:spMk id="97" creationId="{99300021-C267-43BD-A0F5-B3ECE622345E}"/>
          </ac:spMkLst>
        </pc:spChg>
        <pc:spChg chg="mod">
          <ac:chgData name="Andrea Mogollon Nossa (CENIT)" userId="f6a3e592-cc27-4858-b185-ff86be206069" providerId="ADAL" clId="{2CAEC1E3-2241-4370-8FDB-F4FAA904BB83}" dt="2020-06-17T15:03:14.092" v="4458" actId="1076"/>
          <ac:spMkLst>
            <pc:docMk/>
            <pc:sldMk cId="838099151" sldId="2134804292"/>
            <ac:spMk id="99" creationId="{90CC82AC-D82E-4F89-AC67-093894759099}"/>
          </ac:spMkLst>
        </pc:spChg>
        <pc:spChg chg="mod">
          <ac:chgData name="Andrea Mogollon Nossa (CENIT)" userId="f6a3e592-cc27-4858-b185-ff86be206069" providerId="ADAL" clId="{2CAEC1E3-2241-4370-8FDB-F4FAA904BB83}" dt="2020-06-17T15:03:14.092" v="4458" actId="1076"/>
          <ac:spMkLst>
            <pc:docMk/>
            <pc:sldMk cId="838099151" sldId="2134804292"/>
            <ac:spMk id="100" creationId="{1835F856-5B59-4AFF-86DE-2F0968B76CF7}"/>
          </ac:spMkLst>
        </pc:spChg>
        <pc:spChg chg="add mod">
          <ac:chgData name="Andrea Mogollon Nossa (CENIT)" userId="f6a3e592-cc27-4858-b185-ff86be206069" providerId="ADAL" clId="{2CAEC1E3-2241-4370-8FDB-F4FAA904BB83}" dt="2020-06-17T15:03:14.092" v="4458" actId="1076"/>
          <ac:spMkLst>
            <pc:docMk/>
            <pc:sldMk cId="838099151" sldId="2134804292"/>
            <ac:spMk id="101" creationId="{50D1281F-8266-4D64-9227-2DC0FCFC26CB}"/>
          </ac:spMkLst>
        </pc:spChg>
        <pc:spChg chg="mod">
          <ac:chgData name="Andrea Mogollon Nossa (CENIT)" userId="f6a3e592-cc27-4858-b185-ff86be206069" providerId="ADAL" clId="{2CAEC1E3-2241-4370-8FDB-F4FAA904BB83}" dt="2020-06-18T02:29:54.645" v="6556" actId="14100"/>
          <ac:spMkLst>
            <pc:docMk/>
            <pc:sldMk cId="838099151" sldId="2134804292"/>
            <ac:spMk id="102" creationId="{101F3273-AA10-47F1-9872-07AD50130DF5}"/>
          </ac:spMkLst>
        </pc:spChg>
        <pc:spChg chg="mod">
          <ac:chgData name="Andrea Mogollon Nossa (CENIT)" userId="f6a3e592-cc27-4858-b185-ff86be206069" providerId="ADAL" clId="{2CAEC1E3-2241-4370-8FDB-F4FAA904BB83}" dt="2020-06-17T15:13:32.796" v="4564" actId="14100"/>
          <ac:spMkLst>
            <pc:docMk/>
            <pc:sldMk cId="838099151" sldId="2134804292"/>
            <ac:spMk id="103" creationId="{BDBCDC72-F935-45A4-AE31-C045019965AF}"/>
          </ac:spMkLst>
        </pc:spChg>
        <pc:spChg chg="mod ord">
          <ac:chgData name="Andrea Mogollon Nossa (CENIT)" userId="f6a3e592-cc27-4858-b185-ff86be206069" providerId="ADAL" clId="{2CAEC1E3-2241-4370-8FDB-F4FAA904BB83}" dt="2020-06-17T15:12:32.420" v="4555" actId="166"/>
          <ac:spMkLst>
            <pc:docMk/>
            <pc:sldMk cId="838099151" sldId="2134804292"/>
            <ac:spMk id="104" creationId="{0326A105-08B6-409E-9596-07BD7645DEAE}"/>
          </ac:spMkLst>
        </pc:spChg>
        <pc:spChg chg="mod">
          <ac:chgData name="Andrea Mogollon Nossa (CENIT)" userId="f6a3e592-cc27-4858-b185-ff86be206069" providerId="ADAL" clId="{2CAEC1E3-2241-4370-8FDB-F4FAA904BB83}" dt="2020-06-17T15:03:14.092" v="4458" actId="1076"/>
          <ac:spMkLst>
            <pc:docMk/>
            <pc:sldMk cId="838099151" sldId="2134804292"/>
            <ac:spMk id="105" creationId="{DC633C75-4D21-4E37-ABEB-B69D06C0A224}"/>
          </ac:spMkLst>
        </pc:spChg>
        <pc:spChg chg="mod">
          <ac:chgData name="Andrea Mogollon Nossa (CENIT)" userId="f6a3e592-cc27-4858-b185-ff86be206069" providerId="ADAL" clId="{2CAEC1E3-2241-4370-8FDB-F4FAA904BB83}" dt="2020-06-17T15:03:14.092" v="4458" actId="1076"/>
          <ac:spMkLst>
            <pc:docMk/>
            <pc:sldMk cId="838099151" sldId="2134804292"/>
            <ac:spMk id="106" creationId="{8BF155F6-9EE4-4410-BB22-DEE4B18E9FEF}"/>
          </ac:spMkLst>
        </pc:spChg>
        <pc:spChg chg="mod">
          <ac:chgData name="Andrea Mogollon Nossa (CENIT)" userId="f6a3e592-cc27-4858-b185-ff86be206069" providerId="ADAL" clId="{2CAEC1E3-2241-4370-8FDB-F4FAA904BB83}" dt="2020-06-18T02:29:57.264" v="6557" actId="1076"/>
          <ac:spMkLst>
            <pc:docMk/>
            <pc:sldMk cId="838099151" sldId="2134804292"/>
            <ac:spMk id="107" creationId="{4802A65C-C4BA-49C6-A107-DC404BE5C336}"/>
          </ac:spMkLst>
        </pc:spChg>
        <pc:spChg chg="mod">
          <ac:chgData name="Andrea Mogollon Nossa (CENIT)" userId="f6a3e592-cc27-4858-b185-ff86be206069" providerId="ADAL" clId="{2CAEC1E3-2241-4370-8FDB-F4FAA904BB83}" dt="2020-06-17T15:12:35.377" v="4556" actId="1076"/>
          <ac:spMkLst>
            <pc:docMk/>
            <pc:sldMk cId="838099151" sldId="2134804292"/>
            <ac:spMk id="108" creationId="{E7417F2C-4445-4433-AA31-1B1D9A1C89B3}"/>
          </ac:spMkLst>
        </pc:spChg>
        <pc:spChg chg="add mod">
          <ac:chgData name="Andrea Mogollon Nossa (CENIT)" userId="f6a3e592-cc27-4858-b185-ff86be206069" providerId="ADAL" clId="{2CAEC1E3-2241-4370-8FDB-F4FAA904BB83}" dt="2020-06-17T15:03:45.402" v="4464" actId="1076"/>
          <ac:spMkLst>
            <pc:docMk/>
            <pc:sldMk cId="838099151" sldId="2134804292"/>
            <ac:spMk id="109" creationId="{71C13042-3BAB-49AE-B302-BF1FC184D1C0}"/>
          </ac:spMkLst>
        </pc:spChg>
        <pc:spChg chg="add mod">
          <ac:chgData name="Andrea Mogollon Nossa (CENIT)" userId="f6a3e592-cc27-4858-b185-ff86be206069" providerId="ADAL" clId="{2CAEC1E3-2241-4370-8FDB-F4FAA904BB83}" dt="2020-06-17T20:37:42.092" v="5938" actId="1076"/>
          <ac:spMkLst>
            <pc:docMk/>
            <pc:sldMk cId="838099151" sldId="2134804292"/>
            <ac:spMk id="110" creationId="{016FFF86-9DDE-4B71-B999-66D87A5DF4D8}"/>
          </ac:spMkLst>
        </pc:spChg>
        <pc:spChg chg="add mod">
          <ac:chgData name="Andrea Mogollon Nossa (CENIT)" userId="f6a3e592-cc27-4858-b185-ff86be206069" providerId="ADAL" clId="{2CAEC1E3-2241-4370-8FDB-F4FAA904BB83}" dt="2020-06-17T15:05:46.910" v="4483" actId="20577"/>
          <ac:spMkLst>
            <pc:docMk/>
            <pc:sldMk cId="838099151" sldId="2134804292"/>
            <ac:spMk id="111" creationId="{6C1EF8A6-0FB5-47E0-9CD3-2DB37B170394}"/>
          </ac:spMkLst>
        </pc:spChg>
        <pc:spChg chg="add mod">
          <ac:chgData name="Andrea Mogollon Nossa (CENIT)" userId="f6a3e592-cc27-4858-b185-ff86be206069" providerId="ADAL" clId="{2CAEC1E3-2241-4370-8FDB-F4FAA904BB83}" dt="2020-06-18T02:07:14.775" v="6526" actId="208"/>
          <ac:spMkLst>
            <pc:docMk/>
            <pc:sldMk cId="838099151" sldId="2134804292"/>
            <ac:spMk id="112" creationId="{F172C649-196A-458A-9FD2-06A9617C5DA1}"/>
          </ac:spMkLst>
        </pc:spChg>
        <pc:spChg chg="add mod">
          <ac:chgData name="Andrea Mogollon Nossa (CENIT)" userId="f6a3e592-cc27-4858-b185-ff86be206069" providerId="ADAL" clId="{2CAEC1E3-2241-4370-8FDB-F4FAA904BB83}" dt="2020-06-17T15:12:42.685" v="4560" actId="20577"/>
          <ac:spMkLst>
            <pc:docMk/>
            <pc:sldMk cId="838099151" sldId="2134804292"/>
            <ac:spMk id="113" creationId="{22C84C52-FFF2-4B1D-A23E-B10150D390CA}"/>
          </ac:spMkLst>
        </pc:spChg>
        <pc:spChg chg="add mod">
          <ac:chgData name="Andrea Mogollon Nossa (CENIT)" userId="f6a3e592-cc27-4858-b185-ff86be206069" providerId="ADAL" clId="{2CAEC1E3-2241-4370-8FDB-F4FAA904BB83}" dt="2020-06-17T20:37:45.124" v="5939" actId="14100"/>
          <ac:spMkLst>
            <pc:docMk/>
            <pc:sldMk cId="838099151" sldId="2134804292"/>
            <ac:spMk id="114" creationId="{AE25D562-47A5-4429-8752-D107F6B610B2}"/>
          </ac:spMkLst>
        </pc:spChg>
        <pc:spChg chg="mod">
          <ac:chgData name="Andrea Mogollon Nossa (CENIT)" userId="f6a3e592-cc27-4858-b185-ff86be206069" providerId="ADAL" clId="{2CAEC1E3-2241-4370-8FDB-F4FAA904BB83}" dt="2020-06-17T00:19:04.951" v="2654" actId="1076"/>
          <ac:spMkLst>
            <pc:docMk/>
            <pc:sldMk cId="838099151" sldId="2134804292"/>
            <ac:spMk id="121" creationId="{2E4219D0-FC12-4E35-8DC3-7D8033FAE51A}"/>
          </ac:spMkLst>
        </pc:spChg>
        <pc:spChg chg="mod">
          <ac:chgData name="Andrea Mogollon Nossa (CENIT)" userId="f6a3e592-cc27-4858-b185-ff86be206069" providerId="ADAL" clId="{2CAEC1E3-2241-4370-8FDB-F4FAA904BB83}" dt="2020-06-17T00:19:02.552" v="2653" actId="1076"/>
          <ac:spMkLst>
            <pc:docMk/>
            <pc:sldMk cId="838099151" sldId="2134804292"/>
            <ac:spMk id="122" creationId="{F59AC007-B728-4703-B31F-7E86BF727532}"/>
          </ac:spMkLst>
        </pc:spChg>
        <pc:spChg chg="mod">
          <ac:chgData name="Andrea Mogollon Nossa (CENIT)" userId="f6a3e592-cc27-4858-b185-ff86be206069" providerId="ADAL" clId="{2CAEC1E3-2241-4370-8FDB-F4FAA904BB83}" dt="2020-06-17T00:18:59.863" v="2652" actId="1076"/>
          <ac:spMkLst>
            <pc:docMk/>
            <pc:sldMk cId="838099151" sldId="2134804292"/>
            <ac:spMk id="123" creationId="{6441CA6B-E4DC-4E7E-87F8-3EAF8197D2F3}"/>
          </ac:spMkLst>
        </pc:spChg>
        <pc:spChg chg="mod">
          <ac:chgData name="Andrea Mogollon Nossa (CENIT)" userId="f6a3e592-cc27-4858-b185-ff86be206069" providerId="ADAL" clId="{2CAEC1E3-2241-4370-8FDB-F4FAA904BB83}" dt="2020-06-17T15:05:19.720" v="4480" actId="6549"/>
          <ac:spMkLst>
            <pc:docMk/>
            <pc:sldMk cId="838099151" sldId="2134804292"/>
            <ac:spMk id="137" creationId="{F2F1441C-82E3-4978-ADB4-2E81AB714A12}"/>
          </ac:spMkLst>
        </pc:spChg>
        <pc:spChg chg="mod">
          <ac:chgData name="Andrea Mogollon Nossa (CENIT)" userId="f6a3e592-cc27-4858-b185-ff86be206069" providerId="ADAL" clId="{2CAEC1E3-2241-4370-8FDB-F4FAA904BB83}" dt="2020-06-17T15:03:33.667" v="4462" actId="1076"/>
          <ac:spMkLst>
            <pc:docMk/>
            <pc:sldMk cId="838099151" sldId="2134804292"/>
            <ac:spMk id="138" creationId="{B7572FF5-C3B2-41FB-AC8B-11068157874D}"/>
          </ac:spMkLst>
        </pc:spChg>
        <pc:spChg chg="mod">
          <ac:chgData name="Andrea Mogollon Nossa (CENIT)" userId="f6a3e592-cc27-4858-b185-ff86be206069" providerId="ADAL" clId="{2CAEC1E3-2241-4370-8FDB-F4FAA904BB83}" dt="2020-06-17T15:03:33.667" v="4462" actId="1076"/>
          <ac:spMkLst>
            <pc:docMk/>
            <pc:sldMk cId="838099151" sldId="2134804292"/>
            <ac:spMk id="139" creationId="{2227F15F-B01E-49E7-B6F1-35FB55117734}"/>
          </ac:spMkLst>
        </pc:spChg>
        <pc:spChg chg="mod ord">
          <ac:chgData name="Andrea Mogollon Nossa (CENIT)" userId="f6a3e592-cc27-4858-b185-ff86be206069" providerId="ADAL" clId="{2CAEC1E3-2241-4370-8FDB-F4FAA904BB83}" dt="2020-06-18T02:32:15.077" v="6569" actId="167"/>
          <ac:spMkLst>
            <pc:docMk/>
            <pc:sldMk cId="838099151" sldId="2134804292"/>
            <ac:spMk id="140" creationId="{2062ABD7-3E18-481C-BE0F-59304E710CAD}"/>
          </ac:spMkLst>
        </pc:spChg>
        <pc:spChg chg="del mod">
          <ac:chgData name="Andrea Mogollon Nossa (CENIT)" userId="f6a3e592-cc27-4858-b185-ff86be206069" providerId="ADAL" clId="{2CAEC1E3-2241-4370-8FDB-F4FAA904BB83}" dt="2020-06-17T15:00:16.100" v="4433" actId="478"/>
          <ac:spMkLst>
            <pc:docMk/>
            <pc:sldMk cId="838099151" sldId="2134804292"/>
            <ac:spMk id="141" creationId="{6DFBB2A7-5F2D-4D91-9156-98CB032BD858}"/>
          </ac:spMkLst>
        </pc:spChg>
        <pc:spChg chg="mod">
          <ac:chgData name="Andrea Mogollon Nossa (CENIT)" userId="f6a3e592-cc27-4858-b185-ff86be206069" providerId="ADAL" clId="{2CAEC1E3-2241-4370-8FDB-F4FAA904BB83}" dt="2020-06-17T15:03:45.402" v="4464" actId="1076"/>
          <ac:spMkLst>
            <pc:docMk/>
            <pc:sldMk cId="838099151" sldId="2134804292"/>
            <ac:spMk id="142" creationId="{9660C67C-C249-4C29-87B1-2E22B67DE74F}"/>
          </ac:spMkLst>
        </pc:spChg>
        <pc:spChg chg="mod">
          <ac:chgData name="Andrea Mogollon Nossa (CENIT)" userId="f6a3e592-cc27-4858-b185-ff86be206069" providerId="ADAL" clId="{2CAEC1E3-2241-4370-8FDB-F4FAA904BB83}" dt="2020-06-17T15:03:33.667" v="4462" actId="1076"/>
          <ac:spMkLst>
            <pc:docMk/>
            <pc:sldMk cId="838099151" sldId="2134804292"/>
            <ac:spMk id="144" creationId="{25AF8D90-7CF9-4004-AFE7-8FD9BCD562C6}"/>
          </ac:spMkLst>
        </pc:spChg>
        <pc:spChg chg="mod">
          <ac:chgData name="Andrea Mogollon Nossa (CENIT)" userId="f6a3e592-cc27-4858-b185-ff86be206069" providerId="ADAL" clId="{2CAEC1E3-2241-4370-8FDB-F4FAA904BB83}" dt="2020-06-17T15:03:33.667" v="4462" actId="1076"/>
          <ac:spMkLst>
            <pc:docMk/>
            <pc:sldMk cId="838099151" sldId="2134804292"/>
            <ac:spMk id="145" creationId="{1FACAF7C-6304-4959-827F-E5EC80E0E805}"/>
          </ac:spMkLst>
        </pc:spChg>
        <pc:spChg chg="mod">
          <ac:chgData name="Andrea Mogollon Nossa (CENIT)" userId="f6a3e592-cc27-4858-b185-ff86be206069" providerId="ADAL" clId="{2CAEC1E3-2241-4370-8FDB-F4FAA904BB83}" dt="2020-06-17T15:03:33.667" v="4462" actId="1076"/>
          <ac:spMkLst>
            <pc:docMk/>
            <pc:sldMk cId="838099151" sldId="2134804292"/>
            <ac:spMk id="146" creationId="{D86974CC-32BF-439F-A6E2-D1E82520294D}"/>
          </ac:spMkLst>
        </pc:spChg>
        <pc:spChg chg="mod">
          <ac:chgData name="Andrea Mogollon Nossa (CENIT)" userId="f6a3e592-cc27-4858-b185-ff86be206069" providerId="ADAL" clId="{2CAEC1E3-2241-4370-8FDB-F4FAA904BB83}" dt="2020-06-17T15:03:33.667" v="4462" actId="1076"/>
          <ac:spMkLst>
            <pc:docMk/>
            <pc:sldMk cId="838099151" sldId="2134804292"/>
            <ac:spMk id="147" creationId="{58F0CDC2-9414-439E-A3CB-C4B6F7ADCE1B}"/>
          </ac:spMkLst>
        </pc:spChg>
        <pc:spChg chg="mod">
          <ac:chgData name="Andrea Mogollon Nossa (CENIT)" userId="f6a3e592-cc27-4858-b185-ff86be206069" providerId="ADAL" clId="{2CAEC1E3-2241-4370-8FDB-F4FAA904BB83}" dt="2020-06-17T15:13:36.180" v="4565" actId="14100"/>
          <ac:spMkLst>
            <pc:docMk/>
            <pc:sldMk cId="838099151" sldId="2134804292"/>
            <ac:spMk id="148" creationId="{3D0EFFEA-E9FE-4053-B9D8-C9F8D8881270}"/>
          </ac:spMkLst>
        </pc:spChg>
        <pc:cxnChg chg="add mod">
          <ac:chgData name="Andrea Mogollon Nossa (CENIT)" userId="f6a3e592-cc27-4858-b185-ff86be206069" providerId="ADAL" clId="{2CAEC1E3-2241-4370-8FDB-F4FAA904BB83}" dt="2020-06-18T02:31:44.019" v="6565" actId="1076"/>
          <ac:cxnSpMkLst>
            <pc:docMk/>
            <pc:sldMk cId="838099151" sldId="2134804292"/>
            <ac:cxnSpMk id="88" creationId="{72E252A3-F8E1-4DDE-822C-DFEF6DF55A06}"/>
          </ac:cxnSpMkLst>
        </pc:cxnChg>
        <pc:cxnChg chg="mod">
          <ac:chgData name="Andrea Mogollon Nossa (CENIT)" userId="f6a3e592-cc27-4858-b185-ff86be206069" providerId="ADAL" clId="{2CAEC1E3-2241-4370-8FDB-F4FAA904BB83}" dt="2020-06-18T02:31:46.708" v="6566" actId="1076"/>
          <ac:cxnSpMkLst>
            <pc:docMk/>
            <pc:sldMk cId="838099151" sldId="2134804292"/>
            <ac:cxnSpMk id="95" creationId="{992CCE25-00CE-4C15-881A-068C6B1A3F0E}"/>
          </ac:cxnSpMkLst>
        </pc:cxnChg>
      </pc:sldChg>
      <pc:sldChg chg="modSp mod">
        <pc:chgData name="Andrea Mogollon Nossa (CENIT)" userId="f6a3e592-cc27-4858-b185-ff86be206069" providerId="ADAL" clId="{2CAEC1E3-2241-4370-8FDB-F4FAA904BB83}" dt="2020-06-16T16:32:31.128" v="990" actId="108"/>
        <pc:sldMkLst>
          <pc:docMk/>
          <pc:sldMk cId="1822149763" sldId="2134804293"/>
        </pc:sldMkLst>
        <pc:spChg chg="mod">
          <ac:chgData name="Andrea Mogollon Nossa (CENIT)" userId="f6a3e592-cc27-4858-b185-ff86be206069" providerId="ADAL" clId="{2CAEC1E3-2241-4370-8FDB-F4FAA904BB83}" dt="2020-06-16T16:32:21.500" v="989" actId="108"/>
          <ac:spMkLst>
            <pc:docMk/>
            <pc:sldMk cId="1822149763" sldId="2134804293"/>
            <ac:spMk id="9" creationId="{584AA256-4158-427B-9200-1F1C0296A486}"/>
          </ac:spMkLst>
        </pc:spChg>
        <pc:spChg chg="mod">
          <ac:chgData name="Andrea Mogollon Nossa (CENIT)" userId="f6a3e592-cc27-4858-b185-ff86be206069" providerId="ADAL" clId="{2CAEC1E3-2241-4370-8FDB-F4FAA904BB83}" dt="2020-06-16T16:32:31.128" v="990" actId="108"/>
          <ac:spMkLst>
            <pc:docMk/>
            <pc:sldMk cId="1822149763" sldId="2134804293"/>
            <ac:spMk id="11" creationId="{BE3FDB33-82DE-49B7-85B7-9476B27F9C30}"/>
          </ac:spMkLst>
        </pc:spChg>
      </pc:sldChg>
      <pc:sldChg chg="addSp delSp modSp mod">
        <pc:chgData name="Andrea Mogollon Nossa (CENIT)" userId="f6a3e592-cc27-4858-b185-ff86be206069" providerId="ADAL" clId="{2CAEC1E3-2241-4370-8FDB-F4FAA904BB83}" dt="2020-06-17T21:26:50.773" v="6482" actId="20577"/>
        <pc:sldMkLst>
          <pc:docMk/>
          <pc:sldMk cId="689766239" sldId="2134804294"/>
        </pc:sldMkLst>
        <pc:spChg chg="mod">
          <ac:chgData name="Andrea Mogollon Nossa (CENIT)" userId="f6a3e592-cc27-4858-b185-ff86be206069" providerId="ADAL" clId="{2CAEC1E3-2241-4370-8FDB-F4FAA904BB83}" dt="2020-06-17T21:15:10.713" v="6271" actId="20577"/>
          <ac:spMkLst>
            <pc:docMk/>
            <pc:sldMk cId="689766239" sldId="2134804294"/>
            <ac:spMk id="3" creationId="{815B10B7-60B3-4C63-8431-70CC556387C9}"/>
          </ac:spMkLst>
        </pc:spChg>
        <pc:spChg chg="mod">
          <ac:chgData name="Andrea Mogollon Nossa (CENIT)" userId="f6a3e592-cc27-4858-b185-ff86be206069" providerId="ADAL" clId="{2CAEC1E3-2241-4370-8FDB-F4FAA904BB83}" dt="2020-06-17T13:25:19.834" v="2812" actId="14100"/>
          <ac:spMkLst>
            <pc:docMk/>
            <pc:sldMk cId="689766239" sldId="2134804294"/>
            <ac:spMk id="6" creationId="{A9B6670C-9FA9-460C-B8DE-3379ABC12A8C}"/>
          </ac:spMkLst>
        </pc:spChg>
        <pc:spChg chg="mod">
          <ac:chgData name="Andrea Mogollon Nossa (CENIT)" userId="f6a3e592-cc27-4858-b185-ff86be206069" providerId="ADAL" clId="{2CAEC1E3-2241-4370-8FDB-F4FAA904BB83}" dt="2020-06-16T16:51:11.209" v="1306" actId="20577"/>
          <ac:spMkLst>
            <pc:docMk/>
            <pc:sldMk cId="689766239" sldId="2134804294"/>
            <ac:spMk id="7" creationId="{52FE2391-690B-4D13-B0BE-AD54BD4AFEAA}"/>
          </ac:spMkLst>
        </pc:spChg>
        <pc:spChg chg="del">
          <ac:chgData name="Andrea Mogollon Nossa (CENIT)" userId="f6a3e592-cc27-4858-b185-ff86be206069" providerId="ADAL" clId="{2CAEC1E3-2241-4370-8FDB-F4FAA904BB83}" dt="2020-06-16T16:50:26.055" v="1302" actId="478"/>
          <ac:spMkLst>
            <pc:docMk/>
            <pc:sldMk cId="689766239" sldId="2134804294"/>
            <ac:spMk id="12" creationId="{56F633C6-C70B-4704-B863-B3E4B374913A}"/>
          </ac:spMkLst>
        </pc:spChg>
        <pc:spChg chg="del">
          <ac:chgData name="Andrea Mogollon Nossa (CENIT)" userId="f6a3e592-cc27-4858-b185-ff86be206069" providerId="ADAL" clId="{2CAEC1E3-2241-4370-8FDB-F4FAA904BB83}" dt="2020-06-16T16:50:14.605" v="1297" actId="478"/>
          <ac:spMkLst>
            <pc:docMk/>
            <pc:sldMk cId="689766239" sldId="2134804294"/>
            <ac:spMk id="13" creationId="{4DFA5458-70EA-43E5-9987-DF395BF160C5}"/>
          </ac:spMkLst>
        </pc:spChg>
        <pc:spChg chg="mod">
          <ac:chgData name="Andrea Mogollon Nossa (CENIT)" userId="f6a3e592-cc27-4858-b185-ff86be206069" providerId="ADAL" clId="{2CAEC1E3-2241-4370-8FDB-F4FAA904BB83}" dt="2020-06-16T17:11:11.610" v="1585" actId="1076"/>
          <ac:spMkLst>
            <pc:docMk/>
            <pc:sldMk cId="689766239" sldId="2134804294"/>
            <ac:spMk id="45" creationId="{A11713A1-A10D-481C-88FE-F4218C21E34C}"/>
          </ac:spMkLst>
        </pc:spChg>
        <pc:spChg chg="mod">
          <ac:chgData name="Andrea Mogollon Nossa (CENIT)" userId="f6a3e592-cc27-4858-b185-ff86be206069" providerId="ADAL" clId="{2CAEC1E3-2241-4370-8FDB-F4FAA904BB83}" dt="2020-06-16T17:11:11.610" v="1585" actId="1076"/>
          <ac:spMkLst>
            <pc:docMk/>
            <pc:sldMk cId="689766239" sldId="2134804294"/>
            <ac:spMk id="46" creationId="{6B85F83C-1F4E-4C9F-945A-BF3A010998CA}"/>
          </ac:spMkLst>
        </pc:spChg>
        <pc:spChg chg="mod">
          <ac:chgData name="Andrea Mogollon Nossa (CENIT)" userId="f6a3e592-cc27-4858-b185-ff86be206069" providerId="ADAL" clId="{2CAEC1E3-2241-4370-8FDB-F4FAA904BB83}" dt="2020-06-16T17:11:11.610" v="1585" actId="1076"/>
          <ac:spMkLst>
            <pc:docMk/>
            <pc:sldMk cId="689766239" sldId="2134804294"/>
            <ac:spMk id="47" creationId="{2E9313C2-48BF-4BEC-84FF-27E4DA635C08}"/>
          </ac:spMkLst>
        </pc:spChg>
        <pc:spChg chg="mod">
          <ac:chgData name="Andrea Mogollon Nossa (CENIT)" userId="f6a3e592-cc27-4858-b185-ff86be206069" providerId="ADAL" clId="{2CAEC1E3-2241-4370-8FDB-F4FAA904BB83}" dt="2020-06-16T17:11:11.610" v="1585" actId="1076"/>
          <ac:spMkLst>
            <pc:docMk/>
            <pc:sldMk cId="689766239" sldId="2134804294"/>
            <ac:spMk id="48" creationId="{4724087F-5CE9-4DDB-BAFD-F7A2BCA8A16F}"/>
          </ac:spMkLst>
        </pc:spChg>
        <pc:spChg chg="mod">
          <ac:chgData name="Andrea Mogollon Nossa (CENIT)" userId="f6a3e592-cc27-4858-b185-ff86be206069" providerId="ADAL" clId="{2CAEC1E3-2241-4370-8FDB-F4FAA904BB83}" dt="2020-06-16T17:11:11.610" v="1585" actId="1076"/>
          <ac:spMkLst>
            <pc:docMk/>
            <pc:sldMk cId="689766239" sldId="2134804294"/>
            <ac:spMk id="49" creationId="{BD5C92D0-454D-4F3C-9980-21CD644F1A95}"/>
          </ac:spMkLst>
        </pc:spChg>
        <pc:spChg chg="add mod">
          <ac:chgData name="Andrea Mogollon Nossa (CENIT)" userId="f6a3e592-cc27-4858-b185-ff86be206069" providerId="ADAL" clId="{2CAEC1E3-2241-4370-8FDB-F4FAA904BB83}" dt="2020-06-16T17:11:58.352" v="1592" actId="20577"/>
          <ac:spMkLst>
            <pc:docMk/>
            <pc:sldMk cId="689766239" sldId="2134804294"/>
            <ac:spMk id="51" creationId="{6961FD83-C140-4088-BCE9-20920D3BA6CE}"/>
          </ac:spMkLst>
        </pc:spChg>
        <pc:spChg chg="mod">
          <ac:chgData name="Andrea Mogollon Nossa (CENIT)" userId="f6a3e592-cc27-4858-b185-ff86be206069" providerId="ADAL" clId="{2CAEC1E3-2241-4370-8FDB-F4FAA904BB83}" dt="2020-06-17T13:24:08.051" v="2805" actId="208"/>
          <ac:spMkLst>
            <pc:docMk/>
            <pc:sldMk cId="689766239" sldId="2134804294"/>
            <ac:spMk id="52" creationId="{D51C7D30-E0C6-45B8-A151-C992F84F77A1}"/>
          </ac:spMkLst>
        </pc:spChg>
        <pc:spChg chg="mod">
          <ac:chgData name="Andrea Mogollon Nossa (CENIT)" userId="f6a3e592-cc27-4858-b185-ff86be206069" providerId="ADAL" clId="{2CAEC1E3-2241-4370-8FDB-F4FAA904BB83}" dt="2020-06-17T21:26:50.773" v="6482" actId="20577"/>
          <ac:spMkLst>
            <pc:docMk/>
            <pc:sldMk cId="689766239" sldId="2134804294"/>
            <ac:spMk id="53" creationId="{F9C857D3-C5F6-4D00-8D9C-646D1DA60918}"/>
          </ac:spMkLst>
        </pc:spChg>
        <pc:spChg chg="mod">
          <ac:chgData name="Andrea Mogollon Nossa (CENIT)" userId="f6a3e592-cc27-4858-b185-ff86be206069" providerId="ADAL" clId="{2CAEC1E3-2241-4370-8FDB-F4FAA904BB83}" dt="2020-06-16T17:11:16.554" v="1586" actId="1076"/>
          <ac:spMkLst>
            <pc:docMk/>
            <pc:sldMk cId="689766239" sldId="2134804294"/>
            <ac:spMk id="54" creationId="{C38A9719-1AF0-4D7F-AF9E-714FBC133573}"/>
          </ac:spMkLst>
        </pc:spChg>
        <pc:spChg chg="mod">
          <ac:chgData name="Andrea Mogollon Nossa (CENIT)" userId="f6a3e592-cc27-4858-b185-ff86be206069" providerId="ADAL" clId="{2CAEC1E3-2241-4370-8FDB-F4FAA904BB83}" dt="2020-06-16T17:11:11.610" v="1585" actId="1076"/>
          <ac:spMkLst>
            <pc:docMk/>
            <pc:sldMk cId="689766239" sldId="2134804294"/>
            <ac:spMk id="55" creationId="{49F2795A-5140-4AC5-A7B3-7D9E1FDA715F}"/>
          </ac:spMkLst>
        </pc:spChg>
        <pc:spChg chg="mod">
          <ac:chgData name="Andrea Mogollon Nossa (CENIT)" userId="f6a3e592-cc27-4858-b185-ff86be206069" providerId="ADAL" clId="{2CAEC1E3-2241-4370-8FDB-F4FAA904BB83}" dt="2020-06-16T17:11:11.610" v="1585" actId="1076"/>
          <ac:spMkLst>
            <pc:docMk/>
            <pc:sldMk cId="689766239" sldId="2134804294"/>
            <ac:spMk id="56" creationId="{DB12A4C4-1175-4202-AE66-75E4184D4889}"/>
          </ac:spMkLst>
        </pc:spChg>
        <pc:spChg chg="mod">
          <ac:chgData name="Andrea Mogollon Nossa (CENIT)" userId="f6a3e592-cc27-4858-b185-ff86be206069" providerId="ADAL" clId="{2CAEC1E3-2241-4370-8FDB-F4FAA904BB83}" dt="2020-06-16T17:11:11.610" v="1585" actId="1076"/>
          <ac:spMkLst>
            <pc:docMk/>
            <pc:sldMk cId="689766239" sldId="2134804294"/>
            <ac:spMk id="57" creationId="{6D2C0EC2-9819-47A8-BF97-F113A3CCB2B6}"/>
          </ac:spMkLst>
        </pc:spChg>
        <pc:spChg chg="mod">
          <ac:chgData name="Andrea Mogollon Nossa (CENIT)" userId="f6a3e592-cc27-4858-b185-ff86be206069" providerId="ADAL" clId="{2CAEC1E3-2241-4370-8FDB-F4FAA904BB83}" dt="2020-06-16T17:11:11.610" v="1585" actId="1076"/>
          <ac:spMkLst>
            <pc:docMk/>
            <pc:sldMk cId="689766239" sldId="2134804294"/>
            <ac:spMk id="58" creationId="{9B8439E9-756C-4802-AE86-DE4E66184BA1}"/>
          </ac:spMkLst>
        </pc:spChg>
        <pc:spChg chg="mod">
          <ac:chgData name="Andrea Mogollon Nossa (CENIT)" userId="f6a3e592-cc27-4858-b185-ff86be206069" providerId="ADAL" clId="{2CAEC1E3-2241-4370-8FDB-F4FAA904BB83}" dt="2020-06-16T17:11:11.610" v="1585" actId="1076"/>
          <ac:spMkLst>
            <pc:docMk/>
            <pc:sldMk cId="689766239" sldId="2134804294"/>
            <ac:spMk id="59" creationId="{37A5FDFB-B4F6-4C26-ACAC-D5D3A3FE6F07}"/>
          </ac:spMkLst>
        </pc:spChg>
        <pc:spChg chg="mod">
          <ac:chgData name="Andrea Mogollon Nossa (CENIT)" userId="f6a3e592-cc27-4858-b185-ff86be206069" providerId="ADAL" clId="{2CAEC1E3-2241-4370-8FDB-F4FAA904BB83}" dt="2020-06-16T17:11:11.610" v="1585" actId="1076"/>
          <ac:spMkLst>
            <pc:docMk/>
            <pc:sldMk cId="689766239" sldId="2134804294"/>
            <ac:spMk id="60" creationId="{24ECBACF-9F7F-41A7-9239-E723EE2B1B87}"/>
          </ac:spMkLst>
        </pc:spChg>
        <pc:spChg chg="mod">
          <ac:chgData name="Andrea Mogollon Nossa (CENIT)" userId="f6a3e592-cc27-4858-b185-ff86be206069" providerId="ADAL" clId="{2CAEC1E3-2241-4370-8FDB-F4FAA904BB83}" dt="2020-06-16T17:11:11.610" v="1585" actId="1076"/>
          <ac:spMkLst>
            <pc:docMk/>
            <pc:sldMk cId="689766239" sldId="2134804294"/>
            <ac:spMk id="61" creationId="{650A9289-5CB4-4614-BEDF-A6E766DF033A}"/>
          </ac:spMkLst>
        </pc:spChg>
        <pc:spChg chg="mod">
          <ac:chgData name="Andrea Mogollon Nossa (CENIT)" userId="f6a3e592-cc27-4858-b185-ff86be206069" providerId="ADAL" clId="{2CAEC1E3-2241-4370-8FDB-F4FAA904BB83}" dt="2020-06-16T16:50:20.946" v="1299" actId="1076"/>
          <ac:spMkLst>
            <pc:docMk/>
            <pc:sldMk cId="689766239" sldId="2134804294"/>
            <ac:spMk id="62" creationId="{5419A0C4-DA63-40D3-B1C1-7D649744C961}"/>
          </ac:spMkLst>
        </pc:spChg>
        <pc:spChg chg="mod">
          <ac:chgData name="Andrea Mogollon Nossa (CENIT)" userId="f6a3e592-cc27-4858-b185-ff86be206069" providerId="ADAL" clId="{2CAEC1E3-2241-4370-8FDB-F4FAA904BB83}" dt="2020-06-16T16:50:22.907" v="1300" actId="1076"/>
          <ac:spMkLst>
            <pc:docMk/>
            <pc:sldMk cId="689766239" sldId="2134804294"/>
            <ac:spMk id="63" creationId="{921FDB8B-D26D-44D7-8FDF-62CCF1ED0C24}"/>
          </ac:spMkLst>
        </pc:spChg>
        <pc:spChg chg="mod">
          <ac:chgData name="Andrea Mogollon Nossa (CENIT)" userId="f6a3e592-cc27-4858-b185-ff86be206069" providerId="ADAL" clId="{2CAEC1E3-2241-4370-8FDB-F4FAA904BB83}" dt="2020-06-16T16:50:19.034" v="1298" actId="1076"/>
          <ac:spMkLst>
            <pc:docMk/>
            <pc:sldMk cId="689766239" sldId="2134804294"/>
            <ac:spMk id="64" creationId="{67034597-84B8-4A8E-A718-F04F8D12DA13}"/>
          </ac:spMkLst>
        </pc:spChg>
        <pc:spChg chg="mod">
          <ac:chgData name="Andrea Mogollon Nossa (CENIT)" userId="f6a3e592-cc27-4858-b185-ff86be206069" providerId="ADAL" clId="{2CAEC1E3-2241-4370-8FDB-F4FAA904BB83}" dt="2020-06-16T16:50:24.987" v="1301" actId="1076"/>
          <ac:spMkLst>
            <pc:docMk/>
            <pc:sldMk cId="689766239" sldId="2134804294"/>
            <ac:spMk id="65" creationId="{EFD704C2-B677-43C1-868E-4733842A4506}"/>
          </ac:spMkLst>
        </pc:spChg>
        <pc:spChg chg="mod">
          <ac:chgData name="Andrea Mogollon Nossa (CENIT)" userId="f6a3e592-cc27-4858-b185-ff86be206069" providerId="ADAL" clId="{2CAEC1E3-2241-4370-8FDB-F4FAA904BB83}" dt="2020-06-16T17:11:11.610" v="1585" actId="1076"/>
          <ac:spMkLst>
            <pc:docMk/>
            <pc:sldMk cId="689766239" sldId="2134804294"/>
            <ac:spMk id="66" creationId="{E3715D34-037A-4075-AD33-D36B88DE8DA9}"/>
          </ac:spMkLst>
        </pc:spChg>
        <pc:spChg chg="mod">
          <ac:chgData name="Andrea Mogollon Nossa (CENIT)" userId="f6a3e592-cc27-4858-b185-ff86be206069" providerId="ADAL" clId="{2CAEC1E3-2241-4370-8FDB-F4FAA904BB83}" dt="2020-06-16T17:11:11.610" v="1585" actId="1076"/>
          <ac:spMkLst>
            <pc:docMk/>
            <pc:sldMk cId="689766239" sldId="2134804294"/>
            <ac:spMk id="67" creationId="{E41D27C7-41BB-46FF-B584-1636633442B6}"/>
          </ac:spMkLst>
        </pc:spChg>
        <pc:spChg chg="mod">
          <ac:chgData name="Andrea Mogollon Nossa (CENIT)" userId="f6a3e592-cc27-4858-b185-ff86be206069" providerId="ADAL" clId="{2CAEC1E3-2241-4370-8FDB-F4FAA904BB83}" dt="2020-06-17T21:15:19.777" v="6280" actId="20577"/>
          <ac:spMkLst>
            <pc:docMk/>
            <pc:sldMk cId="689766239" sldId="2134804294"/>
            <ac:spMk id="68" creationId="{A18C8550-895B-4843-A1B6-21EDC0673ACB}"/>
          </ac:spMkLst>
        </pc:spChg>
        <pc:spChg chg="mod">
          <ac:chgData name="Andrea Mogollon Nossa (CENIT)" userId="f6a3e592-cc27-4858-b185-ff86be206069" providerId="ADAL" clId="{2CAEC1E3-2241-4370-8FDB-F4FAA904BB83}" dt="2020-06-17T21:15:21.806" v="6282" actId="20577"/>
          <ac:spMkLst>
            <pc:docMk/>
            <pc:sldMk cId="689766239" sldId="2134804294"/>
            <ac:spMk id="69" creationId="{E03EFC44-1066-4C28-BEB5-9D8B8475DA21}"/>
          </ac:spMkLst>
        </pc:spChg>
        <pc:spChg chg="mod">
          <ac:chgData name="Andrea Mogollon Nossa (CENIT)" userId="f6a3e592-cc27-4858-b185-ff86be206069" providerId="ADAL" clId="{2CAEC1E3-2241-4370-8FDB-F4FAA904BB83}" dt="2020-06-17T13:25:23.442" v="2813" actId="14100"/>
          <ac:spMkLst>
            <pc:docMk/>
            <pc:sldMk cId="689766239" sldId="2134804294"/>
            <ac:spMk id="70" creationId="{464D1786-51BC-4285-B1A0-B0A00A5B60C7}"/>
          </ac:spMkLst>
        </pc:spChg>
        <pc:spChg chg="mod">
          <ac:chgData name="Andrea Mogollon Nossa (CENIT)" userId="f6a3e592-cc27-4858-b185-ff86be206069" providerId="ADAL" clId="{2CAEC1E3-2241-4370-8FDB-F4FAA904BB83}" dt="2020-06-17T13:25:29.754" v="2814" actId="14100"/>
          <ac:spMkLst>
            <pc:docMk/>
            <pc:sldMk cId="689766239" sldId="2134804294"/>
            <ac:spMk id="71" creationId="{4836D068-702B-4045-B7A8-99FF08023F6D}"/>
          </ac:spMkLst>
        </pc:spChg>
        <pc:spChg chg="mod">
          <ac:chgData name="Andrea Mogollon Nossa (CENIT)" userId="f6a3e592-cc27-4858-b185-ff86be206069" providerId="ADAL" clId="{2CAEC1E3-2241-4370-8FDB-F4FAA904BB83}" dt="2020-06-16T17:11:11.610" v="1585" actId="1076"/>
          <ac:spMkLst>
            <pc:docMk/>
            <pc:sldMk cId="689766239" sldId="2134804294"/>
            <ac:spMk id="72" creationId="{89DE429E-CB9E-4D81-ABF0-57B74A17076B}"/>
          </ac:spMkLst>
        </pc:spChg>
        <pc:spChg chg="mod">
          <ac:chgData name="Andrea Mogollon Nossa (CENIT)" userId="f6a3e592-cc27-4858-b185-ff86be206069" providerId="ADAL" clId="{2CAEC1E3-2241-4370-8FDB-F4FAA904BB83}" dt="2020-06-16T17:11:11.610" v="1585" actId="1076"/>
          <ac:spMkLst>
            <pc:docMk/>
            <pc:sldMk cId="689766239" sldId="2134804294"/>
            <ac:spMk id="73" creationId="{D2C8D331-431F-450E-984A-A362AB966BAC}"/>
          </ac:spMkLst>
        </pc:spChg>
        <pc:spChg chg="mod">
          <ac:chgData name="Andrea Mogollon Nossa (CENIT)" userId="f6a3e592-cc27-4858-b185-ff86be206069" providerId="ADAL" clId="{2CAEC1E3-2241-4370-8FDB-F4FAA904BB83}" dt="2020-06-16T17:11:11.610" v="1585" actId="1076"/>
          <ac:spMkLst>
            <pc:docMk/>
            <pc:sldMk cId="689766239" sldId="2134804294"/>
            <ac:spMk id="74" creationId="{028EA49A-637B-4697-A40E-1F22C3459645}"/>
          </ac:spMkLst>
        </pc:spChg>
        <pc:spChg chg="add mod">
          <ac:chgData name="Andrea Mogollon Nossa (CENIT)" userId="f6a3e592-cc27-4858-b185-ff86be206069" providerId="ADAL" clId="{2CAEC1E3-2241-4370-8FDB-F4FAA904BB83}" dt="2020-06-16T17:11:21.459" v="1587" actId="1076"/>
          <ac:spMkLst>
            <pc:docMk/>
            <pc:sldMk cId="689766239" sldId="2134804294"/>
            <ac:spMk id="75" creationId="{36F5D3BB-A7D0-4A8C-9E56-AD51794C8B3F}"/>
          </ac:spMkLst>
        </pc:spChg>
        <pc:spChg chg="mod">
          <ac:chgData name="Andrea Mogollon Nossa (CENIT)" userId="f6a3e592-cc27-4858-b185-ff86be206069" providerId="ADAL" clId="{2CAEC1E3-2241-4370-8FDB-F4FAA904BB83}" dt="2020-06-17T13:24:26.498" v="2808" actId="208"/>
          <ac:spMkLst>
            <pc:docMk/>
            <pc:sldMk cId="689766239" sldId="2134804294"/>
            <ac:spMk id="76" creationId="{25A852B0-8475-4C60-AEB9-D1040C49C3BB}"/>
          </ac:spMkLst>
        </pc:spChg>
        <pc:spChg chg="mod">
          <ac:chgData name="Andrea Mogollon Nossa (CENIT)" userId="f6a3e592-cc27-4858-b185-ff86be206069" providerId="ADAL" clId="{2CAEC1E3-2241-4370-8FDB-F4FAA904BB83}" dt="2020-06-17T21:15:24.559" v="6284" actId="20577"/>
          <ac:spMkLst>
            <pc:docMk/>
            <pc:sldMk cId="689766239" sldId="2134804294"/>
            <ac:spMk id="77" creationId="{752D6E0D-8107-4801-AA2E-BABE12D31E5A}"/>
          </ac:spMkLst>
        </pc:spChg>
        <pc:spChg chg="mod">
          <ac:chgData name="Andrea Mogollon Nossa (CENIT)" userId="f6a3e592-cc27-4858-b185-ff86be206069" providerId="ADAL" clId="{2CAEC1E3-2241-4370-8FDB-F4FAA904BB83}" dt="2020-06-16T17:11:11.610" v="1585" actId="1076"/>
          <ac:spMkLst>
            <pc:docMk/>
            <pc:sldMk cId="689766239" sldId="2134804294"/>
            <ac:spMk id="78" creationId="{46301A00-37E9-4660-814A-89E7E18F1668}"/>
          </ac:spMkLst>
        </pc:spChg>
        <pc:spChg chg="add mod">
          <ac:chgData name="Andrea Mogollon Nossa (CENIT)" userId="f6a3e592-cc27-4858-b185-ff86be206069" providerId="ADAL" clId="{2CAEC1E3-2241-4370-8FDB-F4FAA904BB83}" dt="2020-06-16T17:11:21.459" v="1587" actId="1076"/>
          <ac:spMkLst>
            <pc:docMk/>
            <pc:sldMk cId="689766239" sldId="2134804294"/>
            <ac:spMk id="79" creationId="{96BF9551-9FEA-4954-A77D-F8AFBC56E9AC}"/>
          </ac:spMkLst>
        </pc:spChg>
        <pc:spChg chg="add del mod">
          <ac:chgData name="Andrea Mogollon Nossa (CENIT)" userId="f6a3e592-cc27-4858-b185-ff86be206069" providerId="ADAL" clId="{2CAEC1E3-2241-4370-8FDB-F4FAA904BB83}" dt="2020-06-16T16:55:26.401" v="1315" actId="478"/>
          <ac:spMkLst>
            <pc:docMk/>
            <pc:sldMk cId="689766239" sldId="2134804294"/>
            <ac:spMk id="80" creationId="{2106197E-0CB7-40D0-BE24-F75F02BC2E39}"/>
          </ac:spMkLst>
        </pc:spChg>
        <pc:spChg chg="add del mod">
          <ac:chgData name="Andrea Mogollon Nossa (CENIT)" userId="f6a3e592-cc27-4858-b185-ff86be206069" providerId="ADAL" clId="{2CAEC1E3-2241-4370-8FDB-F4FAA904BB83}" dt="2020-06-16T16:55:25.108" v="1314" actId="478"/>
          <ac:spMkLst>
            <pc:docMk/>
            <pc:sldMk cId="689766239" sldId="2134804294"/>
            <ac:spMk id="81" creationId="{60C69183-0D22-41C8-A364-560E42DF1D47}"/>
          </ac:spMkLst>
        </pc:spChg>
        <pc:spChg chg="add mod">
          <ac:chgData name="Andrea Mogollon Nossa (CENIT)" userId="f6a3e592-cc27-4858-b185-ff86be206069" providerId="ADAL" clId="{2CAEC1E3-2241-4370-8FDB-F4FAA904BB83}" dt="2020-06-16T17:11:21.459" v="1587" actId="1076"/>
          <ac:spMkLst>
            <pc:docMk/>
            <pc:sldMk cId="689766239" sldId="2134804294"/>
            <ac:spMk id="82" creationId="{52F33BC3-0C9E-457C-80B3-CA30A53B63A7}"/>
          </ac:spMkLst>
        </pc:spChg>
        <pc:spChg chg="mod">
          <ac:chgData name="Andrea Mogollon Nossa (CENIT)" userId="f6a3e592-cc27-4858-b185-ff86be206069" providerId="ADAL" clId="{2CAEC1E3-2241-4370-8FDB-F4FAA904BB83}" dt="2020-06-17T17:44:28.264" v="4863" actId="20577"/>
          <ac:spMkLst>
            <pc:docMk/>
            <pc:sldMk cId="689766239" sldId="2134804294"/>
            <ac:spMk id="82" creationId="{F356FE48-7C2B-4E8A-AABF-3B844FDD347E}"/>
          </ac:spMkLst>
        </pc:spChg>
        <pc:spChg chg="mod">
          <ac:chgData name="Andrea Mogollon Nossa (CENIT)" userId="f6a3e592-cc27-4858-b185-ff86be206069" providerId="ADAL" clId="{2CAEC1E3-2241-4370-8FDB-F4FAA904BB83}" dt="2020-06-17T17:44:34.637" v="4868" actId="20577"/>
          <ac:spMkLst>
            <pc:docMk/>
            <pc:sldMk cId="689766239" sldId="2134804294"/>
            <ac:spMk id="83" creationId="{22BF857A-F1CA-4AEA-B4B8-103A1EDFD797}"/>
          </ac:spMkLst>
        </pc:spChg>
        <pc:spChg chg="add mod">
          <ac:chgData name="Andrea Mogollon Nossa (CENIT)" userId="f6a3e592-cc27-4858-b185-ff86be206069" providerId="ADAL" clId="{2CAEC1E3-2241-4370-8FDB-F4FAA904BB83}" dt="2020-06-16T17:11:21.459" v="1587" actId="1076"/>
          <ac:spMkLst>
            <pc:docMk/>
            <pc:sldMk cId="689766239" sldId="2134804294"/>
            <ac:spMk id="83" creationId="{78D30227-9D03-4483-8BE9-D3A80CA3BBB1}"/>
          </ac:spMkLst>
        </pc:spChg>
        <pc:spChg chg="add mod">
          <ac:chgData name="Andrea Mogollon Nossa (CENIT)" userId="f6a3e592-cc27-4858-b185-ff86be206069" providerId="ADAL" clId="{2CAEC1E3-2241-4370-8FDB-F4FAA904BB83}" dt="2020-06-16T17:11:21.459" v="1587" actId="1076"/>
          <ac:spMkLst>
            <pc:docMk/>
            <pc:sldMk cId="689766239" sldId="2134804294"/>
            <ac:spMk id="84" creationId="{38F4F5E2-3958-4DBD-88A5-B5E2B526A3B3}"/>
          </ac:spMkLst>
        </pc:spChg>
        <pc:spChg chg="mod">
          <ac:chgData name="Andrea Mogollon Nossa (CENIT)" userId="f6a3e592-cc27-4858-b185-ff86be206069" providerId="ADAL" clId="{2CAEC1E3-2241-4370-8FDB-F4FAA904BB83}" dt="2020-06-17T17:44:47.136" v="4874" actId="20577"/>
          <ac:spMkLst>
            <pc:docMk/>
            <pc:sldMk cId="689766239" sldId="2134804294"/>
            <ac:spMk id="84" creationId="{5B4C9EEB-37B7-4FDB-BA09-0170AE7E657E}"/>
          </ac:spMkLst>
        </pc:spChg>
        <pc:spChg chg="add mod">
          <ac:chgData name="Andrea Mogollon Nossa (CENIT)" userId="f6a3e592-cc27-4858-b185-ff86be206069" providerId="ADAL" clId="{2CAEC1E3-2241-4370-8FDB-F4FAA904BB83}" dt="2020-06-16T17:11:21.459" v="1587" actId="1076"/>
          <ac:spMkLst>
            <pc:docMk/>
            <pc:sldMk cId="689766239" sldId="2134804294"/>
            <ac:spMk id="85" creationId="{49D70C4F-FB92-433A-AD31-17F2D7CC58E4}"/>
          </ac:spMkLst>
        </pc:spChg>
        <pc:spChg chg="add mod">
          <ac:chgData name="Andrea Mogollon Nossa (CENIT)" userId="f6a3e592-cc27-4858-b185-ff86be206069" providerId="ADAL" clId="{2CAEC1E3-2241-4370-8FDB-F4FAA904BB83}" dt="2020-06-16T17:11:21.459" v="1587" actId="1076"/>
          <ac:spMkLst>
            <pc:docMk/>
            <pc:sldMk cId="689766239" sldId="2134804294"/>
            <ac:spMk id="86" creationId="{B71CA7B4-75A2-489B-A9DD-3ED48ED9A291}"/>
          </ac:spMkLst>
        </pc:spChg>
        <pc:spChg chg="add mod">
          <ac:chgData name="Andrea Mogollon Nossa (CENIT)" userId="f6a3e592-cc27-4858-b185-ff86be206069" providerId="ADAL" clId="{2CAEC1E3-2241-4370-8FDB-F4FAA904BB83}" dt="2020-06-16T17:11:21.459" v="1587" actId="1076"/>
          <ac:spMkLst>
            <pc:docMk/>
            <pc:sldMk cId="689766239" sldId="2134804294"/>
            <ac:spMk id="87" creationId="{FCD9CCAD-0E6A-4C52-BC4E-505C9A9F373C}"/>
          </ac:spMkLst>
        </pc:spChg>
        <pc:spChg chg="add mod">
          <ac:chgData name="Andrea Mogollon Nossa (CENIT)" userId="f6a3e592-cc27-4858-b185-ff86be206069" providerId="ADAL" clId="{2CAEC1E3-2241-4370-8FDB-F4FAA904BB83}" dt="2020-06-16T17:11:21.459" v="1587" actId="1076"/>
          <ac:spMkLst>
            <pc:docMk/>
            <pc:sldMk cId="689766239" sldId="2134804294"/>
            <ac:spMk id="88" creationId="{1FD648DB-F788-4C08-910C-78E21BDE3868}"/>
          </ac:spMkLst>
        </pc:spChg>
        <pc:spChg chg="add mod">
          <ac:chgData name="Andrea Mogollon Nossa (CENIT)" userId="f6a3e592-cc27-4858-b185-ff86be206069" providerId="ADAL" clId="{2CAEC1E3-2241-4370-8FDB-F4FAA904BB83}" dt="2020-06-16T17:11:21.459" v="1587" actId="1076"/>
          <ac:spMkLst>
            <pc:docMk/>
            <pc:sldMk cId="689766239" sldId="2134804294"/>
            <ac:spMk id="89" creationId="{AFADC86E-CD33-4DD0-819B-2E6EA0166612}"/>
          </ac:spMkLst>
        </pc:spChg>
        <pc:spChg chg="add mod">
          <ac:chgData name="Andrea Mogollon Nossa (CENIT)" userId="f6a3e592-cc27-4858-b185-ff86be206069" providerId="ADAL" clId="{2CAEC1E3-2241-4370-8FDB-F4FAA904BB83}" dt="2020-06-16T17:11:21.459" v="1587" actId="1076"/>
          <ac:spMkLst>
            <pc:docMk/>
            <pc:sldMk cId="689766239" sldId="2134804294"/>
            <ac:spMk id="90" creationId="{BFAF2D39-729F-4E52-AD88-9F019250252F}"/>
          </ac:spMkLst>
        </pc:spChg>
        <pc:spChg chg="add mod">
          <ac:chgData name="Andrea Mogollon Nossa (CENIT)" userId="f6a3e592-cc27-4858-b185-ff86be206069" providerId="ADAL" clId="{2CAEC1E3-2241-4370-8FDB-F4FAA904BB83}" dt="2020-06-16T17:11:21.459" v="1587" actId="1076"/>
          <ac:spMkLst>
            <pc:docMk/>
            <pc:sldMk cId="689766239" sldId="2134804294"/>
            <ac:spMk id="91" creationId="{FF224A3B-31A8-4D4C-A373-597E98CA9042}"/>
          </ac:spMkLst>
        </pc:spChg>
        <pc:spChg chg="add mod">
          <ac:chgData name="Andrea Mogollon Nossa (CENIT)" userId="f6a3e592-cc27-4858-b185-ff86be206069" providerId="ADAL" clId="{2CAEC1E3-2241-4370-8FDB-F4FAA904BB83}" dt="2020-06-16T17:11:21.459" v="1587" actId="1076"/>
          <ac:spMkLst>
            <pc:docMk/>
            <pc:sldMk cId="689766239" sldId="2134804294"/>
            <ac:spMk id="92" creationId="{6DBEC22B-9D94-4FC7-A913-37AEBD6BD28F}"/>
          </ac:spMkLst>
        </pc:spChg>
        <pc:spChg chg="add mod">
          <ac:chgData name="Andrea Mogollon Nossa (CENIT)" userId="f6a3e592-cc27-4858-b185-ff86be206069" providerId="ADAL" clId="{2CAEC1E3-2241-4370-8FDB-F4FAA904BB83}" dt="2020-06-16T17:11:21.459" v="1587" actId="1076"/>
          <ac:spMkLst>
            <pc:docMk/>
            <pc:sldMk cId="689766239" sldId="2134804294"/>
            <ac:spMk id="93" creationId="{1AA7BE16-CAA3-4AF5-8E68-17285FF8FB91}"/>
          </ac:spMkLst>
        </pc:spChg>
        <pc:spChg chg="add mod">
          <ac:chgData name="Andrea Mogollon Nossa (CENIT)" userId="f6a3e592-cc27-4858-b185-ff86be206069" providerId="ADAL" clId="{2CAEC1E3-2241-4370-8FDB-F4FAA904BB83}" dt="2020-06-16T17:11:21.459" v="1587" actId="1076"/>
          <ac:spMkLst>
            <pc:docMk/>
            <pc:sldMk cId="689766239" sldId="2134804294"/>
            <ac:spMk id="94" creationId="{FF0FA873-1998-49D3-951B-09C97D461BDA}"/>
          </ac:spMkLst>
        </pc:spChg>
        <pc:spChg chg="mod">
          <ac:chgData name="Andrea Mogollon Nossa (CENIT)" userId="f6a3e592-cc27-4858-b185-ff86be206069" providerId="ADAL" clId="{2CAEC1E3-2241-4370-8FDB-F4FAA904BB83}" dt="2020-06-16T17:11:11.610" v="1585" actId="1076"/>
          <ac:spMkLst>
            <pc:docMk/>
            <pc:sldMk cId="689766239" sldId="2134804294"/>
            <ac:spMk id="96" creationId="{1DFEF71A-A80A-4597-AAC9-DB256058084B}"/>
          </ac:spMkLst>
        </pc:spChg>
        <pc:spChg chg="mod">
          <ac:chgData name="Andrea Mogollon Nossa (CENIT)" userId="f6a3e592-cc27-4858-b185-ff86be206069" providerId="ADAL" clId="{2CAEC1E3-2241-4370-8FDB-F4FAA904BB83}" dt="2020-06-16T17:11:11.610" v="1585" actId="1076"/>
          <ac:spMkLst>
            <pc:docMk/>
            <pc:sldMk cId="689766239" sldId="2134804294"/>
            <ac:spMk id="97" creationId="{99300021-C267-43BD-A0F5-B3ECE622345E}"/>
          </ac:spMkLst>
        </pc:spChg>
        <pc:spChg chg="add mod">
          <ac:chgData name="Andrea Mogollon Nossa (CENIT)" userId="f6a3e592-cc27-4858-b185-ff86be206069" providerId="ADAL" clId="{2CAEC1E3-2241-4370-8FDB-F4FAA904BB83}" dt="2020-06-16T17:11:21.459" v="1587" actId="1076"/>
          <ac:spMkLst>
            <pc:docMk/>
            <pc:sldMk cId="689766239" sldId="2134804294"/>
            <ac:spMk id="98" creationId="{4D2C3281-A9CB-49DD-8934-EA33C9AA15B4}"/>
          </ac:spMkLst>
        </pc:spChg>
        <pc:spChg chg="mod">
          <ac:chgData name="Andrea Mogollon Nossa (CENIT)" userId="f6a3e592-cc27-4858-b185-ff86be206069" providerId="ADAL" clId="{2CAEC1E3-2241-4370-8FDB-F4FAA904BB83}" dt="2020-06-16T17:11:11.610" v="1585" actId="1076"/>
          <ac:spMkLst>
            <pc:docMk/>
            <pc:sldMk cId="689766239" sldId="2134804294"/>
            <ac:spMk id="99" creationId="{90CC82AC-D82E-4F89-AC67-093894759099}"/>
          </ac:spMkLst>
        </pc:spChg>
        <pc:spChg chg="mod">
          <ac:chgData name="Andrea Mogollon Nossa (CENIT)" userId="f6a3e592-cc27-4858-b185-ff86be206069" providerId="ADAL" clId="{2CAEC1E3-2241-4370-8FDB-F4FAA904BB83}" dt="2020-06-16T17:11:11.610" v="1585" actId="1076"/>
          <ac:spMkLst>
            <pc:docMk/>
            <pc:sldMk cId="689766239" sldId="2134804294"/>
            <ac:spMk id="100" creationId="{1835F856-5B59-4AFF-86DE-2F0968B76CF7}"/>
          </ac:spMkLst>
        </pc:spChg>
        <pc:spChg chg="add mod">
          <ac:chgData name="Andrea Mogollon Nossa (CENIT)" userId="f6a3e592-cc27-4858-b185-ff86be206069" providerId="ADAL" clId="{2CAEC1E3-2241-4370-8FDB-F4FAA904BB83}" dt="2020-06-16T17:11:21.459" v="1587" actId="1076"/>
          <ac:spMkLst>
            <pc:docMk/>
            <pc:sldMk cId="689766239" sldId="2134804294"/>
            <ac:spMk id="101" creationId="{D3918EAE-EF6B-45DC-8F80-8A1A66B080DE}"/>
          </ac:spMkLst>
        </pc:spChg>
        <pc:spChg chg="add mod">
          <ac:chgData name="Andrea Mogollon Nossa (CENIT)" userId="f6a3e592-cc27-4858-b185-ff86be206069" providerId="ADAL" clId="{2CAEC1E3-2241-4370-8FDB-F4FAA904BB83}" dt="2020-06-16T17:11:21.459" v="1587" actId="1076"/>
          <ac:spMkLst>
            <pc:docMk/>
            <pc:sldMk cId="689766239" sldId="2134804294"/>
            <ac:spMk id="102" creationId="{CE18E381-5C57-48C4-BE18-9CF05418C88F}"/>
          </ac:spMkLst>
        </pc:spChg>
        <pc:spChg chg="add mod">
          <ac:chgData name="Andrea Mogollon Nossa (CENIT)" userId="f6a3e592-cc27-4858-b185-ff86be206069" providerId="ADAL" clId="{2CAEC1E3-2241-4370-8FDB-F4FAA904BB83}" dt="2020-06-16T17:11:21.459" v="1587" actId="1076"/>
          <ac:spMkLst>
            <pc:docMk/>
            <pc:sldMk cId="689766239" sldId="2134804294"/>
            <ac:spMk id="103" creationId="{190A9AD0-5D39-4D84-99C5-919AC374234F}"/>
          </ac:spMkLst>
        </pc:spChg>
        <pc:spChg chg="mod">
          <ac:chgData name="Andrea Mogollon Nossa (CENIT)" userId="f6a3e592-cc27-4858-b185-ff86be206069" providerId="ADAL" clId="{2CAEC1E3-2241-4370-8FDB-F4FAA904BB83}" dt="2020-06-17T21:15:17.740" v="6278" actId="20577"/>
          <ac:spMkLst>
            <pc:docMk/>
            <pc:sldMk cId="689766239" sldId="2134804294"/>
            <ac:spMk id="104" creationId="{0326A105-08B6-409E-9596-07BD7645DEAE}"/>
          </ac:spMkLst>
        </pc:spChg>
        <pc:spChg chg="add mod">
          <ac:chgData name="Andrea Mogollon Nossa (CENIT)" userId="f6a3e592-cc27-4858-b185-ff86be206069" providerId="ADAL" clId="{2CAEC1E3-2241-4370-8FDB-F4FAA904BB83}" dt="2020-06-16T17:11:21.459" v="1587" actId="1076"/>
          <ac:spMkLst>
            <pc:docMk/>
            <pc:sldMk cId="689766239" sldId="2134804294"/>
            <ac:spMk id="105" creationId="{14E36546-3D04-436C-AF02-4204E1709BFE}"/>
          </ac:spMkLst>
        </pc:spChg>
        <pc:spChg chg="mod">
          <ac:chgData name="Andrea Mogollon Nossa (CENIT)" userId="f6a3e592-cc27-4858-b185-ff86be206069" providerId="ADAL" clId="{2CAEC1E3-2241-4370-8FDB-F4FAA904BB83}" dt="2020-06-17T21:15:15.712" v="6275" actId="20577"/>
          <ac:spMkLst>
            <pc:docMk/>
            <pc:sldMk cId="689766239" sldId="2134804294"/>
            <ac:spMk id="106" creationId="{8BF155F6-9EE4-4410-BB22-DEE4B18E9FEF}"/>
          </ac:spMkLst>
        </pc:spChg>
        <pc:spChg chg="mod">
          <ac:chgData name="Andrea Mogollon Nossa (CENIT)" userId="f6a3e592-cc27-4858-b185-ff86be206069" providerId="ADAL" clId="{2CAEC1E3-2241-4370-8FDB-F4FAA904BB83}" dt="2020-06-17T21:15:13.280" v="6273" actId="20577"/>
          <ac:spMkLst>
            <pc:docMk/>
            <pc:sldMk cId="689766239" sldId="2134804294"/>
            <ac:spMk id="107" creationId="{4802A65C-C4BA-49C6-A107-DC404BE5C336}"/>
          </ac:spMkLst>
        </pc:spChg>
        <pc:spChg chg="add mod ord">
          <ac:chgData name="Andrea Mogollon Nossa (CENIT)" userId="f6a3e592-cc27-4858-b185-ff86be206069" providerId="ADAL" clId="{2CAEC1E3-2241-4370-8FDB-F4FAA904BB83}" dt="2020-06-16T17:11:21.459" v="1587" actId="1076"/>
          <ac:spMkLst>
            <pc:docMk/>
            <pc:sldMk cId="689766239" sldId="2134804294"/>
            <ac:spMk id="108" creationId="{9A40F502-D75D-4D3F-B8ED-9B85DF8B9C67}"/>
          </ac:spMkLst>
        </pc:spChg>
        <pc:spChg chg="add mod">
          <ac:chgData name="Andrea Mogollon Nossa (CENIT)" userId="f6a3e592-cc27-4858-b185-ff86be206069" providerId="ADAL" clId="{2CAEC1E3-2241-4370-8FDB-F4FAA904BB83}" dt="2020-06-16T17:11:21.459" v="1587" actId="1076"/>
          <ac:spMkLst>
            <pc:docMk/>
            <pc:sldMk cId="689766239" sldId="2134804294"/>
            <ac:spMk id="109" creationId="{8A9F45B3-7173-469A-A773-F75BF2EE87F9}"/>
          </ac:spMkLst>
        </pc:spChg>
        <pc:spChg chg="add mod">
          <ac:chgData name="Andrea Mogollon Nossa (CENIT)" userId="f6a3e592-cc27-4858-b185-ff86be206069" providerId="ADAL" clId="{2CAEC1E3-2241-4370-8FDB-F4FAA904BB83}" dt="2020-06-16T17:11:21.459" v="1587" actId="1076"/>
          <ac:spMkLst>
            <pc:docMk/>
            <pc:sldMk cId="689766239" sldId="2134804294"/>
            <ac:spMk id="110" creationId="{1918690C-6A45-489A-956F-1F15E74CDBBD}"/>
          </ac:spMkLst>
        </pc:spChg>
        <pc:spChg chg="mod">
          <ac:chgData name="Andrea Mogollon Nossa (CENIT)" userId="f6a3e592-cc27-4858-b185-ff86be206069" providerId="ADAL" clId="{2CAEC1E3-2241-4370-8FDB-F4FAA904BB83}" dt="2020-06-16T17:11:51.850" v="1590" actId="1076"/>
          <ac:spMkLst>
            <pc:docMk/>
            <pc:sldMk cId="689766239" sldId="2134804294"/>
            <ac:spMk id="140" creationId="{2062ABD7-3E18-481C-BE0F-59304E710CAD}"/>
          </ac:spMkLst>
        </pc:spChg>
        <pc:spChg chg="mod">
          <ac:chgData name="Andrea Mogollon Nossa (CENIT)" userId="f6a3e592-cc27-4858-b185-ff86be206069" providerId="ADAL" clId="{2CAEC1E3-2241-4370-8FDB-F4FAA904BB83}" dt="2020-06-16T17:11:11.610" v="1585" actId="1076"/>
          <ac:spMkLst>
            <pc:docMk/>
            <pc:sldMk cId="689766239" sldId="2134804294"/>
            <ac:spMk id="146" creationId="{D86974CC-32BF-439F-A6E2-D1E82520294D}"/>
          </ac:spMkLst>
        </pc:spChg>
        <pc:spChg chg="del mod">
          <ac:chgData name="Andrea Mogollon Nossa (CENIT)" userId="f6a3e592-cc27-4858-b185-ff86be206069" providerId="ADAL" clId="{2CAEC1E3-2241-4370-8FDB-F4FAA904BB83}" dt="2020-06-17T17:43:44.546" v="4841" actId="478"/>
          <ac:spMkLst>
            <pc:docMk/>
            <pc:sldMk cId="689766239" sldId="2134804294"/>
            <ac:spMk id="149" creationId="{6C380BA4-35C1-4332-914A-D9BAB399A353}"/>
          </ac:spMkLst>
        </pc:spChg>
        <pc:spChg chg="del mod">
          <ac:chgData name="Andrea Mogollon Nossa (CENIT)" userId="f6a3e592-cc27-4858-b185-ff86be206069" providerId="ADAL" clId="{2CAEC1E3-2241-4370-8FDB-F4FAA904BB83}" dt="2020-06-17T17:43:44.546" v="4841" actId="478"/>
          <ac:spMkLst>
            <pc:docMk/>
            <pc:sldMk cId="689766239" sldId="2134804294"/>
            <ac:spMk id="150" creationId="{95A4036D-3FC3-43CB-9298-3B8A996F570C}"/>
          </ac:spMkLst>
        </pc:spChg>
        <pc:spChg chg="del mod">
          <ac:chgData name="Andrea Mogollon Nossa (CENIT)" userId="f6a3e592-cc27-4858-b185-ff86be206069" providerId="ADAL" clId="{2CAEC1E3-2241-4370-8FDB-F4FAA904BB83}" dt="2020-06-17T17:43:44.546" v="4841" actId="478"/>
          <ac:spMkLst>
            <pc:docMk/>
            <pc:sldMk cId="689766239" sldId="2134804294"/>
            <ac:spMk id="151" creationId="{82F2EF05-F5E1-44F9-BA83-E53933A9713A}"/>
          </ac:spMkLst>
        </pc:spChg>
        <pc:spChg chg="del mod">
          <ac:chgData name="Andrea Mogollon Nossa (CENIT)" userId="f6a3e592-cc27-4858-b185-ff86be206069" providerId="ADAL" clId="{2CAEC1E3-2241-4370-8FDB-F4FAA904BB83}" dt="2020-06-17T17:43:44.546" v="4841" actId="478"/>
          <ac:spMkLst>
            <pc:docMk/>
            <pc:sldMk cId="689766239" sldId="2134804294"/>
            <ac:spMk id="152" creationId="{97BE40F1-2174-4251-B2D5-927A60AC22D4}"/>
          </ac:spMkLst>
        </pc:spChg>
        <pc:spChg chg="del mod">
          <ac:chgData name="Andrea Mogollon Nossa (CENIT)" userId="f6a3e592-cc27-4858-b185-ff86be206069" providerId="ADAL" clId="{2CAEC1E3-2241-4370-8FDB-F4FAA904BB83}" dt="2020-06-17T17:43:45.718" v="4842" actId="478"/>
          <ac:spMkLst>
            <pc:docMk/>
            <pc:sldMk cId="689766239" sldId="2134804294"/>
            <ac:spMk id="153" creationId="{6D1027CA-D4ED-41B3-A42D-9259ED3A176D}"/>
          </ac:spMkLst>
        </pc:spChg>
        <pc:spChg chg="del mod">
          <ac:chgData name="Andrea Mogollon Nossa (CENIT)" userId="f6a3e592-cc27-4858-b185-ff86be206069" providerId="ADAL" clId="{2CAEC1E3-2241-4370-8FDB-F4FAA904BB83}" dt="2020-06-17T17:43:44.546" v="4841" actId="478"/>
          <ac:spMkLst>
            <pc:docMk/>
            <pc:sldMk cId="689766239" sldId="2134804294"/>
            <ac:spMk id="154" creationId="{2A087ECA-B500-43A8-99AB-0397E8C89DFE}"/>
          </ac:spMkLst>
        </pc:spChg>
        <pc:spChg chg="del mod">
          <ac:chgData name="Andrea Mogollon Nossa (CENIT)" userId="f6a3e592-cc27-4858-b185-ff86be206069" providerId="ADAL" clId="{2CAEC1E3-2241-4370-8FDB-F4FAA904BB83}" dt="2020-06-17T17:43:44.546" v="4841" actId="478"/>
          <ac:spMkLst>
            <pc:docMk/>
            <pc:sldMk cId="689766239" sldId="2134804294"/>
            <ac:spMk id="155" creationId="{D6322CF1-A49E-467A-B762-331C9A3EBBEA}"/>
          </ac:spMkLst>
        </pc:spChg>
        <pc:spChg chg="del mod">
          <ac:chgData name="Andrea Mogollon Nossa (CENIT)" userId="f6a3e592-cc27-4858-b185-ff86be206069" providerId="ADAL" clId="{2CAEC1E3-2241-4370-8FDB-F4FAA904BB83}" dt="2020-06-17T17:43:46.868" v="4844" actId="478"/>
          <ac:spMkLst>
            <pc:docMk/>
            <pc:sldMk cId="689766239" sldId="2134804294"/>
            <ac:spMk id="156" creationId="{B7ACC6A2-1D3D-4980-B9B4-EA9E9EB77787}"/>
          </ac:spMkLst>
        </pc:spChg>
        <pc:spChg chg="del mod">
          <ac:chgData name="Andrea Mogollon Nossa (CENIT)" userId="f6a3e592-cc27-4858-b185-ff86be206069" providerId="ADAL" clId="{2CAEC1E3-2241-4370-8FDB-F4FAA904BB83}" dt="2020-06-17T17:43:44.546" v="4841" actId="478"/>
          <ac:spMkLst>
            <pc:docMk/>
            <pc:sldMk cId="689766239" sldId="2134804294"/>
            <ac:spMk id="157" creationId="{C62AB9D5-A511-4120-940F-81B331E56327}"/>
          </ac:spMkLst>
        </pc:spChg>
        <pc:spChg chg="del mod">
          <ac:chgData name="Andrea Mogollon Nossa (CENIT)" userId="f6a3e592-cc27-4858-b185-ff86be206069" providerId="ADAL" clId="{2CAEC1E3-2241-4370-8FDB-F4FAA904BB83}" dt="2020-06-17T17:43:46.273" v="4843" actId="478"/>
          <ac:spMkLst>
            <pc:docMk/>
            <pc:sldMk cId="689766239" sldId="2134804294"/>
            <ac:spMk id="158" creationId="{29062A0E-9DC0-42B5-9A38-6A7430889215}"/>
          </ac:spMkLst>
        </pc:spChg>
        <pc:spChg chg="del mod">
          <ac:chgData name="Andrea Mogollon Nossa (CENIT)" userId="f6a3e592-cc27-4858-b185-ff86be206069" providerId="ADAL" clId="{2CAEC1E3-2241-4370-8FDB-F4FAA904BB83}" dt="2020-06-17T17:43:47.391" v="4845" actId="478"/>
          <ac:spMkLst>
            <pc:docMk/>
            <pc:sldMk cId="689766239" sldId="2134804294"/>
            <ac:spMk id="159" creationId="{4B4AA29D-CC88-45F1-A870-1ADC6DE767B6}"/>
          </ac:spMkLst>
        </pc:spChg>
        <pc:spChg chg="del mod">
          <ac:chgData name="Andrea Mogollon Nossa (CENIT)" userId="f6a3e592-cc27-4858-b185-ff86be206069" providerId="ADAL" clId="{2CAEC1E3-2241-4370-8FDB-F4FAA904BB83}" dt="2020-06-17T17:43:44.546" v="4841" actId="478"/>
          <ac:spMkLst>
            <pc:docMk/>
            <pc:sldMk cId="689766239" sldId="2134804294"/>
            <ac:spMk id="160" creationId="{23415F4C-21A3-425D-A623-F9781A2F680E}"/>
          </ac:spMkLst>
        </pc:spChg>
        <pc:spChg chg="del mod">
          <ac:chgData name="Andrea Mogollon Nossa (CENIT)" userId="f6a3e592-cc27-4858-b185-ff86be206069" providerId="ADAL" clId="{2CAEC1E3-2241-4370-8FDB-F4FAA904BB83}" dt="2020-06-17T17:43:44.546" v="4841" actId="478"/>
          <ac:spMkLst>
            <pc:docMk/>
            <pc:sldMk cId="689766239" sldId="2134804294"/>
            <ac:spMk id="161" creationId="{2B25826D-EA39-4DDB-AC0F-5252B8221FA1}"/>
          </ac:spMkLst>
        </pc:spChg>
        <pc:spChg chg="del mod">
          <ac:chgData name="Andrea Mogollon Nossa (CENIT)" userId="f6a3e592-cc27-4858-b185-ff86be206069" providerId="ADAL" clId="{2CAEC1E3-2241-4370-8FDB-F4FAA904BB83}" dt="2020-06-17T17:43:47.840" v="4846" actId="478"/>
          <ac:spMkLst>
            <pc:docMk/>
            <pc:sldMk cId="689766239" sldId="2134804294"/>
            <ac:spMk id="162" creationId="{90898057-2BFF-4905-8D7D-A8309C0FDD38}"/>
          </ac:spMkLst>
        </pc:spChg>
        <pc:spChg chg="del mod">
          <ac:chgData name="Andrea Mogollon Nossa (CENIT)" userId="f6a3e592-cc27-4858-b185-ff86be206069" providerId="ADAL" clId="{2CAEC1E3-2241-4370-8FDB-F4FAA904BB83}" dt="2020-06-17T17:43:44.546" v="4841" actId="478"/>
          <ac:spMkLst>
            <pc:docMk/>
            <pc:sldMk cId="689766239" sldId="2134804294"/>
            <ac:spMk id="163" creationId="{D7FB9EFB-B8BF-4997-A740-74761B94F867}"/>
          </ac:spMkLst>
        </pc:spChg>
        <pc:spChg chg="del mod">
          <ac:chgData name="Andrea Mogollon Nossa (CENIT)" userId="f6a3e592-cc27-4858-b185-ff86be206069" providerId="ADAL" clId="{2CAEC1E3-2241-4370-8FDB-F4FAA904BB83}" dt="2020-06-17T17:43:48.779" v="4847" actId="478"/>
          <ac:spMkLst>
            <pc:docMk/>
            <pc:sldMk cId="689766239" sldId="2134804294"/>
            <ac:spMk id="164" creationId="{45989E3C-F984-4E4A-9754-029F4362A77A}"/>
          </ac:spMkLst>
        </pc:spChg>
        <pc:spChg chg="del mod">
          <ac:chgData name="Andrea Mogollon Nossa (CENIT)" userId="f6a3e592-cc27-4858-b185-ff86be206069" providerId="ADAL" clId="{2CAEC1E3-2241-4370-8FDB-F4FAA904BB83}" dt="2020-06-17T17:43:44.546" v="4841" actId="478"/>
          <ac:spMkLst>
            <pc:docMk/>
            <pc:sldMk cId="689766239" sldId="2134804294"/>
            <ac:spMk id="165" creationId="{5DA3C30B-3C57-4020-B19E-0BC7C9E07C59}"/>
          </ac:spMkLst>
        </pc:spChg>
        <pc:spChg chg="del mod">
          <ac:chgData name="Andrea Mogollon Nossa (CENIT)" userId="f6a3e592-cc27-4858-b185-ff86be206069" providerId="ADAL" clId="{2CAEC1E3-2241-4370-8FDB-F4FAA904BB83}" dt="2020-06-17T17:43:51.565" v="4852" actId="478"/>
          <ac:spMkLst>
            <pc:docMk/>
            <pc:sldMk cId="689766239" sldId="2134804294"/>
            <ac:spMk id="166" creationId="{D58D3B44-51A5-41D4-93FA-BC18F79B30FA}"/>
          </ac:spMkLst>
        </pc:spChg>
        <pc:spChg chg="del mod">
          <ac:chgData name="Andrea Mogollon Nossa (CENIT)" userId="f6a3e592-cc27-4858-b185-ff86be206069" providerId="ADAL" clId="{2CAEC1E3-2241-4370-8FDB-F4FAA904BB83}" dt="2020-06-17T17:43:49.227" v="4848" actId="478"/>
          <ac:spMkLst>
            <pc:docMk/>
            <pc:sldMk cId="689766239" sldId="2134804294"/>
            <ac:spMk id="167" creationId="{895B9FE7-281A-4D3B-A363-85B971887E1C}"/>
          </ac:spMkLst>
        </pc:spChg>
        <pc:spChg chg="del mod">
          <ac:chgData name="Andrea Mogollon Nossa (CENIT)" userId="f6a3e592-cc27-4858-b185-ff86be206069" providerId="ADAL" clId="{2CAEC1E3-2241-4370-8FDB-F4FAA904BB83}" dt="2020-06-17T17:43:49.659" v="4849" actId="478"/>
          <ac:spMkLst>
            <pc:docMk/>
            <pc:sldMk cId="689766239" sldId="2134804294"/>
            <ac:spMk id="168" creationId="{C9C6E52E-C496-4919-A209-17987D94CD48}"/>
          </ac:spMkLst>
        </pc:spChg>
        <pc:spChg chg="del mod">
          <ac:chgData name="Andrea Mogollon Nossa (CENIT)" userId="f6a3e592-cc27-4858-b185-ff86be206069" providerId="ADAL" clId="{2CAEC1E3-2241-4370-8FDB-F4FAA904BB83}" dt="2020-06-17T17:43:44.546" v="4841" actId="478"/>
          <ac:spMkLst>
            <pc:docMk/>
            <pc:sldMk cId="689766239" sldId="2134804294"/>
            <ac:spMk id="169" creationId="{A29756DE-96BC-41A3-B1EC-D41A99573878}"/>
          </ac:spMkLst>
        </pc:spChg>
        <pc:spChg chg="del mod">
          <ac:chgData name="Andrea Mogollon Nossa (CENIT)" userId="f6a3e592-cc27-4858-b185-ff86be206069" providerId="ADAL" clId="{2CAEC1E3-2241-4370-8FDB-F4FAA904BB83}" dt="2020-06-17T17:43:50.647" v="4850" actId="478"/>
          <ac:spMkLst>
            <pc:docMk/>
            <pc:sldMk cId="689766239" sldId="2134804294"/>
            <ac:spMk id="170" creationId="{A037A168-B6E0-4BA1-A94D-842E080A47FA}"/>
          </ac:spMkLst>
        </pc:spChg>
        <pc:spChg chg="del mod">
          <ac:chgData name="Andrea Mogollon Nossa (CENIT)" userId="f6a3e592-cc27-4858-b185-ff86be206069" providerId="ADAL" clId="{2CAEC1E3-2241-4370-8FDB-F4FAA904BB83}" dt="2020-06-17T17:43:44.546" v="4841" actId="478"/>
          <ac:spMkLst>
            <pc:docMk/>
            <pc:sldMk cId="689766239" sldId="2134804294"/>
            <ac:spMk id="171" creationId="{E9DCBF7B-CFBB-4B8E-83CA-8CB37171508D}"/>
          </ac:spMkLst>
        </pc:spChg>
        <pc:spChg chg="del mod">
          <ac:chgData name="Andrea Mogollon Nossa (CENIT)" userId="f6a3e592-cc27-4858-b185-ff86be206069" providerId="ADAL" clId="{2CAEC1E3-2241-4370-8FDB-F4FAA904BB83}" dt="2020-06-17T17:43:51.116" v="4851" actId="478"/>
          <ac:spMkLst>
            <pc:docMk/>
            <pc:sldMk cId="689766239" sldId="2134804294"/>
            <ac:spMk id="172" creationId="{39687600-E9FD-4B31-A5FE-DA3B3A7DFDC0}"/>
          </ac:spMkLst>
        </pc:spChg>
        <pc:spChg chg="del mod">
          <ac:chgData name="Andrea Mogollon Nossa (CENIT)" userId="f6a3e592-cc27-4858-b185-ff86be206069" providerId="ADAL" clId="{2CAEC1E3-2241-4370-8FDB-F4FAA904BB83}" dt="2020-06-17T17:43:44.546" v="4841" actId="478"/>
          <ac:spMkLst>
            <pc:docMk/>
            <pc:sldMk cId="689766239" sldId="2134804294"/>
            <ac:spMk id="185" creationId="{8B3637CA-31A1-4DBA-8C04-67A44B1549FE}"/>
          </ac:spMkLst>
        </pc:spChg>
        <pc:spChg chg="del mod">
          <ac:chgData name="Andrea Mogollon Nossa (CENIT)" userId="f6a3e592-cc27-4858-b185-ff86be206069" providerId="ADAL" clId="{2CAEC1E3-2241-4370-8FDB-F4FAA904BB83}" dt="2020-06-17T17:43:44.546" v="4841" actId="478"/>
          <ac:spMkLst>
            <pc:docMk/>
            <pc:sldMk cId="689766239" sldId="2134804294"/>
            <ac:spMk id="186" creationId="{0E211D7E-4773-45B2-A656-28BD766EFD83}"/>
          </ac:spMkLst>
        </pc:spChg>
        <pc:spChg chg="del mod">
          <ac:chgData name="Andrea Mogollon Nossa (CENIT)" userId="f6a3e592-cc27-4858-b185-ff86be206069" providerId="ADAL" clId="{2CAEC1E3-2241-4370-8FDB-F4FAA904BB83}" dt="2020-06-17T17:43:44.546" v="4841" actId="478"/>
          <ac:spMkLst>
            <pc:docMk/>
            <pc:sldMk cId="689766239" sldId="2134804294"/>
            <ac:spMk id="187" creationId="{DA463F29-4FA2-4C21-AA9D-A20DB26C4D76}"/>
          </ac:spMkLst>
        </pc:spChg>
        <pc:spChg chg="add mod">
          <ac:chgData name="Andrea Mogollon Nossa (CENIT)" userId="f6a3e592-cc27-4858-b185-ff86be206069" providerId="ADAL" clId="{2CAEC1E3-2241-4370-8FDB-F4FAA904BB83}" dt="2020-06-17T14:09:40.827" v="3044" actId="1076"/>
          <ac:spMkLst>
            <pc:docMk/>
            <pc:sldMk cId="689766239" sldId="2134804294"/>
            <ac:spMk id="188" creationId="{FF7A2263-A063-406E-858B-519AB44EEF98}"/>
          </ac:spMkLst>
        </pc:spChg>
        <pc:spChg chg="add del mod">
          <ac:chgData name="Andrea Mogollon Nossa (CENIT)" userId="f6a3e592-cc27-4858-b185-ff86be206069" providerId="ADAL" clId="{2CAEC1E3-2241-4370-8FDB-F4FAA904BB83}" dt="2020-06-17T21:23:11.036" v="6349" actId="478"/>
          <ac:spMkLst>
            <pc:docMk/>
            <pc:sldMk cId="689766239" sldId="2134804294"/>
            <ac:spMk id="189" creationId="{50F0361C-6953-4FB5-96E9-9CBABFAAA3FE}"/>
          </ac:spMkLst>
        </pc:spChg>
        <pc:spChg chg="add del mod">
          <ac:chgData name="Andrea Mogollon Nossa (CENIT)" userId="f6a3e592-cc27-4858-b185-ff86be206069" providerId="ADAL" clId="{2CAEC1E3-2241-4370-8FDB-F4FAA904BB83}" dt="2020-06-17T21:23:11.036" v="6349" actId="478"/>
          <ac:spMkLst>
            <pc:docMk/>
            <pc:sldMk cId="689766239" sldId="2134804294"/>
            <ac:spMk id="190" creationId="{DF9CF04B-EC91-4168-AAEF-B518C70DDFC9}"/>
          </ac:spMkLst>
        </pc:spChg>
        <pc:spChg chg="add del mod">
          <ac:chgData name="Andrea Mogollon Nossa (CENIT)" userId="f6a3e592-cc27-4858-b185-ff86be206069" providerId="ADAL" clId="{2CAEC1E3-2241-4370-8FDB-F4FAA904BB83}" dt="2020-06-17T21:23:11.036" v="6349" actId="478"/>
          <ac:spMkLst>
            <pc:docMk/>
            <pc:sldMk cId="689766239" sldId="2134804294"/>
            <ac:spMk id="191" creationId="{5A81308C-A10D-42B6-8E59-60A5719ED1A3}"/>
          </ac:spMkLst>
        </pc:spChg>
        <pc:spChg chg="add del mod">
          <ac:chgData name="Andrea Mogollon Nossa (CENIT)" userId="f6a3e592-cc27-4858-b185-ff86be206069" providerId="ADAL" clId="{2CAEC1E3-2241-4370-8FDB-F4FAA904BB83}" dt="2020-06-17T21:23:11.036" v="6349" actId="478"/>
          <ac:spMkLst>
            <pc:docMk/>
            <pc:sldMk cId="689766239" sldId="2134804294"/>
            <ac:spMk id="192" creationId="{855F5C52-152E-4032-9F84-8B912D77AD7B}"/>
          </ac:spMkLst>
        </pc:spChg>
        <pc:spChg chg="add del mod">
          <ac:chgData name="Andrea Mogollon Nossa (CENIT)" userId="f6a3e592-cc27-4858-b185-ff86be206069" providerId="ADAL" clId="{2CAEC1E3-2241-4370-8FDB-F4FAA904BB83}" dt="2020-06-17T21:23:11.036" v="6349" actId="478"/>
          <ac:spMkLst>
            <pc:docMk/>
            <pc:sldMk cId="689766239" sldId="2134804294"/>
            <ac:spMk id="193" creationId="{6B4005FC-0F9D-48C4-9F94-95797DB0C8A0}"/>
          </ac:spMkLst>
        </pc:spChg>
        <pc:spChg chg="add del mod">
          <ac:chgData name="Andrea Mogollon Nossa (CENIT)" userId="f6a3e592-cc27-4858-b185-ff86be206069" providerId="ADAL" clId="{2CAEC1E3-2241-4370-8FDB-F4FAA904BB83}" dt="2020-06-17T21:23:11.036" v="6349" actId="478"/>
          <ac:spMkLst>
            <pc:docMk/>
            <pc:sldMk cId="689766239" sldId="2134804294"/>
            <ac:spMk id="194" creationId="{C4C9E1A0-8046-4A22-A102-5CBE63AA4ACB}"/>
          </ac:spMkLst>
        </pc:spChg>
        <pc:spChg chg="add del mod">
          <ac:chgData name="Andrea Mogollon Nossa (CENIT)" userId="f6a3e592-cc27-4858-b185-ff86be206069" providerId="ADAL" clId="{2CAEC1E3-2241-4370-8FDB-F4FAA904BB83}" dt="2020-06-17T21:23:11.036" v="6349" actId="478"/>
          <ac:spMkLst>
            <pc:docMk/>
            <pc:sldMk cId="689766239" sldId="2134804294"/>
            <ac:spMk id="195" creationId="{78A839EF-6E80-444F-863B-63663AC32EF2}"/>
          </ac:spMkLst>
        </pc:spChg>
        <pc:spChg chg="add del mod">
          <ac:chgData name="Andrea Mogollon Nossa (CENIT)" userId="f6a3e592-cc27-4858-b185-ff86be206069" providerId="ADAL" clId="{2CAEC1E3-2241-4370-8FDB-F4FAA904BB83}" dt="2020-06-17T21:23:11.036" v="6349" actId="478"/>
          <ac:spMkLst>
            <pc:docMk/>
            <pc:sldMk cId="689766239" sldId="2134804294"/>
            <ac:spMk id="196" creationId="{4F0D0D47-02D5-49FD-B4B4-FB92111A0952}"/>
          </ac:spMkLst>
        </pc:spChg>
        <pc:spChg chg="add del mod">
          <ac:chgData name="Andrea Mogollon Nossa (CENIT)" userId="f6a3e592-cc27-4858-b185-ff86be206069" providerId="ADAL" clId="{2CAEC1E3-2241-4370-8FDB-F4FAA904BB83}" dt="2020-06-17T21:23:11.036" v="6349" actId="478"/>
          <ac:spMkLst>
            <pc:docMk/>
            <pc:sldMk cId="689766239" sldId="2134804294"/>
            <ac:spMk id="197" creationId="{F3371CE2-21BD-46C2-8729-CB297C78E2E2}"/>
          </ac:spMkLst>
        </pc:spChg>
        <pc:spChg chg="add del mod">
          <ac:chgData name="Andrea Mogollon Nossa (CENIT)" userId="f6a3e592-cc27-4858-b185-ff86be206069" providerId="ADAL" clId="{2CAEC1E3-2241-4370-8FDB-F4FAA904BB83}" dt="2020-06-17T21:23:11.036" v="6349" actId="478"/>
          <ac:spMkLst>
            <pc:docMk/>
            <pc:sldMk cId="689766239" sldId="2134804294"/>
            <ac:spMk id="198" creationId="{900F9C52-6F16-4192-8B9A-7F0A56D5E6C9}"/>
          </ac:spMkLst>
        </pc:spChg>
        <pc:spChg chg="add del mod">
          <ac:chgData name="Andrea Mogollon Nossa (CENIT)" userId="f6a3e592-cc27-4858-b185-ff86be206069" providerId="ADAL" clId="{2CAEC1E3-2241-4370-8FDB-F4FAA904BB83}" dt="2020-06-17T21:23:11.036" v="6349" actId="478"/>
          <ac:spMkLst>
            <pc:docMk/>
            <pc:sldMk cId="689766239" sldId="2134804294"/>
            <ac:spMk id="199" creationId="{0C78CB62-33F4-4038-AE05-D8EC9BA3D8F6}"/>
          </ac:spMkLst>
        </pc:spChg>
        <pc:spChg chg="add del mod">
          <ac:chgData name="Andrea Mogollon Nossa (CENIT)" userId="f6a3e592-cc27-4858-b185-ff86be206069" providerId="ADAL" clId="{2CAEC1E3-2241-4370-8FDB-F4FAA904BB83}" dt="2020-06-17T21:23:11.036" v="6349" actId="478"/>
          <ac:spMkLst>
            <pc:docMk/>
            <pc:sldMk cId="689766239" sldId="2134804294"/>
            <ac:spMk id="200" creationId="{B797C1A4-976E-4991-A10B-8113A138359A}"/>
          </ac:spMkLst>
        </pc:spChg>
        <pc:spChg chg="add del mod">
          <ac:chgData name="Andrea Mogollon Nossa (CENIT)" userId="f6a3e592-cc27-4858-b185-ff86be206069" providerId="ADAL" clId="{2CAEC1E3-2241-4370-8FDB-F4FAA904BB83}" dt="2020-06-17T21:23:11.036" v="6349" actId="478"/>
          <ac:spMkLst>
            <pc:docMk/>
            <pc:sldMk cId="689766239" sldId="2134804294"/>
            <ac:spMk id="201" creationId="{FD0CD8AE-A138-466B-85EF-EC365CB83CD4}"/>
          </ac:spMkLst>
        </pc:spChg>
        <pc:spChg chg="add del mod">
          <ac:chgData name="Andrea Mogollon Nossa (CENIT)" userId="f6a3e592-cc27-4858-b185-ff86be206069" providerId="ADAL" clId="{2CAEC1E3-2241-4370-8FDB-F4FAA904BB83}" dt="2020-06-17T21:23:11.036" v="6349" actId="478"/>
          <ac:spMkLst>
            <pc:docMk/>
            <pc:sldMk cId="689766239" sldId="2134804294"/>
            <ac:spMk id="202" creationId="{F0EA75CE-18E8-4EED-B540-3A9864462364}"/>
          </ac:spMkLst>
        </pc:spChg>
        <pc:spChg chg="add del mod">
          <ac:chgData name="Andrea Mogollon Nossa (CENIT)" userId="f6a3e592-cc27-4858-b185-ff86be206069" providerId="ADAL" clId="{2CAEC1E3-2241-4370-8FDB-F4FAA904BB83}" dt="2020-06-17T21:23:11.036" v="6349" actId="478"/>
          <ac:spMkLst>
            <pc:docMk/>
            <pc:sldMk cId="689766239" sldId="2134804294"/>
            <ac:spMk id="203" creationId="{AB3565EC-E0C3-4E19-98C8-B49455F0E040}"/>
          </ac:spMkLst>
        </pc:spChg>
        <pc:spChg chg="add del mod">
          <ac:chgData name="Andrea Mogollon Nossa (CENIT)" userId="f6a3e592-cc27-4858-b185-ff86be206069" providerId="ADAL" clId="{2CAEC1E3-2241-4370-8FDB-F4FAA904BB83}" dt="2020-06-17T21:23:11.036" v="6349" actId="478"/>
          <ac:spMkLst>
            <pc:docMk/>
            <pc:sldMk cId="689766239" sldId="2134804294"/>
            <ac:spMk id="204" creationId="{0A6518E7-639B-475C-B9B4-AAB7DE60A61A}"/>
          </ac:spMkLst>
        </pc:spChg>
        <pc:spChg chg="add del mod">
          <ac:chgData name="Andrea Mogollon Nossa (CENIT)" userId="f6a3e592-cc27-4858-b185-ff86be206069" providerId="ADAL" clId="{2CAEC1E3-2241-4370-8FDB-F4FAA904BB83}" dt="2020-06-17T21:23:11.036" v="6349" actId="478"/>
          <ac:spMkLst>
            <pc:docMk/>
            <pc:sldMk cId="689766239" sldId="2134804294"/>
            <ac:spMk id="205" creationId="{C8BA1154-F1CA-402D-832C-8C7873637AF4}"/>
          </ac:spMkLst>
        </pc:spChg>
        <pc:spChg chg="add del mod">
          <ac:chgData name="Andrea Mogollon Nossa (CENIT)" userId="f6a3e592-cc27-4858-b185-ff86be206069" providerId="ADAL" clId="{2CAEC1E3-2241-4370-8FDB-F4FAA904BB83}" dt="2020-06-17T21:23:11.036" v="6349" actId="478"/>
          <ac:spMkLst>
            <pc:docMk/>
            <pc:sldMk cId="689766239" sldId="2134804294"/>
            <ac:spMk id="206" creationId="{61B3D691-2A21-4EE8-9AF0-398D65226B9A}"/>
          </ac:spMkLst>
        </pc:spChg>
        <pc:spChg chg="add del mod">
          <ac:chgData name="Andrea Mogollon Nossa (CENIT)" userId="f6a3e592-cc27-4858-b185-ff86be206069" providerId="ADAL" clId="{2CAEC1E3-2241-4370-8FDB-F4FAA904BB83}" dt="2020-06-17T21:23:11.036" v="6349" actId="478"/>
          <ac:spMkLst>
            <pc:docMk/>
            <pc:sldMk cId="689766239" sldId="2134804294"/>
            <ac:spMk id="207" creationId="{A1DB1BB0-8E12-421E-AFEE-250C7C23A86B}"/>
          </ac:spMkLst>
        </pc:spChg>
        <pc:spChg chg="add del mod">
          <ac:chgData name="Andrea Mogollon Nossa (CENIT)" userId="f6a3e592-cc27-4858-b185-ff86be206069" providerId="ADAL" clId="{2CAEC1E3-2241-4370-8FDB-F4FAA904BB83}" dt="2020-06-17T21:23:11.036" v="6349" actId="478"/>
          <ac:spMkLst>
            <pc:docMk/>
            <pc:sldMk cId="689766239" sldId="2134804294"/>
            <ac:spMk id="208" creationId="{2B710EA8-115F-4EA4-92AE-C9E519B130F2}"/>
          </ac:spMkLst>
        </pc:spChg>
        <pc:spChg chg="add del mod">
          <ac:chgData name="Andrea Mogollon Nossa (CENIT)" userId="f6a3e592-cc27-4858-b185-ff86be206069" providerId="ADAL" clId="{2CAEC1E3-2241-4370-8FDB-F4FAA904BB83}" dt="2020-06-17T21:23:11.036" v="6349" actId="478"/>
          <ac:spMkLst>
            <pc:docMk/>
            <pc:sldMk cId="689766239" sldId="2134804294"/>
            <ac:spMk id="209" creationId="{9A307900-FF26-4646-B201-FE73CAED5349}"/>
          </ac:spMkLst>
        </pc:spChg>
        <pc:spChg chg="add del mod">
          <ac:chgData name="Andrea Mogollon Nossa (CENIT)" userId="f6a3e592-cc27-4858-b185-ff86be206069" providerId="ADAL" clId="{2CAEC1E3-2241-4370-8FDB-F4FAA904BB83}" dt="2020-06-17T21:23:11.036" v="6349" actId="478"/>
          <ac:spMkLst>
            <pc:docMk/>
            <pc:sldMk cId="689766239" sldId="2134804294"/>
            <ac:spMk id="210" creationId="{7B166C3E-E468-4AA0-BB8E-EF34EDA8B788}"/>
          </ac:spMkLst>
        </pc:spChg>
        <pc:spChg chg="add del mod">
          <ac:chgData name="Andrea Mogollon Nossa (CENIT)" userId="f6a3e592-cc27-4858-b185-ff86be206069" providerId="ADAL" clId="{2CAEC1E3-2241-4370-8FDB-F4FAA904BB83}" dt="2020-06-17T21:23:11.036" v="6349" actId="478"/>
          <ac:spMkLst>
            <pc:docMk/>
            <pc:sldMk cId="689766239" sldId="2134804294"/>
            <ac:spMk id="211" creationId="{E1955E3B-DC62-4DE7-9E80-D61773053903}"/>
          </ac:spMkLst>
        </pc:spChg>
        <pc:spChg chg="add del mod">
          <ac:chgData name="Andrea Mogollon Nossa (CENIT)" userId="f6a3e592-cc27-4858-b185-ff86be206069" providerId="ADAL" clId="{2CAEC1E3-2241-4370-8FDB-F4FAA904BB83}" dt="2020-06-17T21:23:11.036" v="6349" actId="478"/>
          <ac:spMkLst>
            <pc:docMk/>
            <pc:sldMk cId="689766239" sldId="2134804294"/>
            <ac:spMk id="212" creationId="{983FCC52-B98D-496B-8EF5-8AFE2B7A7E03}"/>
          </ac:spMkLst>
        </pc:spChg>
        <pc:spChg chg="add del mod">
          <ac:chgData name="Andrea Mogollon Nossa (CENIT)" userId="f6a3e592-cc27-4858-b185-ff86be206069" providerId="ADAL" clId="{2CAEC1E3-2241-4370-8FDB-F4FAA904BB83}" dt="2020-06-17T21:23:11.036" v="6349" actId="478"/>
          <ac:spMkLst>
            <pc:docMk/>
            <pc:sldMk cId="689766239" sldId="2134804294"/>
            <ac:spMk id="213" creationId="{524D163A-079A-4872-93B1-56C658110F85}"/>
          </ac:spMkLst>
        </pc:spChg>
        <pc:spChg chg="add del mod">
          <ac:chgData name="Andrea Mogollon Nossa (CENIT)" userId="f6a3e592-cc27-4858-b185-ff86be206069" providerId="ADAL" clId="{2CAEC1E3-2241-4370-8FDB-F4FAA904BB83}" dt="2020-06-17T21:23:11.036" v="6349" actId="478"/>
          <ac:spMkLst>
            <pc:docMk/>
            <pc:sldMk cId="689766239" sldId="2134804294"/>
            <ac:spMk id="214" creationId="{BDD732F3-F81B-4D2F-ACA3-FC2D469202AB}"/>
          </ac:spMkLst>
        </pc:spChg>
        <pc:spChg chg="add del mod">
          <ac:chgData name="Andrea Mogollon Nossa (CENIT)" userId="f6a3e592-cc27-4858-b185-ff86be206069" providerId="ADAL" clId="{2CAEC1E3-2241-4370-8FDB-F4FAA904BB83}" dt="2020-06-17T21:23:11.036" v="6349" actId="478"/>
          <ac:spMkLst>
            <pc:docMk/>
            <pc:sldMk cId="689766239" sldId="2134804294"/>
            <ac:spMk id="215" creationId="{84CB0E0E-649E-4E71-8779-5822AA9F77BC}"/>
          </ac:spMkLst>
        </pc:spChg>
        <pc:spChg chg="add del mod">
          <ac:chgData name="Andrea Mogollon Nossa (CENIT)" userId="f6a3e592-cc27-4858-b185-ff86be206069" providerId="ADAL" clId="{2CAEC1E3-2241-4370-8FDB-F4FAA904BB83}" dt="2020-06-17T21:23:11.036" v="6349" actId="478"/>
          <ac:spMkLst>
            <pc:docMk/>
            <pc:sldMk cId="689766239" sldId="2134804294"/>
            <ac:spMk id="216" creationId="{A8FADCC4-F0DC-40FC-8750-A5A663A58566}"/>
          </ac:spMkLst>
        </pc:spChg>
        <pc:spChg chg="add del mod">
          <ac:chgData name="Andrea Mogollon Nossa (CENIT)" userId="f6a3e592-cc27-4858-b185-ff86be206069" providerId="ADAL" clId="{2CAEC1E3-2241-4370-8FDB-F4FAA904BB83}" dt="2020-06-17T21:23:11.036" v="6349" actId="478"/>
          <ac:spMkLst>
            <pc:docMk/>
            <pc:sldMk cId="689766239" sldId="2134804294"/>
            <ac:spMk id="217" creationId="{4E66E358-C464-4800-8437-AA714D95F7B5}"/>
          </ac:spMkLst>
        </pc:spChg>
        <pc:spChg chg="add del mod">
          <ac:chgData name="Andrea Mogollon Nossa (CENIT)" userId="f6a3e592-cc27-4858-b185-ff86be206069" providerId="ADAL" clId="{2CAEC1E3-2241-4370-8FDB-F4FAA904BB83}" dt="2020-06-17T21:23:11.036" v="6349" actId="478"/>
          <ac:spMkLst>
            <pc:docMk/>
            <pc:sldMk cId="689766239" sldId="2134804294"/>
            <ac:spMk id="218" creationId="{C5E52055-C162-48B9-A966-698189E26DF3}"/>
          </ac:spMkLst>
        </pc:spChg>
        <pc:spChg chg="add del mod">
          <ac:chgData name="Andrea Mogollon Nossa (CENIT)" userId="f6a3e592-cc27-4858-b185-ff86be206069" providerId="ADAL" clId="{2CAEC1E3-2241-4370-8FDB-F4FAA904BB83}" dt="2020-06-17T21:23:11.036" v="6349" actId="478"/>
          <ac:spMkLst>
            <pc:docMk/>
            <pc:sldMk cId="689766239" sldId="2134804294"/>
            <ac:spMk id="219" creationId="{FDA931CD-0FA2-425E-B562-28BE3DB82AFC}"/>
          </ac:spMkLst>
        </pc:spChg>
        <pc:spChg chg="add del mod">
          <ac:chgData name="Andrea Mogollon Nossa (CENIT)" userId="f6a3e592-cc27-4858-b185-ff86be206069" providerId="ADAL" clId="{2CAEC1E3-2241-4370-8FDB-F4FAA904BB83}" dt="2020-06-17T21:23:11.036" v="6349" actId="478"/>
          <ac:spMkLst>
            <pc:docMk/>
            <pc:sldMk cId="689766239" sldId="2134804294"/>
            <ac:spMk id="220" creationId="{D8F94B46-3C91-4247-AB2A-991A1168344C}"/>
          </ac:spMkLst>
        </pc:spChg>
        <pc:spChg chg="add del mod">
          <ac:chgData name="Andrea Mogollon Nossa (CENIT)" userId="f6a3e592-cc27-4858-b185-ff86be206069" providerId="ADAL" clId="{2CAEC1E3-2241-4370-8FDB-F4FAA904BB83}" dt="2020-06-17T21:23:11.036" v="6349" actId="478"/>
          <ac:spMkLst>
            <pc:docMk/>
            <pc:sldMk cId="689766239" sldId="2134804294"/>
            <ac:spMk id="221" creationId="{EAE992F1-1258-4668-9DDB-EF5C71AE0BF3}"/>
          </ac:spMkLst>
        </pc:spChg>
        <pc:spChg chg="add mod">
          <ac:chgData name="Andrea Mogollon Nossa (CENIT)" userId="f6a3e592-cc27-4858-b185-ff86be206069" providerId="ADAL" clId="{2CAEC1E3-2241-4370-8FDB-F4FAA904BB83}" dt="2020-06-17T21:23:16.745" v="6351" actId="1076"/>
          <ac:spMkLst>
            <pc:docMk/>
            <pc:sldMk cId="689766239" sldId="2134804294"/>
            <ac:spMk id="222" creationId="{DD973C30-230A-49D8-8079-1604855F7DE3}"/>
          </ac:spMkLst>
        </pc:spChg>
        <pc:spChg chg="add mod">
          <ac:chgData name="Andrea Mogollon Nossa (CENIT)" userId="f6a3e592-cc27-4858-b185-ff86be206069" providerId="ADAL" clId="{2CAEC1E3-2241-4370-8FDB-F4FAA904BB83}" dt="2020-06-17T21:23:16.745" v="6351" actId="1076"/>
          <ac:spMkLst>
            <pc:docMk/>
            <pc:sldMk cId="689766239" sldId="2134804294"/>
            <ac:spMk id="223" creationId="{9C659D4C-F784-47E0-B96B-9EAB371FAC8C}"/>
          </ac:spMkLst>
        </pc:spChg>
        <pc:spChg chg="add mod">
          <ac:chgData name="Andrea Mogollon Nossa (CENIT)" userId="f6a3e592-cc27-4858-b185-ff86be206069" providerId="ADAL" clId="{2CAEC1E3-2241-4370-8FDB-F4FAA904BB83}" dt="2020-06-17T21:23:16.745" v="6351" actId="1076"/>
          <ac:spMkLst>
            <pc:docMk/>
            <pc:sldMk cId="689766239" sldId="2134804294"/>
            <ac:spMk id="224" creationId="{5EA43E41-DC89-4249-899F-B62D5D31268A}"/>
          </ac:spMkLst>
        </pc:spChg>
        <pc:spChg chg="add mod">
          <ac:chgData name="Andrea Mogollon Nossa (CENIT)" userId="f6a3e592-cc27-4858-b185-ff86be206069" providerId="ADAL" clId="{2CAEC1E3-2241-4370-8FDB-F4FAA904BB83}" dt="2020-06-17T21:23:16.745" v="6351" actId="1076"/>
          <ac:spMkLst>
            <pc:docMk/>
            <pc:sldMk cId="689766239" sldId="2134804294"/>
            <ac:spMk id="225" creationId="{1B38E54F-D2C4-48D7-8E66-4D0006BBD8F7}"/>
          </ac:spMkLst>
        </pc:spChg>
        <pc:spChg chg="add mod">
          <ac:chgData name="Andrea Mogollon Nossa (CENIT)" userId="f6a3e592-cc27-4858-b185-ff86be206069" providerId="ADAL" clId="{2CAEC1E3-2241-4370-8FDB-F4FAA904BB83}" dt="2020-06-17T21:23:16.745" v="6351" actId="1076"/>
          <ac:spMkLst>
            <pc:docMk/>
            <pc:sldMk cId="689766239" sldId="2134804294"/>
            <ac:spMk id="226" creationId="{2F6DBD2B-E3D5-4851-9F96-36768DA0202B}"/>
          </ac:spMkLst>
        </pc:spChg>
        <pc:spChg chg="add mod">
          <ac:chgData name="Andrea Mogollon Nossa (CENIT)" userId="f6a3e592-cc27-4858-b185-ff86be206069" providerId="ADAL" clId="{2CAEC1E3-2241-4370-8FDB-F4FAA904BB83}" dt="2020-06-17T21:23:16.745" v="6351" actId="1076"/>
          <ac:spMkLst>
            <pc:docMk/>
            <pc:sldMk cId="689766239" sldId="2134804294"/>
            <ac:spMk id="227" creationId="{46C39B70-C0F0-4D5C-AE92-64941801B1FC}"/>
          </ac:spMkLst>
        </pc:spChg>
        <pc:spChg chg="add mod">
          <ac:chgData name="Andrea Mogollon Nossa (CENIT)" userId="f6a3e592-cc27-4858-b185-ff86be206069" providerId="ADAL" clId="{2CAEC1E3-2241-4370-8FDB-F4FAA904BB83}" dt="2020-06-17T21:23:16.745" v="6351" actId="1076"/>
          <ac:spMkLst>
            <pc:docMk/>
            <pc:sldMk cId="689766239" sldId="2134804294"/>
            <ac:spMk id="228" creationId="{44963480-E080-4765-AC54-577F126544FF}"/>
          </ac:spMkLst>
        </pc:spChg>
        <pc:spChg chg="add mod">
          <ac:chgData name="Andrea Mogollon Nossa (CENIT)" userId="f6a3e592-cc27-4858-b185-ff86be206069" providerId="ADAL" clId="{2CAEC1E3-2241-4370-8FDB-F4FAA904BB83}" dt="2020-06-17T21:23:16.745" v="6351" actId="1076"/>
          <ac:spMkLst>
            <pc:docMk/>
            <pc:sldMk cId="689766239" sldId="2134804294"/>
            <ac:spMk id="229" creationId="{EF0966C2-0C99-48A0-878A-904712CA4194}"/>
          </ac:spMkLst>
        </pc:spChg>
        <pc:spChg chg="add mod">
          <ac:chgData name="Andrea Mogollon Nossa (CENIT)" userId="f6a3e592-cc27-4858-b185-ff86be206069" providerId="ADAL" clId="{2CAEC1E3-2241-4370-8FDB-F4FAA904BB83}" dt="2020-06-17T21:23:16.745" v="6351" actId="1076"/>
          <ac:spMkLst>
            <pc:docMk/>
            <pc:sldMk cId="689766239" sldId="2134804294"/>
            <ac:spMk id="230" creationId="{84B4EFD2-53D3-4D08-B607-BE878C299BBF}"/>
          </ac:spMkLst>
        </pc:spChg>
        <pc:spChg chg="add mod">
          <ac:chgData name="Andrea Mogollon Nossa (CENIT)" userId="f6a3e592-cc27-4858-b185-ff86be206069" providerId="ADAL" clId="{2CAEC1E3-2241-4370-8FDB-F4FAA904BB83}" dt="2020-06-17T21:23:16.745" v="6351" actId="1076"/>
          <ac:spMkLst>
            <pc:docMk/>
            <pc:sldMk cId="689766239" sldId="2134804294"/>
            <ac:spMk id="231" creationId="{99E89184-64B4-4C52-B228-E8313152C17A}"/>
          </ac:spMkLst>
        </pc:spChg>
        <pc:spChg chg="add mod">
          <ac:chgData name="Andrea Mogollon Nossa (CENIT)" userId="f6a3e592-cc27-4858-b185-ff86be206069" providerId="ADAL" clId="{2CAEC1E3-2241-4370-8FDB-F4FAA904BB83}" dt="2020-06-17T21:23:16.745" v="6351" actId="1076"/>
          <ac:spMkLst>
            <pc:docMk/>
            <pc:sldMk cId="689766239" sldId="2134804294"/>
            <ac:spMk id="232" creationId="{75D8A2E0-995D-4B0F-B317-CD82265F6372}"/>
          </ac:spMkLst>
        </pc:spChg>
        <pc:spChg chg="add mod">
          <ac:chgData name="Andrea Mogollon Nossa (CENIT)" userId="f6a3e592-cc27-4858-b185-ff86be206069" providerId="ADAL" clId="{2CAEC1E3-2241-4370-8FDB-F4FAA904BB83}" dt="2020-06-17T21:23:16.745" v="6351" actId="1076"/>
          <ac:spMkLst>
            <pc:docMk/>
            <pc:sldMk cId="689766239" sldId="2134804294"/>
            <ac:spMk id="233" creationId="{44712E19-14A1-422C-B360-A67E8FAF4E29}"/>
          </ac:spMkLst>
        </pc:spChg>
        <pc:spChg chg="add mod">
          <ac:chgData name="Andrea Mogollon Nossa (CENIT)" userId="f6a3e592-cc27-4858-b185-ff86be206069" providerId="ADAL" clId="{2CAEC1E3-2241-4370-8FDB-F4FAA904BB83}" dt="2020-06-17T21:23:16.745" v="6351" actId="1076"/>
          <ac:spMkLst>
            <pc:docMk/>
            <pc:sldMk cId="689766239" sldId="2134804294"/>
            <ac:spMk id="234" creationId="{9A54F4A7-C7AB-44C8-B218-0A3429424B04}"/>
          </ac:spMkLst>
        </pc:spChg>
        <pc:spChg chg="add mod">
          <ac:chgData name="Andrea Mogollon Nossa (CENIT)" userId="f6a3e592-cc27-4858-b185-ff86be206069" providerId="ADAL" clId="{2CAEC1E3-2241-4370-8FDB-F4FAA904BB83}" dt="2020-06-17T21:23:16.745" v="6351" actId="1076"/>
          <ac:spMkLst>
            <pc:docMk/>
            <pc:sldMk cId="689766239" sldId="2134804294"/>
            <ac:spMk id="235" creationId="{15606857-9140-4CDE-9B0A-443B1A11FDB5}"/>
          </ac:spMkLst>
        </pc:spChg>
        <pc:spChg chg="add mod">
          <ac:chgData name="Andrea Mogollon Nossa (CENIT)" userId="f6a3e592-cc27-4858-b185-ff86be206069" providerId="ADAL" clId="{2CAEC1E3-2241-4370-8FDB-F4FAA904BB83}" dt="2020-06-17T21:23:16.745" v="6351" actId="1076"/>
          <ac:spMkLst>
            <pc:docMk/>
            <pc:sldMk cId="689766239" sldId="2134804294"/>
            <ac:spMk id="236" creationId="{AFCA9E3D-8AF5-42A1-AEDD-346A1D024BA4}"/>
          </ac:spMkLst>
        </pc:spChg>
        <pc:spChg chg="add mod">
          <ac:chgData name="Andrea Mogollon Nossa (CENIT)" userId="f6a3e592-cc27-4858-b185-ff86be206069" providerId="ADAL" clId="{2CAEC1E3-2241-4370-8FDB-F4FAA904BB83}" dt="2020-06-17T21:23:16.745" v="6351" actId="1076"/>
          <ac:spMkLst>
            <pc:docMk/>
            <pc:sldMk cId="689766239" sldId="2134804294"/>
            <ac:spMk id="237" creationId="{4B63333A-DDAF-4BAD-8B14-C2732BA8C536}"/>
          </ac:spMkLst>
        </pc:spChg>
        <pc:spChg chg="add mod">
          <ac:chgData name="Andrea Mogollon Nossa (CENIT)" userId="f6a3e592-cc27-4858-b185-ff86be206069" providerId="ADAL" clId="{2CAEC1E3-2241-4370-8FDB-F4FAA904BB83}" dt="2020-06-17T21:23:16.745" v="6351" actId="1076"/>
          <ac:spMkLst>
            <pc:docMk/>
            <pc:sldMk cId="689766239" sldId="2134804294"/>
            <ac:spMk id="238" creationId="{50AEBB48-9389-4242-B514-5F1C1D9D595D}"/>
          </ac:spMkLst>
        </pc:spChg>
        <pc:spChg chg="add mod">
          <ac:chgData name="Andrea Mogollon Nossa (CENIT)" userId="f6a3e592-cc27-4858-b185-ff86be206069" providerId="ADAL" clId="{2CAEC1E3-2241-4370-8FDB-F4FAA904BB83}" dt="2020-06-17T21:23:16.745" v="6351" actId="1076"/>
          <ac:spMkLst>
            <pc:docMk/>
            <pc:sldMk cId="689766239" sldId="2134804294"/>
            <ac:spMk id="239" creationId="{ED2065D7-2311-4BDF-A2C6-0EFE0AFE6BFF}"/>
          </ac:spMkLst>
        </pc:spChg>
        <pc:spChg chg="add mod">
          <ac:chgData name="Andrea Mogollon Nossa (CENIT)" userId="f6a3e592-cc27-4858-b185-ff86be206069" providerId="ADAL" clId="{2CAEC1E3-2241-4370-8FDB-F4FAA904BB83}" dt="2020-06-17T21:23:16.745" v="6351" actId="1076"/>
          <ac:spMkLst>
            <pc:docMk/>
            <pc:sldMk cId="689766239" sldId="2134804294"/>
            <ac:spMk id="240" creationId="{DEF47C99-F164-459A-B4C0-126B6AC2B60F}"/>
          </ac:spMkLst>
        </pc:spChg>
        <pc:spChg chg="add mod">
          <ac:chgData name="Andrea Mogollon Nossa (CENIT)" userId="f6a3e592-cc27-4858-b185-ff86be206069" providerId="ADAL" clId="{2CAEC1E3-2241-4370-8FDB-F4FAA904BB83}" dt="2020-06-17T21:23:16.745" v="6351" actId="1076"/>
          <ac:spMkLst>
            <pc:docMk/>
            <pc:sldMk cId="689766239" sldId="2134804294"/>
            <ac:spMk id="241" creationId="{E0976D2E-4CF3-4B06-B56B-68F08B0BAB6C}"/>
          </ac:spMkLst>
        </pc:spChg>
        <pc:spChg chg="add mod">
          <ac:chgData name="Andrea Mogollon Nossa (CENIT)" userId="f6a3e592-cc27-4858-b185-ff86be206069" providerId="ADAL" clId="{2CAEC1E3-2241-4370-8FDB-F4FAA904BB83}" dt="2020-06-17T21:23:16.745" v="6351" actId="1076"/>
          <ac:spMkLst>
            <pc:docMk/>
            <pc:sldMk cId="689766239" sldId="2134804294"/>
            <ac:spMk id="242" creationId="{90477727-68E8-47AF-8A16-7B0FB367457F}"/>
          </ac:spMkLst>
        </pc:spChg>
        <pc:spChg chg="add mod">
          <ac:chgData name="Andrea Mogollon Nossa (CENIT)" userId="f6a3e592-cc27-4858-b185-ff86be206069" providerId="ADAL" clId="{2CAEC1E3-2241-4370-8FDB-F4FAA904BB83}" dt="2020-06-17T21:23:16.745" v="6351" actId="1076"/>
          <ac:spMkLst>
            <pc:docMk/>
            <pc:sldMk cId="689766239" sldId="2134804294"/>
            <ac:spMk id="243" creationId="{2428866B-5560-48DE-B827-4993D168318E}"/>
          </ac:spMkLst>
        </pc:spChg>
        <pc:spChg chg="add mod">
          <ac:chgData name="Andrea Mogollon Nossa (CENIT)" userId="f6a3e592-cc27-4858-b185-ff86be206069" providerId="ADAL" clId="{2CAEC1E3-2241-4370-8FDB-F4FAA904BB83}" dt="2020-06-17T21:23:16.745" v="6351" actId="1076"/>
          <ac:spMkLst>
            <pc:docMk/>
            <pc:sldMk cId="689766239" sldId="2134804294"/>
            <ac:spMk id="244" creationId="{A6DC3205-89CF-46C3-803C-6C81031B75F2}"/>
          </ac:spMkLst>
        </pc:spChg>
        <pc:spChg chg="add mod">
          <ac:chgData name="Andrea Mogollon Nossa (CENIT)" userId="f6a3e592-cc27-4858-b185-ff86be206069" providerId="ADAL" clId="{2CAEC1E3-2241-4370-8FDB-F4FAA904BB83}" dt="2020-06-17T21:23:16.745" v="6351" actId="1076"/>
          <ac:spMkLst>
            <pc:docMk/>
            <pc:sldMk cId="689766239" sldId="2134804294"/>
            <ac:spMk id="245" creationId="{BD1DA7AF-D047-4D52-9145-B3976D938695}"/>
          </ac:spMkLst>
        </pc:spChg>
        <pc:spChg chg="add mod">
          <ac:chgData name="Andrea Mogollon Nossa (CENIT)" userId="f6a3e592-cc27-4858-b185-ff86be206069" providerId="ADAL" clId="{2CAEC1E3-2241-4370-8FDB-F4FAA904BB83}" dt="2020-06-17T21:23:16.745" v="6351" actId="1076"/>
          <ac:spMkLst>
            <pc:docMk/>
            <pc:sldMk cId="689766239" sldId="2134804294"/>
            <ac:spMk id="246" creationId="{EA5170C2-DB8B-4ECF-8FE5-B341BFE00AD2}"/>
          </ac:spMkLst>
        </pc:spChg>
        <pc:spChg chg="add mod">
          <ac:chgData name="Andrea Mogollon Nossa (CENIT)" userId="f6a3e592-cc27-4858-b185-ff86be206069" providerId="ADAL" clId="{2CAEC1E3-2241-4370-8FDB-F4FAA904BB83}" dt="2020-06-17T21:23:16.745" v="6351" actId="1076"/>
          <ac:spMkLst>
            <pc:docMk/>
            <pc:sldMk cId="689766239" sldId="2134804294"/>
            <ac:spMk id="247" creationId="{E94F5464-1951-4D6D-A252-244A280F4481}"/>
          </ac:spMkLst>
        </pc:spChg>
        <pc:spChg chg="add mod">
          <ac:chgData name="Andrea Mogollon Nossa (CENIT)" userId="f6a3e592-cc27-4858-b185-ff86be206069" providerId="ADAL" clId="{2CAEC1E3-2241-4370-8FDB-F4FAA904BB83}" dt="2020-06-17T21:23:16.745" v="6351" actId="1076"/>
          <ac:spMkLst>
            <pc:docMk/>
            <pc:sldMk cId="689766239" sldId="2134804294"/>
            <ac:spMk id="248" creationId="{D082A999-F92D-403F-A972-CC73F7AED6FB}"/>
          </ac:spMkLst>
        </pc:spChg>
        <pc:spChg chg="add mod">
          <ac:chgData name="Andrea Mogollon Nossa (CENIT)" userId="f6a3e592-cc27-4858-b185-ff86be206069" providerId="ADAL" clId="{2CAEC1E3-2241-4370-8FDB-F4FAA904BB83}" dt="2020-06-17T21:23:16.745" v="6351" actId="1076"/>
          <ac:spMkLst>
            <pc:docMk/>
            <pc:sldMk cId="689766239" sldId="2134804294"/>
            <ac:spMk id="249" creationId="{6629F352-E68A-41C1-85DA-898683185515}"/>
          </ac:spMkLst>
        </pc:spChg>
        <pc:spChg chg="add mod">
          <ac:chgData name="Andrea Mogollon Nossa (CENIT)" userId="f6a3e592-cc27-4858-b185-ff86be206069" providerId="ADAL" clId="{2CAEC1E3-2241-4370-8FDB-F4FAA904BB83}" dt="2020-06-17T21:23:16.745" v="6351" actId="1076"/>
          <ac:spMkLst>
            <pc:docMk/>
            <pc:sldMk cId="689766239" sldId="2134804294"/>
            <ac:spMk id="250" creationId="{8B284878-1850-4CB9-84A3-8C00F81070AE}"/>
          </ac:spMkLst>
        </pc:spChg>
        <pc:spChg chg="add mod">
          <ac:chgData name="Andrea Mogollon Nossa (CENIT)" userId="f6a3e592-cc27-4858-b185-ff86be206069" providerId="ADAL" clId="{2CAEC1E3-2241-4370-8FDB-F4FAA904BB83}" dt="2020-06-17T21:23:16.745" v="6351" actId="1076"/>
          <ac:spMkLst>
            <pc:docMk/>
            <pc:sldMk cId="689766239" sldId="2134804294"/>
            <ac:spMk id="251" creationId="{FB21F4ED-43BF-4C0F-93B4-B30925FBB51D}"/>
          </ac:spMkLst>
        </pc:spChg>
        <pc:spChg chg="add mod">
          <ac:chgData name="Andrea Mogollon Nossa (CENIT)" userId="f6a3e592-cc27-4858-b185-ff86be206069" providerId="ADAL" clId="{2CAEC1E3-2241-4370-8FDB-F4FAA904BB83}" dt="2020-06-17T21:23:16.745" v="6351" actId="1076"/>
          <ac:spMkLst>
            <pc:docMk/>
            <pc:sldMk cId="689766239" sldId="2134804294"/>
            <ac:spMk id="252" creationId="{87DEDE34-9F94-492C-847E-2F682B487BA9}"/>
          </ac:spMkLst>
        </pc:spChg>
        <pc:cxnChg chg="mod">
          <ac:chgData name="Andrea Mogollon Nossa (CENIT)" userId="f6a3e592-cc27-4858-b185-ff86be206069" providerId="ADAL" clId="{2CAEC1E3-2241-4370-8FDB-F4FAA904BB83}" dt="2020-06-16T17:11:49.596" v="1589" actId="1076"/>
          <ac:cxnSpMkLst>
            <pc:docMk/>
            <pc:sldMk cId="689766239" sldId="2134804294"/>
            <ac:cxnSpMk id="95" creationId="{992CCE25-00CE-4C15-881A-068C6B1A3F0E}"/>
          </ac:cxnSpMkLst>
        </pc:cxnChg>
      </pc:sldChg>
      <pc:sldChg chg="del">
        <pc:chgData name="Andrea Mogollon Nossa (CENIT)" userId="f6a3e592-cc27-4858-b185-ff86be206069" providerId="ADAL" clId="{2CAEC1E3-2241-4370-8FDB-F4FAA904BB83}" dt="2020-06-16T22:48:42.994" v="2024" actId="47"/>
        <pc:sldMkLst>
          <pc:docMk/>
          <pc:sldMk cId="1753765174" sldId="2134804296"/>
        </pc:sldMkLst>
      </pc:sldChg>
      <pc:sldChg chg="addSp delSp modSp del mod">
        <pc:chgData name="Andrea Mogollon Nossa (CENIT)" userId="f6a3e592-cc27-4858-b185-ff86be206069" providerId="ADAL" clId="{2CAEC1E3-2241-4370-8FDB-F4FAA904BB83}" dt="2020-06-17T13:06:00.987" v="2736" actId="47"/>
        <pc:sldMkLst>
          <pc:docMk/>
          <pc:sldMk cId="3388165311" sldId="2134804302"/>
        </pc:sldMkLst>
        <pc:spChg chg="add mod">
          <ac:chgData name="Andrea Mogollon Nossa (CENIT)" userId="f6a3e592-cc27-4858-b185-ff86be206069" providerId="ADAL" clId="{2CAEC1E3-2241-4370-8FDB-F4FAA904BB83}" dt="2020-06-16T16:24:26.601" v="889" actId="1076"/>
          <ac:spMkLst>
            <pc:docMk/>
            <pc:sldMk cId="3388165311" sldId="2134804302"/>
            <ac:spMk id="3" creationId="{6F4EF362-8F5C-4DB7-A46A-84A0FCAA4F96}"/>
          </ac:spMkLst>
        </pc:spChg>
        <pc:spChg chg="add mod">
          <ac:chgData name="Andrea Mogollon Nossa (CENIT)" userId="f6a3e592-cc27-4858-b185-ff86be206069" providerId="ADAL" clId="{2CAEC1E3-2241-4370-8FDB-F4FAA904BB83}" dt="2020-06-16T16:25:09.242" v="949" actId="20577"/>
          <ac:spMkLst>
            <pc:docMk/>
            <pc:sldMk cId="3388165311" sldId="2134804302"/>
            <ac:spMk id="32" creationId="{9B55C369-D293-48F6-B6A0-B773FF9FDC63}"/>
          </ac:spMkLst>
        </pc:spChg>
        <pc:spChg chg="add mod">
          <ac:chgData name="Andrea Mogollon Nossa (CENIT)" userId="f6a3e592-cc27-4858-b185-ff86be206069" providerId="ADAL" clId="{2CAEC1E3-2241-4370-8FDB-F4FAA904BB83}" dt="2020-06-16T16:25:48.427" v="953" actId="1076"/>
          <ac:spMkLst>
            <pc:docMk/>
            <pc:sldMk cId="3388165311" sldId="2134804302"/>
            <ac:spMk id="33" creationId="{E4C7E82B-AC80-4CAA-AA72-61D06F816EA4}"/>
          </ac:spMkLst>
        </pc:spChg>
        <pc:spChg chg="del">
          <ac:chgData name="Andrea Mogollon Nossa (CENIT)" userId="f6a3e592-cc27-4858-b185-ff86be206069" providerId="ADAL" clId="{2CAEC1E3-2241-4370-8FDB-F4FAA904BB83}" dt="2020-06-16T16:26:10.572" v="961" actId="478"/>
          <ac:spMkLst>
            <pc:docMk/>
            <pc:sldMk cId="3388165311" sldId="2134804302"/>
            <ac:spMk id="40" creationId="{4DB30DFB-3C1B-4DCA-AF14-0E4E276CAA8D}"/>
          </ac:spMkLst>
        </pc:spChg>
        <pc:spChg chg="mod">
          <ac:chgData name="Andrea Mogollon Nossa (CENIT)" userId="f6a3e592-cc27-4858-b185-ff86be206069" providerId="ADAL" clId="{2CAEC1E3-2241-4370-8FDB-F4FAA904BB83}" dt="2020-06-16T16:26:26.810" v="964" actId="1076"/>
          <ac:spMkLst>
            <pc:docMk/>
            <pc:sldMk cId="3388165311" sldId="2134804302"/>
            <ac:spMk id="41" creationId="{78A18B7E-12EE-486F-B98A-254BD14C13B7}"/>
          </ac:spMkLst>
        </pc:spChg>
        <pc:spChg chg="mod">
          <ac:chgData name="Andrea Mogollon Nossa (CENIT)" userId="f6a3e592-cc27-4858-b185-ff86be206069" providerId="ADAL" clId="{2CAEC1E3-2241-4370-8FDB-F4FAA904BB83}" dt="2020-06-16T16:26:17.916" v="963" actId="1076"/>
          <ac:spMkLst>
            <pc:docMk/>
            <pc:sldMk cId="3388165311" sldId="2134804302"/>
            <ac:spMk id="42" creationId="{A34B4C87-D162-4603-9D0C-8FB7C4E41CF9}"/>
          </ac:spMkLst>
        </pc:spChg>
        <pc:spChg chg="add mod">
          <ac:chgData name="Andrea Mogollon Nossa (CENIT)" userId="f6a3e592-cc27-4858-b185-ff86be206069" providerId="ADAL" clId="{2CAEC1E3-2241-4370-8FDB-F4FAA904BB83}" dt="2020-06-16T16:26:04.065" v="959" actId="1076"/>
          <ac:spMkLst>
            <pc:docMk/>
            <pc:sldMk cId="3388165311" sldId="2134804302"/>
            <ac:spMk id="45" creationId="{E745F92A-63D5-46DF-AEAE-588D4700807F}"/>
          </ac:spMkLst>
        </pc:spChg>
        <pc:spChg chg="del">
          <ac:chgData name="Andrea Mogollon Nossa (CENIT)" userId="f6a3e592-cc27-4858-b185-ff86be206069" providerId="ADAL" clId="{2CAEC1E3-2241-4370-8FDB-F4FAA904BB83}" dt="2020-06-16T16:26:12.423" v="962" actId="478"/>
          <ac:spMkLst>
            <pc:docMk/>
            <pc:sldMk cId="3388165311" sldId="2134804302"/>
            <ac:spMk id="49" creationId="{94FD4B1F-A5D3-49E9-AC61-FE97A4D150D3}"/>
          </ac:spMkLst>
        </pc:spChg>
        <pc:spChg chg="mod">
          <ac:chgData name="Andrea Mogollon Nossa (CENIT)" userId="f6a3e592-cc27-4858-b185-ff86be206069" providerId="ADAL" clId="{2CAEC1E3-2241-4370-8FDB-F4FAA904BB83}" dt="2020-06-16T16:26:33.054" v="968" actId="20577"/>
          <ac:spMkLst>
            <pc:docMk/>
            <pc:sldMk cId="3388165311" sldId="2134804302"/>
            <ac:spMk id="50" creationId="{75D0AB8C-884A-4B76-B942-982A7B0D14FB}"/>
          </ac:spMkLst>
        </pc:spChg>
        <pc:spChg chg="mod">
          <ac:chgData name="Andrea Mogollon Nossa (CENIT)" userId="f6a3e592-cc27-4858-b185-ff86be206069" providerId="ADAL" clId="{2CAEC1E3-2241-4370-8FDB-F4FAA904BB83}" dt="2020-06-16T16:26:17.916" v="963" actId="1076"/>
          <ac:spMkLst>
            <pc:docMk/>
            <pc:sldMk cId="3388165311" sldId="2134804302"/>
            <ac:spMk id="51" creationId="{9700CBF6-ECE0-417F-8990-BE6FF82F08E2}"/>
          </ac:spMkLst>
        </pc:spChg>
        <pc:spChg chg="mod">
          <ac:chgData name="Andrea Mogollon Nossa (CENIT)" userId="f6a3e592-cc27-4858-b185-ff86be206069" providerId="ADAL" clId="{2CAEC1E3-2241-4370-8FDB-F4FAA904BB83}" dt="2020-06-16T16:23:47.740" v="839" actId="13926"/>
          <ac:spMkLst>
            <pc:docMk/>
            <pc:sldMk cId="3388165311" sldId="2134804302"/>
            <ac:spMk id="69" creationId="{D1E61FFC-0E44-46E6-9048-AD5F751B6444}"/>
          </ac:spMkLst>
        </pc:spChg>
        <pc:spChg chg="mod">
          <ac:chgData name="Andrea Mogollon Nossa (CENIT)" userId="f6a3e592-cc27-4858-b185-ff86be206069" providerId="ADAL" clId="{2CAEC1E3-2241-4370-8FDB-F4FAA904BB83}" dt="2020-06-16T16:27:07.737" v="970" actId="20577"/>
          <ac:spMkLst>
            <pc:docMk/>
            <pc:sldMk cId="3388165311" sldId="2134804302"/>
            <ac:spMk id="70" creationId="{B526514C-8B58-41B2-9BC1-CD5F143196F3}"/>
          </ac:spMkLst>
        </pc:spChg>
        <pc:spChg chg="del">
          <ac:chgData name="Andrea Mogollon Nossa (CENIT)" userId="f6a3e592-cc27-4858-b185-ff86be206069" providerId="ADAL" clId="{2CAEC1E3-2241-4370-8FDB-F4FAA904BB83}" dt="2020-06-16T16:26:08.281" v="960" actId="478"/>
          <ac:spMkLst>
            <pc:docMk/>
            <pc:sldMk cId="3388165311" sldId="2134804302"/>
            <ac:spMk id="71" creationId="{90E70C33-107F-42F9-9210-5FD2E74008DA}"/>
          </ac:spMkLst>
        </pc:spChg>
        <pc:spChg chg="mod">
          <ac:chgData name="Andrea Mogollon Nossa (CENIT)" userId="f6a3e592-cc27-4858-b185-ff86be206069" providerId="ADAL" clId="{2CAEC1E3-2241-4370-8FDB-F4FAA904BB83}" dt="2020-06-16T16:27:49.263" v="988" actId="20577"/>
          <ac:spMkLst>
            <pc:docMk/>
            <pc:sldMk cId="3388165311" sldId="2134804302"/>
            <ac:spMk id="74" creationId="{234494BB-5750-4094-A440-F0B642DBA873}"/>
          </ac:spMkLst>
        </pc:spChg>
        <pc:spChg chg="mod">
          <ac:chgData name="Andrea Mogollon Nossa (CENIT)" userId="f6a3e592-cc27-4858-b185-ff86be206069" providerId="ADAL" clId="{2CAEC1E3-2241-4370-8FDB-F4FAA904BB83}" dt="2020-06-16T16:26:17.916" v="963" actId="1076"/>
          <ac:spMkLst>
            <pc:docMk/>
            <pc:sldMk cId="3388165311" sldId="2134804302"/>
            <ac:spMk id="75" creationId="{E8AC9C1F-AAE8-4EAE-A8E1-5D9BCDF464FF}"/>
          </ac:spMkLst>
        </pc:spChg>
        <pc:graphicFrameChg chg="mod">
          <ac:chgData name="Andrea Mogollon Nossa (CENIT)" userId="f6a3e592-cc27-4858-b185-ff86be206069" providerId="ADAL" clId="{2CAEC1E3-2241-4370-8FDB-F4FAA904BB83}" dt="2020-06-16T16:27:46.293" v="986" actId="20577"/>
          <ac:graphicFrameMkLst>
            <pc:docMk/>
            <pc:sldMk cId="3388165311" sldId="2134804302"/>
            <ac:graphicFrameMk id="31" creationId="{082DB4DE-8974-4034-9750-F60450C065B8}"/>
          </ac:graphicFrameMkLst>
        </pc:graphicFrameChg>
      </pc:sldChg>
      <pc:sldChg chg="del">
        <pc:chgData name="Andrea Mogollon Nossa (CENIT)" userId="f6a3e592-cc27-4858-b185-ff86be206069" providerId="ADAL" clId="{2CAEC1E3-2241-4370-8FDB-F4FAA904BB83}" dt="2020-06-17T13:25:42.584" v="2815" actId="47"/>
        <pc:sldMkLst>
          <pc:docMk/>
          <pc:sldMk cId="269391102" sldId="2134804303"/>
        </pc:sldMkLst>
      </pc:sldChg>
      <pc:sldChg chg="delSp modSp del mod">
        <pc:chgData name="Andrea Mogollon Nossa (CENIT)" userId="f6a3e592-cc27-4858-b185-ff86be206069" providerId="ADAL" clId="{2CAEC1E3-2241-4370-8FDB-F4FAA904BB83}" dt="2020-06-17T14:14:48.988" v="3047" actId="47"/>
        <pc:sldMkLst>
          <pc:docMk/>
          <pc:sldMk cId="1437930201" sldId="2134804305"/>
        </pc:sldMkLst>
        <pc:spChg chg="mod">
          <ac:chgData name="Andrea Mogollon Nossa (CENIT)" userId="f6a3e592-cc27-4858-b185-ff86be206069" providerId="ADAL" clId="{2CAEC1E3-2241-4370-8FDB-F4FAA904BB83}" dt="2020-06-16T17:13:34.878" v="1626" actId="1076"/>
          <ac:spMkLst>
            <pc:docMk/>
            <pc:sldMk cId="1437930201" sldId="2134804305"/>
            <ac:spMk id="3" creationId="{3E81DF00-72F7-483D-86A7-B0742B7B72AA}"/>
          </ac:spMkLst>
        </pc:spChg>
        <pc:spChg chg="mod">
          <ac:chgData name="Andrea Mogollon Nossa (CENIT)" userId="f6a3e592-cc27-4858-b185-ff86be206069" providerId="ADAL" clId="{2CAEC1E3-2241-4370-8FDB-F4FAA904BB83}" dt="2020-06-16T17:13:34.878" v="1626" actId="1076"/>
          <ac:spMkLst>
            <pc:docMk/>
            <pc:sldMk cId="1437930201" sldId="2134804305"/>
            <ac:spMk id="29" creationId="{7125CC1C-5FDC-4602-9A38-92E508C86779}"/>
          </ac:spMkLst>
        </pc:spChg>
        <pc:spChg chg="mod">
          <ac:chgData name="Andrea Mogollon Nossa (CENIT)" userId="f6a3e592-cc27-4858-b185-ff86be206069" providerId="ADAL" clId="{2CAEC1E3-2241-4370-8FDB-F4FAA904BB83}" dt="2020-06-16T17:13:34.878" v="1626" actId="1076"/>
          <ac:spMkLst>
            <pc:docMk/>
            <pc:sldMk cId="1437930201" sldId="2134804305"/>
            <ac:spMk id="30" creationId="{973F4DDB-893C-4EE6-BB59-D7584DDBE344}"/>
          </ac:spMkLst>
        </pc:spChg>
        <pc:spChg chg="mod">
          <ac:chgData name="Andrea Mogollon Nossa (CENIT)" userId="f6a3e592-cc27-4858-b185-ff86be206069" providerId="ADAL" clId="{2CAEC1E3-2241-4370-8FDB-F4FAA904BB83}" dt="2020-06-16T17:13:34.878" v="1626" actId="1076"/>
          <ac:spMkLst>
            <pc:docMk/>
            <pc:sldMk cId="1437930201" sldId="2134804305"/>
            <ac:spMk id="31" creationId="{495631AC-0C47-4D3B-90F6-0FE44D643E39}"/>
          </ac:spMkLst>
        </pc:spChg>
        <pc:spChg chg="mod">
          <ac:chgData name="Andrea Mogollon Nossa (CENIT)" userId="f6a3e592-cc27-4858-b185-ff86be206069" providerId="ADAL" clId="{2CAEC1E3-2241-4370-8FDB-F4FAA904BB83}" dt="2020-06-16T17:13:34.878" v="1626" actId="1076"/>
          <ac:spMkLst>
            <pc:docMk/>
            <pc:sldMk cId="1437930201" sldId="2134804305"/>
            <ac:spMk id="32" creationId="{B9E51ECF-B493-4F93-8726-818A717D9166}"/>
          </ac:spMkLst>
        </pc:spChg>
        <pc:spChg chg="mod">
          <ac:chgData name="Andrea Mogollon Nossa (CENIT)" userId="f6a3e592-cc27-4858-b185-ff86be206069" providerId="ADAL" clId="{2CAEC1E3-2241-4370-8FDB-F4FAA904BB83}" dt="2020-06-16T17:13:34.878" v="1626" actId="1076"/>
          <ac:spMkLst>
            <pc:docMk/>
            <pc:sldMk cId="1437930201" sldId="2134804305"/>
            <ac:spMk id="33" creationId="{103BDFFB-8D5D-4034-AE94-47A9DF5DCB76}"/>
          </ac:spMkLst>
        </pc:spChg>
        <pc:spChg chg="mod">
          <ac:chgData name="Andrea Mogollon Nossa (CENIT)" userId="f6a3e592-cc27-4858-b185-ff86be206069" providerId="ADAL" clId="{2CAEC1E3-2241-4370-8FDB-F4FAA904BB83}" dt="2020-06-16T17:13:34.878" v="1626" actId="1076"/>
          <ac:spMkLst>
            <pc:docMk/>
            <pc:sldMk cId="1437930201" sldId="2134804305"/>
            <ac:spMk id="34" creationId="{6E3CAD53-D658-40EE-AB4E-23403B8F6FEA}"/>
          </ac:spMkLst>
        </pc:spChg>
        <pc:spChg chg="mod">
          <ac:chgData name="Andrea Mogollon Nossa (CENIT)" userId="f6a3e592-cc27-4858-b185-ff86be206069" providerId="ADAL" clId="{2CAEC1E3-2241-4370-8FDB-F4FAA904BB83}" dt="2020-06-16T17:13:34.878" v="1626" actId="1076"/>
          <ac:spMkLst>
            <pc:docMk/>
            <pc:sldMk cId="1437930201" sldId="2134804305"/>
            <ac:spMk id="35" creationId="{1354E040-9E37-40B3-8E90-388E70E07C12}"/>
          </ac:spMkLst>
        </pc:spChg>
        <pc:spChg chg="mod">
          <ac:chgData name="Andrea Mogollon Nossa (CENIT)" userId="f6a3e592-cc27-4858-b185-ff86be206069" providerId="ADAL" clId="{2CAEC1E3-2241-4370-8FDB-F4FAA904BB83}" dt="2020-06-16T17:13:34.878" v="1626" actId="1076"/>
          <ac:spMkLst>
            <pc:docMk/>
            <pc:sldMk cId="1437930201" sldId="2134804305"/>
            <ac:spMk id="36" creationId="{4351D72F-F771-468B-9D35-804472761DB1}"/>
          </ac:spMkLst>
        </pc:spChg>
        <pc:spChg chg="mod">
          <ac:chgData name="Andrea Mogollon Nossa (CENIT)" userId="f6a3e592-cc27-4858-b185-ff86be206069" providerId="ADAL" clId="{2CAEC1E3-2241-4370-8FDB-F4FAA904BB83}" dt="2020-06-16T17:13:34.878" v="1626" actId="1076"/>
          <ac:spMkLst>
            <pc:docMk/>
            <pc:sldMk cId="1437930201" sldId="2134804305"/>
            <ac:spMk id="37" creationId="{C143C958-917B-4574-B784-47CCEE5F4D78}"/>
          </ac:spMkLst>
        </pc:spChg>
        <pc:spChg chg="mod">
          <ac:chgData name="Andrea Mogollon Nossa (CENIT)" userId="f6a3e592-cc27-4858-b185-ff86be206069" providerId="ADAL" clId="{2CAEC1E3-2241-4370-8FDB-F4FAA904BB83}" dt="2020-06-16T17:13:34.878" v="1626" actId="1076"/>
          <ac:spMkLst>
            <pc:docMk/>
            <pc:sldMk cId="1437930201" sldId="2134804305"/>
            <ac:spMk id="38" creationId="{DCB283D9-E8F8-4D6C-9F82-21FFF4B8860D}"/>
          </ac:spMkLst>
        </pc:spChg>
        <pc:spChg chg="mod">
          <ac:chgData name="Andrea Mogollon Nossa (CENIT)" userId="f6a3e592-cc27-4858-b185-ff86be206069" providerId="ADAL" clId="{2CAEC1E3-2241-4370-8FDB-F4FAA904BB83}" dt="2020-06-16T17:13:34.878" v="1626" actId="1076"/>
          <ac:spMkLst>
            <pc:docMk/>
            <pc:sldMk cId="1437930201" sldId="2134804305"/>
            <ac:spMk id="39" creationId="{4262DE27-389D-4F8C-8770-2E4D96159086}"/>
          </ac:spMkLst>
        </pc:spChg>
        <pc:spChg chg="mod">
          <ac:chgData name="Andrea Mogollon Nossa (CENIT)" userId="f6a3e592-cc27-4858-b185-ff86be206069" providerId="ADAL" clId="{2CAEC1E3-2241-4370-8FDB-F4FAA904BB83}" dt="2020-06-16T17:13:34.878" v="1626" actId="1076"/>
          <ac:spMkLst>
            <pc:docMk/>
            <pc:sldMk cId="1437930201" sldId="2134804305"/>
            <ac:spMk id="40" creationId="{888CD73B-EE43-4608-B711-B8B40EF02575}"/>
          </ac:spMkLst>
        </pc:spChg>
        <pc:spChg chg="mod">
          <ac:chgData name="Andrea Mogollon Nossa (CENIT)" userId="f6a3e592-cc27-4858-b185-ff86be206069" providerId="ADAL" clId="{2CAEC1E3-2241-4370-8FDB-F4FAA904BB83}" dt="2020-06-16T17:13:34.878" v="1626" actId="1076"/>
          <ac:spMkLst>
            <pc:docMk/>
            <pc:sldMk cId="1437930201" sldId="2134804305"/>
            <ac:spMk id="41" creationId="{DA39C026-7069-4B42-BD85-313576DDFB39}"/>
          </ac:spMkLst>
        </pc:spChg>
        <pc:spChg chg="mod">
          <ac:chgData name="Andrea Mogollon Nossa (CENIT)" userId="f6a3e592-cc27-4858-b185-ff86be206069" providerId="ADAL" clId="{2CAEC1E3-2241-4370-8FDB-F4FAA904BB83}" dt="2020-06-16T17:13:34.878" v="1626" actId="1076"/>
          <ac:spMkLst>
            <pc:docMk/>
            <pc:sldMk cId="1437930201" sldId="2134804305"/>
            <ac:spMk id="42" creationId="{8B0101E6-E02A-40F3-B17F-EED90EE75014}"/>
          </ac:spMkLst>
        </pc:spChg>
        <pc:spChg chg="mod">
          <ac:chgData name="Andrea Mogollon Nossa (CENIT)" userId="f6a3e592-cc27-4858-b185-ff86be206069" providerId="ADAL" clId="{2CAEC1E3-2241-4370-8FDB-F4FAA904BB83}" dt="2020-06-16T17:13:34.878" v="1626" actId="1076"/>
          <ac:spMkLst>
            <pc:docMk/>
            <pc:sldMk cId="1437930201" sldId="2134804305"/>
            <ac:spMk id="43" creationId="{DC538832-1FE3-4E8C-8CC6-D6F7C6D95F24}"/>
          </ac:spMkLst>
        </pc:spChg>
        <pc:spChg chg="mod">
          <ac:chgData name="Andrea Mogollon Nossa (CENIT)" userId="f6a3e592-cc27-4858-b185-ff86be206069" providerId="ADAL" clId="{2CAEC1E3-2241-4370-8FDB-F4FAA904BB83}" dt="2020-06-16T17:13:34.878" v="1626" actId="1076"/>
          <ac:spMkLst>
            <pc:docMk/>
            <pc:sldMk cId="1437930201" sldId="2134804305"/>
            <ac:spMk id="44" creationId="{A1F604F9-FE45-4D40-BCA1-DD793F47C130}"/>
          </ac:spMkLst>
        </pc:spChg>
        <pc:spChg chg="mod">
          <ac:chgData name="Andrea Mogollon Nossa (CENIT)" userId="f6a3e592-cc27-4858-b185-ff86be206069" providerId="ADAL" clId="{2CAEC1E3-2241-4370-8FDB-F4FAA904BB83}" dt="2020-06-16T17:13:34.878" v="1626" actId="1076"/>
          <ac:spMkLst>
            <pc:docMk/>
            <pc:sldMk cId="1437930201" sldId="2134804305"/>
            <ac:spMk id="45" creationId="{10115427-9687-461E-83B6-209293983EBE}"/>
          </ac:spMkLst>
        </pc:spChg>
        <pc:spChg chg="mod">
          <ac:chgData name="Andrea Mogollon Nossa (CENIT)" userId="f6a3e592-cc27-4858-b185-ff86be206069" providerId="ADAL" clId="{2CAEC1E3-2241-4370-8FDB-F4FAA904BB83}" dt="2020-06-16T17:13:34.878" v="1626" actId="1076"/>
          <ac:spMkLst>
            <pc:docMk/>
            <pc:sldMk cId="1437930201" sldId="2134804305"/>
            <ac:spMk id="46" creationId="{9C1BA4A3-ECCD-405A-BF51-BCA69D7ADD9E}"/>
          </ac:spMkLst>
        </pc:spChg>
        <pc:spChg chg="mod">
          <ac:chgData name="Andrea Mogollon Nossa (CENIT)" userId="f6a3e592-cc27-4858-b185-ff86be206069" providerId="ADAL" clId="{2CAEC1E3-2241-4370-8FDB-F4FAA904BB83}" dt="2020-06-16T17:13:34.878" v="1626" actId="1076"/>
          <ac:spMkLst>
            <pc:docMk/>
            <pc:sldMk cId="1437930201" sldId="2134804305"/>
            <ac:spMk id="47" creationId="{3D62294D-6FF1-4856-8147-499676392E6C}"/>
          </ac:spMkLst>
        </pc:spChg>
        <pc:spChg chg="mod">
          <ac:chgData name="Andrea Mogollon Nossa (CENIT)" userId="f6a3e592-cc27-4858-b185-ff86be206069" providerId="ADAL" clId="{2CAEC1E3-2241-4370-8FDB-F4FAA904BB83}" dt="2020-06-16T17:13:34.878" v="1626" actId="1076"/>
          <ac:spMkLst>
            <pc:docMk/>
            <pc:sldMk cId="1437930201" sldId="2134804305"/>
            <ac:spMk id="48" creationId="{98859224-61DD-429B-9347-E2DEF3319C4E}"/>
          </ac:spMkLst>
        </pc:spChg>
        <pc:spChg chg="mod">
          <ac:chgData name="Andrea Mogollon Nossa (CENIT)" userId="f6a3e592-cc27-4858-b185-ff86be206069" providerId="ADAL" clId="{2CAEC1E3-2241-4370-8FDB-F4FAA904BB83}" dt="2020-06-16T17:13:34.878" v="1626" actId="1076"/>
          <ac:spMkLst>
            <pc:docMk/>
            <pc:sldMk cId="1437930201" sldId="2134804305"/>
            <ac:spMk id="51" creationId="{8905A358-160B-4BB3-9F7B-51D42F4CE7AB}"/>
          </ac:spMkLst>
        </pc:spChg>
        <pc:spChg chg="mod">
          <ac:chgData name="Andrea Mogollon Nossa (CENIT)" userId="f6a3e592-cc27-4858-b185-ff86be206069" providerId="ADAL" clId="{2CAEC1E3-2241-4370-8FDB-F4FAA904BB83}" dt="2020-06-16T17:13:34.878" v="1626" actId="1076"/>
          <ac:spMkLst>
            <pc:docMk/>
            <pc:sldMk cId="1437930201" sldId="2134804305"/>
            <ac:spMk id="52" creationId="{7E21C2F9-578F-4537-A022-944A17845152}"/>
          </ac:spMkLst>
        </pc:spChg>
        <pc:spChg chg="mod">
          <ac:chgData name="Andrea Mogollon Nossa (CENIT)" userId="f6a3e592-cc27-4858-b185-ff86be206069" providerId="ADAL" clId="{2CAEC1E3-2241-4370-8FDB-F4FAA904BB83}" dt="2020-06-16T17:13:34.878" v="1626" actId="1076"/>
          <ac:spMkLst>
            <pc:docMk/>
            <pc:sldMk cId="1437930201" sldId="2134804305"/>
            <ac:spMk id="55" creationId="{36B63E54-7A07-43E7-9359-EE0978EE147E}"/>
          </ac:spMkLst>
        </pc:spChg>
        <pc:spChg chg="mod">
          <ac:chgData name="Andrea Mogollon Nossa (CENIT)" userId="f6a3e592-cc27-4858-b185-ff86be206069" providerId="ADAL" clId="{2CAEC1E3-2241-4370-8FDB-F4FAA904BB83}" dt="2020-06-16T17:13:34.878" v="1626" actId="1076"/>
          <ac:spMkLst>
            <pc:docMk/>
            <pc:sldMk cId="1437930201" sldId="2134804305"/>
            <ac:spMk id="56" creationId="{DE1CE7C4-B5AA-4B0B-8977-276EDE207860}"/>
          </ac:spMkLst>
        </pc:spChg>
        <pc:spChg chg="mod">
          <ac:chgData name="Andrea Mogollon Nossa (CENIT)" userId="f6a3e592-cc27-4858-b185-ff86be206069" providerId="ADAL" clId="{2CAEC1E3-2241-4370-8FDB-F4FAA904BB83}" dt="2020-06-16T17:13:34.878" v="1626" actId="1076"/>
          <ac:spMkLst>
            <pc:docMk/>
            <pc:sldMk cId="1437930201" sldId="2134804305"/>
            <ac:spMk id="58" creationId="{BB1E2630-A12D-49DC-9D0C-EAD1ADD233B9}"/>
          </ac:spMkLst>
        </pc:spChg>
        <pc:spChg chg="mod">
          <ac:chgData name="Andrea Mogollon Nossa (CENIT)" userId="f6a3e592-cc27-4858-b185-ff86be206069" providerId="ADAL" clId="{2CAEC1E3-2241-4370-8FDB-F4FAA904BB83}" dt="2020-06-16T17:13:34.878" v="1626" actId="1076"/>
          <ac:spMkLst>
            <pc:docMk/>
            <pc:sldMk cId="1437930201" sldId="2134804305"/>
            <ac:spMk id="59" creationId="{31E235DE-E075-4F32-9EC1-C08BC7C610AB}"/>
          </ac:spMkLst>
        </pc:spChg>
        <pc:spChg chg="mod">
          <ac:chgData name="Andrea Mogollon Nossa (CENIT)" userId="f6a3e592-cc27-4858-b185-ff86be206069" providerId="ADAL" clId="{2CAEC1E3-2241-4370-8FDB-F4FAA904BB83}" dt="2020-06-16T17:13:34.878" v="1626" actId="1076"/>
          <ac:spMkLst>
            <pc:docMk/>
            <pc:sldMk cId="1437930201" sldId="2134804305"/>
            <ac:spMk id="60" creationId="{F0614BAC-28DD-425C-B2FE-00C6578955EA}"/>
          </ac:spMkLst>
        </pc:spChg>
        <pc:spChg chg="mod">
          <ac:chgData name="Andrea Mogollon Nossa (CENIT)" userId="f6a3e592-cc27-4858-b185-ff86be206069" providerId="ADAL" clId="{2CAEC1E3-2241-4370-8FDB-F4FAA904BB83}" dt="2020-06-16T17:13:34.878" v="1626" actId="1076"/>
          <ac:spMkLst>
            <pc:docMk/>
            <pc:sldMk cId="1437930201" sldId="2134804305"/>
            <ac:spMk id="62" creationId="{4A24903F-CEEF-445C-8467-4021CBD707E4}"/>
          </ac:spMkLst>
        </pc:spChg>
        <pc:spChg chg="mod">
          <ac:chgData name="Andrea Mogollon Nossa (CENIT)" userId="f6a3e592-cc27-4858-b185-ff86be206069" providerId="ADAL" clId="{2CAEC1E3-2241-4370-8FDB-F4FAA904BB83}" dt="2020-06-16T17:13:34.878" v="1626" actId="1076"/>
          <ac:spMkLst>
            <pc:docMk/>
            <pc:sldMk cId="1437930201" sldId="2134804305"/>
            <ac:spMk id="63" creationId="{ECC2A5DC-6EB9-4696-A1E0-EDDE391508A2}"/>
          </ac:spMkLst>
        </pc:spChg>
        <pc:spChg chg="mod">
          <ac:chgData name="Andrea Mogollon Nossa (CENIT)" userId="f6a3e592-cc27-4858-b185-ff86be206069" providerId="ADAL" clId="{2CAEC1E3-2241-4370-8FDB-F4FAA904BB83}" dt="2020-06-16T17:13:34.878" v="1626" actId="1076"/>
          <ac:spMkLst>
            <pc:docMk/>
            <pc:sldMk cId="1437930201" sldId="2134804305"/>
            <ac:spMk id="64" creationId="{49F338AD-2373-43AE-BE92-6C934E9F535F}"/>
          </ac:spMkLst>
        </pc:spChg>
        <pc:spChg chg="mod">
          <ac:chgData name="Andrea Mogollon Nossa (CENIT)" userId="f6a3e592-cc27-4858-b185-ff86be206069" providerId="ADAL" clId="{2CAEC1E3-2241-4370-8FDB-F4FAA904BB83}" dt="2020-06-16T17:13:34.878" v="1626" actId="1076"/>
          <ac:spMkLst>
            <pc:docMk/>
            <pc:sldMk cId="1437930201" sldId="2134804305"/>
            <ac:spMk id="65" creationId="{AAA19413-97CE-4E50-8AA1-98AEC9E73C02}"/>
          </ac:spMkLst>
        </pc:spChg>
        <pc:spChg chg="mod">
          <ac:chgData name="Andrea Mogollon Nossa (CENIT)" userId="f6a3e592-cc27-4858-b185-ff86be206069" providerId="ADAL" clId="{2CAEC1E3-2241-4370-8FDB-F4FAA904BB83}" dt="2020-06-16T17:13:34.878" v="1626" actId="1076"/>
          <ac:spMkLst>
            <pc:docMk/>
            <pc:sldMk cId="1437930201" sldId="2134804305"/>
            <ac:spMk id="66" creationId="{9C19960A-BCCE-46BF-A151-E1388F3B6F2C}"/>
          </ac:spMkLst>
        </pc:spChg>
        <pc:spChg chg="mod">
          <ac:chgData name="Andrea Mogollon Nossa (CENIT)" userId="f6a3e592-cc27-4858-b185-ff86be206069" providerId="ADAL" clId="{2CAEC1E3-2241-4370-8FDB-F4FAA904BB83}" dt="2020-06-16T17:13:34.878" v="1626" actId="1076"/>
          <ac:spMkLst>
            <pc:docMk/>
            <pc:sldMk cId="1437930201" sldId="2134804305"/>
            <ac:spMk id="67" creationId="{47A59C6F-9973-4341-BA36-FAAAB43E4206}"/>
          </ac:spMkLst>
        </pc:spChg>
        <pc:spChg chg="mod">
          <ac:chgData name="Andrea Mogollon Nossa (CENIT)" userId="f6a3e592-cc27-4858-b185-ff86be206069" providerId="ADAL" clId="{2CAEC1E3-2241-4370-8FDB-F4FAA904BB83}" dt="2020-06-16T17:13:34.878" v="1626" actId="1076"/>
          <ac:spMkLst>
            <pc:docMk/>
            <pc:sldMk cId="1437930201" sldId="2134804305"/>
            <ac:spMk id="68" creationId="{714CDC28-F720-4BA7-B656-522A7E049D12}"/>
          </ac:spMkLst>
        </pc:spChg>
        <pc:spChg chg="mod">
          <ac:chgData name="Andrea Mogollon Nossa (CENIT)" userId="f6a3e592-cc27-4858-b185-ff86be206069" providerId="ADAL" clId="{2CAEC1E3-2241-4370-8FDB-F4FAA904BB83}" dt="2020-06-16T17:13:34.878" v="1626" actId="1076"/>
          <ac:spMkLst>
            <pc:docMk/>
            <pc:sldMk cId="1437930201" sldId="2134804305"/>
            <ac:spMk id="69" creationId="{FBB0588B-04B5-444D-92B8-330FB0EEF0C0}"/>
          </ac:spMkLst>
        </pc:spChg>
        <pc:spChg chg="del mod">
          <ac:chgData name="Andrea Mogollon Nossa (CENIT)" userId="f6a3e592-cc27-4858-b185-ff86be206069" providerId="ADAL" clId="{2CAEC1E3-2241-4370-8FDB-F4FAA904BB83}" dt="2020-06-17T14:13:12.771" v="3046" actId="478"/>
          <ac:spMkLst>
            <pc:docMk/>
            <pc:sldMk cId="1437930201" sldId="2134804305"/>
            <ac:spMk id="72" creationId="{7B4A64C5-55B6-43C5-A002-87E7DE9FEFBF}"/>
          </ac:spMkLst>
        </pc:spChg>
        <pc:spChg chg="mod">
          <ac:chgData name="Andrea Mogollon Nossa (CENIT)" userId="f6a3e592-cc27-4858-b185-ff86be206069" providerId="ADAL" clId="{2CAEC1E3-2241-4370-8FDB-F4FAA904BB83}" dt="2020-06-16T17:13:34.878" v="1626" actId="1076"/>
          <ac:spMkLst>
            <pc:docMk/>
            <pc:sldMk cId="1437930201" sldId="2134804305"/>
            <ac:spMk id="75" creationId="{7FB79087-3335-4E8E-A7DC-128FDD92B5EA}"/>
          </ac:spMkLst>
        </pc:spChg>
        <pc:grpChg chg="mod">
          <ac:chgData name="Andrea Mogollon Nossa (CENIT)" userId="f6a3e592-cc27-4858-b185-ff86be206069" providerId="ADAL" clId="{2CAEC1E3-2241-4370-8FDB-F4FAA904BB83}" dt="2020-06-16T17:13:34.878" v="1626" actId="1076"/>
          <ac:grpSpMkLst>
            <pc:docMk/>
            <pc:sldMk cId="1437930201" sldId="2134804305"/>
            <ac:grpSpMk id="6" creationId="{B74CE5C7-9B98-4F51-BACA-2389596C81AC}"/>
          </ac:grpSpMkLst>
        </pc:grpChg>
        <pc:grpChg chg="mod">
          <ac:chgData name="Andrea Mogollon Nossa (CENIT)" userId="f6a3e592-cc27-4858-b185-ff86be206069" providerId="ADAL" clId="{2CAEC1E3-2241-4370-8FDB-F4FAA904BB83}" dt="2020-06-16T17:13:34.878" v="1626" actId="1076"/>
          <ac:grpSpMkLst>
            <pc:docMk/>
            <pc:sldMk cId="1437930201" sldId="2134804305"/>
            <ac:grpSpMk id="7" creationId="{9F8B1301-4B8A-4C7B-B7CF-D6F5AC526A7A}"/>
          </ac:grpSpMkLst>
        </pc:grpChg>
        <pc:graphicFrameChg chg="mod">
          <ac:chgData name="Andrea Mogollon Nossa (CENIT)" userId="f6a3e592-cc27-4858-b185-ff86be206069" providerId="ADAL" clId="{2CAEC1E3-2241-4370-8FDB-F4FAA904BB83}" dt="2020-06-16T17:13:34.878" v="1626" actId="1076"/>
          <ac:graphicFrameMkLst>
            <pc:docMk/>
            <pc:sldMk cId="1437930201" sldId="2134804305"/>
            <ac:graphicFrameMk id="54" creationId="{BAD881DD-0495-48BC-9BEB-E260F0007B2D}"/>
          </ac:graphicFrameMkLst>
        </pc:graphicFrameChg>
        <pc:graphicFrameChg chg="mod">
          <ac:chgData name="Andrea Mogollon Nossa (CENIT)" userId="f6a3e592-cc27-4858-b185-ff86be206069" providerId="ADAL" clId="{2CAEC1E3-2241-4370-8FDB-F4FAA904BB83}" dt="2020-06-16T17:13:34.878" v="1626" actId="1076"/>
          <ac:graphicFrameMkLst>
            <pc:docMk/>
            <pc:sldMk cId="1437930201" sldId="2134804305"/>
            <ac:graphicFrameMk id="57" creationId="{9064C0F5-8DA3-4E4B-85A3-33DB3472E319}"/>
          </ac:graphicFrameMkLst>
        </pc:graphicFrameChg>
        <pc:graphicFrameChg chg="mod">
          <ac:chgData name="Andrea Mogollon Nossa (CENIT)" userId="f6a3e592-cc27-4858-b185-ff86be206069" providerId="ADAL" clId="{2CAEC1E3-2241-4370-8FDB-F4FAA904BB83}" dt="2020-06-16T17:13:34.878" v="1626" actId="1076"/>
          <ac:graphicFrameMkLst>
            <pc:docMk/>
            <pc:sldMk cId="1437930201" sldId="2134804305"/>
            <ac:graphicFrameMk id="61" creationId="{703E986E-4E61-4209-A9C7-8B2FF3CA8496}"/>
          </ac:graphicFrameMkLst>
        </pc:graphicFrameChg>
        <pc:cxnChg chg="mod">
          <ac:chgData name="Andrea Mogollon Nossa (CENIT)" userId="f6a3e592-cc27-4858-b185-ff86be206069" providerId="ADAL" clId="{2CAEC1E3-2241-4370-8FDB-F4FAA904BB83}" dt="2020-06-16T17:13:34.878" v="1626" actId="1076"/>
          <ac:cxnSpMkLst>
            <pc:docMk/>
            <pc:sldMk cId="1437930201" sldId="2134804305"/>
            <ac:cxnSpMk id="49" creationId="{486CCA09-F951-4FCD-A971-B862A67A6A98}"/>
          </ac:cxnSpMkLst>
        </pc:cxnChg>
        <pc:cxnChg chg="mod">
          <ac:chgData name="Andrea Mogollon Nossa (CENIT)" userId="f6a3e592-cc27-4858-b185-ff86be206069" providerId="ADAL" clId="{2CAEC1E3-2241-4370-8FDB-F4FAA904BB83}" dt="2020-06-16T17:13:34.878" v="1626" actId="1076"/>
          <ac:cxnSpMkLst>
            <pc:docMk/>
            <pc:sldMk cId="1437930201" sldId="2134804305"/>
            <ac:cxnSpMk id="50" creationId="{4793C5C9-0BE0-4B32-B0ED-31853EF8C5DE}"/>
          </ac:cxnSpMkLst>
        </pc:cxnChg>
      </pc:sldChg>
      <pc:sldChg chg="delSp modSp del mod">
        <pc:chgData name="Andrea Mogollon Nossa (CENIT)" userId="f6a3e592-cc27-4858-b185-ff86be206069" providerId="ADAL" clId="{2CAEC1E3-2241-4370-8FDB-F4FAA904BB83}" dt="2020-06-17T13:06:06.614" v="2737" actId="47"/>
        <pc:sldMkLst>
          <pc:docMk/>
          <pc:sldMk cId="2047688200" sldId="2134804306"/>
        </pc:sldMkLst>
        <pc:spChg chg="del mod">
          <ac:chgData name="Andrea Mogollon Nossa (CENIT)" userId="f6a3e592-cc27-4858-b185-ff86be206069" providerId="ADAL" clId="{2CAEC1E3-2241-4370-8FDB-F4FAA904BB83}" dt="2020-06-16T22:22:16.680" v="2023" actId="478"/>
          <ac:spMkLst>
            <pc:docMk/>
            <pc:sldMk cId="2047688200" sldId="2134804306"/>
            <ac:spMk id="81" creationId="{E12BDE06-5E0D-4104-90BD-A7E69EF59B22}"/>
          </ac:spMkLst>
        </pc:spChg>
      </pc:sldChg>
      <pc:sldChg chg="del">
        <pc:chgData name="Andrea Mogollon Nossa (CENIT)" userId="f6a3e592-cc27-4858-b185-ff86be206069" providerId="ADAL" clId="{2CAEC1E3-2241-4370-8FDB-F4FAA904BB83}" dt="2020-06-17T13:06:08.155" v="2738" actId="47"/>
        <pc:sldMkLst>
          <pc:docMk/>
          <pc:sldMk cId="474409443" sldId="2134804307"/>
        </pc:sldMkLst>
      </pc:sldChg>
      <pc:sldChg chg="addSp delSp modSp new mod">
        <pc:chgData name="Andrea Mogollon Nossa (CENIT)" userId="f6a3e592-cc27-4858-b185-ff86be206069" providerId="ADAL" clId="{2CAEC1E3-2241-4370-8FDB-F4FAA904BB83}" dt="2020-06-16T23:19:00.727" v="2637" actId="20577"/>
        <pc:sldMkLst>
          <pc:docMk/>
          <pc:sldMk cId="2563757368" sldId="2134804308"/>
        </pc:sldMkLst>
        <pc:spChg chg="del">
          <ac:chgData name="Andrea Mogollon Nossa (CENIT)" userId="f6a3e592-cc27-4858-b185-ff86be206069" providerId="ADAL" clId="{2CAEC1E3-2241-4370-8FDB-F4FAA904BB83}" dt="2020-06-16T23:09:45.921" v="2419" actId="478"/>
          <ac:spMkLst>
            <pc:docMk/>
            <pc:sldMk cId="2563757368" sldId="2134804308"/>
            <ac:spMk id="3" creationId="{7C18822C-0FE5-43E2-9F59-9CEBAF89510C}"/>
          </ac:spMkLst>
        </pc:spChg>
        <pc:spChg chg="add mod">
          <ac:chgData name="Andrea Mogollon Nossa (CENIT)" userId="f6a3e592-cc27-4858-b185-ff86be206069" providerId="ADAL" clId="{2CAEC1E3-2241-4370-8FDB-F4FAA904BB83}" dt="2020-06-16T23:10:41.183" v="2437" actId="108"/>
          <ac:spMkLst>
            <pc:docMk/>
            <pc:sldMk cId="2563757368" sldId="2134804308"/>
            <ac:spMk id="4" creationId="{2CB156C4-E600-4A66-8FF1-40D0D01DBFB3}"/>
          </ac:spMkLst>
        </pc:spChg>
        <pc:spChg chg="add mod">
          <ac:chgData name="Andrea Mogollon Nossa (CENIT)" userId="f6a3e592-cc27-4858-b185-ff86be206069" providerId="ADAL" clId="{2CAEC1E3-2241-4370-8FDB-F4FAA904BB83}" dt="2020-06-16T23:10:44.762" v="2438" actId="108"/>
          <ac:spMkLst>
            <pc:docMk/>
            <pc:sldMk cId="2563757368" sldId="2134804308"/>
            <ac:spMk id="5" creationId="{2D3A3965-3A26-4BC3-B278-4D79AA8917B8}"/>
          </ac:spMkLst>
        </pc:spChg>
        <pc:spChg chg="add mod">
          <ac:chgData name="Andrea Mogollon Nossa (CENIT)" userId="f6a3e592-cc27-4858-b185-ff86be206069" providerId="ADAL" clId="{2CAEC1E3-2241-4370-8FDB-F4FAA904BB83}" dt="2020-06-16T23:10:46.783" v="2439" actId="108"/>
          <ac:spMkLst>
            <pc:docMk/>
            <pc:sldMk cId="2563757368" sldId="2134804308"/>
            <ac:spMk id="6" creationId="{59FF8909-C72A-47FE-8FC7-7CD8166AD6D3}"/>
          </ac:spMkLst>
        </pc:spChg>
        <pc:spChg chg="add mod">
          <ac:chgData name="Andrea Mogollon Nossa (CENIT)" userId="f6a3e592-cc27-4858-b185-ff86be206069" providerId="ADAL" clId="{2CAEC1E3-2241-4370-8FDB-F4FAA904BB83}" dt="2020-06-16T23:10:53.665" v="2441" actId="108"/>
          <ac:spMkLst>
            <pc:docMk/>
            <pc:sldMk cId="2563757368" sldId="2134804308"/>
            <ac:spMk id="7" creationId="{5E0BD821-795D-4A38-A805-A9DDD9BA4806}"/>
          </ac:spMkLst>
        </pc:spChg>
        <pc:spChg chg="add mod">
          <ac:chgData name="Andrea Mogollon Nossa (CENIT)" userId="f6a3e592-cc27-4858-b185-ff86be206069" providerId="ADAL" clId="{2CAEC1E3-2241-4370-8FDB-F4FAA904BB83}" dt="2020-06-16T23:10:55.629" v="2442" actId="108"/>
          <ac:spMkLst>
            <pc:docMk/>
            <pc:sldMk cId="2563757368" sldId="2134804308"/>
            <ac:spMk id="8" creationId="{BD2682F8-1D6B-44D2-BB66-42A57A795C11}"/>
          </ac:spMkLst>
        </pc:spChg>
        <pc:spChg chg="add del mod">
          <ac:chgData name="Andrea Mogollon Nossa (CENIT)" userId="f6a3e592-cc27-4858-b185-ff86be206069" providerId="ADAL" clId="{2CAEC1E3-2241-4370-8FDB-F4FAA904BB83}" dt="2020-06-16T23:08:51.233" v="2409" actId="478"/>
          <ac:spMkLst>
            <pc:docMk/>
            <pc:sldMk cId="2563757368" sldId="2134804308"/>
            <ac:spMk id="9" creationId="{D0085BAD-6016-47D2-A009-144213AD2A7F}"/>
          </ac:spMkLst>
        </pc:spChg>
        <pc:spChg chg="add mod">
          <ac:chgData name="Andrea Mogollon Nossa (CENIT)" userId="f6a3e592-cc27-4858-b185-ff86be206069" providerId="ADAL" clId="{2CAEC1E3-2241-4370-8FDB-F4FAA904BB83}" dt="2020-06-16T23:10:41.183" v="2437" actId="108"/>
          <ac:spMkLst>
            <pc:docMk/>
            <pc:sldMk cId="2563757368" sldId="2134804308"/>
            <ac:spMk id="10" creationId="{46AC7E4D-4059-4085-BE95-71AAE8236283}"/>
          </ac:spMkLst>
        </pc:spChg>
        <pc:spChg chg="add mod">
          <ac:chgData name="Andrea Mogollon Nossa (CENIT)" userId="f6a3e592-cc27-4858-b185-ff86be206069" providerId="ADAL" clId="{2CAEC1E3-2241-4370-8FDB-F4FAA904BB83}" dt="2020-06-16T23:10:59.584" v="2444" actId="108"/>
          <ac:spMkLst>
            <pc:docMk/>
            <pc:sldMk cId="2563757368" sldId="2134804308"/>
            <ac:spMk id="11" creationId="{3DE5B17A-8F51-48E2-8B97-77DA0C53BDF3}"/>
          </ac:spMkLst>
        </pc:spChg>
        <pc:spChg chg="add mod">
          <ac:chgData name="Andrea Mogollon Nossa (CENIT)" userId="f6a3e592-cc27-4858-b185-ff86be206069" providerId="ADAL" clId="{2CAEC1E3-2241-4370-8FDB-F4FAA904BB83}" dt="2020-06-16T23:10:57.777" v="2443" actId="108"/>
          <ac:spMkLst>
            <pc:docMk/>
            <pc:sldMk cId="2563757368" sldId="2134804308"/>
            <ac:spMk id="12" creationId="{5D0CBD00-2033-4480-89F9-A8EBA307D9B1}"/>
          </ac:spMkLst>
        </pc:spChg>
        <pc:spChg chg="add mod">
          <ac:chgData name="Andrea Mogollon Nossa (CENIT)" userId="f6a3e592-cc27-4858-b185-ff86be206069" providerId="ADAL" clId="{2CAEC1E3-2241-4370-8FDB-F4FAA904BB83}" dt="2020-06-16T23:09:46.238" v="2420"/>
          <ac:spMkLst>
            <pc:docMk/>
            <pc:sldMk cId="2563757368" sldId="2134804308"/>
            <ac:spMk id="13" creationId="{D94DB474-A4DE-45FE-9DC8-50C2BF2F3AC8}"/>
          </ac:spMkLst>
        </pc:spChg>
        <pc:spChg chg="add mod">
          <ac:chgData name="Andrea Mogollon Nossa (CENIT)" userId="f6a3e592-cc27-4858-b185-ff86be206069" providerId="ADAL" clId="{2CAEC1E3-2241-4370-8FDB-F4FAA904BB83}" dt="2020-06-16T23:17:36.868" v="2574" actId="20577"/>
          <ac:spMkLst>
            <pc:docMk/>
            <pc:sldMk cId="2563757368" sldId="2134804308"/>
            <ac:spMk id="14" creationId="{61FEAB6A-FE76-49BE-BFCB-53669A4458F2}"/>
          </ac:spMkLst>
        </pc:spChg>
        <pc:spChg chg="add mod">
          <ac:chgData name="Andrea Mogollon Nossa (CENIT)" userId="f6a3e592-cc27-4858-b185-ff86be206069" providerId="ADAL" clId="{2CAEC1E3-2241-4370-8FDB-F4FAA904BB83}" dt="2020-06-16T23:17:45.549" v="2577" actId="20577"/>
          <ac:spMkLst>
            <pc:docMk/>
            <pc:sldMk cId="2563757368" sldId="2134804308"/>
            <ac:spMk id="15" creationId="{898AE2C5-4234-4DC2-9AF1-D6E3224C9435}"/>
          </ac:spMkLst>
        </pc:spChg>
        <pc:spChg chg="add mod">
          <ac:chgData name="Andrea Mogollon Nossa (CENIT)" userId="f6a3e592-cc27-4858-b185-ff86be206069" providerId="ADAL" clId="{2CAEC1E3-2241-4370-8FDB-F4FAA904BB83}" dt="2020-06-16T23:17:47.463" v="2578" actId="20577"/>
          <ac:spMkLst>
            <pc:docMk/>
            <pc:sldMk cId="2563757368" sldId="2134804308"/>
            <ac:spMk id="16" creationId="{5CE99B8A-98AA-4F33-A914-11B2F707C23E}"/>
          </ac:spMkLst>
        </pc:spChg>
        <pc:spChg chg="add mod">
          <ac:chgData name="Andrea Mogollon Nossa (CENIT)" userId="f6a3e592-cc27-4858-b185-ff86be206069" providerId="ADAL" clId="{2CAEC1E3-2241-4370-8FDB-F4FAA904BB83}" dt="2020-06-16T23:17:50.649" v="2579" actId="6549"/>
          <ac:spMkLst>
            <pc:docMk/>
            <pc:sldMk cId="2563757368" sldId="2134804308"/>
            <ac:spMk id="17" creationId="{0717619D-886E-4428-BAC5-120137D1C665}"/>
          </ac:spMkLst>
        </pc:spChg>
        <pc:spChg chg="add mod">
          <ac:chgData name="Andrea Mogollon Nossa (CENIT)" userId="f6a3e592-cc27-4858-b185-ff86be206069" providerId="ADAL" clId="{2CAEC1E3-2241-4370-8FDB-F4FAA904BB83}" dt="2020-06-16T23:17:53.221" v="2580" actId="6549"/>
          <ac:spMkLst>
            <pc:docMk/>
            <pc:sldMk cId="2563757368" sldId="2134804308"/>
            <ac:spMk id="18" creationId="{C4A98803-B62A-4CE1-9121-D1B553271BEA}"/>
          </ac:spMkLst>
        </pc:spChg>
        <pc:spChg chg="add mod">
          <ac:chgData name="Andrea Mogollon Nossa (CENIT)" userId="f6a3e592-cc27-4858-b185-ff86be206069" providerId="ADAL" clId="{2CAEC1E3-2241-4370-8FDB-F4FAA904BB83}" dt="2020-06-16T23:17:55.242" v="2581" actId="20577"/>
          <ac:spMkLst>
            <pc:docMk/>
            <pc:sldMk cId="2563757368" sldId="2134804308"/>
            <ac:spMk id="19" creationId="{170CB77E-534B-4FAB-8977-54A5ECED0DEB}"/>
          </ac:spMkLst>
        </pc:spChg>
        <pc:spChg chg="add mod">
          <ac:chgData name="Andrea Mogollon Nossa (CENIT)" userId="f6a3e592-cc27-4858-b185-ff86be206069" providerId="ADAL" clId="{2CAEC1E3-2241-4370-8FDB-F4FAA904BB83}" dt="2020-06-16T23:17:57.825" v="2582" actId="6549"/>
          <ac:spMkLst>
            <pc:docMk/>
            <pc:sldMk cId="2563757368" sldId="2134804308"/>
            <ac:spMk id="20" creationId="{694FC483-9015-40E6-BA78-039126E53C27}"/>
          </ac:spMkLst>
        </pc:spChg>
        <pc:spChg chg="add mod">
          <ac:chgData name="Andrea Mogollon Nossa (CENIT)" userId="f6a3e592-cc27-4858-b185-ff86be206069" providerId="ADAL" clId="{2CAEC1E3-2241-4370-8FDB-F4FAA904BB83}" dt="2020-06-16T23:17:43.469" v="2576" actId="20577"/>
          <ac:spMkLst>
            <pc:docMk/>
            <pc:sldMk cId="2563757368" sldId="2134804308"/>
            <ac:spMk id="21" creationId="{C2726D1A-A52B-454F-98A2-8987B0D343DE}"/>
          </ac:spMkLst>
        </pc:spChg>
        <pc:spChg chg="add mod">
          <ac:chgData name="Andrea Mogollon Nossa (CENIT)" userId="f6a3e592-cc27-4858-b185-ff86be206069" providerId="ADAL" clId="{2CAEC1E3-2241-4370-8FDB-F4FAA904BB83}" dt="2020-06-16T23:18:33.976" v="2602" actId="20577"/>
          <ac:spMkLst>
            <pc:docMk/>
            <pc:sldMk cId="2563757368" sldId="2134804308"/>
            <ac:spMk id="22" creationId="{DEDA060D-CBF9-4752-9363-398F4CD9EE01}"/>
          </ac:spMkLst>
        </pc:spChg>
        <pc:spChg chg="add mod">
          <ac:chgData name="Andrea Mogollon Nossa (CENIT)" userId="f6a3e592-cc27-4858-b185-ff86be206069" providerId="ADAL" clId="{2CAEC1E3-2241-4370-8FDB-F4FAA904BB83}" dt="2020-06-16T23:18:37.152" v="2606" actId="20577"/>
          <ac:spMkLst>
            <pc:docMk/>
            <pc:sldMk cId="2563757368" sldId="2134804308"/>
            <ac:spMk id="23" creationId="{28BCAAC5-8FE7-49D5-9325-0F9C46D44E85}"/>
          </ac:spMkLst>
        </pc:spChg>
        <pc:spChg chg="add mod">
          <ac:chgData name="Andrea Mogollon Nossa (CENIT)" userId="f6a3e592-cc27-4858-b185-ff86be206069" providerId="ADAL" clId="{2CAEC1E3-2241-4370-8FDB-F4FAA904BB83}" dt="2020-06-16T23:18:41.403" v="2614" actId="20577"/>
          <ac:spMkLst>
            <pc:docMk/>
            <pc:sldMk cId="2563757368" sldId="2134804308"/>
            <ac:spMk id="24" creationId="{D8045A6D-2F77-48AF-8529-0F5CD4535798}"/>
          </ac:spMkLst>
        </pc:spChg>
        <pc:spChg chg="add mod">
          <ac:chgData name="Andrea Mogollon Nossa (CENIT)" userId="f6a3e592-cc27-4858-b185-ff86be206069" providerId="ADAL" clId="{2CAEC1E3-2241-4370-8FDB-F4FAA904BB83}" dt="2020-06-16T23:18:46.282" v="2619" actId="1076"/>
          <ac:spMkLst>
            <pc:docMk/>
            <pc:sldMk cId="2563757368" sldId="2134804308"/>
            <ac:spMk id="25" creationId="{20C1FF16-22A3-4AB1-888B-8157FC3583CD}"/>
          </ac:spMkLst>
        </pc:spChg>
        <pc:spChg chg="add mod">
          <ac:chgData name="Andrea Mogollon Nossa (CENIT)" userId="f6a3e592-cc27-4858-b185-ff86be206069" providerId="ADAL" clId="{2CAEC1E3-2241-4370-8FDB-F4FAA904BB83}" dt="2020-06-16T23:18:54.339" v="2629" actId="20577"/>
          <ac:spMkLst>
            <pc:docMk/>
            <pc:sldMk cId="2563757368" sldId="2134804308"/>
            <ac:spMk id="26" creationId="{C21242C1-564B-43A8-BBAB-A5AD347F59C1}"/>
          </ac:spMkLst>
        </pc:spChg>
        <pc:spChg chg="add mod">
          <ac:chgData name="Andrea Mogollon Nossa (CENIT)" userId="f6a3e592-cc27-4858-b185-ff86be206069" providerId="ADAL" clId="{2CAEC1E3-2241-4370-8FDB-F4FAA904BB83}" dt="2020-06-16T23:18:56.687" v="2633" actId="20577"/>
          <ac:spMkLst>
            <pc:docMk/>
            <pc:sldMk cId="2563757368" sldId="2134804308"/>
            <ac:spMk id="27" creationId="{585F7416-241D-4B0C-9474-8C02992B82B7}"/>
          </ac:spMkLst>
        </pc:spChg>
        <pc:spChg chg="add mod">
          <ac:chgData name="Andrea Mogollon Nossa (CENIT)" userId="f6a3e592-cc27-4858-b185-ff86be206069" providerId="ADAL" clId="{2CAEC1E3-2241-4370-8FDB-F4FAA904BB83}" dt="2020-06-16T23:19:00.727" v="2637" actId="20577"/>
          <ac:spMkLst>
            <pc:docMk/>
            <pc:sldMk cId="2563757368" sldId="2134804308"/>
            <ac:spMk id="28" creationId="{CD9194B2-AE5E-4E38-B12A-440C1EBF1026}"/>
          </ac:spMkLst>
        </pc:spChg>
        <pc:spChg chg="add mod">
          <ac:chgData name="Andrea Mogollon Nossa (CENIT)" userId="f6a3e592-cc27-4858-b185-ff86be206069" providerId="ADAL" clId="{2CAEC1E3-2241-4370-8FDB-F4FAA904BB83}" dt="2020-06-16T23:18:39.288" v="2610" actId="20577"/>
          <ac:spMkLst>
            <pc:docMk/>
            <pc:sldMk cId="2563757368" sldId="2134804308"/>
            <ac:spMk id="29" creationId="{D3F2BE4E-801D-4772-814C-1130441326E8}"/>
          </ac:spMkLst>
        </pc:spChg>
      </pc:sldChg>
      <pc:sldChg chg="addSp delSp modSp mod">
        <pc:chgData name="Andrea Mogollon Nossa (CENIT)" userId="f6a3e592-cc27-4858-b185-ff86be206069" providerId="ADAL" clId="{2CAEC1E3-2241-4370-8FDB-F4FAA904BB83}" dt="2020-06-17T21:36:22.358" v="6505" actId="313"/>
        <pc:sldMkLst>
          <pc:docMk/>
          <pc:sldMk cId="1881171097" sldId="2134804309"/>
        </pc:sldMkLst>
        <pc:spChg chg="mod">
          <ac:chgData name="Andrea Mogollon Nossa (CENIT)" userId="f6a3e592-cc27-4858-b185-ff86be206069" providerId="ADAL" clId="{2CAEC1E3-2241-4370-8FDB-F4FAA904BB83}" dt="2020-06-17T21:25:56.852" v="6396" actId="20577"/>
          <ac:spMkLst>
            <pc:docMk/>
            <pc:sldMk cId="1881171097" sldId="2134804309"/>
            <ac:spMk id="4" creationId="{4E416E0B-B198-4FBD-9A5E-87C11F598EB2}"/>
          </ac:spMkLst>
        </pc:spChg>
        <pc:spChg chg="mod">
          <ac:chgData name="Andrea Mogollon Nossa (CENIT)" userId="f6a3e592-cc27-4858-b185-ff86be206069" providerId="ADAL" clId="{2CAEC1E3-2241-4370-8FDB-F4FAA904BB83}" dt="2020-06-17T21:36:22.358" v="6505" actId="313"/>
          <ac:spMkLst>
            <pc:docMk/>
            <pc:sldMk cId="1881171097" sldId="2134804309"/>
            <ac:spMk id="5" creationId="{6E9A1754-20A7-4B35-82A8-CAADFE6AA79E}"/>
          </ac:spMkLst>
        </pc:spChg>
        <pc:spChg chg="mod">
          <ac:chgData name="Andrea Mogollon Nossa (CENIT)" userId="f6a3e592-cc27-4858-b185-ff86be206069" providerId="ADAL" clId="{2CAEC1E3-2241-4370-8FDB-F4FAA904BB83}" dt="2020-06-17T13:30:01.518" v="2846" actId="20577"/>
          <ac:spMkLst>
            <pc:docMk/>
            <pc:sldMk cId="1881171097" sldId="2134804309"/>
            <ac:spMk id="10" creationId="{A192B800-F5BA-4DF6-AD24-3F9707FAC6B5}"/>
          </ac:spMkLst>
        </pc:spChg>
        <pc:spChg chg="mod">
          <ac:chgData name="Andrea Mogollon Nossa (CENIT)" userId="f6a3e592-cc27-4858-b185-ff86be206069" providerId="ADAL" clId="{2CAEC1E3-2241-4370-8FDB-F4FAA904BB83}" dt="2020-06-17T13:30:53.473" v="2861" actId="1076"/>
          <ac:spMkLst>
            <pc:docMk/>
            <pc:sldMk cId="1881171097" sldId="2134804309"/>
            <ac:spMk id="23" creationId="{19DB4BE3-5133-4C05-9DFC-C8E8F930E13A}"/>
          </ac:spMkLst>
        </pc:spChg>
        <pc:spChg chg="mod">
          <ac:chgData name="Andrea Mogollon Nossa (CENIT)" userId="f6a3e592-cc27-4858-b185-ff86be206069" providerId="ADAL" clId="{2CAEC1E3-2241-4370-8FDB-F4FAA904BB83}" dt="2020-06-17T13:31:38.434" v="2867" actId="1076"/>
          <ac:spMkLst>
            <pc:docMk/>
            <pc:sldMk cId="1881171097" sldId="2134804309"/>
            <ac:spMk id="24" creationId="{389B18D5-C39A-47EE-B3A9-7DEE4189E676}"/>
          </ac:spMkLst>
        </pc:spChg>
        <pc:spChg chg="mod">
          <ac:chgData name="Andrea Mogollon Nossa (CENIT)" userId="f6a3e592-cc27-4858-b185-ff86be206069" providerId="ADAL" clId="{2CAEC1E3-2241-4370-8FDB-F4FAA904BB83}" dt="2020-06-17T13:31:42.562" v="2868" actId="1076"/>
          <ac:spMkLst>
            <pc:docMk/>
            <pc:sldMk cId="1881171097" sldId="2134804309"/>
            <ac:spMk id="25" creationId="{52048D91-45AA-408F-9D1F-D2E9F2D37210}"/>
          </ac:spMkLst>
        </pc:spChg>
        <pc:spChg chg="mod">
          <ac:chgData name="Andrea Mogollon Nossa (CENIT)" userId="f6a3e592-cc27-4858-b185-ff86be206069" providerId="ADAL" clId="{2CAEC1E3-2241-4370-8FDB-F4FAA904BB83}" dt="2020-06-17T13:32:00.956" v="2871" actId="14100"/>
          <ac:spMkLst>
            <pc:docMk/>
            <pc:sldMk cId="1881171097" sldId="2134804309"/>
            <ac:spMk id="27" creationId="{626ADC92-4AB0-48C8-94D3-787A8F6B3965}"/>
          </ac:spMkLst>
        </pc:spChg>
        <pc:spChg chg="mod">
          <ac:chgData name="Andrea Mogollon Nossa (CENIT)" userId="f6a3e592-cc27-4858-b185-ff86be206069" providerId="ADAL" clId="{2CAEC1E3-2241-4370-8FDB-F4FAA904BB83}" dt="2020-06-17T13:31:30.923" v="2864" actId="1076"/>
          <ac:spMkLst>
            <pc:docMk/>
            <pc:sldMk cId="1881171097" sldId="2134804309"/>
            <ac:spMk id="58" creationId="{9E214831-F319-484B-878F-CC814AD0E45E}"/>
          </ac:spMkLst>
        </pc:spChg>
        <pc:spChg chg="mod">
          <ac:chgData name="Andrea Mogollon Nossa (CENIT)" userId="f6a3e592-cc27-4858-b185-ff86be206069" providerId="ADAL" clId="{2CAEC1E3-2241-4370-8FDB-F4FAA904BB83}" dt="2020-06-17T13:26:55.946" v="2819" actId="1076"/>
          <ac:spMkLst>
            <pc:docMk/>
            <pc:sldMk cId="1881171097" sldId="2134804309"/>
            <ac:spMk id="59" creationId="{BE3F100C-50B3-4F15-9903-FB21CD00628E}"/>
          </ac:spMkLst>
        </pc:spChg>
        <pc:spChg chg="mod">
          <ac:chgData name="Andrea Mogollon Nossa (CENIT)" userId="f6a3e592-cc27-4858-b185-ff86be206069" providerId="ADAL" clId="{2CAEC1E3-2241-4370-8FDB-F4FAA904BB83}" dt="2020-06-17T13:27:16.241" v="2823" actId="1076"/>
          <ac:spMkLst>
            <pc:docMk/>
            <pc:sldMk cId="1881171097" sldId="2134804309"/>
            <ac:spMk id="60" creationId="{2F47BFE6-652B-4A11-A467-141CEABC6BB5}"/>
          </ac:spMkLst>
        </pc:spChg>
        <pc:spChg chg="mod">
          <ac:chgData name="Andrea Mogollon Nossa (CENIT)" userId="f6a3e592-cc27-4858-b185-ff86be206069" providerId="ADAL" clId="{2CAEC1E3-2241-4370-8FDB-F4FAA904BB83}" dt="2020-06-17T13:27:12.265" v="2822" actId="1076"/>
          <ac:spMkLst>
            <pc:docMk/>
            <pc:sldMk cId="1881171097" sldId="2134804309"/>
            <ac:spMk id="61" creationId="{36328718-1AD9-4A1D-AD92-CA23A630214F}"/>
          </ac:spMkLst>
        </pc:spChg>
        <pc:spChg chg="mod">
          <ac:chgData name="Andrea Mogollon Nossa (CENIT)" userId="f6a3e592-cc27-4858-b185-ff86be206069" providerId="ADAL" clId="{2CAEC1E3-2241-4370-8FDB-F4FAA904BB83}" dt="2020-06-17T13:27:05.011" v="2821" actId="1076"/>
          <ac:spMkLst>
            <pc:docMk/>
            <pc:sldMk cId="1881171097" sldId="2134804309"/>
            <ac:spMk id="62" creationId="{89D5887B-F59D-488C-ABC2-49882027020C}"/>
          </ac:spMkLst>
        </pc:spChg>
        <pc:spChg chg="mod">
          <ac:chgData name="Andrea Mogollon Nossa (CENIT)" userId="f6a3e592-cc27-4858-b185-ff86be206069" providerId="ADAL" clId="{2CAEC1E3-2241-4370-8FDB-F4FAA904BB83}" dt="2020-06-17T13:31:30.923" v="2864" actId="1076"/>
          <ac:spMkLst>
            <pc:docMk/>
            <pc:sldMk cId="1881171097" sldId="2134804309"/>
            <ac:spMk id="63" creationId="{374BF4F6-A8B2-4663-84A5-7564A6B6BE76}"/>
          </ac:spMkLst>
        </pc:spChg>
        <pc:spChg chg="mod">
          <ac:chgData name="Andrea Mogollon Nossa (CENIT)" userId="f6a3e592-cc27-4858-b185-ff86be206069" providerId="ADAL" clId="{2CAEC1E3-2241-4370-8FDB-F4FAA904BB83}" dt="2020-06-17T13:28:43.235" v="2830" actId="1076"/>
          <ac:spMkLst>
            <pc:docMk/>
            <pc:sldMk cId="1881171097" sldId="2134804309"/>
            <ac:spMk id="64" creationId="{C5E7E4EB-F106-4781-B7BA-2EE2E258AF62}"/>
          </ac:spMkLst>
        </pc:spChg>
        <pc:spChg chg="mod">
          <ac:chgData name="Andrea Mogollon Nossa (CENIT)" userId="f6a3e592-cc27-4858-b185-ff86be206069" providerId="ADAL" clId="{2CAEC1E3-2241-4370-8FDB-F4FAA904BB83}" dt="2020-06-17T13:32:08.162" v="2873" actId="1076"/>
          <ac:spMkLst>
            <pc:docMk/>
            <pc:sldMk cId="1881171097" sldId="2134804309"/>
            <ac:spMk id="65" creationId="{3AB53F82-6278-4D35-87FA-B760C5ACA7CC}"/>
          </ac:spMkLst>
        </pc:spChg>
        <pc:spChg chg="mod">
          <ac:chgData name="Andrea Mogollon Nossa (CENIT)" userId="f6a3e592-cc27-4858-b185-ff86be206069" providerId="ADAL" clId="{2CAEC1E3-2241-4370-8FDB-F4FAA904BB83}" dt="2020-06-17T13:29:20.098" v="2837" actId="1076"/>
          <ac:spMkLst>
            <pc:docMk/>
            <pc:sldMk cId="1881171097" sldId="2134804309"/>
            <ac:spMk id="66" creationId="{985BCC26-C4E2-4E5F-98E2-17B1D4970605}"/>
          </ac:spMkLst>
        </pc:spChg>
        <pc:spChg chg="mod">
          <ac:chgData name="Andrea Mogollon Nossa (CENIT)" userId="f6a3e592-cc27-4858-b185-ff86be206069" providerId="ADAL" clId="{2CAEC1E3-2241-4370-8FDB-F4FAA904BB83}" dt="2020-06-17T13:31:57.929" v="2870" actId="14100"/>
          <ac:spMkLst>
            <pc:docMk/>
            <pc:sldMk cId="1881171097" sldId="2134804309"/>
            <ac:spMk id="67" creationId="{0B609A71-0C9E-44AA-A60D-A49754DFA355}"/>
          </ac:spMkLst>
        </pc:spChg>
        <pc:spChg chg="mod">
          <ac:chgData name="Andrea Mogollon Nossa (CENIT)" userId="f6a3e592-cc27-4858-b185-ff86be206069" providerId="ADAL" clId="{2CAEC1E3-2241-4370-8FDB-F4FAA904BB83}" dt="2020-06-17T20:04:40.143" v="5577" actId="20577"/>
          <ac:spMkLst>
            <pc:docMk/>
            <pc:sldMk cId="1881171097" sldId="2134804309"/>
            <ac:spMk id="70" creationId="{174EEA1B-56BF-43B0-AD0F-9422D850ED90}"/>
          </ac:spMkLst>
        </pc:spChg>
        <pc:spChg chg="mod">
          <ac:chgData name="Andrea Mogollon Nossa (CENIT)" userId="f6a3e592-cc27-4858-b185-ff86be206069" providerId="ADAL" clId="{2CAEC1E3-2241-4370-8FDB-F4FAA904BB83}" dt="2020-06-17T13:19:58.609" v="2779" actId="14100"/>
          <ac:spMkLst>
            <pc:docMk/>
            <pc:sldMk cId="1881171097" sldId="2134804309"/>
            <ac:spMk id="71" creationId="{BC07B333-2990-47FE-BD43-8FDF5587ED98}"/>
          </ac:spMkLst>
        </pc:spChg>
        <pc:spChg chg="mod">
          <ac:chgData name="Andrea Mogollon Nossa (CENIT)" userId="f6a3e592-cc27-4858-b185-ff86be206069" providerId="ADAL" clId="{2CAEC1E3-2241-4370-8FDB-F4FAA904BB83}" dt="2020-06-17T13:21:03.747" v="2793" actId="14100"/>
          <ac:spMkLst>
            <pc:docMk/>
            <pc:sldMk cId="1881171097" sldId="2134804309"/>
            <ac:spMk id="72" creationId="{07300B76-F7DA-4C54-81BE-87BD0E3501A2}"/>
          </ac:spMkLst>
        </pc:spChg>
        <pc:spChg chg="mod">
          <ac:chgData name="Andrea Mogollon Nossa (CENIT)" userId="f6a3e592-cc27-4858-b185-ff86be206069" providerId="ADAL" clId="{2CAEC1E3-2241-4370-8FDB-F4FAA904BB83}" dt="2020-06-17T13:32:08.162" v="2873" actId="1076"/>
          <ac:spMkLst>
            <pc:docMk/>
            <pc:sldMk cId="1881171097" sldId="2134804309"/>
            <ac:spMk id="73" creationId="{AF0C32C2-C6CF-4F2E-8207-CBC53BB5AFCC}"/>
          </ac:spMkLst>
        </pc:spChg>
        <pc:spChg chg="mod">
          <ac:chgData name="Andrea Mogollon Nossa (CENIT)" userId="f6a3e592-cc27-4858-b185-ff86be206069" providerId="ADAL" clId="{2CAEC1E3-2241-4370-8FDB-F4FAA904BB83}" dt="2020-06-17T13:20:46.929" v="2788" actId="1076"/>
          <ac:spMkLst>
            <pc:docMk/>
            <pc:sldMk cId="1881171097" sldId="2134804309"/>
            <ac:spMk id="74" creationId="{044D154E-124C-451E-A67B-8A00C55BEF8B}"/>
          </ac:spMkLst>
        </pc:spChg>
        <pc:spChg chg="mod">
          <ac:chgData name="Andrea Mogollon Nossa (CENIT)" userId="f6a3e592-cc27-4858-b185-ff86be206069" providerId="ADAL" clId="{2CAEC1E3-2241-4370-8FDB-F4FAA904BB83}" dt="2020-06-17T13:20:50.043" v="2789" actId="1076"/>
          <ac:spMkLst>
            <pc:docMk/>
            <pc:sldMk cId="1881171097" sldId="2134804309"/>
            <ac:spMk id="75" creationId="{11A62AE7-512B-4427-88F3-27458EBDAC40}"/>
          </ac:spMkLst>
        </pc:spChg>
        <pc:spChg chg="mod">
          <ac:chgData name="Andrea Mogollon Nossa (CENIT)" userId="f6a3e592-cc27-4858-b185-ff86be206069" providerId="ADAL" clId="{2CAEC1E3-2241-4370-8FDB-F4FAA904BB83}" dt="2020-06-17T20:04:43.908" v="5579" actId="20577"/>
          <ac:spMkLst>
            <pc:docMk/>
            <pc:sldMk cId="1881171097" sldId="2134804309"/>
            <ac:spMk id="76" creationId="{68D0324B-6F93-4628-91B6-C79861BBE01F}"/>
          </ac:spMkLst>
        </pc:spChg>
        <pc:spChg chg="mod">
          <ac:chgData name="Andrea Mogollon Nossa (CENIT)" userId="f6a3e592-cc27-4858-b185-ff86be206069" providerId="ADAL" clId="{2CAEC1E3-2241-4370-8FDB-F4FAA904BB83}" dt="2020-06-17T20:04:45.736" v="5581" actId="20577"/>
          <ac:spMkLst>
            <pc:docMk/>
            <pc:sldMk cId="1881171097" sldId="2134804309"/>
            <ac:spMk id="77" creationId="{82EA84D5-1753-4B93-8376-CBA6A570815D}"/>
          </ac:spMkLst>
        </pc:spChg>
        <pc:spChg chg="mod">
          <ac:chgData name="Andrea Mogollon Nossa (CENIT)" userId="f6a3e592-cc27-4858-b185-ff86be206069" providerId="ADAL" clId="{2CAEC1E3-2241-4370-8FDB-F4FAA904BB83}" dt="2020-06-17T20:04:47.383" v="5583" actId="20577"/>
          <ac:spMkLst>
            <pc:docMk/>
            <pc:sldMk cId="1881171097" sldId="2134804309"/>
            <ac:spMk id="78" creationId="{30621AE7-EF9C-4ABE-84F2-40370AA03E60}"/>
          </ac:spMkLst>
        </pc:spChg>
        <pc:spChg chg="mod">
          <ac:chgData name="Andrea Mogollon Nossa (CENIT)" userId="f6a3e592-cc27-4858-b185-ff86be206069" providerId="ADAL" clId="{2CAEC1E3-2241-4370-8FDB-F4FAA904BB83}" dt="2020-06-17T13:26:51.034" v="2818" actId="1076"/>
          <ac:spMkLst>
            <pc:docMk/>
            <pc:sldMk cId="1881171097" sldId="2134804309"/>
            <ac:spMk id="92" creationId="{E621B45B-C605-46EF-8BAD-713A8EBB5BFF}"/>
          </ac:spMkLst>
        </pc:spChg>
        <pc:spChg chg="mod">
          <ac:chgData name="Andrea Mogollon Nossa (CENIT)" userId="f6a3e592-cc27-4858-b185-ff86be206069" providerId="ADAL" clId="{2CAEC1E3-2241-4370-8FDB-F4FAA904BB83}" dt="2020-06-17T13:26:23.419" v="2816" actId="1076"/>
          <ac:spMkLst>
            <pc:docMk/>
            <pc:sldMk cId="1881171097" sldId="2134804309"/>
            <ac:spMk id="100" creationId="{65BEA0CF-3025-4182-BB7C-7FCB9677B093}"/>
          </ac:spMkLst>
        </pc:spChg>
        <pc:spChg chg="mod">
          <ac:chgData name="Andrea Mogollon Nossa (CENIT)" userId="f6a3e592-cc27-4858-b185-ff86be206069" providerId="ADAL" clId="{2CAEC1E3-2241-4370-8FDB-F4FAA904BB83}" dt="2020-06-17T13:28:43.235" v="2830" actId="1076"/>
          <ac:spMkLst>
            <pc:docMk/>
            <pc:sldMk cId="1881171097" sldId="2134804309"/>
            <ac:spMk id="101" creationId="{69EAD6EC-44EF-4157-BA6D-9433BAF52D36}"/>
          </ac:spMkLst>
        </pc:spChg>
        <pc:spChg chg="add mod ord">
          <ac:chgData name="Andrea Mogollon Nossa (CENIT)" userId="f6a3e592-cc27-4858-b185-ff86be206069" providerId="ADAL" clId="{2CAEC1E3-2241-4370-8FDB-F4FAA904BB83}" dt="2020-06-17T19:59:29.703" v="5517" actId="167"/>
          <ac:spMkLst>
            <pc:docMk/>
            <pc:sldMk cId="1881171097" sldId="2134804309"/>
            <ac:spMk id="102" creationId="{8F13CD16-4D54-47B9-98E2-A25B5BC89ABC}"/>
          </ac:spMkLst>
        </pc:spChg>
        <pc:spChg chg="mod">
          <ac:chgData name="Andrea Mogollon Nossa (CENIT)" userId="f6a3e592-cc27-4858-b185-ff86be206069" providerId="ADAL" clId="{2CAEC1E3-2241-4370-8FDB-F4FAA904BB83}" dt="2020-06-17T13:32:36.465" v="2877" actId="1076"/>
          <ac:spMkLst>
            <pc:docMk/>
            <pc:sldMk cId="1881171097" sldId="2134804309"/>
            <ac:spMk id="116" creationId="{5A16BED0-F706-4065-9F89-248100093201}"/>
          </ac:spMkLst>
        </pc:spChg>
        <pc:spChg chg="mod">
          <ac:chgData name="Andrea Mogollon Nossa (CENIT)" userId="f6a3e592-cc27-4858-b185-ff86be206069" providerId="ADAL" clId="{2CAEC1E3-2241-4370-8FDB-F4FAA904BB83}" dt="2020-06-17T13:32:33.450" v="2876" actId="1076"/>
          <ac:spMkLst>
            <pc:docMk/>
            <pc:sldMk cId="1881171097" sldId="2134804309"/>
            <ac:spMk id="117" creationId="{CD823FF2-16E5-48CF-8D46-A0FA3D6C7F89}"/>
          </ac:spMkLst>
        </pc:spChg>
        <pc:spChg chg="mod">
          <ac:chgData name="Andrea Mogollon Nossa (CENIT)" userId="f6a3e592-cc27-4858-b185-ff86be206069" providerId="ADAL" clId="{2CAEC1E3-2241-4370-8FDB-F4FAA904BB83}" dt="2020-06-17T13:30:59.108" v="2862" actId="14100"/>
          <ac:spMkLst>
            <pc:docMk/>
            <pc:sldMk cId="1881171097" sldId="2134804309"/>
            <ac:spMk id="118" creationId="{4595D805-A213-43C8-B637-A714BE5381A5}"/>
          </ac:spMkLst>
        </pc:spChg>
        <pc:spChg chg="mod">
          <ac:chgData name="Andrea Mogollon Nossa (CENIT)" userId="f6a3e592-cc27-4858-b185-ff86be206069" providerId="ADAL" clId="{2CAEC1E3-2241-4370-8FDB-F4FAA904BB83}" dt="2020-06-17T13:29:56.802" v="2844" actId="1076"/>
          <ac:spMkLst>
            <pc:docMk/>
            <pc:sldMk cId="1881171097" sldId="2134804309"/>
            <ac:spMk id="119" creationId="{7EC1E586-865D-4AE6-8E83-6DD1A461383A}"/>
          </ac:spMkLst>
        </pc:spChg>
        <pc:spChg chg="mod">
          <ac:chgData name="Andrea Mogollon Nossa (CENIT)" userId="f6a3e592-cc27-4858-b185-ff86be206069" providerId="ADAL" clId="{2CAEC1E3-2241-4370-8FDB-F4FAA904BB83}" dt="2020-06-17T13:21:17.955" v="2797" actId="14100"/>
          <ac:spMkLst>
            <pc:docMk/>
            <pc:sldMk cId="1881171097" sldId="2134804309"/>
            <ac:spMk id="120" creationId="{8AC43903-3E05-4E77-83F5-D173AA753F73}"/>
          </ac:spMkLst>
        </pc:spChg>
        <pc:spChg chg="mod">
          <ac:chgData name="Andrea Mogollon Nossa (CENIT)" userId="f6a3e592-cc27-4858-b185-ff86be206069" providerId="ADAL" clId="{2CAEC1E3-2241-4370-8FDB-F4FAA904BB83}" dt="2020-06-17T13:29:10.790" v="2835" actId="1076"/>
          <ac:spMkLst>
            <pc:docMk/>
            <pc:sldMk cId="1881171097" sldId="2134804309"/>
            <ac:spMk id="121" creationId="{33D17D00-C5E0-4296-BB51-8B9CF48F67F8}"/>
          </ac:spMkLst>
        </pc:spChg>
        <pc:spChg chg="mod">
          <ac:chgData name="Andrea Mogollon Nossa (CENIT)" userId="f6a3e592-cc27-4858-b185-ff86be206069" providerId="ADAL" clId="{2CAEC1E3-2241-4370-8FDB-F4FAA904BB83}" dt="2020-06-17T13:30:04.759" v="2848" actId="20577"/>
          <ac:spMkLst>
            <pc:docMk/>
            <pc:sldMk cId="1881171097" sldId="2134804309"/>
            <ac:spMk id="122" creationId="{977AA09D-5209-43EC-82D8-E76ADC7BF2E0}"/>
          </ac:spMkLst>
        </pc:spChg>
        <pc:spChg chg="mod">
          <ac:chgData name="Andrea Mogollon Nossa (CENIT)" userId="f6a3e592-cc27-4858-b185-ff86be206069" providerId="ADAL" clId="{2CAEC1E3-2241-4370-8FDB-F4FAA904BB83}" dt="2020-06-17T13:30:07.094" v="2850" actId="20577"/>
          <ac:spMkLst>
            <pc:docMk/>
            <pc:sldMk cId="1881171097" sldId="2134804309"/>
            <ac:spMk id="123" creationId="{B7B2CB6A-5941-466A-A7D0-8B81D284EE83}"/>
          </ac:spMkLst>
        </pc:spChg>
        <pc:spChg chg="del">
          <ac:chgData name="Andrea Mogollon Nossa (CENIT)" userId="f6a3e592-cc27-4858-b185-ff86be206069" providerId="ADAL" clId="{2CAEC1E3-2241-4370-8FDB-F4FAA904BB83}" dt="2020-06-17T13:33:05.412" v="2881" actId="478"/>
          <ac:spMkLst>
            <pc:docMk/>
            <pc:sldMk cId="1881171097" sldId="2134804309"/>
            <ac:spMk id="125" creationId="{9F7953BA-08B8-41AB-921C-EB108DB7A0DE}"/>
          </ac:spMkLst>
        </pc:spChg>
        <pc:spChg chg="del">
          <ac:chgData name="Andrea Mogollon Nossa (CENIT)" userId="f6a3e592-cc27-4858-b185-ff86be206069" providerId="ADAL" clId="{2CAEC1E3-2241-4370-8FDB-F4FAA904BB83}" dt="2020-06-17T13:33:07.877" v="2883" actId="478"/>
          <ac:spMkLst>
            <pc:docMk/>
            <pc:sldMk cId="1881171097" sldId="2134804309"/>
            <ac:spMk id="126" creationId="{7B96189B-1F4E-475F-9B8B-5D1F1C5B7438}"/>
          </ac:spMkLst>
        </pc:spChg>
        <pc:spChg chg="del">
          <ac:chgData name="Andrea Mogollon Nossa (CENIT)" userId="f6a3e592-cc27-4858-b185-ff86be206069" providerId="ADAL" clId="{2CAEC1E3-2241-4370-8FDB-F4FAA904BB83}" dt="2020-06-17T13:33:02.824" v="2879" actId="478"/>
          <ac:spMkLst>
            <pc:docMk/>
            <pc:sldMk cId="1881171097" sldId="2134804309"/>
            <ac:spMk id="127" creationId="{28FDC0C8-718F-4A25-B8A5-83A62B27FD1B}"/>
          </ac:spMkLst>
        </pc:spChg>
        <pc:spChg chg="del">
          <ac:chgData name="Andrea Mogollon Nossa (CENIT)" userId="f6a3e592-cc27-4858-b185-ff86be206069" providerId="ADAL" clId="{2CAEC1E3-2241-4370-8FDB-F4FAA904BB83}" dt="2020-06-17T13:33:04.155" v="2880" actId="478"/>
          <ac:spMkLst>
            <pc:docMk/>
            <pc:sldMk cId="1881171097" sldId="2134804309"/>
            <ac:spMk id="128" creationId="{1B81E860-9775-490E-8921-9504ABA7D771}"/>
          </ac:spMkLst>
        </pc:spChg>
        <pc:spChg chg="del">
          <ac:chgData name="Andrea Mogollon Nossa (CENIT)" userId="f6a3e592-cc27-4858-b185-ff86be206069" providerId="ADAL" clId="{2CAEC1E3-2241-4370-8FDB-F4FAA904BB83}" dt="2020-06-17T13:33:06.708" v="2882" actId="478"/>
          <ac:spMkLst>
            <pc:docMk/>
            <pc:sldMk cId="1881171097" sldId="2134804309"/>
            <ac:spMk id="129" creationId="{5547E264-0776-449F-9A3B-7B6A092FB298}"/>
          </ac:spMkLst>
        </pc:spChg>
        <pc:spChg chg="mod">
          <ac:chgData name="Andrea Mogollon Nossa (CENIT)" userId="f6a3e592-cc27-4858-b185-ff86be206069" providerId="ADAL" clId="{2CAEC1E3-2241-4370-8FDB-F4FAA904BB83}" dt="2020-06-17T20:00:18.319" v="5526" actId="20577"/>
          <ac:spMkLst>
            <pc:docMk/>
            <pc:sldMk cId="1881171097" sldId="2134804309"/>
            <ac:spMk id="130" creationId="{4FD9B8CA-9352-41D3-88BC-F0C86CA4B007}"/>
          </ac:spMkLst>
        </pc:spChg>
        <pc:spChg chg="mod">
          <ac:chgData name="Andrea Mogollon Nossa (CENIT)" userId="f6a3e592-cc27-4858-b185-ff86be206069" providerId="ADAL" clId="{2CAEC1E3-2241-4370-8FDB-F4FAA904BB83}" dt="2020-06-17T13:30:42.987" v="2859" actId="14100"/>
          <ac:spMkLst>
            <pc:docMk/>
            <pc:sldMk cId="1881171097" sldId="2134804309"/>
            <ac:spMk id="132" creationId="{6A90B078-206F-4E1D-89A1-298F78E33B76}"/>
          </ac:spMkLst>
        </pc:spChg>
        <pc:spChg chg="mod">
          <ac:chgData name="Andrea Mogollon Nossa (CENIT)" userId="f6a3e592-cc27-4858-b185-ff86be206069" providerId="ADAL" clId="{2CAEC1E3-2241-4370-8FDB-F4FAA904BB83}" dt="2020-06-17T20:02:31.815" v="5563" actId="122"/>
          <ac:spMkLst>
            <pc:docMk/>
            <pc:sldMk cId="1881171097" sldId="2134804309"/>
            <ac:spMk id="135" creationId="{A96D59B7-AD0C-4A43-B666-01ACCBF85F75}"/>
          </ac:spMkLst>
        </pc:spChg>
        <pc:spChg chg="mod">
          <ac:chgData name="Andrea Mogollon Nossa (CENIT)" userId="f6a3e592-cc27-4858-b185-ff86be206069" providerId="ADAL" clId="{2CAEC1E3-2241-4370-8FDB-F4FAA904BB83}" dt="2020-06-17T20:01:11.108" v="5531" actId="20577"/>
          <ac:spMkLst>
            <pc:docMk/>
            <pc:sldMk cId="1881171097" sldId="2134804309"/>
            <ac:spMk id="136" creationId="{5890EB29-9FAA-4C90-A355-FBA18A97BDDE}"/>
          </ac:spMkLst>
        </pc:spChg>
        <pc:spChg chg="mod">
          <ac:chgData name="Andrea Mogollon Nossa (CENIT)" userId="f6a3e592-cc27-4858-b185-ff86be206069" providerId="ADAL" clId="{2CAEC1E3-2241-4370-8FDB-F4FAA904BB83}" dt="2020-06-17T20:04:50.424" v="5586" actId="20577"/>
          <ac:spMkLst>
            <pc:docMk/>
            <pc:sldMk cId="1881171097" sldId="2134804309"/>
            <ac:spMk id="138" creationId="{47FFB5EB-8D30-4053-83FE-3EB0C26FC914}"/>
          </ac:spMkLst>
        </pc:spChg>
        <pc:spChg chg="mod">
          <ac:chgData name="Andrea Mogollon Nossa (CENIT)" userId="f6a3e592-cc27-4858-b185-ff86be206069" providerId="ADAL" clId="{2CAEC1E3-2241-4370-8FDB-F4FAA904BB83}" dt="2020-06-17T13:29:15.978" v="2836" actId="1076"/>
          <ac:spMkLst>
            <pc:docMk/>
            <pc:sldMk cId="1881171097" sldId="2134804309"/>
            <ac:spMk id="140" creationId="{2192EC14-9AFE-49A4-ACE7-7007DE218105}"/>
          </ac:spMkLst>
        </pc:spChg>
        <pc:spChg chg="mod">
          <ac:chgData name="Andrea Mogollon Nossa (CENIT)" userId="f6a3e592-cc27-4858-b185-ff86be206069" providerId="ADAL" clId="{2CAEC1E3-2241-4370-8FDB-F4FAA904BB83}" dt="2020-06-17T13:19:18.859" v="2777" actId="1076"/>
          <ac:spMkLst>
            <pc:docMk/>
            <pc:sldMk cId="1881171097" sldId="2134804309"/>
            <ac:spMk id="141" creationId="{69FF13A6-B914-4228-B818-FA84C77810D8}"/>
          </ac:spMkLst>
        </pc:spChg>
        <pc:spChg chg="mod">
          <ac:chgData name="Andrea Mogollon Nossa (CENIT)" userId="f6a3e592-cc27-4858-b185-ff86be206069" providerId="ADAL" clId="{2CAEC1E3-2241-4370-8FDB-F4FAA904BB83}" dt="2020-06-17T13:30:12.310" v="2854" actId="20577"/>
          <ac:spMkLst>
            <pc:docMk/>
            <pc:sldMk cId="1881171097" sldId="2134804309"/>
            <ac:spMk id="142" creationId="{09BA4622-4FF0-4AE7-A2BE-CA9EB89C56FC}"/>
          </ac:spMkLst>
        </pc:spChg>
        <pc:spChg chg="mod">
          <ac:chgData name="Andrea Mogollon Nossa (CENIT)" userId="f6a3e592-cc27-4858-b185-ff86be206069" providerId="ADAL" clId="{2CAEC1E3-2241-4370-8FDB-F4FAA904BB83}" dt="2020-06-17T20:02:01.190" v="5556" actId="20577"/>
          <ac:spMkLst>
            <pc:docMk/>
            <pc:sldMk cId="1881171097" sldId="2134804309"/>
            <ac:spMk id="144" creationId="{31297E8D-1EAA-46FA-A7B3-D13961584BDA}"/>
          </ac:spMkLst>
        </pc:spChg>
        <pc:spChg chg="mod">
          <ac:chgData name="Andrea Mogollon Nossa (CENIT)" userId="f6a3e592-cc27-4858-b185-ff86be206069" providerId="ADAL" clId="{2CAEC1E3-2241-4370-8FDB-F4FAA904BB83}" dt="2020-06-17T20:02:26.371" v="5561" actId="14100"/>
          <ac:spMkLst>
            <pc:docMk/>
            <pc:sldMk cId="1881171097" sldId="2134804309"/>
            <ac:spMk id="145" creationId="{C35B3BDA-B5DD-49E4-869E-1BA753B77D0F}"/>
          </ac:spMkLst>
        </pc:spChg>
        <pc:spChg chg="mod">
          <ac:chgData name="Andrea Mogollon Nossa (CENIT)" userId="f6a3e592-cc27-4858-b185-ff86be206069" providerId="ADAL" clId="{2CAEC1E3-2241-4370-8FDB-F4FAA904BB83}" dt="2020-06-17T20:03:01.625" v="5566" actId="20577"/>
          <ac:spMkLst>
            <pc:docMk/>
            <pc:sldMk cId="1881171097" sldId="2134804309"/>
            <ac:spMk id="147" creationId="{81EBC7C5-5794-471A-9D9A-8E79D7746286}"/>
          </ac:spMkLst>
        </pc:spChg>
        <pc:spChg chg="mod">
          <ac:chgData name="Andrea Mogollon Nossa (CENIT)" userId="f6a3e592-cc27-4858-b185-ff86be206069" providerId="ADAL" clId="{2CAEC1E3-2241-4370-8FDB-F4FAA904BB83}" dt="2020-06-17T13:30:09.924" v="2852" actId="20577"/>
          <ac:spMkLst>
            <pc:docMk/>
            <pc:sldMk cId="1881171097" sldId="2134804309"/>
            <ac:spMk id="153" creationId="{EBCEC452-242A-41DC-B20E-8FCEB57C4FE5}"/>
          </ac:spMkLst>
        </pc:spChg>
        <pc:spChg chg="mod">
          <ac:chgData name="Andrea Mogollon Nossa (CENIT)" userId="f6a3e592-cc27-4858-b185-ff86be206069" providerId="ADAL" clId="{2CAEC1E3-2241-4370-8FDB-F4FAA904BB83}" dt="2020-06-17T13:32:15.762" v="2875" actId="1076"/>
          <ac:spMkLst>
            <pc:docMk/>
            <pc:sldMk cId="1881171097" sldId="2134804309"/>
            <ac:spMk id="159" creationId="{B93976E5-27D0-4BF6-A212-0E310DF88389}"/>
          </ac:spMkLst>
        </pc:spChg>
        <pc:spChg chg="mod">
          <ac:chgData name="Andrea Mogollon Nossa (CENIT)" userId="f6a3e592-cc27-4858-b185-ff86be206069" providerId="ADAL" clId="{2CAEC1E3-2241-4370-8FDB-F4FAA904BB83}" dt="2020-06-17T13:30:47.355" v="2860" actId="1076"/>
          <ac:spMkLst>
            <pc:docMk/>
            <pc:sldMk cId="1881171097" sldId="2134804309"/>
            <ac:spMk id="160" creationId="{2901AD0B-4413-40F5-ACFA-AFC448843BD0}"/>
          </ac:spMkLst>
        </pc:spChg>
        <pc:spChg chg="mod">
          <ac:chgData name="Andrea Mogollon Nossa (CENIT)" userId="f6a3e592-cc27-4858-b185-ff86be206069" providerId="ADAL" clId="{2CAEC1E3-2241-4370-8FDB-F4FAA904BB83}" dt="2020-06-17T13:29:10.790" v="2835" actId="1076"/>
          <ac:spMkLst>
            <pc:docMk/>
            <pc:sldMk cId="1881171097" sldId="2134804309"/>
            <ac:spMk id="161" creationId="{4DFB72A5-4B3C-41DB-A5E7-D636B9A1ED41}"/>
          </ac:spMkLst>
        </pc:spChg>
        <pc:spChg chg="mod">
          <ac:chgData name="Andrea Mogollon Nossa (CENIT)" userId="f6a3e592-cc27-4858-b185-ff86be206069" providerId="ADAL" clId="{2CAEC1E3-2241-4370-8FDB-F4FAA904BB83}" dt="2020-06-17T13:29:56.802" v="2844" actId="1076"/>
          <ac:spMkLst>
            <pc:docMk/>
            <pc:sldMk cId="1881171097" sldId="2134804309"/>
            <ac:spMk id="162" creationId="{C80AAD0A-3366-4703-9780-480AA5B1EC87}"/>
          </ac:spMkLst>
        </pc:spChg>
        <pc:spChg chg="mod">
          <ac:chgData name="Andrea Mogollon Nossa (CENIT)" userId="f6a3e592-cc27-4858-b185-ff86be206069" providerId="ADAL" clId="{2CAEC1E3-2241-4370-8FDB-F4FAA904BB83}" dt="2020-06-17T13:27:47.033" v="2829" actId="1076"/>
          <ac:spMkLst>
            <pc:docMk/>
            <pc:sldMk cId="1881171097" sldId="2134804309"/>
            <ac:spMk id="163" creationId="{2B9AC342-E8FE-4143-925A-3CB829923C4D}"/>
          </ac:spMkLst>
        </pc:spChg>
        <pc:spChg chg="mod">
          <ac:chgData name="Andrea Mogollon Nossa (CENIT)" userId="f6a3e592-cc27-4858-b185-ff86be206069" providerId="ADAL" clId="{2CAEC1E3-2241-4370-8FDB-F4FAA904BB83}" dt="2020-06-17T13:27:35.314" v="2827" actId="1076"/>
          <ac:spMkLst>
            <pc:docMk/>
            <pc:sldMk cId="1881171097" sldId="2134804309"/>
            <ac:spMk id="164" creationId="{70748BF9-B4EA-4E45-A806-C5641A532561}"/>
          </ac:spMkLst>
        </pc:spChg>
        <pc:spChg chg="mod">
          <ac:chgData name="Andrea Mogollon Nossa (CENIT)" userId="f6a3e592-cc27-4858-b185-ff86be206069" providerId="ADAL" clId="{2CAEC1E3-2241-4370-8FDB-F4FAA904BB83}" dt="2020-06-17T13:28:43.235" v="2830" actId="1076"/>
          <ac:spMkLst>
            <pc:docMk/>
            <pc:sldMk cId="1881171097" sldId="2134804309"/>
            <ac:spMk id="165" creationId="{194EC9F5-F1D2-47AF-990B-CBCBFCC972F8}"/>
          </ac:spMkLst>
        </pc:spChg>
        <pc:spChg chg="mod">
          <ac:chgData name="Andrea Mogollon Nossa (CENIT)" userId="f6a3e592-cc27-4858-b185-ff86be206069" providerId="ADAL" clId="{2CAEC1E3-2241-4370-8FDB-F4FAA904BB83}" dt="2020-06-17T13:21:07.778" v="2794" actId="1076"/>
          <ac:spMkLst>
            <pc:docMk/>
            <pc:sldMk cId="1881171097" sldId="2134804309"/>
            <ac:spMk id="166" creationId="{3AAC2A12-F2F6-48CB-9F59-FACC86D61FA7}"/>
          </ac:spMkLst>
        </pc:spChg>
        <pc:spChg chg="mod">
          <ac:chgData name="Andrea Mogollon Nossa (CENIT)" userId="f6a3e592-cc27-4858-b185-ff86be206069" providerId="ADAL" clId="{2CAEC1E3-2241-4370-8FDB-F4FAA904BB83}" dt="2020-06-17T13:27:01.090" v="2820" actId="1076"/>
          <ac:spMkLst>
            <pc:docMk/>
            <pc:sldMk cId="1881171097" sldId="2134804309"/>
            <ac:spMk id="167" creationId="{A5D3EC19-3BF6-4041-9828-93D1DE4CDAD0}"/>
          </ac:spMkLst>
        </pc:spChg>
        <pc:spChg chg="mod">
          <ac:chgData name="Andrea Mogollon Nossa (CENIT)" userId="f6a3e592-cc27-4858-b185-ff86be206069" providerId="ADAL" clId="{2CAEC1E3-2241-4370-8FDB-F4FAA904BB83}" dt="2020-06-17T13:27:26.970" v="2825" actId="1076"/>
          <ac:spMkLst>
            <pc:docMk/>
            <pc:sldMk cId="1881171097" sldId="2134804309"/>
            <ac:spMk id="168" creationId="{A52E7ECA-65B4-453E-936A-E9AF2AAFD058}"/>
          </ac:spMkLst>
        </pc:spChg>
        <pc:spChg chg="mod">
          <ac:chgData name="Andrea Mogollon Nossa (CENIT)" userId="f6a3e592-cc27-4858-b185-ff86be206069" providerId="ADAL" clId="{2CAEC1E3-2241-4370-8FDB-F4FAA904BB83}" dt="2020-06-17T13:28:43.235" v="2830" actId="1076"/>
          <ac:spMkLst>
            <pc:docMk/>
            <pc:sldMk cId="1881171097" sldId="2134804309"/>
            <ac:spMk id="169" creationId="{86DC604E-B99E-462C-9EA2-106AD4E6C314}"/>
          </ac:spMkLst>
        </pc:spChg>
        <pc:spChg chg="mod">
          <ac:chgData name="Andrea Mogollon Nossa (CENIT)" userId="f6a3e592-cc27-4858-b185-ff86be206069" providerId="ADAL" clId="{2CAEC1E3-2241-4370-8FDB-F4FAA904BB83}" dt="2020-06-17T13:32:12.323" v="2874" actId="1076"/>
          <ac:spMkLst>
            <pc:docMk/>
            <pc:sldMk cId="1881171097" sldId="2134804309"/>
            <ac:spMk id="170" creationId="{54D05389-E3E9-4168-AFFF-27D476CAFCA2}"/>
          </ac:spMkLst>
        </pc:spChg>
        <pc:spChg chg="mod">
          <ac:chgData name="Andrea Mogollon Nossa (CENIT)" userId="f6a3e592-cc27-4858-b185-ff86be206069" providerId="ADAL" clId="{2CAEC1E3-2241-4370-8FDB-F4FAA904BB83}" dt="2020-06-17T13:32:04.546" v="2872" actId="1076"/>
          <ac:spMkLst>
            <pc:docMk/>
            <pc:sldMk cId="1881171097" sldId="2134804309"/>
            <ac:spMk id="171" creationId="{497FA596-462E-412E-B356-7FBE349705A0}"/>
          </ac:spMkLst>
        </pc:spChg>
        <pc:spChg chg="mod">
          <ac:chgData name="Andrea Mogollon Nossa (CENIT)" userId="f6a3e592-cc27-4858-b185-ff86be206069" providerId="ADAL" clId="{2CAEC1E3-2241-4370-8FDB-F4FAA904BB83}" dt="2020-06-17T13:27:41.425" v="2828" actId="1076"/>
          <ac:spMkLst>
            <pc:docMk/>
            <pc:sldMk cId="1881171097" sldId="2134804309"/>
            <ac:spMk id="172" creationId="{0C07494B-8798-4454-8C76-A3DF84B018D8}"/>
          </ac:spMkLst>
        </pc:spChg>
        <pc:spChg chg="mod">
          <ac:chgData name="Andrea Mogollon Nossa (CENIT)" userId="f6a3e592-cc27-4858-b185-ff86be206069" providerId="ADAL" clId="{2CAEC1E3-2241-4370-8FDB-F4FAA904BB83}" dt="2020-06-17T13:27:30.690" v="2826" actId="1076"/>
          <ac:spMkLst>
            <pc:docMk/>
            <pc:sldMk cId="1881171097" sldId="2134804309"/>
            <ac:spMk id="173" creationId="{91CD8E64-8CB2-44A7-8795-E9D52032D305}"/>
          </ac:spMkLst>
        </pc:spChg>
        <pc:spChg chg="mod">
          <ac:chgData name="Andrea Mogollon Nossa (CENIT)" userId="f6a3e592-cc27-4858-b185-ff86be206069" providerId="ADAL" clId="{2CAEC1E3-2241-4370-8FDB-F4FAA904BB83}" dt="2020-06-17T13:28:43.235" v="2830" actId="1076"/>
          <ac:spMkLst>
            <pc:docMk/>
            <pc:sldMk cId="1881171097" sldId="2134804309"/>
            <ac:spMk id="174" creationId="{4F7554FC-2E26-4AD3-96CD-552B818B62E9}"/>
          </ac:spMkLst>
        </pc:spChg>
        <pc:spChg chg="mod">
          <ac:chgData name="Andrea Mogollon Nossa (CENIT)" userId="f6a3e592-cc27-4858-b185-ff86be206069" providerId="ADAL" clId="{2CAEC1E3-2241-4370-8FDB-F4FAA904BB83}" dt="2020-06-17T13:20:18.473" v="2781" actId="1076"/>
          <ac:spMkLst>
            <pc:docMk/>
            <pc:sldMk cId="1881171097" sldId="2134804309"/>
            <ac:spMk id="175" creationId="{0D55B3BB-A7B6-4628-8AA8-738A4C6F3437}"/>
          </ac:spMkLst>
        </pc:spChg>
        <pc:spChg chg="mod">
          <ac:chgData name="Andrea Mogollon Nossa (CENIT)" userId="f6a3e592-cc27-4858-b185-ff86be206069" providerId="ADAL" clId="{2CAEC1E3-2241-4370-8FDB-F4FAA904BB83}" dt="2020-06-17T13:21:11.304" v="2795" actId="1076"/>
          <ac:spMkLst>
            <pc:docMk/>
            <pc:sldMk cId="1881171097" sldId="2134804309"/>
            <ac:spMk id="176" creationId="{393DD43E-1230-4F0C-9651-99E6BBD4FE05}"/>
          </ac:spMkLst>
        </pc:spChg>
        <pc:spChg chg="mod">
          <ac:chgData name="Andrea Mogollon Nossa (CENIT)" userId="f6a3e592-cc27-4858-b185-ff86be206069" providerId="ADAL" clId="{2CAEC1E3-2241-4370-8FDB-F4FAA904BB83}" dt="2020-06-17T13:21:15.043" v="2796" actId="1076"/>
          <ac:spMkLst>
            <pc:docMk/>
            <pc:sldMk cId="1881171097" sldId="2134804309"/>
            <ac:spMk id="177" creationId="{521F6A96-E05A-4EBC-8A00-20717CBD3086}"/>
          </ac:spMkLst>
        </pc:spChg>
        <pc:spChg chg="mod">
          <ac:chgData name="Andrea Mogollon Nossa (CENIT)" userId="f6a3e592-cc27-4858-b185-ff86be206069" providerId="ADAL" clId="{2CAEC1E3-2241-4370-8FDB-F4FAA904BB83}" dt="2020-06-17T13:29:10.790" v="2835" actId="1076"/>
          <ac:spMkLst>
            <pc:docMk/>
            <pc:sldMk cId="1881171097" sldId="2134804309"/>
            <ac:spMk id="179" creationId="{56D1A497-A8FE-4FC9-9783-FAE1DF97D648}"/>
          </ac:spMkLst>
        </pc:spChg>
        <pc:spChg chg="mod">
          <ac:chgData name="Andrea Mogollon Nossa (CENIT)" userId="f6a3e592-cc27-4858-b185-ff86be206069" providerId="ADAL" clId="{2CAEC1E3-2241-4370-8FDB-F4FAA904BB83}" dt="2020-06-17T13:29:10.790" v="2835" actId="1076"/>
          <ac:spMkLst>
            <pc:docMk/>
            <pc:sldMk cId="1881171097" sldId="2134804309"/>
            <ac:spMk id="180" creationId="{0F422F67-327E-41CA-B2AE-E1590988ACDA}"/>
          </ac:spMkLst>
        </pc:spChg>
        <pc:spChg chg="mod">
          <ac:chgData name="Andrea Mogollon Nossa (CENIT)" userId="f6a3e592-cc27-4858-b185-ff86be206069" providerId="ADAL" clId="{2CAEC1E3-2241-4370-8FDB-F4FAA904BB83}" dt="2020-06-17T13:31:05.194" v="2863" actId="1076"/>
          <ac:spMkLst>
            <pc:docMk/>
            <pc:sldMk cId="1881171097" sldId="2134804309"/>
            <ac:spMk id="181" creationId="{37080A62-F27F-4A20-A3F0-2EE06B877BC2}"/>
          </ac:spMkLst>
        </pc:spChg>
      </pc:sldChg>
      <pc:sldChg chg="addSp delSp modSp new mod">
        <pc:chgData name="Andrea Mogollon Nossa (CENIT)" userId="f6a3e592-cc27-4858-b185-ff86be206069" providerId="ADAL" clId="{2CAEC1E3-2241-4370-8FDB-F4FAA904BB83}" dt="2020-06-17T20:41:07.369" v="5947" actId="1076"/>
        <pc:sldMkLst>
          <pc:docMk/>
          <pc:sldMk cId="888575759" sldId="2134804310"/>
        </pc:sldMkLst>
        <pc:spChg chg="del">
          <ac:chgData name="Andrea Mogollon Nossa (CENIT)" userId="f6a3e592-cc27-4858-b185-ff86be206069" providerId="ADAL" clId="{2CAEC1E3-2241-4370-8FDB-F4FAA904BB83}" dt="2020-06-17T13:06:58.573" v="2740" actId="478"/>
          <ac:spMkLst>
            <pc:docMk/>
            <pc:sldMk cId="888575759" sldId="2134804310"/>
            <ac:spMk id="3" creationId="{1D349DD6-F284-47E9-A7FA-7812A05D9FD6}"/>
          </ac:spMkLst>
        </pc:spChg>
        <pc:spChg chg="add mod">
          <ac:chgData name="Andrea Mogollon Nossa (CENIT)" userId="f6a3e592-cc27-4858-b185-ff86be206069" providerId="ADAL" clId="{2CAEC1E3-2241-4370-8FDB-F4FAA904BB83}" dt="2020-06-17T13:07:07.657" v="2743" actId="1076"/>
          <ac:spMkLst>
            <pc:docMk/>
            <pc:sldMk cId="888575759" sldId="2134804310"/>
            <ac:spMk id="4" creationId="{8D7CE29D-5B5D-422A-AFD4-3542EF5AECE6}"/>
          </ac:spMkLst>
        </pc:spChg>
        <pc:spChg chg="mod">
          <ac:chgData name="Andrea Mogollon Nossa (CENIT)" userId="f6a3e592-cc27-4858-b185-ff86be206069" providerId="ADAL" clId="{2CAEC1E3-2241-4370-8FDB-F4FAA904BB83}" dt="2020-06-17T13:06:59.987" v="2741"/>
          <ac:spMkLst>
            <pc:docMk/>
            <pc:sldMk cId="888575759" sldId="2134804310"/>
            <ac:spMk id="7" creationId="{DC709DF1-9EE3-450C-A671-EC5F06474CAB}"/>
          </ac:spMkLst>
        </pc:spChg>
        <pc:spChg chg="mod">
          <ac:chgData name="Andrea Mogollon Nossa (CENIT)" userId="f6a3e592-cc27-4858-b185-ff86be206069" providerId="ADAL" clId="{2CAEC1E3-2241-4370-8FDB-F4FAA904BB83}" dt="2020-06-17T13:06:59.987" v="2741"/>
          <ac:spMkLst>
            <pc:docMk/>
            <pc:sldMk cId="888575759" sldId="2134804310"/>
            <ac:spMk id="8" creationId="{C2EE283C-164E-417D-8857-BF9E92B02925}"/>
          </ac:spMkLst>
        </pc:spChg>
        <pc:spChg chg="mod">
          <ac:chgData name="Andrea Mogollon Nossa (CENIT)" userId="f6a3e592-cc27-4858-b185-ff86be206069" providerId="ADAL" clId="{2CAEC1E3-2241-4370-8FDB-F4FAA904BB83}" dt="2020-06-17T13:06:59.987" v="2741"/>
          <ac:spMkLst>
            <pc:docMk/>
            <pc:sldMk cId="888575759" sldId="2134804310"/>
            <ac:spMk id="9" creationId="{A806DCDE-C774-4055-BB52-13335B10124B}"/>
          </ac:spMkLst>
        </pc:spChg>
        <pc:spChg chg="mod">
          <ac:chgData name="Andrea Mogollon Nossa (CENIT)" userId="f6a3e592-cc27-4858-b185-ff86be206069" providerId="ADAL" clId="{2CAEC1E3-2241-4370-8FDB-F4FAA904BB83}" dt="2020-06-17T13:06:59.987" v="2741"/>
          <ac:spMkLst>
            <pc:docMk/>
            <pc:sldMk cId="888575759" sldId="2134804310"/>
            <ac:spMk id="10" creationId="{668DF9D7-8A87-44BC-AC4E-32CC9DDD1A56}"/>
          </ac:spMkLst>
        </pc:spChg>
        <pc:spChg chg="mod">
          <ac:chgData name="Andrea Mogollon Nossa (CENIT)" userId="f6a3e592-cc27-4858-b185-ff86be206069" providerId="ADAL" clId="{2CAEC1E3-2241-4370-8FDB-F4FAA904BB83}" dt="2020-06-17T13:06:59.987" v="2741"/>
          <ac:spMkLst>
            <pc:docMk/>
            <pc:sldMk cId="888575759" sldId="2134804310"/>
            <ac:spMk id="17" creationId="{C833C0BC-65B6-4CFB-BE40-4A75511923B2}"/>
          </ac:spMkLst>
        </pc:spChg>
        <pc:spChg chg="mod">
          <ac:chgData name="Andrea Mogollon Nossa (CENIT)" userId="f6a3e592-cc27-4858-b185-ff86be206069" providerId="ADAL" clId="{2CAEC1E3-2241-4370-8FDB-F4FAA904BB83}" dt="2020-06-17T13:06:59.987" v="2741"/>
          <ac:spMkLst>
            <pc:docMk/>
            <pc:sldMk cId="888575759" sldId="2134804310"/>
            <ac:spMk id="18" creationId="{5AB1AAF5-3757-46E8-BE65-D942897A3BA1}"/>
          </ac:spMkLst>
        </pc:spChg>
        <pc:spChg chg="mod">
          <ac:chgData name="Andrea Mogollon Nossa (CENIT)" userId="f6a3e592-cc27-4858-b185-ff86be206069" providerId="ADAL" clId="{2CAEC1E3-2241-4370-8FDB-F4FAA904BB83}" dt="2020-06-17T13:06:59.987" v="2741"/>
          <ac:spMkLst>
            <pc:docMk/>
            <pc:sldMk cId="888575759" sldId="2134804310"/>
            <ac:spMk id="19" creationId="{74CF077A-13B3-44D7-B551-99041FE15671}"/>
          </ac:spMkLst>
        </pc:spChg>
        <pc:spChg chg="mod">
          <ac:chgData name="Andrea Mogollon Nossa (CENIT)" userId="f6a3e592-cc27-4858-b185-ff86be206069" providerId="ADAL" clId="{2CAEC1E3-2241-4370-8FDB-F4FAA904BB83}" dt="2020-06-17T13:06:59.987" v="2741"/>
          <ac:spMkLst>
            <pc:docMk/>
            <pc:sldMk cId="888575759" sldId="2134804310"/>
            <ac:spMk id="20" creationId="{B4625FB5-093C-4C01-8984-C4A9CCAF8D84}"/>
          </ac:spMkLst>
        </pc:spChg>
        <pc:spChg chg="add mod">
          <ac:chgData name="Andrea Mogollon Nossa (CENIT)" userId="f6a3e592-cc27-4858-b185-ff86be206069" providerId="ADAL" clId="{2CAEC1E3-2241-4370-8FDB-F4FAA904BB83}" dt="2020-06-17T13:07:46.347" v="2762" actId="20577"/>
          <ac:spMkLst>
            <pc:docMk/>
            <pc:sldMk cId="888575759" sldId="2134804310"/>
            <ac:spMk id="26" creationId="{EA77E2C0-9E45-42C1-B379-2ED95D177F62}"/>
          </ac:spMkLst>
        </pc:spChg>
        <pc:spChg chg="mod">
          <ac:chgData name="Andrea Mogollon Nossa (CENIT)" userId="f6a3e592-cc27-4858-b185-ff86be206069" providerId="ADAL" clId="{2CAEC1E3-2241-4370-8FDB-F4FAA904BB83}" dt="2020-06-17T20:41:07.369" v="5947" actId="1076"/>
          <ac:spMkLst>
            <pc:docMk/>
            <pc:sldMk cId="888575759" sldId="2134804310"/>
            <ac:spMk id="171" creationId="{C6CEC047-8BDC-4D5F-B351-53BC9E694CED}"/>
          </ac:spMkLst>
        </pc:spChg>
        <pc:grpChg chg="add mod">
          <ac:chgData name="Andrea Mogollon Nossa (CENIT)" userId="f6a3e592-cc27-4858-b185-ff86be206069" providerId="ADAL" clId="{2CAEC1E3-2241-4370-8FDB-F4FAA904BB83}" dt="2020-06-17T13:07:04" v="2742" actId="1076"/>
          <ac:grpSpMkLst>
            <pc:docMk/>
            <pc:sldMk cId="888575759" sldId="2134804310"/>
            <ac:grpSpMk id="5" creationId="{B8B3F25F-5EEF-49B5-AF43-A778A4A44B6A}"/>
          </ac:grpSpMkLst>
        </pc:grpChg>
        <pc:grpChg chg="add mod">
          <ac:chgData name="Andrea Mogollon Nossa (CENIT)" userId="f6a3e592-cc27-4858-b185-ff86be206069" providerId="ADAL" clId="{2CAEC1E3-2241-4370-8FDB-F4FAA904BB83}" dt="2020-06-17T13:07:04" v="2742" actId="1076"/>
          <ac:grpSpMkLst>
            <pc:docMk/>
            <pc:sldMk cId="888575759" sldId="2134804310"/>
            <ac:grpSpMk id="15" creationId="{41EBE1F9-8288-4A08-BEED-96A4EBB42235}"/>
          </ac:grpSpMkLst>
        </pc:grpChg>
        <pc:graphicFrameChg chg="mod">
          <ac:chgData name="Andrea Mogollon Nossa (CENIT)" userId="f6a3e592-cc27-4858-b185-ff86be206069" providerId="ADAL" clId="{2CAEC1E3-2241-4370-8FDB-F4FAA904BB83}" dt="2020-06-17T13:06:59.987" v="2741"/>
          <ac:graphicFrameMkLst>
            <pc:docMk/>
            <pc:sldMk cId="888575759" sldId="2134804310"/>
            <ac:graphicFrameMk id="6" creationId="{2E3A30AA-DB47-4B29-B363-034FFF944EAB}"/>
          </ac:graphicFrameMkLst>
        </pc:graphicFrameChg>
        <pc:graphicFrameChg chg="mod">
          <ac:chgData name="Andrea Mogollon Nossa (CENIT)" userId="f6a3e592-cc27-4858-b185-ff86be206069" providerId="ADAL" clId="{2CAEC1E3-2241-4370-8FDB-F4FAA904BB83}" dt="2020-06-17T13:06:59.987" v="2741"/>
          <ac:graphicFrameMkLst>
            <pc:docMk/>
            <pc:sldMk cId="888575759" sldId="2134804310"/>
            <ac:graphicFrameMk id="16" creationId="{5A23C997-30D5-4E11-B543-0DF1FB50A6D1}"/>
          </ac:graphicFrameMkLst>
        </pc:graphicFrameChg>
        <pc:picChg chg="add mod">
          <ac:chgData name="Andrea Mogollon Nossa (CENIT)" userId="f6a3e592-cc27-4858-b185-ff86be206069" providerId="ADAL" clId="{2CAEC1E3-2241-4370-8FDB-F4FAA904BB83}" dt="2020-06-17T20:39:05.596" v="5944" actId="1076"/>
          <ac:picMkLst>
            <pc:docMk/>
            <pc:sldMk cId="888575759" sldId="2134804310"/>
            <ac:picMk id="25" creationId="{1B346304-7BF9-41D6-840A-C14B65067CF2}"/>
          </ac:picMkLst>
        </pc:picChg>
        <pc:cxnChg chg="mod">
          <ac:chgData name="Andrea Mogollon Nossa (CENIT)" userId="f6a3e592-cc27-4858-b185-ff86be206069" providerId="ADAL" clId="{2CAEC1E3-2241-4370-8FDB-F4FAA904BB83}" dt="2020-06-17T13:06:59.987" v="2741"/>
          <ac:cxnSpMkLst>
            <pc:docMk/>
            <pc:sldMk cId="888575759" sldId="2134804310"/>
            <ac:cxnSpMk id="11" creationId="{CBF6F0AF-1ED1-4DEA-BD57-2DCE1AF712CA}"/>
          </ac:cxnSpMkLst>
        </pc:cxnChg>
        <pc:cxnChg chg="mod">
          <ac:chgData name="Andrea Mogollon Nossa (CENIT)" userId="f6a3e592-cc27-4858-b185-ff86be206069" providerId="ADAL" clId="{2CAEC1E3-2241-4370-8FDB-F4FAA904BB83}" dt="2020-06-17T13:06:59.987" v="2741"/>
          <ac:cxnSpMkLst>
            <pc:docMk/>
            <pc:sldMk cId="888575759" sldId="2134804310"/>
            <ac:cxnSpMk id="12" creationId="{CE775488-C30F-45A8-AD45-A401EBA69B0A}"/>
          </ac:cxnSpMkLst>
        </pc:cxnChg>
        <pc:cxnChg chg="mod">
          <ac:chgData name="Andrea Mogollon Nossa (CENIT)" userId="f6a3e592-cc27-4858-b185-ff86be206069" providerId="ADAL" clId="{2CAEC1E3-2241-4370-8FDB-F4FAA904BB83}" dt="2020-06-17T13:06:59.987" v="2741"/>
          <ac:cxnSpMkLst>
            <pc:docMk/>
            <pc:sldMk cId="888575759" sldId="2134804310"/>
            <ac:cxnSpMk id="13" creationId="{B4813DB6-54FC-43DA-94FE-11EE0B4A1C99}"/>
          </ac:cxnSpMkLst>
        </pc:cxnChg>
        <pc:cxnChg chg="mod">
          <ac:chgData name="Andrea Mogollon Nossa (CENIT)" userId="f6a3e592-cc27-4858-b185-ff86be206069" providerId="ADAL" clId="{2CAEC1E3-2241-4370-8FDB-F4FAA904BB83}" dt="2020-06-17T13:06:59.987" v="2741"/>
          <ac:cxnSpMkLst>
            <pc:docMk/>
            <pc:sldMk cId="888575759" sldId="2134804310"/>
            <ac:cxnSpMk id="14" creationId="{C1E7A24B-2C2F-4DEB-ABA1-CA0B97E94AB9}"/>
          </ac:cxnSpMkLst>
        </pc:cxnChg>
        <pc:cxnChg chg="mod">
          <ac:chgData name="Andrea Mogollon Nossa (CENIT)" userId="f6a3e592-cc27-4858-b185-ff86be206069" providerId="ADAL" clId="{2CAEC1E3-2241-4370-8FDB-F4FAA904BB83}" dt="2020-06-17T13:06:59.987" v="2741"/>
          <ac:cxnSpMkLst>
            <pc:docMk/>
            <pc:sldMk cId="888575759" sldId="2134804310"/>
            <ac:cxnSpMk id="21" creationId="{DE89067E-BE3C-4CDA-82DB-B9B34A8F01EB}"/>
          </ac:cxnSpMkLst>
        </pc:cxnChg>
        <pc:cxnChg chg="mod">
          <ac:chgData name="Andrea Mogollon Nossa (CENIT)" userId="f6a3e592-cc27-4858-b185-ff86be206069" providerId="ADAL" clId="{2CAEC1E3-2241-4370-8FDB-F4FAA904BB83}" dt="2020-06-17T13:06:59.987" v="2741"/>
          <ac:cxnSpMkLst>
            <pc:docMk/>
            <pc:sldMk cId="888575759" sldId="2134804310"/>
            <ac:cxnSpMk id="22" creationId="{8470F1CA-9C55-4787-9E21-926328681A18}"/>
          </ac:cxnSpMkLst>
        </pc:cxnChg>
        <pc:cxnChg chg="mod">
          <ac:chgData name="Andrea Mogollon Nossa (CENIT)" userId="f6a3e592-cc27-4858-b185-ff86be206069" providerId="ADAL" clId="{2CAEC1E3-2241-4370-8FDB-F4FAA904BB83}" dt="2020-06-17T13:06:59.987" v="2741"/>
          <ac:cxnSpMkLst>
            <pc:docMk/>
            <pc:sldMk cId="888575759" sldId="2134804310"/>
            <ac:cxnSpMk id="23" creationId="{1B271121-2ED5-4318-80FE-844C336B781B}"/>
          </ac:cxnSpMkLst>
        </pc:cxnChg>
        <pc:cxnChg chg="mod">
          <ac:chgData name="Andrea Mogollon Nossa (CENIT)" userId="f6a3e592-cc27-4858-b185-ff86be206069" providerId="ADAL" clId="{2CAEC1E3-2241-4370-8FDB-F4FAA904BB83}" dt="2020-06-17T13:06:59.987" v="2741"/>
          <ac:cxnSpMkLst>
            <pc:docMk/>
            <pc:sldMk cId="888575759" sldId="2134804310"/>
            <ac:cxnSpMk id="24" creationId="{B0872B39-3E3A-42CB-A01F-A18B892E46D3}"/>
          </ac:cxnSpMkLst>
        </pc:cxnChg>
      </pc:sldChg>
      <pc:sldChg chg="addSp delSp modSp del mod ord">
        <pc:chgData name="Andrea Mogollon Nossa (CENIT)" userId="f6a3e592-cc27-4858-b185-ff86be206069" providerId="ADAL" clId="{2CAEC1E3-2241-4370-8FDB-F4FAA904BB83}" dt="2020-06-17T21:25:30.075" v="6379" actId="2696"/>
        <pc:sldMkLst>
          <pc:docMk/>
          <pc:sldMk cId="420306642" sldId="2134804311"/>
        </pc:sldMkLst>
        <pc:spChg chg="add mod">
          <ac:chgData name="Andrea Mogollon Nossa (CENIT)" userId="f6a3e592-cc27-4858-b185-ff86be206069" providerId="ADAL" clId="{2CAEC1E3-2241-4370-8FDB-F4FAA904BB83}" dt="2020-06-17T14:27:03.235" v="4093" actId="1076"/>
          <ac:spMkLst>
            <pc:docMk/>
            <pc:sldMk cId="420306642" sldId="2134804311"/>
            <ac:spMk id="13" creationId="{C6B13A26-4225-4280-9E91-2D4DFFF58BDB}"/>
          </ac:spMkLst>
        </pc:spChg>
        <pc:spChg chg="add mod">
          <ac:chgData name="Andrea Mogollon Nossa (CENIT)" userId="f6a3e592-cc27-4858-b185-ff86be206069" providerId="ADAL" clId="{2CAEC1E3-2241-4370-8FDB-F4FAA904BB83}" dt="2020-06-17T19:21:04.715" v="5389" actId="1076"/>
          <ac:spMkLst>
            <pc:docMk/>
            <pc:sldMk cId="420306642" sldId="2134804311"/>
            <ac:spMk id="14" creationId="{4D4332FC-2D84-4713-8AD1-2D316409471B}"/>
          </ac:spMkLst>
        </pc:spChg>
        <pc:spChg chg="mod">
          <ac:chgData name="Andrea Mogollon Nossa (CENIT)" userId="f6a3e592-cc27-4858-b185-ff86be206069" providerId="ADAL" clId="{2CAEC1E3-2241-4370-8FDB-F4FAA904BB83}" dt="2020-06-17T14:17:04.471" v="3334" actId="20577"/>
          <ac:spMkLst>
            <pc:docMk/>
            <pc:sldMk cId="420306642" sldId="2134804311"/>
            <ac:spMk id="20" creationId="{50DAA493-1B46-4D68-99FD-F9BDA2477D9B}"/>
          </ac:spMkLst>
        </pc:spChg>
        <pc:spChg chg="mod">
          <ac:chgData name="Andrea Mogollon Nossa (CENIT)" userId="f6a3e592-cc27-4858-b185-ff86be206069" providerId="ADAL" clId="{2CAEC1E3-2241-4370-8FDB-F4FAA904BB83}" dt="2020-06-17T14:27:03.235" v="4093" actId="1076"/>
          <ac:spMkLst>
            <pc:docMk/>
            <pc:sldMk cId="420306642" sldId="2134804311"/>
            <ac:spMk id="21" creationId="{FCFE65B7-3A35-4722-84A8-FEC6DADDBA49}"/>
          </ac:spMkLst>
        </pc:spChg>
        <pc:spChg chg="mod">
          <ac:chgData name="Andrea Mogollon Nossa (CENIT)" userId="f6a3e592-cc27-4858-b185-ff86be206069" providerId="ADAL" clId="{2CAEC1E3-2241-4370-8FDB-F4FAA904BB83}" dt="2020-06-17T14:27:03.235" v="4093" actId="1076"/>
          <ac:spMkLst>
            <pc:docMk/>
            <pc:sldMk cId="420306642" sldId="2134804311"/>
            <ac:spMk id="22" creationId="{7565957D-73CC-497F-A9EE-BA5F2A79250A}"/>
          </ac:spMkLst>
        </pc:spChg>
        <pc:spChg chg="del mod">
          <ac:chgData name="Andrea Mogollon Nossa (CENIT)" userId="f6a3e592-cc27-4858-b185-ff86be206069" providerId="ADAL" clId="{2CAEC1E3-2241-4370-8FDB-F4FAA904BB83}" dt="2020-06-17T14:20:44.065" v="3620" actId="478"/>
          <ac:spMkLst>
            <pc:docMk/>
            <pc:sldMk cId="420306642" sldId="2134804311"/>
            <ac:spMk id="23" creationId="{2090C287-4A91-45B9-8277-A5A2EF2B34A0}"/>
          </ac:spMkLst>
        </pc:spChg>
        <pc:spChg chg="mod">
          <ac:chgData name="Andrea Mogollon Nossa (CENIT)" userId="f6a3e592-cc27-4858-b185-ff86be206069" providerId="ADAL" clId="{2CAEC1E3-2241-4370-8FDB-F4FAA904BB83}" dt="2020-06-17T14:27:03.235" v="4093" actId="1076"/>
          <ac:spMkLst>
            <pc:docMk/>
            <pc:sldMk cId="420306642" sldId="2134804311"/>
            <ac:spMk id="25" creationId="{8E78EDE9-40A1-48AE-9549-373B04A21BE1}"/>
          </ac:spMkLst>
        </pc:spChg>
        <pc:spChg chg="mod">
          <ac:chgData name="Andrea Mogollon Nossa (CENIT)" userId="f6a3e592-cc27-4858-b185-ff86be206069" providerId="ADAL" clId="{2CAEC1E3-2241-4370-8FDB-F4FAA904BB83}" dt="2020-06-17T14:27:03.235" v="4093" actId="1076"/>
          <ac:spMkLst>
            <pc:docMk/>
            <pc:sldMk cId="420306642" sldId="2134804311"/>
            <ac:spMk id="26" creationId="{DDE70F6C-1ADB-475F-BE97-D0A8A27E8FE6}"/>
          </ac:spMkLst>
        </pc:spChg>
        <pc:spChg chg="add del mod">
          <ac:chgData name="Andrea Mogollon Nossa (CENIT)" userId="f6a3e592-cc27-4858-b185-ff86be206069" providerId="ADAL" clId="{2CAEC1E3-2241-4370-8FDB-F4FAA904BB83}" dt="2020-06-17T14:27:03.235" v="4093" actId="1076"/>
          <ac:spMkLst>
            <pc:docMk/>
            <pc:sldMk cId="420306642" sldId="2134804311"/>
            <ac:spMk id="27" creationId="{C90699C9-D1A5-4C87-8409-4DD5B288FE4D}"/>
          </ac:spMkLst>
        </pc:spChg>
        <pc:spChg chg="mod">
          <ac:chgData name="Andrea Mogollon Nossa (CENIT)" userId="f6a3e592-cc27-4858-b185-ff86be206069" providerId="ADAL" clId="{2CAEC1E3-2241-4370-8FDB-F4FAA904BB83}" dt="2020-06-17T21:23:25.723" v="6352" actId="122"/>
          <ac:spMkLst>
            <pc:docMk/>
            <pc:sldMk cId="420306642" sldId="2134804311"/>
            <ac:spMk id="55" creationId="{71D2E868-A54D-4479-B446-29F9C50FDEA5}"/>
          </ac:spMkLst>
        </pc:spChg>
      </pc:sldChg>
      <pc:sldMasterChg chg="delSldLayout">
        <pc:chgData name="Andrea Mogollon Nossa (CENIT)" userId="f6a3e592-cc27-4858-b185-ff86be206069" providerId="ADAL" clId="{2CAEC1E3-2241-4370-8FDB-F4FAA904BB83}" dt="2020-06-17T13:09:57.099" v="2763" actId="47"/>
        <pc:sldMasterMkLst>
          <pc:docMk/>
          <pc:sldMasterMk cId="2612954595" sldId="2147483660"/>
        </pc:sldMasterMkLst>
        <pc:sldLayoutChg chg="del">
          <pc:chgData name="Andrea Mogollon Nossa (CENIT)" userId="f6a3e592-cc27-4858-b185-ff86be206069" providerId="ADAL" clId="{2CAEC1E3-2241-4370-8FDB-F4FAA904BB83}" dt="2020-06-17T13:09:57.099" v="2763" actId="47"/>
          <pc:sldLayoutMkLst>
            <pc:docMk/>
            <pc:sldMasterMk cId="2612954595" sldId="2147483660"/>
            <pc:sldLayoutMk cId="1468670035" sldId="2147483667"/>
          </pc:sldLayoutMkLst>
        </pc:sldLayoutChg>
      </pc:sldMasterChg>
    </pc:docChg>
  </pc:docChgLst>
  <pc:docChgLst>
    <pc:chgData name="Mariam Daniela Tristancho Pineda (PTA SAS)" userId="a45a17f7-7950-4cb5-bfab-f5c894f959a9" providerId="ADAL" clId="{336FE84B-4114-423A-B766-8DD7F21DF111}"/>
    <pc:docChg chg="undo custSel addSld delSld modSld">
      <pc:chgData name="Mariam Daniela Tristancho Pineda (PTA SAS)" userId="a45a17f7-7950-4cb5-bfab-f5c894f959a9" providerId="ADAL" clId="{336FE84B-4114-423A-B766-8DD7F21DF111}" dt="2020-11-04T16:14:44.460" v="734" actId="1038"/>
      <pc:docMkLst>
        <pc:docMk/>
      </pc:docMkLst>
      <pc:sldChg chg="modSp mod">
        <pc:chgData name="Mariam Daniela Tristancho Pineda (PTA SAS)" userId="a45a17f7-7950-4cb5-bfab-f5c894f959a9" providerId="ADAL" clId="{336FE84B-4114-423A-B766-8DD7F21DF111}" dt="2020-10-27T20:25:08.325" v="47" actId="20577"/>
        <pc:sldMkLst>
          <pc:docMk/>
          <pc:sldMk cId="676461558" sldId="291"/>
        </pc:sldMkLst>
        <pc:spChg chg="mod">
          <ac:chgData name="Mariam Daniela Tristancho Pineda (PTA SAS)" userId="a45a17f7-7950-4cb5-bfab-f5c894f959a9" providerId="ADAL" clId="{336FE84B-4114-423A-B766-8DD7F21DF111}" dt="2020-10-27T20:25:00.359" v="36" actId="20577"/>
          <ac:spMkLst>
            <pc:docMk/>
            <pc:sldMk cId="676461558" sldId="291"/>
            <ac:spMk id="115" creationId="{DB35C4D3-61DC-4194-A530-0CD186587533}"/>
          </ac:spMkLst>
        </pc:spChg>
        <pc:spChg chg="mod">
          <ac:chgData name="Mariam Daniela Tristancho Pineda (PTA SAS)" userId="a45a17f7-7950-4cb5-bfab-f5c894f959a9" providerId="ADAL" clId="{336FE84B-4114-423A-B766-8DD7F21DF111}" dt="2020-10-27T20:25:02.821" v="40" actId="20577"/>
          <ac:spMkLst>
            <pc:docMk/>
            <pc:sldMk cId="676461558" sldId="291"/>
            <ac:spMk id="120" creationId="{D1B62530-57CE-4A21-A7E2-B81C22F47BB8}"/>
          </ac:spMkLst>
        </pc:spChg>
        <pc:spChg chg="mod">
          <ac:chgData name="Mariam Daniela Tristancho Pineda (PTA SAS)" userId="a45a17f7-7950-4cb5-bfab-f5c894f959a9" providerId="ADAL" clId="{336FE84B-4114-423A-B766-8DD7F21DF111}" dt="2020-10-27T20:25:05.039" v="44" actId="20577"/>
          <ac:spMkLst>
            <pc:docMk/>
            <pc:sldMk cId="676461558" sldId="291"/>
            <ac:spMk id="136" creationId="{10F2F476-E3DF-44DB-93E1-67C528B845D4}"/>
          </ac:spMkLst>
        </pc:spChg>
        <pc:spChg chg="mod">
          <ac:chgData name="Mariam Daniela Tristancho Pineda (PTA SAS)" userId="a45a17f7-7950-4cb5-bfab-f5c894f959a9" providerId="ADAL" clId="{336FE84B-4114-423A-B766-8DD7F21DF111}" dt="2020-10-27T20:25:08.325" v="47" actId="20577"/>
          <ac:spMkLst>
            <pc:docMk/>
            <pc:sldMk cId="676461558" sldId="291"/>
            <ac:spMk id="167" creationId="{6110F769-958A-47EA-9391-D7D10AB9A4BC}"/>
          </ac:spMkLst>
        </pc:spChg>
      </pc:sldChg>
      <pc:sldChg chg="del">
        <pc:chgData name="Mariam Daniela Tristancho Pineda (PTA SAS)" userId="a45a17f7-7950-4cb5-bfab-f5c894f959a9" providerId="ADAL" clId="{336FE84B-4114-423A-B766-8DD7F21DF111}" dt="2020-10-27T20:25:20.844" v="48" actId="47"/>
        <pc:sldMkLst>
          <pc:docMk/>
          <pc:sldMk cId="87702869" sldId="2134804135"/>
        </pc:sldMkLst>
      </pc:sldChg>
      <pc:sldChg chg="addSp modSp mod">
        <pc:chgData name="Mariam Daniela Tristancho Pineda (PTA SAS)" userId="a45a17f7-7950-4cb5-bfab-f5c894f959a9" providerId="ADAL" clId="{336FE84B-4114-423A-B766-8DD7F21DF111}" dt="2020-10-27T20:25:29.406" v="60" actId="1076"/>
        <pc:sldMkLst>
          <pc:docMk/>
          <pc:sldMk cId="4038727560" sldId="2134804223"/>
        </pc:sldMkLst>
        <pc:spChg chg="add mod">
          <ac:chgData name="Mariam Daniela Tristancho Pineda (PTA SAS)" userId="a45a17f7-7950-4cb5-bfab-f5c894f959a9" providerId="ADAL" clId="{336FE84B-4114-423A-B766-8DD7F21DF111}" dt="2020-10-27T20:25:29.406" v="60" actId="1076"/>
          <ac:spMkLst>
            <pc:docMk/>
            <pc:sldMk cId="4038727560" sldId="2134804223"/>
            <ac:spMk id="2" creationId="{6449DAA9-B626-4D62-A7A1-9AC401449A13}"/>
          </ac:spMkLst>
        </pc:spChg>
      </pc:sldChg>
      <pc:sldChg chg="addSp delSp modSp add mod">
        <pc:chgData name="Mariam Daniela Tristancho Pineda (PTA SAS)" userId="a45a17f7-7950-4cb5-bfab-f5c894f959a9" providerId="ADAL" clId="{336FE84B-4114-423A-B766-8DD7F21DF111}" dt="2020-11-04T16:14:44.460" v="734" actId="1038"/>
        <pc:sldMkLst>
          <pc:docMk/>
          <pc:sldMk cId="237599856" sldId="2134804323"/>
        </pc:sldMkLst>
        <pc:spChg chg="mod ord">
          <ac:chgData name="Mariam Daniela Tristancho Pineda (PTA SAS)" userId="a45a17f7-7950-4cb5-bfab-f5c894f959a9" providerId="ADAL" clId="{336FE84B-4114-423A-B766-8DD7F21DF111}" dt="2020-10-27T20:44:06.799" v="615" actId="1038"/>
          <ac:spMkLst>
            <pc:docMk/>
            <pc:sldMk cId="237599856" sldId="2134804323"/>
            <ac:spMk id="3" creationId="{815B10B7-60B3-4C63-8431-70CC556387C9}"/>
          </ac:spMkLst>
        </pc:spChg>
        <pc:spChg chg="mod">
          <ac:chgData name="Mariam Daniela Tristancho Pineda (PTA SAS)" userId="a45a17f7-7950-4cb5-bfab-f5c894f959a9" providerId="ADAL" clId="{336FE84B-4114-423A-B766-8DD7F21DF111}" dt="2020-10-27T20:47:54.852" v="690" actId="12788"/>
          <ac:spMkLst>
            <pc:docMk/>
            <pc:sldMk cId="237599856" sldId="2134804323"/>
            <ac:spMk id="6" creationId="{7C2A44B1-15E0-4161-B44E-FC754DFB17D2}"/>
          </ac:spMkLst>
        </pc:spChg>
        <pc:spChg chg="mod">
          <ac:chgData name="Mariam Daniela Tristancho Pineda (PTA SAS)" userId="a45a17f7-7950-4cb5-bfab-f5c894f959a9" providerId="ADAL" clId="{336FE84B-4114-423A-B766-8DD7F21DF111}" dt="2020-11-04T16:14:37.800" v="730" actId="1036"/>
          <ac:spMkLst>
            <pc:docMk/>
            <pc:sldMk cId="237599856" sldId="2134804323"/>
            <ac:spMk id="7" creationId="{512396C8-DF24-46C7-932B-E15E4552577F}"/>
          </ac:spMkLst>
        </pc:spChg>
        <pc:spChg chg="add mod">
          <ac:chgData name="Mariam Daniela Tristancho Pineda (PTA SAS)" userId="a45a17f7-7950-4cb5-bfab-f5c894f959a9" providerId="ADAL" clId="{336FE84B-4114-423A-B766-8DD7F21DF111}" dt="2020-10-27T20:43:40.396" v="603" actId="1076"/>
          <ac:spMkLst>
            <pc:docMk/>
            <pc:sldMk cId="237599856" sldId="2134804323"/>
            <ac:spMk id="10" creationId="{4D3D84E5-7698-44D1-B79D-1ECDDAD4AD40}"/>
          </ac:spMkLst>
        </pc:spChg>
        <pc:spChg chg="add mod">
          <ac:chgData name="Mariam Daniela Tristancho Pineda (PTA SAS)" userId="a45a17f7-7950-4cb5-bfab-f5c894f959a9" providerId="ADAL" clId="{336FE84B-4114-423A-B766-8DD7F21DF111}" dt="2020-10-27T20:47:42.208" v="686" actId="12788"/>
          <ac:spMkLst>
            <pc:docMk/>
            <pc:sldMk cId="237599856" sldId="2134804323"/>
            <ac:spMk id="11" creationId="{059C12ED-437B-4D83-9469-C3CDA984BF10}"/>
          </ac:spMkLst>
        </pc:spChg>
        <pc:spChg chg="add mod">
          <ac:chgData name="Mariam Daniela Tristancho Pineda (PTA SAS)" userId="a45a17f7-7950-4cb5-bfab-f5c894f959a9" providerId="ADAL" clId="{336FE84B-4114-423A-B766-8DD7F21DF111}" dt="2020-10-27T20:47:42.208" v="686" actId="12788"/>
          <ac:spMkLst>
            <pc:docMk/>
            <pc:sldMk cId="237599856" sldId="2134804323"/>
            <ac:spMk id="12" creationId="{1168C102-FA51-4135-8E16-D0B453F49577}"/>
          </ac:spMkLst>
        </pc:spChg>
        <pc:spChg chg="add mod">
          <ac:chgData name="Mariam Daniela Tristancho Pineda (PTA SAS)" userId="a45a17f7-7950-4cb5-bfab-f5c894f959a9" providerId="ADAL" clId="{336FE84B-4114-423A-B766-8DD7F21DF111}" dt="2020-10-27T20:47:38.281" v="685" actId="12788"/>
          <ac:spMkLst>
            <pc:docMk/>
            <pc:sldMk cId="237599856" sldId="2134804323"/>
            <ac:spMk id="13" creationId="{642034C0-369B-48EA-B131-FA0EAB850DC8}"/>
          </ac:spMkLst>
        </pc:spChg>
        <pc:spChg chg="add mod">
          <ac:chgData name="Mariam Daniela Tristancho Pineda (PTA SAS)" userId="a45a17f7-7950-4cb5-bfab-f5c894f959a9" providerId="ADAL" clId="{336FE84B-4114-423A-B766-8DD7F21DF111}" dt="2020-10-27T20:47:38.281" v="685" actId="12788"/>
          <ac:spMkLst>
            <pc:docMk/>
            <pc:sldMk cId="237599856" sldId="2134804323"/>
            <ac:spMk id="14" creationId="{68746E83-6043-4716-B94F-DC0CE0111BBB}"/>
          </ac:spMkLst>
        </pc:spChg>
        <pc:spChg chg="mod">
          <ac:chgData name="Mariam Daniela Tristancho Pineda (PTA SAS)" userId="a45a17f7-7950-4cb5-bfab-f5c894f959a9" providerId="ADAL" clId="{336FE84B-4114-423A-B766-8DD7F21DF111}" dt="2020-10-27T20:47:15.173" v="677" actId="13926"/>
          <ac:spMkLst>
            <pc:docMk/>
            <pc:sldMk cId="237599856" sldId="2134804323"/>
            <ac:spMk id="45" creationId="{FE8ED9F7-3608-4810-95FA-CCA357FF8DD5}"/>
          </ac:spMkLst>
        </pc:spChg>
        <pc:spChg chg="del">
          <ac:chgData name="Mariam Daniela Tristancho Pineda (PTA SAS)" userId="a45a17f7-7950-4cb5-bfab-f5c894f959a9" providerId="ADAL" clId="{336FE84B-4114-423A-B766-8DD7F21DF111}" dt="2020-10-27T20:29:01.220" v="130" actId="478"/>
          <ac:spMkLst>
            <pc:docMk/>
            <pc:sldMk cId="237599856" sldId="2134804323"/>
            <ac:spMk id="53" creationId="{F9C857D3-C5F6-4D00-8D9C-646D1DA60918}"/>
          </ac:spMkLst>
        </pc:spChg>
        <pc:spChg chg="del">
          <ac:chgData name="Mariam Daniela Tristancho Pineda (PTA SAS)" userId="a45a17f7-7950-4cb5-bfab-f5c894f959a9" providerId="ADAL" clId="{336FE84B-4114-423A-B766-8DD7F21DF111}" dt="2020-10-27T20:29:07.520" v="145" actId="478"/>
          <ac:spMkLst>
            <pc:docMk/>
            <pc:sldMk cId="237599856" sldId="2134804323"/>
            <ac:spMk id="54" creationId="{C38A9719-1AF0-4D7F-AF9E-714FBC133573}"/>
          </ac:spMkLst>
        </pc:spChg>
        <pc:spChg chg="mod">
          <ac:chgData name="Mariam Daniela Tristancho Pineda (PTA SAS)" userId="a45a17f7-7950-4cb5-bfab-f5c894f959a9" providerId="ADAL" clId="{336FE84B-4114-423A-B766-8DD7F21DF111}" dt="2020-10-27T20:47:15.173" v="677" actId="13926"/>
          <ac:spMkLst>
            <pc:docMk/>
            <pc:sldMk cId="237599856" sldId="2134804323"/>
            <ac:spMk id="63" creationId="{4796239E-3DA7-4967-9F6E-F099167EC836}"/>
          </ac:spMkLst>
        </pc:spChg>
        <pc:spChg chg="mod">
          <ac:chgData name="Mariam Daniela Tristancho Pineda (PTA SAS)" userId="a45a17f7-7950-4cb5-bfab-f5c894f959a9" providerId="ADAL" clId="{336FE84B-4114-423A-B766-8DD7F21DF111}" dt="2020-10-27T20:46:37.164" v="664" actId="1038"/>
          <ac:spMkLst>
            <pc:docMk/>
            <pc:sldMk cId="237599856" sldId="2134804323"/>
            <ac:spMk id="64" creationId="{F9F591DC-201B-4D02-9DF4-CBCB981EADB7}"/>
          </ac:spMkLst>
        </pc:spChg>
        <pc:spChg chg="mod">
          <ac:chgData name="Mariam Daniela Tristancho Pineda (PTA SAS)" userId="a45a17f7-7950-4cb5-bfab-f5c894f959a9" providerId="ADAL" clId="{336FE84B-4114-423A-B766-8DD7F21DF111}" dt="2020-10-27T20:46:16.288" v="654" actId="12788"/>
          <ac:spMkLst>
            <pc:docMk/>
            <pc:sldMk cId="237599856" sldId="2134804323"/>
            <ac:spMk id="65" creationId="{5A36F5CD-AEE3-490C-B6F2-EF1B7270AF1D}"/>
          </ac:spMkLst>
        </pc:spChg>
        <pc:spChg chg="mod">
          <ac:chgData name="Mariam Daniela Tristancho Pineda (PTA SAS)" userId="a45a17f7-7950-4cb5-bfab-f5c894f959a9" providerId="ADAL" clId="{336FE84B-4114-423A-B766-8DD7F21DF111}" dt="2020-10-27T20:46:39.653" v="665" actId="1038"/>
          <ac:spMkLst>
            <pc:docMk/>
            <pc:sldMk cId="237599856" sldId="2134804323"/>
            <ac:spMk id="66" creationId="{BA307E93-786D-4DBD-8CF1-E61FC7ABCE7E}"/>
          </ac:spMkLst>
        </pc:spChg>
        <pc:spChg chg="mod">
          <ac:chgData name="Mariam Daniela Tristancho Pineda (PTA SAS)" userId="a45a17f7-7950-4cb5-bfab-f5c894f959a9" providerId="ADAL" clId="{336FE84B-4114-423A-B766-8DD7F21DF111}" dt="2020-10-27T20:43:20.946" v="594"/>
          <ac:spMkLst>
            <pc:docMk/>
            <pc:sldMk cId="237599856" sldId="2134804323"/>
            <ac:spMk id="71" creationId="{EC59A0FA-53B6-4024-8CB7-41F45F60BDE2}"/>
          </ac:spMkLst>
        </pc:spChg>
        <pc:spChg chg="mod">
          <ac:chgData name="Mariam Daniela Tristancho Pineda (PTA SAS)" userId="a45a17f7-7950-4cb5-bfab-f5c894f959a9" providerId="ADAL" clId="{336FE84B-4114-423A-B766-8DD7F21DF111}" dt="2020-11-04T16:14:44.460" v="734" actId="1038"/>
          <ac:spMkLst>
            <pc:docMk/>
            <pc:sldMk cId="237599856" sldId="2134804323"/>
            <ac:spMk id="72" creationId="{4A2C6108-6F4F-4621-BFE9-044832FDAD7C}"/>
          </ac:spMkLst>
        </pc:spChg>
        <pc:spChg chg="mod">
          <ac:chgData name="Mariam Daniela Tristancho Pineda (PTA SAS)" userId="a45a17f7-7950-4cb5-bfab-f5c894f959a9" providerId="ADAL" clId="{336FE84B-4114-423A-B766-8DD7F21DF111}" dt="2020-10-27T20:43:24.935" v="597"/>
          <ac:spMkLst>
            <pc:docMk/>
            <pc:sldMk cId="237599856" sldId="2134804323"/>
            <ac:spMk id="74" creationId="{96EBDD6C-5F4D-4953-98FC-9E361C72B29B}"/>
          </ac:spMkLst>
        </pc:spChg>
        <pc:spChg chg="mod">
          <ac:chgData name="Mariam Daniela Tristancho Pineda (PTA SAS)" userId="a45a17f7-7950-4cb5-bfab-f5c894f959a9" providerId="ADAL" clId="{336FE84B-4114-423A-B766-8DD7F21DF111}" dt="2020-10-27T20:43:24.935" v="597"/>
          <ac:spMkLst>
            <pc:docMk/>
            <pc:sldMk cId="237599856" sldId="2134804323"/>
            <ac:spMk id="75" creationId="{E0F2F86B-5F33-4CC4-822F-7E3927A8E69B}"/>
          </ac:spMkLst>
        </pc:spChg>
        <pc:spChg chg="mod">
          <ac:chgData name="Mariam Daniela Tristancho Pineda (PTA SAS)" userId="a45a17f7-7950-4cb5-bfab-f5c894f959a9" providerId="ADAL" clId="{336FE84B-4114-423A-B766-8DD7F21DF111}" dt="2020-10-27T20:43:28.222" v="599"/>
          <ac:spMkLst>
            <pc:docMk/>
            <pc:sldMk cId="237599856" sldId="2134804323"/>
            <ac:spMk id="77" creationId="{7F49EC1F-5074-47FC-A086-5D15E3725A67}"/>
          </ac:spMkLst>
        </pc:spChg>
        <pc:spChg chg="mod">
          <ac:chgData name="Mariam Daniela Tristancho Pineda (PTA SAS)" userId="a45a17f7-7950-4cb5-bfab-f5c894f959a9" providerId="ADAL" clId="{336FE84B-4114-423A-B766-8DD7F21DF111}" dt="2020-11-04T16:14:40.986" v="732" actId="1035"/>
          <ac:spMkLst>
            <pc:docMk/>
            <pc:sldMk cId="237599856" sldId="2134804323"/>
            <ac:spMk id="78" creationId="{FB8D7588-96CC-41D0-8F2C-96CD0F9FF862}"/>
          </ac:spMkLst>
        </pc:spChg>
        <pc:spChg chg="mod">
          <ac:chgData name="Mariam Daniela Tristancho Pineda (PTA SAS)" userId="a45a17f7-7950-4cb5-bfab-f5c894f959a9" providerId="ADAL" clId="{336FE84B-4114-423A-B766-8DD7F21DF111}" dt="2020-10-27T20:45:06.759" v="636" actId="1036"/>
          <ac:spMkLst>
            <pc:docMk/>
            <pc:sldMk cId="237599856" sldId="2134804323"/>
            <ac:spMk id="79" creationId="{3E0B78C6-ABEB-4B0B-882E-9C0544772F94}"/>
          </ac:spMkLst>
        </pc:spChg>
        <pc:spChg chg="mod">
          <ac:chgData name="Mariam Daniela Tristancho Pineda (PTA SAS)" userId="a45a17f7-7950-4cb5-bfab-f5c894f959a9" providerId="ADAL" clId="{336FE84B-4114-423A-B766-8DD7F21DF111}" dt="2020-10-27T20:47:15.173" v="677" actId="13926"/>
          <ac:spMkLst>
            <pc:docMk/>
            <pc:sldMk cId="237599856" sldId="2134804323"/>
            <ac:spMk id="81" creationId="{CD1A0964-34FB-4EA7-8C35-CE65C810D6AC}"/>
          </ac:spMkLst>
        </pc:spChg>
        <pc:spChg chg="mod ord">
          <ac:chgData name="Mariam Daniela Tristancho Pineda (PTA SAS)" userId="a45a17f7-7950-4cb5-bfab-f5c894f959a9" providerId="ADAL" clId="{336FE84B-4114-423A-B766-8DD7F21DF111}" dt="2020-10-27T20:43:55.469" v="606" actId="1038"/>
          <ac:spMkLst>
            <pc:docMk/>
            <pc:sldMk cId="237599856" sldId="2134804323"/>
            <ac:spMk id="82" creationId="{F356276F-95A8-4D9D-A3D9-51171A0292F7}"/>
          </ac:spMkLst>
        </pc:spChg>
        <pc:spChg chg="mod">
          <ac:chgData name="Mariam Daniela Tristancho Pineda (PTA SAS)" userId="a45a17f7-7950-4cb5-bfab-f5c894f959a9" providerId="ADAL" clId="{336FE84B-4114-423A-B766-8DD7F21DF111}" dt="2020-10-27T20:46:52.997" v="676" actId="1036"/>
          <ac:spMkLst>
            <pc:docMk/>
            <pc:sldMk cId="237599856" sldId="2134804323"/>
            <ac:spMk id="83" creationId="{9CF15579-D302-4765-9A3D-59D9D3268728}"/>
          </ac:spMkLst>
        </pc:spChg>
        <pc:spChg chg="mod">
          <ac:chgData name="Mariam Daniela Tristancho Pineda (PTA SAS)" userId="a45a17f7-7950-4cb5-bfab-f5c894f959a9" providerId="ADAL" clId="{336FE84B-4114-423A-B766-8DD7F21DF111}" dt="2020-10-27T20:45:33.477" v="642" actId="1076"/>
          <ac:spMkLst>
            <pc:docMk/>
            <pc:sldMk cId="237599856" sldId="2134804323"/>
            <ac:spMk id="84" creationId="{293DBAF3-3942-4C58-8A63-D4484E215E20}"/>
          </ac:spMkLst>
        </pc:spChg>
        <pc:spChg chg="mod">
          <ac:chgData name="Mariam Daniela Tristancho Pineda (PTA SAS)" userId="a45a17f7-7950-4cb5-bfab-f5c894f959a9" providerId="ADAL" clId="{336FE84B-4114-423A-B766-8DD7F21DF111}" dt="2020-10-27T20:36:41.159" v="330" actId="164"/>
          <ac:spMkLst>
            <pc:docMk/>
            <pc:sldMk cId="237599856" sldId="2134804323"/>
            <ac:spMk id="85" creationId="{63D8D3CF-6945-47A8-9893-D38BC41C621B}"/>
          </ac:spMkLst>
        </pc:spChg>
        <pc:spChg chg="mod">
          <ac:chgData name="Mariam Daniela Tristancho Pineda (PTA SAS)" userId="a45a17f7-7950-4cb5-bfab-f5c894f959a9" providerId="ADAL" clId="{336FE84B-4114-423A-B766-8DD7F21DF111}" dt="2020-10-27T20:45:33.477" v="642" actId="1076"/>
          <ac:spMkLst>
            <pc:docMk/>
            <pc:sldMk cId="237599856" sldId="2134804323"/>
            <ac:spMk id="86" creationId="{7696A978-4362-4DE3-8C58-0F58608C4AA6}"/>
          </ac:spMkLst>
        </pc:spChg>
        <pc:spChg chg="mod">
          <ac:chgData name="Mariam Daniela Tristancho Pineda (PTA SAS)" userId="a45a17f7-7950-4cb5-bfab-f5c894f959a9" providerId="ADAL" clId="{336FE84B-4114-423A-B766-8DD7F21DF111}" dt="2020-10-27T20:46:12.835" v="653" actId="12788"/>
          <ac:spMkLst>
            <pc:docMk/>
            <pc:sldMk cId="237599856" sldId="2134804323"/>
            <ac:spMk id="87" creationId="{4F692C59-8D2F-4FFE-830F-BFEDC83BCE04}"/>
          </ac:spMkLst>
        </pc:spChg>
        <pc:spChg chg="mod">
          <ac:chgData name="Mariam Daniela Tristancho Pineda (PTA SAS)" userId="a45a17f7-7950-4cb5-bfab-f5c894f959a9" providerId="ADAL" clId="{336FE84B-4114-423A-B766-8DD7F21DF111}" dt="2020-10-27T20:36:02.584" v="254" actId="164"/>
          <ac:spMkLst>
            <pc:docMk/>
            <pc:sldMk cId="237599856" sldId="2134804323"/>
            <ac:spMk id="88" creationId="{4D68A9B0-25D8-4EF1-8A57-0A2AD1C1D741}"/>
          </ac:spMkLst>
        </pc:spChg>
        <pc:spChg chg="mod">
          <ac:chgData name="Mariam Daniela Tristancho Pineda (PTA SAS)" userId="a45a17f7-7950-4cb5-bfab-f5c894f959a9" providerId="ADAL" clId="{336FE84B-4114-423A-B766-8DD7F21DF111}" dt="2020-10-27T20:36:35.557" v="325" actId="164"/>
          <ac:spMkLst>
            <pc:docMk/>
            <pc:sldMk cId="237599856" sldId="2134804323"/>
            <ac:spMk id="91" creationId="{232CC050-3BFF-4FBB-A326-2B3CF9176A99}"/>
          </ac:spMkLst>
        </pc:spChg>
        <pc:spChg chg="mod">
          <ac:chgData name="Mariam Daniela Tristancho Pineda (PTA SAS)" userId="a45a17f7-7950-4cb5-bfab-f5c894f959a9" providerId="ADAL" clId="{336FE84B-4114-423A-B766-8DD7F21DF111}" dt="2020-10-27T20:37:13.751" v="391" actId="14100"/>
          <ac:spMkLst>
            <pc:docMk/>
            <pc:sldMk cId="237599856" sldId="2134804323"/>
            <ac:spMk id="92" creationId="{34C98F8E-3ADE-42ED-8EB5-8A3C0E1BF7B0}"/>
          </ac:spMkLst>
        </pc:spChg>
        <pc:spChg chg="mod">
          <ac:chgData name="Mariam Daniela Tristancho Pineda (PTA SAS)" userId="a45a17f7-7950-4cb5-bfab-f5c894f959a9" providerId="ADAL" clId="{336FE84B-4114-423A-B766-8DD7F21DF111}" dt="2020-10-27T20:47:51.419" v="689" actId="12788"/>
          <ac:spMkLst>
            <pc:docMk/>
            <pc:sldMk cId="237599856" sldId="2134804323"/>
            <ac:spMk id="93" creationId="{B1148C48-4923-4588-8501-96393458387E}"/>
          </ac:spMkLst>
        </pc:spChg>
        <pc:spChg chg="mod">
          <ac:chgData name="Mariam Daniela Tristancho Pineda (PTA SAS)" userId="a45a17f7-7950-4cb5-bfab-f5c894f959a9" providerId="ADAL" clId="{336FE84B-4114-423A-B766-8DD7F21DF111}" dt="2020-10-27T20:37:03.103" v="387" actId="1035"/>
          <ac:spMkLst>
            <pc:docMk/>
            <pc:sldMk cId="237599856" sldId="2134804323"/>
            <ac:spMk id="94" creationId="{03C660BC-2A9C-4D5D-9487-318B90C03E97}"/>
          </ac:spMkLst>
        </pc:spChg>
        <pc:spChg chg="mod">
          <ac:chgData name="Mariam Daniela Tristancho Pineda (PTA SAS)" userId="a45a17f7-7950-4cb5-bfab-f5c894f959a9" providerId="ADAL" clId="{336FE84B-4114-423A-B766-8DD7F21DF111}" dt="2020-10-27T20:47:48.016" v="688" actId="12788"/>
          <ac:spMkLst>
            <pc:docMk/>
            <pc:sldMk cId="237599856" sldId="2134804323"/>
            <ac:spMk id="96" creationId="{829F7E72-DAD7-40B9-8C11-1089E367CAD9}"/>
          </ac:spMkLst>
        </pc:spChg>
        <pc:spChg chg="mod">
          <ac:chgData name="Mariam Daniela Tristancho Pineda (PTA SAS)" userId="a45a17f7-7950-4cb5-bfab-f5c894f959a9" providerId="ADAL" clId="{336FE84B-4114-423A-B766-8DD7F21DF111}" dt="2020-10-27T20:47:54.852" v="690" actId="12788"/>
          <ac:spMkLst>
            <pc:docMk/>
            <pc:sldMk cId="237599856" sldId="2134804323"/>
            <ac:spMk id="97" creationId="{99300021-C267-43BD-A0F5-B3ECE622345E}"/>
          </ac:spMkLst>
        </pc:spChg>
        <pc:spChg chg="mod">
          <ac:chgData name="Mariam Daniela Tristancho Pineda (PTA SAS)" userId="a45a17f7-7950-4cb5-bfab-f5c894f959a9" providerId="ADAL" clId="{336FE84B-4114-423A-B766-8DD7F21DF111}" dt="2020-10-27T20:47:45.064" v="687" actId="12788"/>
          <ac:spMkLst>
            <pc:docMk/>
            <pc:sldMk cId="237599856" sldId="2134804323"/>
            <ac:spMk id="98" creationId="{FAA5344A-03ED-4377-83F9-54D8886FB3FE}"/>
          </ac:spMkLst>
        </pc:spChg>
        <pc:spChg chg="mod">
          <ac:chgData name="Mariam Daniela Tristancho Pineda (PTA SAS)" userId="a45a17f7-7950-4cb5-bfab-f5c894f959a9" providerId="ADAL" clId="{336FE84B-4114-423A-B766-8DD7F21DF111}" dt="2020-10-27T20:47:15.173" v="677" actId="13926"/>
          <ac:spMkLst>
            <pc:docMk/>
            <pc:sldMk cId="237599856" sldId="2134804323"/>
            <ac:spMk id="99" creationId="{90CC82AC-D82E-4F89-AC67-093894759099}"/>
          </ac:spMkLst>
        </pc:spChg>
        <pc:spChg chg="mod">
          <ac:chgData name="Mariam Daniela Tristancho Pineda (PTA SAS)" userId="a45a17f7-7950-4cb5-bfab-f5c894f959a9" providerId="ADAL" clId="{336FE84B-4114-423A-B766-8DD7F21DF111}" dt="2020-10-27T20:47:45.064" v="687" actId="12788"/>
          <ac:spMkLst>
            <pc:docMk/>
            <pc:sldMk cId="237599856" sldId="2134804323"/>
            <ac:spMk id="100" creationId="{1835F856-5B59-4AFF-86DE-2F0968B76CF7}"/>
          </ac:spMkLst>
        </pc:spChg>
        <pc:spChg chg="mod">
          <ac:chgData name="Mariam Daniela Tristancho Pineda (PTA SAS)" userId="a45a17f7-7950-4cb5-bfab-f5c894f959a9" providerId="ADAL" clId="{336FE84B-4114-423A-B766-8DD7F21DF111}" dt="2020-10-27T20:46:52.997" v="676" actId="1036"/>
          <ac:spMkLst>
            <pc:docMk/>
            <pc:sldMk cId="237599856" sldId="2134804323"/>
            <ac:spMk id="101" creationId="{49D67282-150B-4946-8141-C97F6E42DE54}"/>
          </ac:spMkLst>
        </pc:spChg>
        <pc:spChg chg="mod">
          <ac:chgData name="Mariam Daniela Tristancho Pineda (PTA SAS)" userId="a45a17f7-7950-4cb5-bfab-f5c894f959a9" providerId="ADAL" clId="{336FE84B-4114-423A-B766-8DD7F21DF111}" dt="2020-10-27T20:47:51.419" v="689" actId="12788"/>
          <ac:spMkLst>
            <pc:docMk/>
            <pc:sldMk cId="237599856" sldId="2134804323"/>
            <ac:spMk id="102" creationId="{101F3273-AA10-47F1-9872-07AD50130DF5}"/>
          </ac:spMkLst>
        </pc:spChg>
        <pc:spChg chg="mod">
          <ac:chgData name="Mariam Daniela Tristancho Pineda (PTA SAS)" userId="a45a17f7-7950-4cb5-bfab-f5c894f959a9" providerId="ADAL" clId="{336FE84B-4114-423A-B766-8DD7F21DF111}" dt="2020-10-27T20:47:48.016" v="688" actId="12788"/>
          <ac:spMkLst>
            <pc:docMk/>
            <pc:sldMk cId="237599856" sldId="2134804323"/>
            <ac:spMk id="103" creationId="{BDBCDC72-F935-45A4-AE31-C045019965AF}"/>
          </ac:spMkLst>
        </pc:spChg>
        <pc:spChg chg="mod ord">
          <ac:chgData name="Mariam Daniela Tristancho Pineda (PTA SAS)" userId="a45a17f7-7950-4cb5-bfab-f5c894f959a9" providerId="ADAL" clId="{336FE84B-4114-423A-B766-8DD7F21DF111}" dt="2020-10-27T20:48:46.812" v="712" actId="1037"/>
          <ac:spMkLst>
            <pc:docMk/>
            <pc:sldMk cId="237599856" sldId="2134804323"/>
            <ac:spMk id="104" creationId="{0326A105-08B6-409E-9596-07BD7645DEAE}"/>
          </ac:spMkLst>
        </pc:spChg>
        <pc:spChg chg="mod ord">
          <ac:chgData name="Mariam Daniela Tristancho Pineda (PTA SAS)" userId="a45a17f7-7950-4cb5-bfab-f5c894f959a9" providerId="ADAL" clId="{336FE84B-4114-423A-B766-8DD7F21DF111}" dt="2020-10-27T20:48:41.149" v="694" actId="1037"/>
          <ac:spMkLst>
            <pc:docMk/>
            <pc:sldMk cId="237599856" sldId="2134804323"/>
            <ac:spMk id="105" creationId="{DC633C75-4D21-4E37-ABEB-B69D06C0A224}"/>
          </ac:spMkLst>
        </pc:spChg>
        <pc:spChg chg="mod ord">
          <ac:chgData name="Mariam Daniela Tristancho Pineda (PTA SAS)" userId="a45a17f7-7950-4cb5-bfab-f5c894f959a9" providerId="ADAL" clId="{336FE84B-4114-423A-B766-8DD7F21DF111}" dt="2020-10-27T20:48:43.664" v="702" actId="1038"/>
          <ac:spMkLst>
            <pc:docMk/>
            <pc:sldMk cId="237599856" sldId="2134804323"/>
            <ac:spMk id="106" creationId="{8BF155F6-9EE4-4410-BB22-DEE4B18E9FEF}"/>
          </ac:spMkLst>
        </pc:spChg>
        <pc:spChg chg="mod ord">
          <ac:chgData name="Mariam Daniela Tristancho Pineda (PTA SAS)" userId="a45a17f7-7950-4cb5-bfab-f5c894f959a9" providerId="ADAL" clId="{336FE84B-4114-423A-B766-8DD7F21DF111}" dt="2020-10-27T20:48:39.012" v="692" actId="1038"/>
          <ac:spMkLst>
            <pc:docMk/>
            <pc:sldMk cId="237599856" sldId="2134804323"/>
            <ac:spMk id="107" creationId="{4802A65C-C4BA-49C6-A107-DC404BE5C336}"/>
          </ac:spMkLst>
        </pc:spChg>
        <pc:spChg chg="mod ord">
          <ac:chgData name="Mariam Daniela Tristancho Pineda (PTA SAS)" userId="a45a17f7-7950-4cb5-bfab-f5c894f959a9" providerId="ADAL" clId="{336FE84B-4114-423A-B766-8DD7F21DF111}" dt="2020-10-27T20:48:49.910" v="715" actId="1037"/>
          <ac:spMkLst>
            <pc:docMk/>
            <pc:sldMk cId="237599856" sldId="2134804323"/>
            <ac:spMk id="108" creationId="{E7417F2C-4445-4433-AA31-1B1D9A1C89B3}"/>
          </ac:spMkLst>
        </pc:spChg>
        <pc:spChg chg="mod">
          <ac:chgData name="Mariam Daniela Tristancho Pineda (PTA SAS)" userId="a45a17f7-7950-4cb5-bfab-f5c894f959a9" providerId="ADAL" clId="{336FE84B-4114-423A-B766-8DD7F21DF111}" dt="2020-10-27T20:46:52.997" v="676" actId="1036"/>
          <ac:spMkLst>
            <pc:docMk/>
            <pc:sldMk cId="237599856" sldId="2134804323"/>
            <ac:spMk id="109" creationId="{E32505D0-F6B1-4BAC-8C30-CBB276E7E2F6}"/>
          </ac:spMkLst>
        </pc:spChg>
        <pc:spChg chg="mod">
          <ac:chgData name="Mariam Daniela Tristancho Pineda (PTA SAS)" userId="a45a17f7-7950-4cb5-bfab-f5c894f959a9" providerId="ADAL" clId="{336FE84B-4114-423A-B766-8DD7F21DF111}" dt="2020-10-27T20:46:52.997" v="676" actId="1036"/>
          <ac:spMkLst>
            <pc:docMk/>
            <pc:sldMk cId="237599856" sldId="2134804323"/>
            <ac:spMk id="110" creationId="{C4BDDB09-A082-47BC-A695-67536065B8D3}"/>
          </ac:spMkLst>
        </pc:spChg>
        <pc:spChg chg="mod">
          <ac:chgData name="Mariam Daniela Tristancho Pineda (PTA SAS)" userId="a45a17f7-7950-4cb5-bfab-f5c894f959a9" providerId="ADAL" clId="{336FE84B-4114-423A-B766-8DD7F21DF111}" dt="2020-10-27T20:46:52.997" v="676" actId="1036"/>
          <ac:spMkLst>
            <pc:docMk/>
            <pc:sldMk cId="237599856" sldId="2134804323"/>
            <ac:spMk id="111" creationId="{32D80E2C-FD8D-4E1E-94A9-A7F6D2EBD411}"/>
          </ac:spMkLst>
        </pc:spChg>
        <pc:spChg chg="mod">
          <ac:chgData name="Mariam Daniela Tristancho Pineda (PTA SAS)" userId="a45a17f7-7950-4cb5-bfab-f5c894f959a9" providerId="ADAL" clId="{336FE84B-4114-423A-B766-8DD7F21DF111}" dt="2020-10-27T20:45:33.477" v="642" actId="1076"/>
          <ac:spMkLst>
            <pc:docMk/>
            <pc:sldMk cId="237599856" sldId="2134804323"/>
            <ac:spMk id="117" creationId="{8960734A-1053-42D2-BD72-6674DCCE6A97}"/>
          </ac:spMkLst>
        </pc:spChg>
        <pc:spChg chg="mod">
          <ac:chgData name="Mariam Daniela Tristancho Pineda (PTA SAS)" userId="a45a17f7-7950-4cb5-bfab-f5c894f959a9" providerId="ADAL" clId="{336FE84B-4114-423A-B766-8DD7F21DF111}" dt="2020-10-27T20:45:33.477" v="642" actId="1076"/>
          <ac:spMkLst>
            <pc:docMk/>
            <pc:sldMk cId="237599856" sldId="2134804323"/>
            <ac:spMk id="118" creationId="{C77431EE-A761-4323-B75F-692D4CAEC462}"/>
          </ac:spMkLst>
        </pc:spChg>
        <pc:spChg chg="mod">
          <ac:chgData name="Mariam Daniela Tristancho Pineda (PTA SAS)" userId="a45a17f7-7950-4cb5-bfab-f5c894f959a9" providerId="ADAL" clId="{336FE84B-4114-423A-B766-8DD7F21DF111}" dt="2020-10-27T20:45:33.477" v="642" actId="1076"/>
          <ac:spMkLst>
            <pc:docMk/>
            <pc:sldMk cId="237599856" sldId="2134804323"/>
            <ac:spMk id="119" creationId="{A66DDFF6-8990-4632-9B16-3852035C81BA}"/>
          </ac:spMkLst>
        </pc:spChg>
        <pc:spChg chg="mod">
          <ac:chgData name="Mariam Daniela Tristancho Pineda (PTA SAS)" userId="a45a17f7-7950-4cb5-bfab-f5c894f959a9" providerId="ADAL" clId="{336FE84B-4114-423A-B766-8DD7F21DF111}" dt="2020-10-27T20:36:35.557" v="325" actId="164"/>
          <ac:spMkLst>
            <pc:docMk/>
            <pc:sldMk cId="237599856" sldId="2134804323"/>
            <ac:spMk id="122" creationId="{F92D7973-FA2F-45B1-8D65-1BB666EE24DD}"/>
          </ac:spMkLst>
        </pc:spChg>
        <pc:spChg chg="mod">
          <ac:chgData name="Mariam Daniela Tristancho Pineda (PTA SAS)" userId="a45a17f7-7950-4cb5-bfab-f5c894f959a9" providerId="ADAL" clId="{336FE84B-4114-423A-B766-8DD7F21DF111}" dt="2020-10-27T20:36:02.584" v="254" actId="164"/>
          <ac:spMkLst>
            <pc:docMk/>
            <pc:sldMk cId="237599856" sldId="2134804323"/>
            <ac:spMk id="123" creationId="{7DBB833A-DFE0-4BC0-96CD-50EEB2A468C0}"/>
          </ac:spMkLst>
        </pc:spChg>
        <pc:spChg chg="mod">
          <ac:chgData name="Mariam Daniela Tristancho Pineda (PTA SAS)" userId="a45a17f7-7950-4cb5-bfab-f5c894f959a9" providerId="ADAL" clId="{336FE84B-4114-423A-B766-8DD7F21DF111}" dt="2020-10-27T20:36:41.159" v="330" actId="164"/>
          <ac:spMkLst>
            <pc:docMk/>
            <pc:sldMk cId="237599856" sldId="2134804323"/>
            <ac:spMk id="124" creationId="{70AA3071-CACE-4F35-8B87-AC8A0604DE78}"/>
          </ac:spMkLst>
        </pc:spChg>
        <pc:spChg chg="mod">
          <ac:chgData name="Mariam Daniela Tristancho Pineda (PTA SAS)" userId="a45a17f7-7950-4cb5-bfab-f5c894f959a9" providerId="ADAL" clId="{336FE84B-4114-423A-B766-8DD7F21DF111}" dt="2020-10-27T20:35:52.684" v="245" actId="164"/>
          <ac:spMkLst>
            <pc:docMk/>
            <pc:sldMk cId="237599856" sldId="2134804323"/>
            <ac:spMk id="125" creationId="{A228DE91-C702-4290-AF8E-D7ED7818436F}"/>
          </ac:spMkLst>
        </pc:spChg>
        <pc:spChg chg="mod">
          <ac:chgData name="Mariam Daniela Tristancho Pineda (PTA SAS)" userId="a45a17f7-7950-4cb5-bfab-f5c894f959a9" providerId="ADAL" clId="{336FE84B-4114-423A-B766-8DD7F21DF111}" dt="2020-10-27T20:36:07.135" v="255" actId="164"/>
          <ac:spMkLst>
            <pc:docMk/>
            <pc:sldMk cId="237599856" sldId="2134804323"/>
            <ac:spMk id="126" creationId="{01563260-A3C9-427B-975A-EFC567A75841}"/>
          </ac:spMkLst>
        </pc:spChg>
        <pc:grpChg chg="mod">
          <ac:chgData name="Mariam Daniela Tristancho Pineda (PTA SAS)" userId="a45a17f7-7950-4cb5-bfab-f5c894f959a9" providerId="ADAL" clId="{336FE84B-4114-423A-B766-8DD7F21DF111}" dt="2020-10-27T20:46:42.067" v="667" actId="1038"/>
          <ac:grpSpMkLst>
            <pc:docMk/>
            <pc:sldMk cId="237599856" sldId="2134804323"/>
            <ac:grpSpMk id="8" creationId="{3789B696-87EB-4468-8579-5D6FCB42CE02}"/>
          </ac:grpSpMkLst>
        </pc:grpChg>
        <pc:grpChg chg="add mod">
          <ac:chgData name="Mariam Daniela Tristancho Pineda (PTA SAS)" userId="a45a17f7-7950-4cb5-bfab-f5c894f959a9" providerId="ADAL" clId="{336FE84B-4114-423A-B766-8DD7F21DF111}" dt="2020-10-27T20:45:33.477" v="642" actId="1076"/>
          <ac:grpSpMkLst>
            <pc:docMk/>
            <pc:sldMk cId="237599856" sldId="2134804323"/>
            <ac:grpSpMk id="15" creationId="{F3D1FCD7-AFF3-4705-BD02-5C453F74E5E1}"/>
          </ac:grpSpMkLst>
        </pc:grpChg>
        <pc:grpChg chg="add mod">
          <ac:chgData name="Mariam Daniela Tristancho Pineda (PTA SAS)" userId="a45a17f7-7950-4cb5-bfab-f5c894f959a9" providerId="ADAL" clId="{336FE84B-4114-423A-B766-8DD7F21DF111}" dt="2020-10-27T20:45:33.477" v="642" actId="1076"/>
          <ac:grpSpMkLst>
            <pc:docMk/>
            <pc:sldMk cId="237599856" sldId="2134804323"/>
            <ac:grpSpMk id="16" creationId="{4A278060-EC55-41AE-8D88-03F4681CADFA}"/>
          </ac:grpSpMkLst>
        </pc:grpChg>
        <pc:grpChg chg="add mod">
          <ac:chgData name="Mariam Daniela Tristancho Pineda (PTA SAS)" userId="a45a17f7-7950-4cb5-bfab-f5c894f959a9" providerId="ADAL" clId="{336FE84B-4114-423A-B766-8DD7F21DF111}" dt="2020-10-27T20:45:33.477" v="642" actId="1076"/>
          <ac:grpSpMkLst>
            <pc:docMk/>
            <pc:sldMk cId="237599856" sldId="2134804323"/>
            <ac:grpSpMk id="17" creationId="{DB1560AC-9FD7-48D5-90C5-1B3E12195461}"/>
          </ac:grpSpMkLst>
        </pc:grpChg>
        <pc:grpChg chg="add mod">
          <ac:chgData name="Mariam Daniela Tristancho Pineda (PTA SAS)" userId="a45a17f7-7950-4cb5-bfab-f5c894f959a9" providerId="ADAL" clId="{336FE84B-4114-423A-B766-8DD7F21DF111}" dt="2020-10-27T20:45:33.477" v="642" actId="1076"/>
          <ac:grpSpMkLst>
            <pc:docMk/>
            <pc:sldMk cId="237599856" sldId="2134804323"/>
            <ac:grpSpMk id="18" creationId="{C112222A-AC2D-4412-B5CA-65A42A40CCCF}"/>
          </ac:grpSpMkLst>
        </pc:grpChg>
        <pc:grpChg chg="add mod">
          <ac:chgData name="Mariam Daniela Tristancho Pineda (PTA SAS)" userId="a45a17f7-7950-4cb5-bfab-f5c894f959a9" providerId="ADAL" clId="{336FE84B-4114-423A-B766-8DD7F21DF111}" dt="2020-10-27T20:45:33.477" v="642" actId="1076"/>
          <ac:grpSpMkLst>
            <pc:docMk/>
            <pc:sldMk cId="237599856" sldId="2134804323"/>
            <ac:grpSpMk id="19" creationId="{4AA2F681-685E-4561-9921-4051B18186B5}"/>
          </ac:grpSpMkLst>
        </pc:grpChg>
        <pc:grpChg chg="add mod">
          <ac:chgData name="Mariam Daniela Tristancho Pineda (PTA SAS)" userId="a45a17f7-7950-4cb5-bfab-f5c894f959a9" providerId="ADAL" clId="{336FE84B-4114-423A-B766-8DD7F21DF111}" dt="2020-10-27T20:46:48.571" v="672" actId="1038"/>
          <ac:grpSpMkLst>
            <pc:docMk/>
            <pc:sldMk cId="237599856" sldId="2134804323"/>
            <ac:grpSpMk id="70" creationId="{039E25A4-643C-496A-B998-6C361D07F11C}"/>
          </ac:grpSpMkLst>
        </pc:grpChg>
        <pc:grpChg chg="add del mod">
          <ac:chgData name="Mariam Daniela Tristancho Pineda (PTA SAS)" userId="a45a17f7-7950-4cb5-bfab-f5c894f959a9" providerId="ADAL" clId="{336FE84B-4114-423A-B766-8DD7F21DF111}" dt="2020-10-27T20:43:26.590" v="598"/>
          <ac:grpSpMkLst>
            <pc:docMk/>
            <pc:sldMk cId="237599856" sldId="2134804323"/>
            <ac:grpSpMk id="73" creationId="{4CF21542-72F1-4F4B-B875-6F14CDAC425C}"/>
          </ac:grpSpMkLst>
        </pc:grpChg>
        <pc:grpChg chg="add mod">
          <ac:chgData name="Mariam Daniela Tristancho Pineda (PTA SAS)" userId="a45a17f7-7950-4cb5-bfab-f5c894f959a9" providerId="ADAL" clId="{336FE84B-4114-423A-B766-8DD7F21DF111}" dt="2020-10-27T20:46:32.635" v="658" actId="554"/>
          <ac:grpSpMkLst>
            <pc:docMk/>
            <pc:sldMk cId="237599856" sldId="2134804323"/>
            <ac:grpSpMk id="76" creationId="{3744FFD4-DAA5-4518-811E-C9A60069F488}"/>
          </ac:grpSpMkLst>
        </pc:grpChg>
      </pc:sldChg>
      <pc:sldChg chg="addSp delSp modSp add mod">
        <pc:chgData name="Mariam Daniela Tristancho Pineda (PTA SAS)" userId="a45a17f7-7950-4cb5-bfab-f5c894f959a9" providerId="ADAL" clId="{336FE84B-4114-423A-B766-8DD7F21DF111}" dt="2020-10-27T20:49:15.842" v="718" actId="20577"/>
        <pc:sldMkLst>
          <pc:docMk/>
          <pc:sldMk cId="3093954666" sldId="2134804327"/>
        </pc:sldMkLst>
        <pc:spChg chg="add mod">
          <ac:chgData name="Mariam Daniela Tristancho Pineda (PTA SAS)" userId="a45a17f7-7950-4cb5-bfab-f5c894f959a9" providerId="ADAL" clId="{336FE84B-4114-423A-B766-8DD7F21DF111}" dt="2020-10-27T20:30:58.311" v="176" actId="20577"/>
          <ac:spMkLst>
            <pc:docMk/>
            <pc:sldMk cId="3093954666" sldId="2134804327"/>
            <ac:spMk id="3" creationId="{F6EDE8AF-24F0-42F7-BADB-D7A35F5EEAE3}"/>
          </ac:spMkLst>
        </pc:spChg>
        <pc:spChg chg="del">
          <ac:chgData name="Mariam Daniela Tristancho Pineda (PTA SAS)" userId="a45a17f7-7950-4cb5-bfab-f5c894f959a9" providerId="ADAL" clId="{336FE84B-4114-423A-B766-8DD7F21DF111}" dt="2020-10-27T20:30:50.886" v="149" actId="478"/>
          <ac:spMkLst>
            <pc:docMk/>
            <pc:sldMk cId="3093954666" sldId="2134804327"/>
            <ac:spMk id="4" creationId="{C47780CB-210E-480D-AF15-355BDC7F6E93}"/>
          </ac:spMkLst>
        </pc:spChg>
        <pc:spChg chg="mod">
          <ac:chgData name="Mariam Daniela Tristancho Pineda (PTA SAS)" userId="a45a17f7-7950-4cb5-bfab-f5c894f959a9" providerId="ADAL" clId="{336FE84B-4114-423A-B766-8DD7F21DF111}" dt="2020-10-27T20:49:15.842" v="718" actId="20577"/>
          <ac:spMkLst>
            <pc:docMk/>
            <pc:sldMk cId="3093954666" sldId="2134804327"/>
            <ac:spMk id="6" creationId="{935E60B3-FFBE-4EF9-967C-09104A4E6C2E}"/>
          </ac:spMkLst>
        </pc:spChg>
      </pc:sldChg>
      <pc:sldChg chg="del">
        <pc:chgData name="Mariam Daniela Tristancho Pineda (PTA SAS)" userId="a45a17f7-7950-4cb5-bfab-f5c894f959a9" providerId="ADAL" clId="{336FE84B-4114-423A-B766-8DD7F21DF111}" dt="2020-10-27T20:30:29.004" v="148" actId="47"/>
        <pc:sldMkLst>
          <pc:docMk/>
          <pc:sldMk cId="1313712019" sldId="2134804331"/>
        </pc:sldMkLst>
      </pc:sldChg>
      <pc:sldChg chg="del">
        <pc:chgData name="Mariam Daniela Tristancho Pineda (PTA SAS)" userId="a45a17f7-7950-4cb5-bfab-f5c894f959a9" providerId="ADAL" clId="{336FE84B-4114-423A-B766-8DD7F21DF111}" dt="2020-10-27T20:26:32.722" v="95" actId="47"/>
        <pc:sldMkLst>
          <pc:docMk/>
          <pc:sldMk cId="2716615917" sldId="2134804335"/>
        </pc:sldMkLst>
      </pc:sldChg>
      <pc:sldChg chg="del">
        <pc:chgData name="Mariam Daniela Tristancho Pineda (PTA SAS)" userId="a45a17f7-7950-4cb5-bfab-f5c894f959a9" providerId="ADAL" clId="{336FE84B-4114-423A-B766-8DD7F21DF111}" dt="2020-10-27T20:29:11.521" v="146" actId="47"/>
        <pc:sldMkLst>
          <pc:docMk/>
          <pc:sldMk cId="1108072925" sldId="2134804343"/>
        </pc:sldMkLst>
      </pc:sldChg>
      <pc:sldChg chg="del">
        <pc:chgData name="Mariam Daniela Tristancho Pineda (PTA SAS)" userId="a45a17f7-7950-4cb5-bfab-f5c894f959a9" providerId="ADAL" clId="{336FE84B-4114-423A-B766-8DD7F21DF111}" dt="2020-10-27T20:26:30.155" v="94" actId="47"/>
        <pc:sldMkLst>
          <pc:docMk/>
          <pc:sldMk cId="1734415321" sldId="2134804344"/>
        </pc:sldMkLst>
      </pc:sldChg>
      <pc:sldChg chg="del">
        <pc:chgData name="Mariam Daniela Tristancho Pineda (PTA SAS)" userId="a45a17f7-7950-4cb5-bfab-f5c894f959a9" providerId="ADAL" clId="{336FE84B-4114-423A-B766-8DD7F21DF111}" dt="2020-10-27T20:26:29.043" v="93" actId="47"/>
        <pc:sldMkLst>
          <pc:docMk/>
          <pc:sldMk cId="3225245280" sldId="2134804347"/>
        </pc:sldMkLst>
      </pc:sldChg>
      <pc:sldChg chg="addSp delSp modSp mod">
        <pc:chgData name="Mariam Daniela Tristancho Pineda (PTA SAS)" userId="a45a17f7-7950-4cb5-bfab-f5c894f959a9" providerId="ADAL" clId="{336FE84B-4114-423A-B766-8DD7F21DF111}" dt="2020-10-27T20:28:21.101" v="128" actId="1036"/>
        <pc:sldMkLst>
          <pc:docMk/>
          <pc:sldMk cId="2933354058" sldId="2134804420"/>
        </pc:sldMkLst>
        <pc:spChg chg="mod">
          <ac:chgData name="Mariam Daniela Tristancho Pineda (PTA SAS)" userId="a45a17f7-7950-4cb5-bfab-f5c894f959a9" providerId="ADAL" clId="{336FE84B-4114-423A-B766-8DD7F21DF111}" dt="2020-10-27T20:28:21.101" v="128" actId="1036"/>
          <ac:spMkLst>
            <pc:docMk/>
            <pc:sldMk cId="2933354058" sldId="2134804420"/>
            <ac:spMk id="3" creationId="{F68A17DE-3ACC-4C72-8ED3-CE0F518FDBA1}"/>
          </ac:spMkLst>
        </pc:spChg>
        <pc:grpChg chg="add mod">
          <ac:chgData name="Mariam Daniela Tristancho Pineda (PTA SAS)" userId="a45a17f7-7950-4cb5-bfab-f5c894f959a9" providerId="ADAL" clId="{336FE84B-4114-423A-B766-8DD7F21DF111}" dt="2020-10-27T20:27:49.054" v="106" actId="1076"/>
          <ac:grpSpMkLst>
            <pc:docMk/>
            <pc:sldMk cId="2933354058" sldId="2134804420"/>
            <ac:grpSpMk id="7" creationId="{9561A99D-981A-45F8-BF44-297EF77932A4}"/>
          </ac:grpSpMkLst>
        </pc:grpChg>
        <pc:picChg chg="add mod modCrop">
          <ac:chgData name="Mariam Daniela Tristancho Pineda (PTA SAS)" userId="a45a17f7-7950-4cb5-bfab-f5c894f959a9" providerId="ADAL" clId="{336FE84B-4114-423A-B766-8DD7F21DF111}" dt="2020-10-27T20:27:40.105" v="104" actId="164"/>
          <ac:picMkLst>
            <pc:docMk/>
            <pc:sldMk cId="2933354058" sldId="2134804420"/>
            <ac:picMk id="4" creationId="{55803FB2-C8B0-46BB-B3BF-F00CB46CA785}"/>
          </ac:picMkLst>
        </pc:picChg>
        <pc:picChg chg="del">
          <ac:chgData name="Mariam Daniela Tristancho Pineda (PTA SAS)" userId="a45a17f7-7950-4cb5-bfab-f5c894f959a9" providerId="ADAL" clId="{336FE84B-4114-423A-B766-8DD7F21DF111}" dt="2020-10-27T20:26:05.935" v="63" actId="478"/>
          <ac:picMkLst>
            <pc:docMk/>
            <pc:sldMk cId="2933354058" sldId="2134804420"/>
            <ac:picMk id="5" creationId="{302F5E78-F0BB-4135-A8C9-DE367FCF9193}"/>
          </ac:picMkLst>
        </pc:picChg>
        <pc:picChg chg="add mod modCrop">
          <ac:chgData name="Mariam Daniela Tristancho Pineda (PTA SAS)" userId="a45a17f7-7950-4cb5-bfab-f5c894f959a9" providerId="ADAL" clId="{336FE84B-4114-423A-B766-8DD7F21DF111}" dt="2020-10-27T20:27:40.105" v="104" actId="164"/>
          <ac:picMkLst>
            <pc:docMk/>
            <pc:sldMk cId="2933354058" sldId="2134804420"/>
            <ac:picMk id="6" creationId="{FB88936E-2B7C-4852-8D44-2FB05D1F9770}"/>
          </ac:picMkLst>
        </pc:picChg>
        <pc:picChg chg="del">
          <ac:chgData name="Mariam Daniela Tristancho Pineda (PTA SAS)" userId="a45a17f7-7950-4cb5-bfab-f5c894f959a9" providerId="ADAL" clId="{336FE84B-4114-423A-B766-8DD7F21DF111}" dt="2020-10-27T20:26:06.550" v="64" actId="478"/>
          <ac:picMkLst>
            <pc:docMk/>
            <pc:sldMk cId="2933354058" sldId="2134804420"/>
            <ac:picMk id="8" creationId="{3F51BDCB-FB7A-4411-846B-27C176655AA6}"/>
          </ac:picMkLst>
        </pc:picChg>
        <pc:picChg chg="add mod">
          <ac:chgData name="Mariam Daniela Tristancho Pineda (PTA SAS)" userId="a45a17f7-7950-4cb5-bfab-f5c894f959a9" providerId="ADAL" clId="{336FE84B-4114-423A-B766-8DD7F21DF111}" dt="2020-10-27T20:28:10.102" v="110" actId="1076"/>
          <ac:picMkLst>
            <pc:docMk/>
            <pc:sldMk cId="2933354058" sldId="2134804420"/>
            <ac:picMk id="11" creationId="{D8D134CE-C2B7-4094-AC4E-EDB61A4F404A}"/>
          </ac:picMkLst>
        </pc:picChg>
        <pc:picChg chg="del">
          <ac:chgData name="Mariam Daniela Tristancho Pineda (PTA SAS)" userId="a45a17f7-7950-4cb5-bfab-f5c894f959a9" providerId="ADAL" clId="{336FE84B-4114-423A-B766-8DD7F21DF111}" dt="2020-10-27T20:26:03.110" v="61" actId="478"/>
          <ac:picMkLst>
            <pc:docMk/>
            <pc:sldMk cId="2933354058" sldId="2134804420"/>
            <ac:picMk id="14" creationId="{28778FFA-049A-4DDE-8D2A-0597A186A413}"/>
          </ac:picMkLst>
        </pc:picChg>
        <pc:picChg chg="del">
          <ac:chgData name="Mariam Daniela Tristancho Pineda (PTA SAS)" userId="a45a17f7-7950-4cb5-bfab-f5c894f959a9" providerId="ADAL" clId="{336FE84B-4114-423A-B766-8DD7F21DF111}" dt="2020-10-27T20:26:03.697" v="62" actId="478"/>
          <ac:picMkLst>
            <pc:docMk/>
            <pc:sldMk cId="2933354058" sldId="2134804420"/>
            <ac:picMk id="18" creationId="{AED23253-C813-4119-8070-D9BF5A85ADF1}"/>
          </ac:picMkLst>
        </pc:picChg>
        <pc:picChg chg="mod">
          <ac:chgData name="Mariam Daniela Tristancho Pineda (PTA SAS)" userId="a45a17f7-7950-4cb5-bfab-f5c894f959a9" providerId="ADAL" clId="{336FE84B-4114-423A-B766-8DD7F21DF111}" dt="2020-10-27T20:28:18.455" v="122" actId="1036"/>
          <ac:picMkLst>
            <pc:docMk/>
            <pc:sldMk cId="2933354058" sldId="2134804420"/>
            <ac:picMk id="20" creationId="{F8115EB7-44AD-45BF-8216-548874E9FC98}"/>
          </ac:picMkLst>
        </pc:picChg>
        <pc:cxnChg chg="mod">
          <ac:chgData name="Mariam Daniela Tristancho Pineda (PTA SAS)" userId="a45a17f7-7950-4cb5-bfab-f5c894f959a9" providerId="ADAL" clId="{336FE84B-4114-423A-B766-8DD7F21DF111}" dt="2020-10-27T20:28:16.319" v="119" actId="1035"/>
          <ac:cxnSpMkLst>
            <pc:docMk/>
            <pc:sldMk cId="2933354058" sldId="2134804420"/>
            <ac:cxnSpMk id="9" creationId="{96370D2B-2C99-47FB-977A-1BACABA0448E}"/>
          </ac:cxnSpMkLst>
        </pc:cxnChg>
        <pc:cxnChg chg="mod">
          <ac:chgData name="Mariam Daniela Tristancho Pineda (PTA SAS)" userId="a45a17f7-7950-4cb5-bfab-f5c894f959a9" providerId="ADAL" clId="{336FE84B-4114-423A-B766-8DD7F21DF111}" dt="2020-10-27T20:28:16.319" v="119" actId="1035"/>
          <ac:cxnSpMkLst>
            <pc:docMk/>
            <pc:sldMk cId="2933354058" sldId="2134804420"/>
            <ac:cxnSpMk id="17" creationId="{A57EE03D-AD0E-42FF-8004-ACF44D511717}"/>
          </ac:cxnSpMkLst>
        </pc:cxnChg>
      </pc:sldChg>
      <pc:sldChg chg="delSp modSp mod">
        <pc:chgData name="Mariam Daniela Tristancho Pineda (PTA SAS)" userId="a45a17f7-7950-4cb5-bfab-f5c894f959a9" providerId="ADAL" clId="{336FE84B-4114-423A-B766-8DD7F21DF111}" dt="2020-11-04T16:13:24.012" v="727" actId="20577"/>
        <pc:sldMkLst>
          <pc:docMk/>
          <pc:sldMk cId="3431552256" sldId="2134804442"/>
        </pc:sldMkLst>
        <pc:spChg chg="del">
          <ac:chgData name="Mariam Daniela Tristancho Pineda (PTA SAS)" userId="a45a17f7-7950-4cb5-bfab-f5c894f959a9" providerId="ADAL" clId="{336FE84B-4114-423A-B766-8DD7F21DF111}" dt="2020-10-27T20:24:48.805" v="29" actId="478"/>
          <ac:spMkLst>
            <pc:docMk/>
            <pc:sldMk cId="3431552256" sldId="2134804442"/>
            <ac:spMk id="2" creationId="{DA77E5F9-41D2-44FB-8A2E-B53786C928B6}"/>
          </ac:spMkLst>
        </pc:spChg>
        <pc:spChg chg="mod">
          <ac:chgData name="Mariam Daniela Tristancho Pineda (PTA SAS)" userId="a45a17f7-7950-4cb5-bfab-f5c894f959a9" providerId="ADAL" clId="{336FE84B-4114-423A-B766-8DD7F21DF111}" dt="2020-11-04T16:13:24.012" v="727" actId="20577"/>
          <ac:spMkLst>
            <pc:docMk/>
            <pc:sldMk cId="3431552256" sldId="2134804442"/>
            <ac:spMk id="4" creationId="{4D5F0815-E5B4-4E74-8145-A182522C6A3D}"/>
          </ac:spMkLst>
        </pc:spChg>
        <pc:picChg chg="mod">
          <ac:chgData name="Mariam Daniela Tristancho Pineda (PTA SAS)" userId="a45a17f7-7950-4cb5-bfab-f5c894f959a9" providerId="ADAL" clId="{336FE84B-4114-423A-B766-8DD7F21DF111}" dt="2020-10-27T20:24:52.481" v="32" actId="1076"/>
          <ac:picMkLst>
            <pc:docMk/>
            <pc:sldMk cId="3431552256" sldId="2134804442"/>
            <ac:picMk id="7" creationId="{C6562ECF-1AA1-E74B-9CEB-3FBAB0EB4C46}"/>
          </ac:picMkLst>
        </pc:picChg>
      </pc:sldChg>
      <pc:sldChg chg="del">
        <pc:chgData name="Mariam Daniela Tristancho Pineda (PTA SAS)" userId="a45a17f7-7950-4cb5-bfab-f5c894f959a9" providerId="ADAL" clId="{336FE84B-4114-423A-B766-8DD7F21DF111}" dt="2020-10-27T20:26:23.331" v="92" actId="47"/>
        <pc:sldMkLst>
          <pc:docMk/>
          <pc:sldMk cId="357650540" sldId="2134804444"/>
        </pc:sldMkLst>
      </pc:sldChg>
      <pc:sldMasterChg chg="delSldLayout">
        <pc:chgData name="Mariam Daniela Tristancho Pineda (PTA SAS)" userId="a45a17f7-7950-4cb5-bfab-f5c894f959a9" providerId="ADAL" clId="{336FE84B-4114-423A-B766-8DD7F21DF111}" dt="2020-10-27T20:25:20.844" v="48" actId="47"/>
        <pc:sldMasterMkLst>
          <pc:docMk/>
          <pc:sldMasterMk cId="1091507593" sldId="2147483729"/>
        </pc:sldMasterMkLst>
        <pc:sldLayoutChg chg="del">
          <pc:chgData name="Mariam Daniela Tristancho Pineda (PTA SAS)" userId="a45a17f7-7950-4cb5-bfab-f5c894f959a9" providerId="ADAL" clId="{336FE84B-4114-423A-B766-8DD7F21DF111}" dt="2020-10-27T20:25:20.844" v="48" actId="47"/>
          <pc:sldLayoutMkLst>
            <pc:docMk/>
            <pc:sldMasterMk cId="1091507593" sldId="2147483729"/>
            <pc:sldLayoutMk cId="3465069893" sldId="2147483734"/>
          </pc:sldLayoutMkLst>
        </pc:sldLayoutChg>
      </pc:sldMasterChg>
    </pc:docChg>
  </pc:docChgLst>
  <pc:docChgLst>
    <pc:chgData name="Mariam Daniela Tristancho Pineda (MISION TEMPORAL LTDA)" userId="a45a17f7-7950-4cb5-bfab-f5c894f959a9" providerId="ADAL" clId="{9D150B60-33B5-4A3E-8123-A67E35AA8D44}"/>
    <pc:docChg chg="undo redo custSel addSld delSld modSld sldOrd">
      <pc:chgData name="Mariam Daniela Tristancho Pineda (MISION TEMPORAL LTDA)" userId="a45a17f7-7950-4cb5-bfab-f5c894f959a9" providerId="ADAL" clId="{9D150B60-33B5-4A3E-8123-A67E35AA8D44}" dt="2020-07-28T21:04:24.766" v="20438" actId="108"/>
      <pc:docMkLst>
        <pc:docMk/>
      </pc:docMkLst>
      <pc:sldChg chg="modSp mod">
        <pc:chgData name="Mariam Daniela Tristancho Pineda (MISION TEMPORAL LTDA)" userId="a45a17f7-7950-4cb5-bfab-f5c894f959a9" providerId="ADAL" clId="{9D150B60-33B5-4A3E-8123-A67E35AA8D44}" dt="2020-07-26T17:23:10.904" v="7075" actId="403"/>
        <pc:sldMkLst>
          <pc:docMk/>
          <pc:sldMk cId="692789810" sldId="2134804140"/>
        </pc:sldMkLst>
        <pc:spChg chg="mod">
          <ac:chgData name="Mariam Daniela Tristancho Pineda (MISION TEMPORAL LTDA)" userId="a45a17f7-7950-4cb5-bfab-f5c894f959a9" providerId="ADAL" clId="{9D150B60-33B5-4A3E-8123-A67E35AA8D44}" dt="2020-07-26T17:23:10.904" v="7075" actId="403"/>
          <ac:spMkLst>
            <pc:docMk/>
            <pc:sldMk cId="692789810" sldId="2134804140"/>
            <ac:spMk id="2" creationId="{6431BBCF-96E5-45A7-B7E5-D44090D06329}"/>
          </ac:spMkLst>
        </pc:spChg>
        <pc:spChg chg="mod">
          <ac:chgData name="Mariam Daniela Tristancho Pineda (MISION TEMPORAL LTDA)" userId="a45a17f7-7950-4cb5-bfab-f5c894f959a9" providerId="ADAL" clId="{9D150B60-33B5-4A3E-8123-A67E35AA8D44}" dt="2020-07-24T19:14:45.591" v="4829" actId="14100"/>
          <ac:spMkLst>
            <pc:docMk/>
            <pc:sldMk cId="692789810" sldId="2134804140"/>
            <ac:spMk id="3" creationId="{30F9CFD9-5990-468D-9B1E-2AB69F9844AA}"/>
          </ac:spMkLst>
        </pc:spChg>
      </pc:sldChg>
      <pc:sldChg chg="del">
        <pc:chgData name="Mariam Daniela Tristancho Pineda (MISION TEMPORAL LTDA)" userId="a45a17f7-7950-4cb5-bfab-f5c894f959a9" providerId="ADAL" clId="{9D150B60-33B5-4A3E-8123-A67E35AA8D44}" dt="2020-07-10T00:23:59.067" v="1263" actId="47"/>
        <pc:sldMkLst>
          <pc:docMk/>
          <pc:sldMk cId="1994186015" sldId="2134804172"/>
        </pc:sldMkLst>
      </pc:sldChg>
      <pc:sldChg chg="addSp modSp add del mod">
        <pc:chgData name="Mariam Daniela Tristancho Pineda (MISION TEMPORAL LTDA)" userId="a45a17f7-7950-4cb5-bfab-f5c894f959a9" providerId="ADAL" clId="{9D150B60-33B5-4A3E-8123-A67E35AA8D44}" dt="2020-07-24T19:13:56.957" v="4810" actId="47"/>
        <pc:sldMkLst>
          <pc:docMk/>
          <pc:sldMk cId="0" sldId="2134804224"/>
        </pc:sldMkLst>
        <pc:spChg chg="mod">
          <ac:chgData name="Mariam Daniela Tristancho Pineda (MISION TEMPORAL LTDA)" userId="a45a17f7-7950-4cb5-bfab-f5c894f959a9" providerId="ADAL" clId="{9D150B60-33B5-4A3E-8123-A67E35AA8D44}" dt="2020-07-10T20:34:25.488" v="4098" actId="20577"/>
          <ac:spMkLst>
            <pc:docMk/>
            <pc:sldMk cId="0" sldId="2134804224"/>
            <ac:spMk id="17" creationId="{0A6626A3-9098-4058-94D4-CDC309A6EA08}"/>
          </ac:spMkLst>
        </pc:spChg>
        <pc:spChg chg="mod">
          <ac:chgData name="Mariam Daniela Tristancho Pineda (MISION TEMPORAL LTDA)" userId="a45a17f7-7950-4cb5-bfab-f5c894f959a9" providerId="ADAL" clId="{9D150B60-33B5-4A3E-8123-A67E35AA8D44}" dt="2020-07-10T20:32:41.960" v="4083" actId="20577"/>
          <ac:spMkLst>
            <pc:docMk/>
            <pc:sldMk cId="0" sldId="2134804224"/>
            <ac:spMk id="18" creationId="{E9C7AABE-F2DC-4492-B19F-B7D1033380BF}"/>
          </ac:spMkLst>
        </pc:spChg>
        <pc:spChg chg="mod">
          <ac:chgData name="Mariam Daniela Tristancho Pineda (MISION TEMPORAL LTDA)" userId="a45a17f7-7950-4cb5-bfab-f5c894f959a9" providerId="ADAL" clId="{9D150B60-33B5-4A3E-8123-A67E35AA8D44}" dt="2020-07-10T20:33:43.264" v="4088" actId="14100"/>
          <ac:spMkLst>
            <pc:docMk/>
            <pc:sldMk cId="0" sldId="2134804224"/>
            <ac:spMk id="19" creationId="{0221CE6A-C661-4AE3-AF65-5C5F18AE96EB}"/>
          </ac:spMkLst>
        </pc:spChg>
        <pc:spChg chg="mod">
          <ac:chgData name="Mariam Daniela Tristancho Pineda (MISION TEMPORAL LTDA)" userId="a45a17f7-7950-4cb5-bfab-f5c894f959a9" providerId="ADAL" clId="{9D150B60-33B5-4A3E-8123-A67E35AA8D44}" dt="2020-07-10T20:32:46.738" v="4087" actId="6549"/>
          <ac:spMkLst>
            <pc:docMk/>
            <pc:sldMk cId="0" sldId="2134804224"/>
            <ac:spMk id="20" creationId="{8EDCB9EC-5CC6-4C88-ABEF-5A221B8F5238}"/>
          </ac:spMkLst>
        </pc:spChg>
        <pc:spChg chg="mod">
          <ac:chgData name="Mariam Daniela Tristancho Pineda (MISION TEMPORAL LTDA)" userId="a45a17f7-7950-4cb5-bfab-f5c894f959a9" providerId="ADAL" clId="{9D150B60-33B5-4A3E-8123-A67E35AA8D44}" dt="2020-07-10T20:23:28.254" v="4077" actId="1037"/>
          <ac:spMkLst>
            <pc:docMk/>
            <pc:sldMk cId="0" sldId="2134804224"/>
            <ac:spMk id="24" creationId="{C94A8B38-94CE-428D-8226-8CA003757F5F}"/>
          </ac:spMkLst>
        </pc:spChg>
        <pc:spChg chg="mod">
          <ac:chgData name="Mariam Daniela Tristancho Pineda (MISION TEMPORAL LTDA)" userId="a45a17f7-7950-4cb5-bfab-f5c894f959a9" providerId="ADAL" clId="{9D150B60-33B5-4A3E-8123-A67E35AA8D44}" dt="2020-07-10T20:34:37.338" v="4100" actId="1038"/>
          <ac:spMkLst>
            <pc:docMk/>
            <pc:sldMk cId="0" sldId="2134804224"/>
            <ac:spMk id="26" creationId="{9FB5FB30-7750-4BBC-94D1-1648FEE6A2DC}"/>
          </ac:spMkLst>
        </pc:spChg>
        <pc:spChg chg="mod">
          <ac:chgData name="Mariam Daniela Tristancho Pineda (MISION TEMPORAL LTDA)" userId="a45a17f7-7950-4cb5-bfab-f5c894f959a9" providerId="ADAL" clId="{9D150B60-33B5-4A3E-8123-A67E35AA8D44}" dt="2020-07-10T20:34:21.861" v="4096" actId="20577"/>
          <ac:spMkLst>
            <pc:docMk/>
            <pc:sldMk cId="0" sldId="2134804224"/>
            <ac:spMk id="29" creationId="{81F5B260-C58E-4FA9-BA59-AD1CD91A9289}"/>
          </ac:spMkLst>
        </pc:spChg>
        <pc:spChg chg="mod">
          <ac:chgData name="Mariam Daniela Tristancho Pineda (MISION TEMPORAL LTDA)" userId="a45a17f7-7950-4cb5-bfab-f5c894f959a9" providerId="ADAL" clId="{9D150B60-33B5-4A3E-8123-A67E35AA8D44}" dt="2020-07-10T20:36:24.983" v="4200" actId="20577"/>
          <ac:spMkLst>
            <pc:docMk/>
            <pc:sldMk cId="0" sldId="2134804224"/>
            <ac:spMk id="31" creationId="{0B7C0A75-5BE4-4EA8-9AFC-EBEFF4F8307C}"/>
          </ac:spMkLst>
        </pc:spChg>
        <pc:spChg chg="add mod">
          <ac:chgData name="Mariam Daniela Tristancho Pineda (MISION TEMPORAL LTDA)" userId="a45a17f7-7950-4cb5-bfab-f5c894f959a9" providerId="ADAL" clId="{9D150B60-33B5-4A3E-8123-A67E35AA8D44}" dt="2020-07-10T20:35:21.800" v="4198" actId="1076"/>
          <ac:spMkLst>
            <pc:docMk/>
            <pc:sldMk cId="0" sldId="2134804224"/>
            <ac:spMk id="35" creationId="{64296B97-306B-4839-A240-470644F4461A}"/>
          </ac:spMkLst>
        </pc:spChg>
        <pc:cxnChg chg="mod">
          <ac:chgData name="Mariam Daniela Tristancho Pineda (MISION TEMPORAL LTDA)" userId="a45a17f7-7950-4cb5-bfab-f5c894f959a9" providerId="ADAL" clId="{9D150B60-33B5-4A3E-8123-A67E35AA8D44}" dt="2020-07-10T20:23:14.823" v="4070" actId="1038"/>
          <ac:cxnSpMkLst>
            <pc:docMk/>
            <pc:sldMk cId="0" sldId="2134804224"/>
            <ac:cxnSpMk id="22" creationId="{26EBC158-E975-4168-AC5B-B4628843C99A}"/>
          </ac:cxnSpMkLst>
        </pc:cxnChg>
      </pc:sldChg>
      <pc:sldChg chg="modSp mod">
        <pc:chgData name="Mariam Daniela Tristancho Pineda (MISION TEMPORAL LTDA)" userId="a45a17f7-7950-4cb5-bfab-f5c894f959a9" providerId="ADAL" clId="{9D150B60-33B5-4A3E-8123-A67E35AA8D44}" dt="2020-07-28T15:07:28.002" v="20046" actId="20577"/>
        <pc:sldMkLst>
          <pc:docMk/>
          <pc:sldMk cId="1245803374" sldId="2134804241"/>
        </pc:sldMkLst>
        <pc:spChg chg="mod">
          <ac:chgData name="Mariam Daniela Tristancho Pineda (MISION TEMPORAL LTDA)" userId="a45a17f7-7950-4cb5-bfab-f5c894f959a9" providerId="ADAL" clId="{9D150B60-33B5-4A3E-8123-A67E35AA8D44}" dt="2020-07-28T15:07:28.002" v="20046" actId="20577"/>
          <ac:spMkLst>
            <pc:docMk/>
            <pc:sldMk cId="1245803374" sldId="2134804241"/>
            <ac:spMk id="2" creationId="{6431BBCF-96E5-45A7-B7E5-D44090D06329}"/>
          </ac:spMkLst>
        </pc:spChg>
        <pc:spChg chg="mod">
          <ac:chgData name="Mariam Daniela Tristancho Pineda (MISION TEMPORAL LTDA)" userId="a45a17f7-7950-4cb5-bfab-f5c894f959a9" providerId="ADAL" clId="{9D150B60-33B5-4A3E-8123-A67E35AA8D44}" dt="2020-07-09T23:54:04.471" v="245" actId="20577"/>
          <ac:spMkLst>
            <pc:docMk/>
            <pc:sldMk cId="1245803374" sldId="2134804241"/>
            <ac:spMk id="3" creationId="{30F9CFD9-5990-468D-9B1E-2AB69F9844AA}"/>
          </ac:spMkLst>
        </pc:spChg>
      </pc:sldChg>
      <pc:sldChg chg="del">
        <pc:chgData name="Mariam Daniela Tristancho Pineda (MISION TEMPORAL LTDA)" userId="a45a17f7-7950-4cb5-bfab-f5c894f959a9" providerId="ADAL" clId="{9D150B60-33B5-4A3E-8123-A67E35AA8D44}" dt="2020-07-10T00:23:54.871" v="1252" actId="47"/>
        <pc:sldMkLst>
          <pc:docMk/>
          <pc:sldMk cId="2937157513" sldId="2134804242"/>
        </pc:sldMkLst>
      </pc:sldChg>
      <pc:sldChg chg="addSp delSp modSp mod">
        <pc:chgData name="Mariam Daniela Tristancho Pineda (MISION TEMPORAL LTDA)" userId="a45a17f7-7950-4cb5-bfab-f5c894f959a9" providerId="ADAL" clId="{9D150B60-33B5-4A3E-8123-A67E35AA8D44}" dt="2020-07-26T22:26:23.872" v="8893" actId="20577"/>
        <pc:sldMkLst>
          <pc:docMk/>
          <pc:sldMk cId="4180204205" sldId="2134804244"/>
        </pc:sldMkLst>
        <pc:spChg chg="mod">
          <ac:chgData name="Mariam Daniela Tristancho Pineda (MISION TEMPORAL LTDA)" userId="a45a17f7-7950-4cb5-bfab-f5c894f959a9" providerId="ADAL" clId="{9D150B60-33B5-4A3E-8123-A67E35AA8D44}" dt="2020-07-10T00:21:41.185" v="1203" actId="2711"/>
          <ac:spMkLst>
            <pc:docMk/>
            <pc:sldMk cId="4180204205" sldId="2134804244"/>
            <ac:spMk id="2" creationId="{B3300C36-B7BE-457A-9E50-205C2C748E4A}"/>
          </ac:spMkLst>
        </pc:spChg>
        <pc:spChg chg="mod">
          <ac:chgData name="Mariam Daniela Tristancho Pineda (MISION TEMPORAL LTDA)" userId="a45a17f7-7950-4cb5-bfab-f5c894f959a9" providerId="ADAL" clId="{9D150B60-33B5-4A3E-8123-A67E35AA8D44}" dt="2020-07-10T20:48:15.572" v="4377" actId="1036"/>
          <ac:spMkLst>
            <pc:docMk/>
            <pc:sldMk cId="4180204205" sldId="2134804244"/>
            <ac:spMk id="3" creationId="{31514E04-D9F2-4C9D-BB7C-0BB641AFCD5E}"/>
          </ac:spMkLst>
        </pc:spChg>
        <pc:spChg chg="mod">
          <ac:chgData name="Mariam Daniela Tristancho Pineda (MISION TEMPORAL LTDA)" userId="a45a17f7-7950-4cb5-bfab-f5c894f959a9" providerId="ADAL" clId="{9D150B60-33B5-4A3E-8123-A67E35AA8D44}" dt="2020-07-24T19:22:33.834" v="5202" actId="1076"/>
          <ac:spMkLst>
            <pc:docMk/>
            <pc:sldMk cId="4180204205" sldId="2134804244"/>
            <ac:spMk id="4" creationId="{9B0CE30D-625A-4CD9-98D4-3AF33243D194}"/>
          </ac:spMkLst>
        </pc:spChg>
        <pc:spChg chg="add mod">
          <ac:chgData name="Mariam Daniela Tristancho Pineda (MISION TEMPORAL LTDA)" userId="a45a17f7-7950-4cb5-bfab-f5c894f959a9" providerId="ADAL" clId="{9D150B60-33B5-4A3E-8123-A67E35AA8D44}" dt="2020-07-24T19:12:53.306" v="4794" actId="1036"/>
          <ac:spMkLst>
            <pc:docMk/>
            <pc:sldMk cId="4180204205" sldId="2134804244"/>
            <ac:spMk id="6" creationId="{55EE7FCC-FB41-4574-BCEA-57B0A688D136}"/>
          </ac:spMkLst>
        </pc:spChg>
        <pc:spChg chg="add mod">
          <ac:chgData name="Mariam Daniela Tristancho Pineda (MISION TEMPORAL LTDA)" userId="a45a17f7-7950-4cb5-bfab-f5c894f959a9" providerId="ADAL" clId="{9D150B60-33B5-4A3E-8123-A67E35AA8D44}" dt="2020-07-24T19:12:53.306" v="4794" actId="1036"/>
          <ac:spMkLst>
            <pc:docMk/>
            <pc:sldMk cId="4180204205" sldId="2134804244"/>
            <ac:spMk id="7" creationId="{C77E5E08-9F4D-4DAF-B20A-93D4129094C1}"/>
          </ac:spMkLst>
        </pc:spChg>
        <pc:spChg chg="add mod">
          <ac:chgData name="Mariam Daniela Tristancho Pineda (MISION TEMPORAL LTDA)" userId="a45a17f7-7950-4cb5-bfab-f5c894f959a9" providerId="ADAL" clId="{9D150B60-33B5-4A3E-8123-A67E35AA8D44}" dt="2020-07-24T19:13:04.660" v="4803" actId="20577"/>
          <ac:spMkLst>
            <pc:docMk/>
            <pc:sldMk cId="4180204205" sldId="2134804244"/>
            <ac:spMk id="8" creationId="{2A1D56B5-E617-4767-BFA8-8F0B8E4437DA}"/>
          </ac:spMkLst>
        </pc:spChg>
        <pc:spChg chg="add del mod">
          <ac:chgData name="Mariam Daniela Tristancho Pineda (MISION TEMPORAL LTDA)" userId="a45a17f7-7950-4cb5-bfab-f5c894f959a9" providerId="ADAL" clId="{9D150B60-33B5-4A3E-8123-A67E35AA8D44}" dt="2020-07-10T00:08:32.555" v="644"/>
          <ac:spMkLst>
            <pc:docMk/>
            <pc:sldMk cId="4180204205" sldId="2134804244"/>
            <ac:spMk id="8" creationId="{761993DA-BF0B-4F75-A977-1F4304CF9471}"/>
          </ac:spMkLst>
        </pc:spChg>
        <pc:spChg chg="add mod">
          <ac:chgData name="Mariam Daniela Tristancho Pineda (MISION TEMPORAL LTDA)" userId="a45a17f7-7950-4cb5-bfab-f5c894f959a9" providerId="ADAL" clId="{9D150B60-33B5-4A3E-8123-A67E35AA8D44}" dt="2020-07-10T00:21:41.185" v="1203" actId="2711"/>
          <ac:spMkLst>
            <pc:docMk/>
            <pc:sldMk cId="4180204205" sldId="2134804244"/>
            <ac:spMk id="9" creationId="{67D111AC-8EEF-4E52-9E92-29F403327CDF}"/>
          </ac:spMkLst>
        </pc:spChg>
        <pc:spChg chg="mod">
          <ac:chgData name="Mariam Daniela Tristancho Pineda (MISION TEMPORAL LTDA)" userId="a45a17f7-7950-4cb5-bfab-f5c894f959a9" providerId="ADAL" clId="{9D150B60-33B5-4A3E-8123-A67E35AA8D44}" dt="2020-07-10T20:37:31.913" v="4204" actId="1036"/>
          <ac:spMkLst>
            <pc:docMk/>
            <pc:sldMk cId="4180204205" sldId="2134804244"/>
            <ac:spMk id="10" creationId="{810E18BD-2955-4DB2-AEDB-386E84418C6C}"/>
          </ac:spMkLst>
        </pc:spChg>
        <pc:spChg chg="add mod">
          <ac:chgData name="Mariam Daniela Tristancho Pineda (MISION TEMPORAL LTDA)" userId="a45a17f7-7950-4cb5-bfab-f5c894f959a9" providerId="ADAL" clId="{9D150B60-33B5-4A3E-8123-A67E35AA8D44}" dt="2020-07-24T19:13:08.707" v="4805" actId="20577"/>
          <ac:spMkLst>
            <pc:docMk/>
            <pc:sldMk cId="4180204205" sldId="2134804244"/>
            <ac:spMk id="11" creationId="{C22D5D00-87B1-4A75-97EC-BF4025A8BB88}"/>
          </ac:spMkLst>
        </pc:spChg>
        <pc:spChg chg="mod">
          <ac:chgData name="Mariam Daniela Tristancho Pineda (MISION TEMPORAL LTDA)" userId="a45a17f7-7950-4cb5-bfab-f5c894f959a9" providerId="ADAL" clId="{9D150B60-33B5-4A3E-8123-A67E35AA8D44}" dt="2020-07-10T20:48:15.572" v="4377" actId="1036"/>
          <ac:spMkLst>
            <pc:docMk/>
            <pc:sldMk cId="4180204205" sldId="2134804244"/>
            <ac:spMk id="12" creationId="{96C9E76C-8C7F-489D-82CB-B2BD03852707}"/>
          </ac:spMkLst>
        </pc:spChg>
        <pc:spChg chg="mod">
          <ac:chgData name="Mariam Daniela Tristancho Pineda (MISION TEMPORAL LTDA)" userId="a45a17f7-7950-4cb5-bfab-f5c894f959a9" providerId="ADAL" clId="{9D150B60-33B5-4A3E-8123-A67E35AA8D44}" dt="2020-07-10T20:37:31.913" v="4204" actId="1036"/>
          <ac:spMkLst>
            <pc:docMk/>
            <pc:sldMk cId="4180204205" sldId="2134804244"/>
            <ac:spMk id="19" creationId="{CE9667FC-2EDF-4F30-B9FB-41AC4BCA57C5}"/>
          </ac:spMkLst>
        </pc:spChg>
        <pc:spChg chg="mod">
          <ac:chgData name="Mariam Daniela Tristancho Pineda (MISION TEMPORAL LTDA)" userId="a45a17f7-7950-4cb5-bfab-f5c894f959a9" providerId="ADAL" clId="{9D150B60-33B5-4A3E-8123-A67E35AA8D44}" dt="2020-07-26T22:26:23.872" v="8893" actId="20577"/>
          <ac:spMkLst>
            <pc:docMk/>
            <pc:sldMk cId="4180204205" sldId="2134804244"/>
            <ac:spMk id="20" creationId="{92C8D133-E6D8-4045-B204-E026C5621093}"/>
          </ac:spMkLst>
        </pc:spChg>
        <pc:spChg chg="del mod">
          <ac:chgData name="Mariam Daniela Tristancho Pineda (MISION TEMPORAL LTDA)" userId="a45a17f7-7950-4cb5-bfab-f5c894f959a9" providerId="ADAL" clId="{9D150B60-33B5-4A3E-8123-A67E35AA8D44}" dt="2020-07-10T00:07:35.739" v="605"/>
          <ac:spMkLst>
            <pc:docMk/>
            <pc:sldMk cId="4180204205" sldId="2134804244"/>
            <ac:spMk id="26" creationId="{3EDC8468-03BA-421C-9E09-E07D908AFD96}"/>
          </ac:spMkLst>
        </pc:spChg>
        <pc:spChg chg="add mod">
          <ac:chgData name="Mariam Daniela Tristancho Pineda (MISION TEMPORAL LTDA)" userId="a45a17f7-7950-4cb5-bfab-f5c894f959a9" providerId="ADAL" clId="{9D150B60-33B5-4A3E-8123-A67E35AA8D44}" dt="2020-07-10T20:37:31.913" v="4204" actId="1036"/>
          <ac:spMkLst>
            <pc:docMk/>
            <pc:sldMk cId="4180204205" sldId="2134804244"/>
            <ac:spMk id="35" creationId="{9DF7B7BC-332D-4DF2-85EC-E81A51CF3FB9}"/>
          </ac:spMkLst>
        </pc:spChg>
        <pc:spChg chg="add mod">
          <ac:chgData name="Mariam Daniela Tristancho Pineda (MISION TEMPORAL LTDA)" userId="a45a17f7-7950-4cb5-bfab-f5c894f959a9" providerId="ADAL" clId="{9D150B60-33B5-4A3E-8123-A67E35AA8D44}" dt="2020-07-10T20:37:31.913" v="4204" actId="1036"/>
          <ac:spMkLst>
            <pc:docMk/>
            <pc:sldMk cId="4180204205" sldId="2134804244"/>
            <ac:spMk id="36" creationId="{86652868-81FD-4001-BD0F-BE56B22051FC}"/>
          </ac:spMkLst>
        </pc:spChg>
        <pc:spChg chg="add mod">
          <ac:chgData name="Mariam Daniela Tristancho Pineda (MISION TEMPORAL LTDA)" userId="a45a17f7-7950-4cb5-bfab-f5c894f959a9" providerId="ADAL" clId="{9D150B60-33B5-4A3E-8123-A67E35AA8D44}" dt="2020-07-24T19:13:07.103" v="4804" actId="20577"/>
          <ac:spMkLst>
            <pc:docMk/>
            <pc:sldMk cId="4180204205" sldId="2134804244"/>
            <ac:spMk id="37" creationId="{0BD4E356-8816-4B3F-8E4E-065CF0E6B770}"/>
          </ac:spMkLst>
        </pc:spChg>
        <pc:spChg chg="add mod">
          <ac:chgData name="Mariam Daniela Tristancho Pineda (MISION TEMPORAL LTDA)" userId="a45a17f7-7950-4cb5-bfab-f5c894f959a9" providerId="ADAL" clId="{9D150B60-33B5-4A3E-8123-A67E35AA8D44}" dt="2020-07-24T19:13:09.774" v="4806" actId="20577"/>
          <ac:spMkLst>
            <pc:docMk/>
            <pc:sldMk cId="4180204205" sldId="2134804244"/>
            <ac:spMk id="38" creationId="{7CE03041-BB35-48AF-BD1C-458C2ACCB76A}"/>
          </ac:spMkLst>
        </pc:spChg>
        <pc:spChg chg="del mod">
          <ac:chgData name="Mariam Daniela Tristancho Pineda (MISION TEMPORAL LTDA)" userId="a45a17f7-7950-4cb5-bfab-f5c894f959a9" providerId="ADAL" clId="{9D150B60-33B5-4A3E-8123-A67E35AA8D44}" dt="2020-07-10T00:01:46.223" v="365" actId="478"/>
          <ac:spMkLst>
            <pc:docMk/>
            <pc:sldMk cId="4180204205" sldId="2134804244"/>
            <ac:spMk id="40" creationId="{25EFF114-9C03-4A67-908C-727B85061D72}"/>
          </ac:spMkLst>
        </pc:spChg>
        <pc:spChg chg="add mod">
          <ac:chgData name="Mariam Daniela Tristancho Pineda (MISION TEMPORAL LTDA)" userId="a45a17f7-7950-4cb5-bfab-f5c894f959a9" providerId="ADAL" clId="{9D150B60-33B5-4A3E-8123-A67E35AA8D44}" dt="2020-07-24T19:12:38.674" v="4779" actId="1036"/>
          <ac:spMkLst>
            <pc:docMk/>
            <pc:sldMk cId="4180204205" sldId="2134804244"/>
            <ac:spMk id="41" creationId="{BEE8051F-F610-483B-B1DD-0C17AAEE384E}"/>
          </ac:spMkLst>
        </pc:spChg>
        <pc:spChg chg="mod">
          <ac:chgData name="Mariam Daniela Tristancho Pineda (MISION TEMPORAL LTDA)" userId="a45a17f7-7950-4cb5-bfab-f5c894f959a9" providerId="ADAL" clId="{9D150B60-33B5-4A3E-8123-A67E35AA8D44}" dt="2020-07-24T19:12:50.137" v="4790" actId="1036"/>
          <ac:spMkLst>
            <pc:docMk/>
            <pc:sldMk cId="4180204205" sldId="2134804244"/>
            <ac:spMk id="43" creationId="{E717706E-1A55-49C0-B079-6DE218F95FC7}"/>
          </ac:spMkLst>
        </pc:spChg>
        <pc:spChg chg="add mod">
          <ac:chgData name="Mariam Daniela Tristancho Pineda (MISION TEMPORAL LTDA)" userId="a45a17f7-7950-4cb5-bfab-f5c894f959a9" providerId="ADAL" clId="{9D150B60-33B5-4A3E-8123-A67E35AA8D44}" dt="2020-07-24T19:12:38.674" v="4779" actId="1036"/>
          <ac:spMkLst>
            <pc:docMk/>
            <pc:sldMk cId="4180204205" sldId="2134804244"/>
            <ac:spMk id="44" creationId="{C7ECF83E-FAE2-44DF-A00F-3062D9623331}"/>
          </ac:spMkLst>
        </pc:spChg>
        <pc:spChg chg="add mod">
          <ac:chgData name="Mariam Daniela Tristancho Pineda (MISION TEMPORAL LTDA)" userId="a45a17f7-7950-4cb5-bfab-f5c894f959a9" providerId="ADAL" clId="{9D150B60-33B5-4A3E-8123-A67E35AA8D44}" dt="2020-07-24T19:12:38.674" v="4779" actId="1036"/>
          <ac:spMkLst>
            <pc:docMk/>
            <pc:sldMk cId="4180204205" sldId="2134804244"/>
            <ac:spMk id="45" creationId="{293C8658-1109-47C0-B7A1-B53398F78292}"/>
          </ac:spMkLst>
        </pc:spChg>
        <pc:spChg chg="del mod">
          <ac:chgData name="Mariam Daniela Tristancho Pineda (MISION TEMPORAL LTDA)" userId="a45a17f7-7950-4cb5-bfab-f5c894f959a9" providerId="ADAL" clId="{9D150B60-33B5-4A3E-8123-A67E35AA8D44}" dt="2020-07-10T00:01:46.223" v="365" actId="478"/>
          <ac:spMkLst>
            <pc:docMk/>
            <pc:sldMk cId="4180204205" sldId="2134804244"/>
            <ac:spMk id="48" creationId="{BAF27EA9-E3E0-47CF-A76A-8F58AEED0D6F}"/>
          </ac:spMkLst>
        </pc:spChg>
        <pc:spChg chg="mod">
          <ac:chgData name="Mariam Daniela Tristancho Pineda (MISION TEMPORAL LTDA)" userId="a45a17f7-7950-4cb5-bfab-f5c894f959a9" providerId="ADAL" clId="{9D150B60-33B5-4A3E-8123-A67E35AA8D44}" dt="2020-07-24T19:12:38.674" v="4779" actId="1036"/>
          <ac:spMkLst>
            <pc:docMk/>
            <pc:sldMk cId="4180204205" sldId="2134804244"/>
            <ac:spMk id="51" creationId="{C0A2318E-3E25-4819-8017-0D802266D8BE}"/>
          </ac:spMkLst>
        </pc:spChg>
        <pc:spChg chg="mod">
          <ac:chgData name="Mariam Daniela Tristancho Pineda (MISION TEMPORAL LTDA)" userId="a45a17f7-7950-4cb5-bfab-f5c894f959a9" providerId="ADAL" clId="{9D150B60-33B5-4A3E-8123-A67E35AA8D44}" dt="2020-07-24T19:12:38.674" v="4779" actId="1036"/>
          <ac:spMkLst>
            <pc:docMk/>
            <pc:sldMk cId="4180204205" sldId="2134804244"/>
            <ac:spMk id="52" creationId="{FC3592D3-9AB1-446B-A099-2A5C49525B49}"/>
          </ac:spMkLst>
        </pc:spChg>
        <pc:spChg chg="del mod">
          <ac:chgData name="Mariam Daniela Tristancho Pineda (MISION TEMPORAL LTDA)" userId="a45a17f7-7950-4cb5-bfab-f5c894f959a9" providerId="ADAL" clId="{9D150B60-33B5-4A3E-8123-A67E35AA8D44}" dt="2020-07-10T00:03:46.329" v="479" actId="478"/>
          <ac:spMkLst>
            <pc:docMk/>
            <pc:sldMk cId="4180204205" sldId="2134804244"/>
            <ac:spMk id="55" creationId="{24B43721-8F2C-4416-AF8D-9AB7CA3936C4}"/>
          </ac:spMkLst>
        </pc:spChg>
        <pc:spChg chg="del mod">
          <ac:chgData name="Mariam Daniela Tristancho Pineda (MISION TEMPORAL LTDA)" userId="a45a17f7-7950-4cb5-bfab-f5c894f959a9" providerId="ADAL" clId="{9D150B60-33B5-4A3E-8123-A67E35AA8D44}" dt="2020-07-10T00:04:22.248" v="516" actId="478"/>
          <ac:spMkLst>
            <pc:docMk/>
            <pc:sldMk cId="4180204205" sldId="2134804244"/>
            <ac:spMk id="57" creationId="{5166C191-948B-4DBA-805B-CFA30673C6A1}"/>
          </ac:spMkLst>
        </pc:spChg>
        <pc:spChg chg="del mod">
          <ac:chgData name="Mariam Daniela Tristancho Pineda (MISION TEMPORAL LTDA)" userId="a45a17f7-7950-4cb5-bfab-f5c894f959a9" providerId="ADAL" clId="{9D150B60-33B5-4A3E-8123-A67E35AA8D44}" dt="2020-07-10T00:03:47.984" v="480" actId="478"/>
          <ac:spMkLst>
            <pc:docMk/>
            <pc:sldMk cId="4180204205" sldId="2134804244"/>
            <ac:spMk id="59" creationId="{59ACAE5A-D20F-4C0C-AF16-1F585FF5F4FE}"/>
          </ac:spMkLst>
        </pc:spChg>
        <pc:spChg chg="mod">
          <ac:chgData name="Mariam Daniela Tristancho Pineda (MISION TEMPORAL LTDA)" userId="a45a17f7-7950-4cb5-bfab-f5c894f959a9" providerId="ADAL" clId="{9D150B60-33B5-4A3E-8123-A67E35AA8D44}" dt="2020-07-10T20:37:31.913" v="4204" actId="1036"/>
          <ac:spMkLst>
            <pc:docMk/>
            <pc:sldMk cId="4180204205" sldId="2134804244"/>
            <ac:spMk id="60" creationId="{08B50EDD-5E07-4B0E-BA6D-C8614B108A73}"/>
          </ac:spMkLst>
        </pc:spChg>
        <pc:spChg chg="mod">
          <ac:chgData name="Mariam Daniela Tristancho Pineda (MISION TEMPORAL LTDA)" userId="a45a17f7-7950-4cb5-bfab-f5c894f959a9" providerId="ADAL" clId="{9D150B60-33B5-4A3E-8123-A67E35AA8D44}" dt="2020-07-10T20:37:31.913" v="4204" actId="1036"/>
          <ac:spMkLst>
            <pc:docMk/>
            <pc:sldMk cId="4180204205" sldId="2134804244"/>
            <ac:spMk id="63" creationId="{FDF3B75C-EF94-43C4-8C4C-4ECAB5FEA69C}"/>
          </ac:spMkLst>
        </pc:spChg>
        <pc:spChg chg="mod">
          <ac:chgData name="Mariam Daniela Tristancho Pineda (MISION TEMPORAL LTDA)" userId="a45a17f7-7950-4cb5-bfab-f5c894f959a9" providerId="ADAL" clId="{9D150B60-33B5-4A3E-8123-A67E35AA8D44}" dt="2020-07-24T19:13:01.613" v="4802" actId="1036"/>
          <ac:spMkLst>
            <pc:docMk/>
            <pc:sldMk cId="4180204205" sldId="2134804244"/>
            <ac:spMk id="72" creationId="{4C4FAA03-A008-46C9-B5AA-909D237F8621}"/>
          </ac:spMkLst>
        </pc:spChg>
        <pc:spChg chg="mod">
          <ac:chgData name="Mariam Daniela Tristancho Pineda (MISION TEMPORAL LTDA)" userId="a45a17f7-7950-4cb5-bfab-f5c894f959a9" providerId="ADAL" clId="{9D150B60-33B5-4A3E-8123-A67E35AA8D44}" dt="2020-07-10T00:21:41.185" v="1203" actId="2711"/>
          <ac:spMkLst>
            <pc:docMk/>
            <pc:sldMk cId="4180204205" sldId="2134804244"/>
            <ac:spMk id="79" creationId="{7A485175-A5E8-48E7-8A26-808AC78F05FA}"/>
          </ac:spMkLst>
        </pc:spChg>
        <pc:spChg chg="del">
          <ac:chgData name="Mariam Daniela Tristancho Pineda (MISION TEMPORAL LTDA)" userId="a45a17f7-7950-4cb5-bfab-f5c894f959a9" providerId="ADAL" clId="{9D150B60-33B5-4A3E-8123-A67E35AA8D44}" dt="2020-07-09T23:57:27.516" v="295" actId="478"/>
          <ac:spMkLst>
            <pc:docMk/>
            <pc:sldMk cId="4180204205" sldId="2134804244"/>
            <ac:spMk id="81" creationId="{4416B739-7594-4F6B-8C2D-E62439A38A83}"/>
          </ac:spMkLst>
        </pc:spChg>
        <pc:graphicFrameChg chg="del mod">
          <ac:chgData name="Mariam Daniela Tristancho Pineda (MISION TEMPORAL LTDA)" userId="a45a17f7-7950-4cb5-bfab-f5c894f959a9" providerId="ADAL" clId="{9D150B60-33B5-4A3E-8123-A67E35AA8D44}" dt="2020-07-10T00:02:22.883" v="386" actId="478"/>
          <ac:graphicFrameMkLst>
            <pc:docMk/>
            <pc:sldMk cId="4180204205" sldId="2134804244"/>
            <ac:graphicFrameMk id="23" creationId="{4A6183BD-07A2-48B0-BF8F-A726175DDCE8}"/>
          </ac:graphicFrameMkLst>
        </pc:graphicFrameChg>
        <pc:graphicFrameChg chg="mod modGraphic">
          <ac:chgData name="Mariam Daniela Tristancho Pineda (MISION TEMPORAL LTDA)" userId="a45a17f7-7950-4cb5-bfab-f5c894f959a9" providerId="ADAL" clId="{9D150B60-33B5-4A3E-8123-A67E35AA8D44}" dt="2020-07-10T20:48:15.572" v="4377" actId="1036"/>
          <ac:graphicFrameMkLst>
            <pc:docMk/>
            <pc:sldMk cId="4180204205" sldId="2134804244"/>
            <ac:graphicFrameMk id="28" creationId="{E0B6C621-C19F-4253-9019-98F5B464316F}"/>
          </ac:graphicFrameMkLst>
        </pc:graphicFrameChg>
        <pc:graphicFrameChg chg="mod modGraphic">
          <ac:chgData name="Mariam Daniela Tristancho Pineda (MISION TEMPORAL LTDA)" userId="a45a17f7-7950-4cb5-bfab-f5c894f959a9" providerId="ADAL" clId="{9D150B60-33B5-4A3E-8123-A67E35AA8D44}" dt="2020-07-12T21:56:10.565" v="4612" actId="20577"/>
          <ac:graphicFrameMkLst>
            <pc:docMk/>
            <pc:sldMk cId="4180204205" sldId="2134804244"/>
            <ac:graphicFrameMk id="29" creationId="{2F369745-5DCF-4E94-9909-B52D2D1A1EF4}"/>
          </ac:graphicFrameMkLst>
        </pc:graphicFrameChg>
        <pc:graphicFrameChg chg="mod">
          <ac:chgData name="Mariam Daniela Tristancho Pineda (MISION TEMPORAL LTDA)" userId="a45a17f7-7950-4cb5-bfab-f5c894f959a9" providerId="ADAL" clId="{9D150B60-33B5-4A3E-8123-A67E35AA8D44}" dt="2020-07-10T00:21:41.185" v="1203" actId="2711"/>
          <ac:graphicFrameMkLst>
            <pc:docMk/>
            <pc:sldMk cId="4180204205" sldId="2134804244"/>
            <ac:graphicFrameMk id="39" creationId="{5B59E694-0DBE-4A0B-901D-BEC487255BF4}"/>
          </ac:graphicFrameMkLst>
        </pc:graphicFrameChg>
        <pc:graphicFrameChg chg="del mod">
          <ac:chgData name="Mariam Daniela Tristancho Pineda (MISION TEMPORAL LTDA)" userId="a45a17f7-7950-4cb5-bfab-f5c894f959a9" providerId="ADAL" clId="{9D150B60-33B5-4A3E-8123-A67E35AA8D44}" dt="2020-07-10T00:02:37.923" v="391" actId="478"/>
          <ac:graphicFrameMkLst>
            <pc:docMk/>
            <pc:sldMk cId="4180204205" sldId="2134804244"/>
            <ac:graphicFrameMk id="42" creationId="{F76758D9-DF29-4C65-8046-FB9AE5C702A6}"/>
          </ac:graphicFrameMkLst>
        </pc:graphicFrameChg>
        <pc:graphicFrameChg chg="del mod">
          <ac:chgData name="Mariam Daniela Tristancho Pineda (MISION TEMPORAL LTDA)" userId="a45a17f7-7950-4cb5-bfab-f5c894f959a9" providerId="ADAL" clId="{9D150B60-33B5-4A3E-8123-A67E35AA8D44}" dt="2020-07-10T18:43:25.772" v="3020" actId="478"/>
          <ac:graphicFrameMkLst>
            <pc:docMk/>
            <pc:sldMk cId="4180204205" sldId="2134804244"/>
            <ac:graphicFrameMk id="49" creationId="{F9FEDD4D-029E-496C-B3C1-822EC9768199}"/>
          </ac:graphicFrameMkLst>
        </pc:graphicFrameChg>
        <pc:graphicFrameChg chg="del mod">
          <ac:chgData name="Mariam Daniela Tristancho Pineda (MISION TEMPORAL LTDA)" userId="a45a17f7-7950-4cb5-bfab-f5c894f959a9" providerId="ADAL" clId="{9D150B60-33B5-4A3E-8123-A67E35AA8D44}" dt="2020-07-10T00:04:14.154" v="484" actId="478"/>
          <ac:graphicFrameMkLst>
            <pc:docMk/>
            <pc:sldMk cId="4180204205" sldId="2134804244"/>
            <ac:graphicFrameMk id="53" creationId="{9B5BC4FB-678A-4BCC-A7C0-7BBC44F26319}"/>
          </ac:graphicFrameMkLst>
        </pc:graphicFrameChg>
        <pc:graphicFrameChg chg="del mod">
          <ac:chgData name="Mariam Daniela Tristancho Pineda (MISION TEMPORAL LTDA)" userId="a45a17f7-7950-4cb5-bfab-f5c894f959a9" providerId="ADAL" clId="{9D150B60-33B5-4A3E-8123-A67E35AA8D44}" dt="2020-07-10T00:03:42.870" v="477" actId="478"/>
          <ac:graphicFrameMkLst>
            <pc:docMk/>
            <pc:sldMk cId="4180204205" sldId="2134804244"/>
            <ac:graphicFrameMk id="56" creationId="{8CFF7275-2CFD-476E-AC6D-F148C64CF6BF}"/>
          </ac:graphicFrameMkLst>
        </pc:graphicFrameChg>
        <pc:graphicFrameChg chg="del mod">
          <ac:chgData name="Mariam Daniela Tristancho Pineda (MISION TEMPORAL LTDA)" userId="a45a17f7-7950-4cb5-bfab-f5c894f959a9" providerId="ADAL" clId="{9D150B60-33B5-4A3E-8123-A67E35AA8D44}" dt="2020-07-10T00:03:44.488" v="478" actId="478"/>
          <ac:graphicFrameMkLst>
            <pc:docMk/>
            <pc:sldMk cId="4180204205" sldId="2134804244"/>
            <ac:graphicFrameMk id="58" creationId="{6199EDC1-5ECC-42C2-8661-38367D51AC10}"/>
          </ac:graphicFrameMkLst>
        </pc:graphicFrameChg>
        <pc:cxnChg chg="mod">
          <ac:chgData name="Mariam Daniela Tristancho Pineda (MISION TEMPORAL LTDA)" userId="a45a17f7-7950-4cb5-bfab-f5c894f959a9" providerId="ADAL" clId="{9D150B60-33B5-4A3E-8123-A67E35AA8D44}" dt="2020-07-10T00:21:41.185" v="1203" actId="2711"/>
          <ac:cxnSpMkLst>
            <pc:docMk/>
            <pc:sldMk cId="4180204205" sldId="2134804244"/>
            <ac:cxnSpMk id="5" creationId="{017DAD00-B855-4E39-8DE1-7636A3DDFC9D}"/>
          </ac:cxnSpMkLst>
        </pc:cxnChg>
      </pc:sldChg>
      <pc:sldChg chg="addSp modSp del mod">
        <pc:chgData name="Mariam Daniela Tristancho Pineda (MISION TEMPORAL LTDA)" userId="a45a17f7-7950-4cb5-bfab-f5c894f959a9" providerId="ADAL" clId="{9D150B60-33B5-4A3E-8123-A67E35AA8D44}" dt="2020-07-24T19:13:42.053" v="4808" actId="47"/>
        <pc:sldMkLst>
          <pc:docMk/>
          <pc:sldMk cId="1803203511" sldId="2134804247"/>
        </pc:sldMkLst>
        <pc:spChg chg="add mod">
          <ac:chgData name="Mariam Daniela Tristancho Pineda (MISION TEMPORAL LTDA)" userId="a45a17f7-7950-4cb5-bfab-f5c894f959a9" providerId="ADAL" clId="{9D150B60-33B5-4A3E-8123-A67E35AA8D44}" dt="2020-07-09T23:53:41.679" v="218" actId="1076"/>
          <ac:spMkLst>
            <pc:docMk/>
            <pc:sldMk cId="1803203511" sldId="2134804247"/>
            <ac:spMk id="37" creationId="{AE71A027-BC87-4778-B471-ABA763B3CA93}"/>
          </ac:spMkLst>
        </pc:spChg>
      </pc:sldChg>
      <pc:sldChg chg="del">
        <pc:chgData name="Mariam Daniela Tristancho Pineda (MISION TEMPORAL LTDA)" userId="a45a17f7-7950-4cb5-bfab-f5c894f959a9" providerId="ADAL" clId="{9D150B60-33B5-4A3E-8123-A67E35AA8D44}" dt="2020-07-10T00:23:55.098" v="1253" actId="47"/>
        <pc:sldMkLst>
          <pc:docMk/>
          <pc:sldMk cId="1943757328" sldId="2134804249"/>
        </pc:sldMkLst>
      </pc:sldChg>
      <pc:sldChg chg="del">
        <pc:chgData name="Mariam Daniela Tristancho Pineda (MISION TEMPORAL LTDA)" userId="a45a17f7-7950-4cb5-bfab-f5c894f959a9" providerId="ADAL" clId="{9D150B60-33B5-4A3E-8123-A67E35AA8D44}" dt="2020-07-10T00:23:55.345" v="1254" actId="47"/>
        <pc:sldMkLst>
          <pc:docMk/>
          <pc:sldMk cId="278280293" sldId="2134804251"/>
        </pc:sldMkLst>
      </pc:sldChg>
      <pc:sldChg chg="del">
        <pc:chgData name="Mariam Daniela Tristancho Pineda (MISION TEMPORAL LTDA)" userId="a45a17f7-7950-4cb5-bfab-f5c894f959a9" providerId="ADAL" clId="{9D150B60-33B5-4A3E-8123-A67E35AA8D44}" dt="2020-07-10T00:23:55.549" v="1255" actId="47"/>
        <pc:sldMkLst>
          <pc:docMk/>
          <pc:sldMk cId="483722895" sldId="2134804252"/>
        </pc:sldMkLst>
      </pc:sldChg>
      <pc:sldChg chg="del">
        <pc:chgData name="Mariam Daniela Tristancho Pineda (MISION TEMPORAL LTDA)" userId="a45a17f7-7950-4cb5-bfab-f5c894f959a9" providerId="ADAL" clId="{9D150B60-33B5-4A3E-8123-A67E35AA8D44}" dt="2020-07-10T00:23:55.789" v="1256" actId="47"/>
        <pc:sldMkLst>
          <pc:docMk/>
          <pc:sldMk cId="1431871395" sldId="2134804253"/>
        </pc:sldMkLst>
      </pc:sldChg>
      <pc:sldChg chg="del">
        <pc:chgData name="Mariam Daniela Tristancho Pineda (MISION TEMPORAL LTDA)" userId="a45a17f7-7950-4cb5-bfab-f5c894f959a9" providerId="ADAL" clId="{9D150B60-33B5-4A3E-8123-A67E35AA8D44}" dt="2020-07-10T00:23:56.296" v="1257" actId="47"/>
        <pc:sldMkLst>
          <pc:docMk/>
          <pc:sldMk cId="1266487272" sldId="2134804254"/>
        </pc:sldMkLst>
      </pc:sldChg>
      <pc:sldChg chg="del">
        <pc:chgData name="Mariam Daniela Tristancho Pineda (MISION TEMPORAL LTDA)" userId="a45a17f7-7950-4cb5-bfab-f5c894f959a9" providerId="ADAL" clId="{9D150B60-33B5-4A3E-8123-A67E35AA8D44}" dt="2020-07-10T00:23:56.754" v="1258" actId="47"/>
        <pc:sldMkLst>
          <pc:docMk/>
          <pc:sldMk cId="3130492061" sldId="2134804255"/>
        </pc:sldMkLst>
      </pc:sldChg>
      <pc:sldChg chg="del">
        <pc:chgData name="Mariam Daniela Tristancho Pineda (MISION TEMPORAL LTDA)" userId="a45a17f7-7950-4cb5-bfab-f5c894f959a9" providerId="ADAL" clId="{9D150B60-33B5-4A3E-8123-A67E35AA8D44}" dt="2020-07-10T00:23:57.738" v="1260" actId="47"/>
        <pc:sldMkLst>
          <pc:docMk/>
          <pc:sldMk cId="1287012035" sldId="2134804256"/>
        </pc:sldMkLst>
      </pc:sldChg>
      <pc:sldChg chg="del">
        <pc:chgData name="Mariam Daniela Tristancho Pineda (MISION TEMPORAL LTDA)" userId="a45a17f7-7950-4cb5-bfab-f5c894f959a9" providerId="ADAL" clId="{9D150B60-33B5-4A3E-8123-A67E35AA8D44}" dt="2020-07-10T00:23:58.185" v="1261" actId="47"/>
        <pc:sldMkLst>
          <pc:docMk/>
          <pc:sldMk cId="2054119121" sldId="2134804258"/>
        </pc:sldMkLst>
      </pc:sldChg>
      <pc:sldChg chg="del">
        <pc:chgData name="Mariam Daniela Tristancho Pineda (MISION TEMPORAL LTDA)" userId="a45a17f7-7950-4cb5-bfab-f5c894f959a9" providerId="ADAL" clId="{9D150B60-33B5-4A3E-8123-A67E35AA8D44}" dt="2020-07-10T00:23:58.614" v="1262" actId="47"/>
        <pc:sldMkLst>
          <pc:docMk/>
          <pc:sldMk cId="1188541685" sldId="2134804260"/>
        </pc:sldMkLst>
      </pc:sldChg>
      <pc:sldChg chg="del">
        <pc:chgData name="Mariam Daniela Tristancho Pineda (MISION TEMPORAL LTDA)" userId="a45a17f7-7950-4cb5-bfab-f5c894f959a9" providerId="ADAL" clId="{9D150B60-33B5-4A3E-8123-A67E35AA8D44}" dt="2020-07-10T00:24:00.013" v="1265" actId="47"/>
        <pc:sldMkLst>
          <pc:docMk/>
          <pc:sldMk cId="3627326567" sldId="2134804261"/>
        </pc:sldMkLst>
      </pc:sldChg>
      <pc:sldChg chg="del">
        <pc:chgData name="Mariam Daniela Tristancho Pineda (MISION TEMPORAL LTDA)" userId="a45a17f7-7950-4cb5-bfab-f5c894f959a9" providerId="ADAL" clId="{9D150B60-33B5-4A3E-8123-A67E35AA8D44}" dt="2020-07-10T00:24:00.480" v="1266" actId="47"/>
        <pc:sldMkLst>
          <pc:docMk/>
          <pc:sldMk cId="279792768" sldId="2134804262"/>
        </pc:sldMkLst>
      </pc:sldChg>
      <pc:sldChg chg="del">
        <pc:chgData name="Mariam Daniela Tristancho Pineda (MISION TEMPORAL LTDA)" userId="a45a17f7-7950-4cb5-bfab-f5c894f959a9" providerId="ADAL" clId="{9D150B60-33B5-4A3E-8123-A67E35AA8D44}" dt="2020-07-10T00:24:01.317" v="1267" actId="47"/>
        <pc:sldMkLst>
          <pc:docMk/>
          <pc:sldMk cId="3898735964" sldId="2134804263"/>
        </pc:sldMkLst>
      </pc:sldChg>
      <pc:sldChg chg="del">
        <pc:chgData name="Mariam Daniela Tristancho Pineda (MISION TEMPORAL LTDA)" userId="a45a17f7-7950-4cb5-bfab-f5c894f959a9" providerId="ADAL" clId="{9D150B60-33B5-4A3E-8123-A67E35AA8D44}" dt="2020-07-10T00:08:12.759" v="639" actId="47"/>
        <pc:sldMkLst>
          <pc:docMk/>
          <pc:sldMk cId="2248502622" sldId="2134804265"/>
        </pc:sldMkLst>
      </pc:sldChg>
      <pc:sldChg chg="modSp add del mod">
        <pc:chgData name="Mariam Daniela Tristancho Pineda (MISION TEMPORAL LTDA)" userId="a45a17f7-7950-4cb5-bfab-f5c894f959a9" providerId="ADAL" clId="{9D150B60-33B5-4A3E-8123-A67E35AA8D44}" dt="2020-07-24T19:57:35.384" v="6028" actId="47"/>
        <pc:sldMkLst>
          <pc:docMk/>
          <pc:sldMk cId="2598350360" sldId="2134804266"/>
        </pc:sldMkLst>
        <pc:spChg chg="mod">
          <ac:chgData name="Mariam Daniela Tristancho Pineda (MISION TEMPORAL LTDA)" userId="a45a17f7-7950-4cb5-bfab-f5c894f959a9" providerId="ADAL" clId="{9D150B60-33B5-4A3E-8123-A67E35AA8D44}" dt="2020-07-24T19:56:40.546" v="6003" actId="13926"/>
          <ac:spMkLst>
            <pc:docMk/>
            <pc:sldMk cId="2598350360" sldId="2134804266"/>
            <ac:spMk id="14" creationId="{E0A98CA5-866B-405A-B2C6-E53134D6B53A}"/>
          </ac:spMkLst>
        </pc:spChg>
        <pc:spChg chg="mod">
          <ac:chgData name="Mariam Daniela Tristancho Pineda (MISION TEMPORAL LTDA)" userId="a45a17f7-7950-4cb5-bfab-f5c894f959a9" providerId="ADAL" clId="{9D150B60-33B5-4A3E-8123-A67E35AA8D44}" dt="2020-07-24T19:56:52.414" v="6008" actId="13926"/>
          <ac:spMkLst>
            <pc:docMk/>
            <pc:sldMk cId="2598350360" sldId="2134804266"/>
            <ac:spMk id="25" creationId="{52122C38-1D98-4D65-9ADB-852906BB7E2E}"/>
          </ac:spMkLst>
        </pc:spChg>
        <pc:spChg chg="mod">
          <ac:chgData name="Mariam Daniela Tristancho Pineda (MISION TEMPORAL LTDA)" userId="a45a17f7-7950-4cb5-bfab-f5c894f959a9" providerId="ADAL" clId="{9D150B60-33B5-4A3E-8123-A67E35AA8D44}" dt="2020-07-24T19:56:47.174" v="6005" actId="13926"/>
          <ac:spMkLst>
            <pc:docMk/>
            <pc:sldMk cId="2598350360" sldId="2134804266"/>
            <ac:spMk id="26" creationId="{E34C5778-9016-477D-A739-F4CA11E9BC12}"/>
          </ac:spMkLst>
        </pc:spChg>
        <pc:spChg chg="mod">
          <ac:chgData name="Mariam Daniela Tristancho Pineda (MISION TEMPORAL LTDA)" userId="a45a17f7-7950-4cb5-bfab-f5c894f959a9" providerId="ADAL" clId="{9D150B60-33B5-4A3E-8123-A67E35AA8D44}" dt="2020-07-24T19:56:44.206" v="6004" actId="13926"/>
          <ac:spMkLst>
            <pc:docMk/>
            <pc:sldMk cId="2598350360" sldId="2134804266"/>
            <ac:spMk id="27" creationId="{0D5779CF-A7FF-40DC-B295-46922E7434F3}"/>
          </ac:spMkLst>
        </pc:spChg>
        <pc:spChg chg="mod">
          <ac:chgData name="Mariam Daniela Tristancho Pineda (MISION TEMPORAL LTDA)" userId="a45a17f7-7950-4cb5-bfab-f5c894f959a9" providerId="ADAL" clId="{9D150B60-33B5-4A3E-8123-A67E35AA8D44}" dt="2020-07-24T19:56:59.359" v="6009" actId="13926"/>
          <ac:spMkLst>
            <pc:docMk/>
            <pc:sldMk cId="2598350360" sldId="2134804266"/>
            <ac:spMk id="30" creationId="{27F639FA-2ABD-455F-B67E-6322F0CF0F89}"/>
          </ac:spMkLst>
        </pc:spChg>
      </pc:sldChg>
      <pc:sldChg chg="modSp add del mod">
        <pc:chgData name="Mariam Daniela Tristancho Pineda (MISION TEMPORAL LTDA)" userId="a45a17f7-7950-4cb5-bfab-f5c894f959a9" providerId="ADAL" clId="{9D150B60-33B5-4A3E-8123-A67E35AA8D44}" dt="2020-07-27T19:28:02.780" v="11601" actId="47"/>
        <pc:sldMkLst>
          <pc:docMk/>
          <pc:sldMk cId="5164804" sldId="2134804270"/>
        </pc:sldMkLst>
        <pc:spChg chg="mod">
          <ac:chgData name="Mariam Daniela Tristancho Pineda (MISION TEMPORAL LTDA)" userId="a45a17f7-7950-4cb5-bfab-f5c894f959a9" providerId="ADAL" clId="{9D150B60-33B5-4A3E-8123-A67E35AA8D44}" dt="2020-07-26T22:50:38.083" v="9248" actId="20577"/>
          <ac:spMkLst>
            <pc:docMk/>
            <pc:sldMk cId="5164804" sldId="2134804270"/>
            <ac:spMk id="55" creationId="{71D2E868-A54D-4479-B446-29F9C50FDEA5}"/>
          </ac:spMkLst>
        </pc:spChg>
      </pc:sldChg>
      <pc:sldChg chg="del">
        <pc:chgData name="Mariam Daniela Tristancho Pineda (MISION TEMPORAL LTDA)" userId="a45a17f7-7950-4cb5-bfab-f5c894f959a9" providerId="ADAL" clId="{9D150B60-33B5-4A3E-8123-A67E35AA8D44}" dt="2020-07-10T00:23:54.293" v="1251" actId="47"/>
        <pc:sldMkLst>
          <pc:docMk/>
          <pc:sldMk cId="913735653" sldId="2134804271"/>
        </pc:sldMkLst>
      </pc:sldChg>
      <pc:sldChg chg="modSp mod">
        <pc:chgData name="Mariam Daniela Tristancho Pineda (MISION TEMPORAL LTDA)" userId="a45a17f7-7950-4cb5-bfab-f5c894f959a9" providerId="ADAL" clId="{9D150B60-33B5-4A3E-8123-A67E35AA8D44}" dt="2020-07-28T15:07:31.864" v="20048" actId="20577"/>
        <pc:sldMkLst>
          <pc:docMk/>
          <pc:sldMk cId="1980531121" sldId="2134804273"/>
        </pc:sldMkLst>
        <pc:spChg chg="mod">
          <ac:chgData name="Mariam Daniela Tristancho Pineda (MISION TEMPORAL LTDA)" userId="a45a17f7-7950-4cb5-bfab-f5c894f959a9" providerId="ADAL" clId="{9D150B60-33B5-4A3E-8123-A67E35AA8D44}" dt="2020-07-28T15:07:31.864" v="20048" actId="20577"/>
          <ac:spMkLst>
            <pc:docMk/>
            <pc:sldMk cId="1980531121" sldId="2134804273"/>
            <ac:spMk id="2" creationId="{6431BBCF-96E5-45A7-B7E5-D44090D06329}"/>
          </ac:spMkLst>
        </pc:spChg>
        <pc:spChg chg="mod">
          <ac:chgData name="Mariam Daniela Tristancho Pineda (MISION TEMPORAL LTDA)" userId="a45a17f7-7950-4cb5-bfab-f5c894f959a9" providerId="ADAL" clId="{9D150B60-33B5-4A3E-8123-A67E35AA8D44}" dt="2020-07-10T00:10:28.822" v="885" actId="20577"/>
          <ac:spMkLst>
            <pc:docMk/>
            <pc:sldMk cId="1980531121" sldId="2134804273"/>
            <ac:spMk id="3" creationId="{30F9CFD9-5990-468D-9B1E-2AB69F9844AA}"/>
          </ac:spMkLst>
        </pc:spChg>
      </pc:sldChg>
      <pc:sldChg chg="addSp delSp modSp mod">
        <pc:chgData name="Mariam Daniela Tristancho Pineda (MISION TEMPORAL LTDA)" userId="a45a17f7-7950-4cb5-bfab-f5c894f959a9" providerId="ADAL" clId="{9D150B60-33B5-4A3E-8123-A67E35AA8D44}" dt="2020-07-28T15:07:34.940" v="20050" actId="20577"/>
        <pc:sldMkLst>
          <pc:docMk/>
          <pc:sldMk cId="2406967117" sldId="2134804274"/>
        </pc:sldMkLst>
        <pc:spChg chg="mod">
          <ac:chgData name="Mariam Daniela Tristancho Pineda (MISION TEMPORAL LTDA)" userId="a45a17f7-7950-4cb5-bfab-f5c894f959a9" providerId="ADAL" clId="{9D150B60-33B5-4A3E-8123-A67E35AA8D44}" dt="2020-07-28T15:07:34.940" v="20050" actId="20577"/>
          <ac:spMkLst>
            <pc:docMk/>
            <pc:sldMk cId="2406967117" sldId="2134804274"/>
            <ac:spMk id="2" creationId="{6431BBCF-96E5-45A7-B7E5-D44090D06329}"/>
          </ac:spMkLst>
        </pc:spChg>
        <pc:spChg chg="mod">
          <ac:chgData name="Mariam Daniela Tristancho Pineda (MISION TEMPORAL LTDA)" userId="a45a17f7-7950-4cb5-bfab-f5c894f959a9" providerId="ADAL" clId="{9D150B60-33B5-4A3E-8123-A67E35AA8D44}" dt="2020-07-10T00:23:35.286" v="1250" actId="20577"/>
          <ac:spMkLst>
            <pc:docMk/>
            <pc:sldMk cId="2406967117" sldId="2134804274"/>
            <ac:spMk id="3" creationId="{30F9CFD9-5990-468D-9B1E-2AB69F9844AA}"/>
          </ac:spMkLst>
        </pc:spChg>
        <pc:spChg chg="add del mod">
          <ac:chgData name="Mariam Daniela Tristancho Pineda (MISION TEMPORAL LTDA)" userId="a45a17f7-7950-4cb5-bfab-f5c894f959a9" providerId="ADAL" clId="{9D150B60-33B5-4A3E-8123-A67E35AA8D44}" dt="2020-07-24T19:46:01.561" v="5732" actId="478"/>
          <ac:spMkLst>
            <pc:docMk/>
            <pc:sldMk cId="2406967117" sldId="2134804274"/>
            <ac:spMk id="4" creationId="{C6BB69BF-88FF-4A74-ADFD-C157B112F919}"/>
          </ac:spMkLst>
        </pc:spChg>
      </pc:sldChg>
      <pc:sldChg chg="del">
        <pc:chgData name="Mariam Daniela Tristancho Pineda (MISION TEMPORAL LTDA)" userId="a45a17f7-7950-4cb5-bfab-f5c894f959a9" providerId="ADAL" clId="{9D150B60-33B5-4A3E-8123-A67E35AA8D44}" dt="2020-07-10T00:23:57.265" v="1259" actId="47"/>
        <pc:sldMkLst>
          <pc:docMk/>
          <pc:sldMk cId="2802857335" sldId="2134804275"/>
        </pc:sldMkLst>
      </pc:sldChg>
      <pc:sldChg chg="delSp modSp del mod">
        <pc:chgData name="Mariam Daniela Tristancho Pineda (MISION TEMPORAL LTDA)" userId="a45a17f7-7950-4cb5-bfab-f5c894f959a9" providerId="ADAL" clId="{9D150B60-33B5-4A3E-8123-A67E35AA8D44}" dt="2020-07-10T00:27:58.806" v="1340" actId="47"/>
        <pc:sldMkLst>
          <pc:docMk/>
          <pc:sldMk cId="685398324" sldId="2134804277"/>
        </pc:sldMkLst>
        <pc:spChg chg="del">
          <ac:chgData name="Mariam Daniela Tristancho Pineda (MISION TEMPORAL LTDA)" userId="a45a17f7-7950-4cb5-bfab-f5c894f959a9" providerId="ADAL" clId="{9D150B60-33B5-4A3E-8123-A67E35AA8D44}" dt="2020-07-10T00:25:49.960" v="1337" actId="478"/>
          <ac:spMkLst>
            <pc:docMk/>
            <pc:sldMk cId="685398324" sldId="2134804277"/>
            <ac:spMk id="10" creationId="{581EF6D6-B646-4C41-9412-D3C8807256CB}"/>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12" creationId="{C439253A-F324-4629-9301-79D1D68D6668}"/>
          </ac:spMkLst>
        </pc:spChg>
        <pc:spChg chg="mod">
          <ac:chgData name="Mariam Daniela Tristancho Pineda (MISION TEMPORAL LTDA)" userId="a45a17f7-7950-4cb5-bfab-f5c894f959a9" providerId="ADAL" clId="{9D150B60-33B5-4A3E-8123-A67E35AA8D44}" dt="2020-07-10T00:25:45.972" v="1336" actId="20577"/>
          <ac:spMkLst>
            <pc:docMk/>
            <pc:sldMk cId="685398324" sldId="2134804277"/>
            <ac:spMk id="53" creationId="{F9C857D3-C5F6-4D00-8D9C-646D1DA60918}"/>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57" creationId="{48380FA4-D73B-4203-B6A3-A6970B4FD90E}"/>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59" creationId="{EAF78979-5F8E-4AF6-BC74-2B4E7343311B}"/>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69" creationId="{C8FFD2CE-E309-4072-9297-68D81274B40A}"/>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70" creationId="{10CEAC64-42D3-4879-B6BE-C8E72BFE35E5}"/>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71" creationId="{90F0F570-83E8-4E69-A9A0-FCCDD1A6305C}"/>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72" creationId="{4260919B-02F7-4252-A8DC-A6A9A717EDBD}"/>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97" creationId="{99300021-C267-43BD-A0F5-B3ECE622345E}"/>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111" creationId="{33054A9A-549A-46EA-92C1-A009641F3BB9}"/>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112" creationId="{22B5CFB4-BFDC-4A1D-A451-0270A649F5C0}"/>
          </ac:spMkLst>
        </pc:spChg>
        <pc:spChg chg="del">
          <ac:chgData name="Mariam Daniela Tristancho Pineda (MISION TEMPORAL LTDA)" userId="a45a17f7-7950-4cb5-bfab-f5c894f959a9" providerId="ADAL" clId="{9D150B60-33B5-4A3E-8123-A67E35AA8D44}" dt="2020-07-10T00:25:55.646" v="1339" actId="478"/>
          <ac:spMkLst>
            <pc:docMk/>
            <pc:sldMk cId="685398324" sldId="2134804277"/>
            <ac:spMk id="117" creationId="{F61C864A-9A93-4E9F-9696-95BA709B906A}"/>
          </ac:spMkLst>
        </pc:spChg>
        <pc:spChg chg="del">
          <ac:chgData name="Mariam Daniela Tristancho Pineda (MISION TEMPORAL LTDA)" userId="a45a17f7-7950-4cb5-bfab-f5c894f959a9" providerId="ADAL" clId="{9D150B60-33B5-4A3E-8123-A67E35AA8D44}" dt="2020-07-10T00:25:55.646" v="1339" actId="478"/>
          <ac:spMkLst>
            <pc:docMk/>
            <pc:sldMk cId="685398324" sldId="2134804277"/>
            <ac:spMk id="118" creationId="{3E887259-9725-41DC-84F2-12618F2AEF5D}"/>
          </ac:spMkLst>
        </pc:spChg>
        <pc:spChg chg="del">
          <ac:chgData name="Mariam Daniela Tristancho Pineda (MISION TEMPORAL LTDA)" userId="a45a17f7-7950-4cb5-bfab-f5c894f959a9" providerId="ADAL" clId="{9D150B60-33B5-4A3E-8123-A67E35AA8D44}" dt="2020-07-10T00:25:55.646" v="1339" actId="478"/>
          <ac:spMkLst>
            <pc:docMk/>
            <pc:sldMk cId="685398324" sldId="2134804277"/>
            <ac:spMk id="119" creationId="{CF27F8C4-20D0-4D77-B45B-A4590944E79B}"/>
          </ac:spMkLst>
        </pc:spChg>
        <pc:spChg chg="del">
          <ac:chgData name="Mariam Daniela Tristancho Pineda (MISION TEMPORAL LTDA)" userId="a45a17f7-7950-4cb5-bfab-f5c894f959a9" providerId="ADAL" clId="{9D150B60-33B5-4A3E-8123-A67E35AA8D44}" dt="2020-07-10T00:25:55.646" v="1339" actId="478"/>
          <ac:spMkLst>
            <pc:docMk/>
            <pc:sldMk cId="685398324" sldId="2134804277"/>
            <ac:spMk id="120" creationId="{2531434F-E118-4E2D-88FB-E9F0792BE557}"/>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137" creationId="{F2F1441C-82E3-4978-ADB4-2E81AB714A12}"/>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138" creationId="{B7572FF5-C3B2-41FB-AC8B-11068157874D}"/>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139" creationId="{2227F15F-B01E-49E7-B6F1-35FB55117734}"/>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143" creationId="{92043131-3755-4946-AA99-1BAB416E79D7}"/>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150" creationId="{18B0FAF4-B25E-430A-B44F-BB89581DF8C7}"/>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152" creationId="{7A395937-9DFA-4F55-91C6-913660069E89}"/>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153" creationId="{4D3DF7EF-4C67-47D9-B3B2-1EE8EBA2B408}"/>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156" creationId="{E9BCE429-585B-45A6-85A4-C7E36494C46F}"/>
          </ac:spMkLst>
        </pc:spChg>
        <pc:spChg chg="del">
          <ac:chgData name="Mariam Daniela Tristancho Pineda (MISION TEMPORAL LTDA)" userId="a45a17f7-7950-4cb5-bfab-f5c894f959a9" providerId="ADAL" clId="{9D150B60-33B5-4A3E-8123-A67E35AA8D44}" dt="2020-07-10T00:25:53.387" v="1338" actId="478"/>
          <ac:spMkLst>
            <pc:docMk/>
            <pc:sldMk cId="685398324" sldId="2134804277"/>
            <ac:spMk id="158" creationId="{7580C1C1-1118-4E58-9C3A-0048861203FA}"/>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159" creationId="{0414BD16-5AD5-4608-995D-08C9D27746E1}"/>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160" creationId="{D8414B9E-A552-4BCE-AE55-8089DA4FCB0A}"/>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161" creationId="{53AD37EB-B346-4460-9981-82CA1C730DF2}"/>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162" creationId="{340970B5-B4C0-44C0-A487-91F5170AC55E}"/>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163" creationId="{E68DC65A-93B8-4587-BF1A-B897E00D4BA9}"/>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164" creationId="{C61A6580-57EA-404B-8AB3-3154ED4D91E2}"/>
          </ac:spMkLst>
        </pc:spChg>
        <pc:spChg chg="del">
          <ac:chgData name="Mariam Daniela Tristancho Pineda (MISION TEMPORAL LTDA)" userId="a45a17f7-7950-4cb5-bfab-f5c894f959a9" providerId="ADAL" clId="{9D150B60-33B5-4A3E-8123-A67E35AA8D44}" dt="2020-07-10T00:25:49.960" v="1337" actId="478"/>
          <ac:spMkLst>
            <pc:docMk/>
            <pc:sldMk cId="685398324" sldId="2134804277"/>
            <ac:spMk id="175" creationId="{C6A85CE0-D516-4D47-80B2-B2B61C459D20}"/>
          </ac:spMkLst>
        </pc:spChg>
      </pc:sldChg>
      <pc:sldChg chg="modSp del mod">
        <pc:chgData name="Mariam Daniela Tristancho Pineda (MISION TEMPORAL LTDA)" userId="a45a17f7-7950-4cb5-bfab-f5c894f959a9" providerId="ADAL" clId="{9D150B60-33B5-4A3E-8123-A67E35AA8D44}" dt="2020-07-10T00:43:33.378" v="1973" actId="47"/>
        <pc:sldMkLst>
          <pc:docMk/>
          <pc:sldMk cId="3831308622" sldId="2134804279"/>
        </pc:sldMkLst>
        <pc:spChg chg="mod">
          <ac:chgData name="Mariam Daniela Tristancho Pineda (MISION TEMPORAL LTDA)" userId="a45a17f7-7950-4cb5-bfab-f5c894f959a9" providerId="ADAL" clId="{9D150B60-33B5-4A3E-8123-A67E35AA8D44}" dt="2020-07-10T00:43:25.859" v="1972" actId="208"/>
          <ac:spMkLst>
            <pc:docMk/>
            <pc:sldMk cId="3831308622" sldId="2134804279"/>
            <ac:spMk id="3" creationId="{E0EBDA24-5DF4-4E0C-BF25-069E22B9B239}"/>
          </ac:spMkLst>
        </pc:spChg>
        <pc:spChg chg="mod">
          <ac:chgData name="Mariam Daniela Tristancho Pineda (MISION TEMPORAL LTDA)" userId="a45a17f7-7950-4cb5-bfab-f5c894f959a9" providerId="ADAL" clId="{9D150B60-33B5-4A3E-8123-A67E35AA8D44}" dt="2020-07-10T00:43:25.859" v="1972" actId="208"/>
          <ac:spMkLst>
            <pc:docMk/>
            <pc:sldMk cId="3831308622" sldId="2134804279"/>
            <ac:spMk id="14" creationId="{B16B2FAC-B20E-4A14-9B33-3B759C960A1E}"/>
          </ac:spMkLst>
        </pc:spChg>
        <pc:spChg chg="mod">
          <ac:chgData name="Mariam Daniela Tristancho Pineda (MISION TEMPORAL LTDA)" userId="a45a17f7-7950-4cb5-bfab-f5c894f959a9" providerId="ADAL" clId="{9D150B60-33B5-4A3E-8123-A67E35AA8D44}" dt="2020-07-10T00:43:25.859" v="1972" actId="208"/>
          <ac:spMkLst>
            <pc:docMk/>
            <pc:sldMk cId="3831308622" sldId="2134804279"/>
            <ac:spMk id="16" creationId="{587AC57D-85D0-456B-894A-BDBA6A046E6B}"/>
          </ac:spMkLst>
        </pc:spChg>
        <pc:spChg chg="mod">
          <ac:chgData name="Mariam Daniela Tristancho Pineda (MISION TEMPORAL LTDA)" userId="a45a17f7-7950-4cb5-bfab-f5c894f959a9" providerId="ADAL" clId="{9D150B60-33B5-4A3E-8123-A67E35AA8D44}" dt="2020-07-10T00:43:25.859" v="1972" actId="208"/>
          <ac:spMkLst>
            <pc:docMk/>
            <pc:sldMk cId="3831308622" sldId="2134804279"/>
            <ac:spMk id="57" creationId="{847A2F3C-9402-4AD0-BF56-28ABDAE59259}"/>
          </ac:spMkLst>
        </pc:spChg>
        <pc:spChg chg="mod">
          <ac:chgData name="Mariam Daniela Tristancho Pineda (MISION TEMPORAL LTDA)" userId="a45a17f7-7950-4cb5-bfab-f5c894f959a9" providerId="ADAL" clId="{9D150B60-33B5-4A3E-8123-A67E35AA8D44}" dt="2020-07-10T00:43:25.859" v="1972" actId="208"/>
          <ac:spMkLst>
            <pc:docMk/>
            <pc:sldMk cId="3831308622" sldId="2134804279"/>
            <ac:spMk id="58" creationId="{DAC27579-E9C2-4134-9476-72F607D7F944}"/>
          </ac:spMkLst>
        </pc:spChg>
      </pc:sldChg>
      <pc:sldChg chg="addSp delSp modSp mod">
        <pc:chgData name="Mariam Daniela Tristancho Pineda (MISION TEMPORAL LTDA)" userId="a45a17f7-7950-4cb5-bfab-f5c894f959a9" providerId="ADAL" clId="{9D150B60-33B5-4A3E-8123-A67E35AA8D44}" dt="2020-07-26T22:27:23.879" v="8958" actId="20577"/>
        <pc:sldMkLst>
          <pc:docMk/>
          <pc:sldMk cId="383958496" sldId="2134804281"/>
        </pc:sldMkLst>
        <pc:spChg chg="mod">
          <ac:chgData name="Mariam Daniela Tristancho Pineda (MISION TEMPORAL LTDA)" userId="a45a17f7-7950-4cb5-bfab-f5c894f959a9" providerId="ADAL" clId="{9D150B60-33B5-4A3E-8123-A67E35AA8D44}" dt="2020-07-10T00:21:57.352" v="1204" actId="2711"/>
          <ac:spMkLst>
            <pc:docMk/>
            <pc:sldMk cId="383958496" sldId="2134804281"/>
            <ac:spMk id="2" creationId="{B3300C36-B7BE-457A-9E50-205C2C748E4A}"/>
          </ac:spMkLst>
        </pc:spChg>
        <pc:spChg chg="mod">
          <ac:chgData name="Mariam Daniela Tristancho Pineda (MISION TEMPORAL LTDA)" userId="a45a17f7-7950-4cb5-bfab-f5c894f959a9" providerId="ADAL" clId="{9D150B60-33B5-4A3E-8123-A67E35AA8D44}" dt="2020-07-24T19:24:51.466" v="5219" actId="20577"/>
          <ac:spMkLst>
            <pc:docMk/>
            <pc:sldMk cId="383958496" sldId="2134804281"/>
            <ac:spMk id="3" creationId="{31514E04-D9F2-4C9D-BB7C-0BB641AFCD5E}"/>
          </ac:spMkLst>
        </pc:spChg>
        <pc:spChg chg="mod">
          <ac:chgData name="Mariam Daniela Tristancho Pineda (MISION TEMPORAL LTDA)" userId="a45a17f7-7950-4cb5-bfab-f5c894f959a9" providerId="ADAL" clId="{9D150B60-33B5-4A3E-8123-A67E35AA8D44}" dt="2020-07-10T15:56:13.629" v="2845" actId="20577"/>
          <ac:spMkLst>
            <pc:docMk/>
            <pc:sldMk cId="383958496" sldId="2134804281"/>
            <ac:spMk id="4" creationId="{9B0CE30D-625A-4CD9-98D4-3AF33243D194}"/>
          </ac:spMkLst>
        </pc:spChg>
        <pc:spChg chg="add del mod">
          <ac:chgData name="Mariam Daniela Tristancho Pineda (MISION TEMPORAL LTDA)" userId="a45a17f7-7950-4cb5-bfab-f5c894f959a9" providerId="ADAL" clId="{9D150B60-33B5-4A3E-8123-A67E35AA8D44}" dt="2020-07-10T15:36:21.156" v="2113" actId="478"/>
          <ac:spMkLst>
            <pc:docMk/>
            <pc:sldMk cId="383958496" sldId="2134804281"/>
            <ac:spMk id="6" creationId="{50DC8E9B-F353-4C46-A8B4-16188DBDD0D8}"/>
          </ac:spMkLst>
        </pc:spChg>
        <pc:spChg chg="mod">
          <ac:chgData name="Mariam Daniela Tristancho Pineda (MISION TEMPORAL LTDA)" userId="a45a17f7-7950-4cb5-bfab-f5c894f959a9" providerId="ADAL" clId="{9D150B60-33B5-4A3E-8123-A67E35AA8D44}" dt="2020-07-10T15:55:04.749" v="2803" actId="1037"/>
          <ac:spMkLst>
            <pc:docMk/>
            <pc:sldMk cId="383958496" sldId="2134804281"/>
            <ac:spMk id="10" creationId="{810E18BD-2955-4DB2-AEDB-386E84418C6C}"/>
          </ac:spMkLst>
        </pc:spChg>
        <pc:spChg chg="mod">
          <ac:chgData name="Mariam Daniela Tristancho Pineda (MISION TEMPORAL LTDA)" userId="a45a17f7-7950-4cb5-bfab-f5c894f959a9" providerId="ADAL" clId="{9D150B60-33B5-4A3E-8123-A67E35AA8D44}" dt="2020-07-12T22:04:06.584" v="4631" actId="12788"/>
          <ac:spMkLst>
            <pc:docMk/>
            <pc:sldMk cId="383958496" sldId="2134804281"/>
            <ac:spMk id="12" creationId="{96C9E76C-8C7F-489D-82CB-B2BD03852707}"/>
          </ac:spMkLst>
        </pc:spChg>
        <pc:spChg chg="mod">
          <ac:chgData name="Mariam Daniela Tristancho Pineda (MISION TEMPORAL LTDA)" userId="a45a17f7-7950-4cb5-bfab-f5c894f959a9" providerId="ADAL" clId="{9D150B60-33B5-4A3E-8123-A67E35AA8D44}" dt="2020-07-10T15:38:57.336" v="2401" actId="1036"/>
          <ac:spMkLst>
            <pc:docMk/>
            <pc:sldMk cId="383958496" sldId="2134804281"/>
            <ac:spMk id="19" creationId="{CE9667FC-2EDF-4F30-B9FB-41AC4BCA57C5}"/>
          </ac:spMkLst>
        </pc:spChg>
        <pc:spChg chg="mod">
          <ac:chgData name="Mariam Daniela Tristancho Pineda (MISION TEMPORAL LTDA)" userId="a45a17f7-7950-4cb5-bfab-f5c894f959a9" providerId="ADAL" clId="{9D150B60-33B5-4A3E-8123-A67E35AA8D44}" dt="2020-07-26T22:26:42.162" v="8950" actId="20577"/>
          <ac:spMkLst>
            <pc:docMk/>
            <pc:sldMk cId="383958496" sldId="2134804281"/>
            <ac:spMk id="20" creationId="{92C8D133-E6D8-4045-B204-E026C5621093}"/>
          </ac:spMkLst>
        </pc:spChg>
        <pc:spChg chg="del mod">
          <ac:chgData name="Mariam Daniela Tristancho Pineda (MISION TEMPORAL LTDA)" userId="a45a17f7-7950-4cb5-bfab-f5c894f959a9" providerId="ADAL" clId="{9D150B60-33B5-4A3E-8123-A67E35AA8D44}" dt="2020-07-10T15:44:27.007" v="2486" actId="478"/>
          <ac:spMkLst>
            <pc:docMk/>
            <pc:sldMk cId="383958496" sldId="2134804281"/>
            <ac:spMk id="32" creationId="{2024A44D-6779-4D28-8793-5679E8EF3B12}"/>
          </ac:spMkLst>
        </pc:spChg>
        <pc:spChg chg="mod ord">
          <ac:chgData name="Mariam Daniela Tristancho Pineda (MISION TEMPORAL LTDA)" userId="a45a17f7-7950-4cb5-bfab-f5c894f959a9" providerId="ADAL" clId="{9D150B60-33B5-4A3E-8123-A67E35AA8D44}" dt="2020-07-24T19:24:29.231" v="5208" actId="20577"/>
          <ac:spMkLst>
            <pc:docMk/>
            <pc:sldMk cId="383958496" sldId="2134804281"/>
            <ac:spMk id="33" creationId="{257A51C8-EB6E-4CAA-8ED7-3E4E7C0B3A8A}"/>
          </ac:spMkLst>
        </pc:spChg>
        <pc:spChg chg="add mod">
          <ac:chgData name="Mariam Daniela Tristancho Pineda (MISION TEMPORAL LTDA)" userId="a45a17f7-7950-4cb5-bfab-f5c894f959a9" providerId="ADAL" clId="{9D150B60-33B5-4A3E-8123-A67E35AA8D44}" dt="2020-07-24T19:24:26.380" v="5206" actId="20577"/>
          <ac:spMkLst>
            <pc:docMk/>
            <pc:sldMk cId="383958496" sldId="2134804281"/>
            <ac:spMk id="36" creationId="{25CCB3F9-8A57-42B5-B0AC-56F5E0EDACF5}"/>
          </ac:spMkLst>
        </pc:spChg>
        <pc:spChg chg="add mod">
          <ac:chgData name="Mariam Daniela Tristancho Pineda (MISION TEMPORAL LTDA)" userId="a45a17f7-7950-4cb5-bfab-f5c894f959a9" providerId="ADAL" clId="{9D150B60-33B5-4A3E-8123-A67E35AA8D44}" dt="2020-07-10T15:54:57.823" v="2798" actId="1037"/>
          <ac:spMkLst>
            <pc:docMk/>
            <pc:sldMk cId="383958496" sldId="2134804281"/>
            <ac:spMk id="37" creationId="{50BFBD21-058C-4134-A883-5F522F8B0B76}"/>
          </ac:spMkLst>
        </pc:spChg>
        <pc:spChg chg="add mod">
          <ac:chgData name="Mariam Daniela Tristancho Pineda (MISION TEMPORAL LTDA)" userId="a45a17f7-7950-4cb5-bfab-f5c894f959a9" providerId="ADAL" clId="{9D150B60-33B5-4A3E-8123-A67E35AA8D44}" dt="2020-07-10T15:54:23.812" v="2788" actId="552"/>
          <ac:spMkLst>
            <pc:docMk/>
            <pc:sldMk cId="383958496" sldId="2134804281"/>
            <ac:spMk id="38" creationId="{3552541D-17C8-4822-9A1D-90A0C0B5AD8E}"/>
          </ac:spMkLst>
        </pc:spChg>
        <pc:spChg chg="mod">
          <ac:chgData name="Mariam Daniela Tristancho Pineda (MISION TEMPORAL LTDA)" userId="a45a17f7-7950-4cb5-bfab-f5c894f959a9" providerId="ADAL" clId="{9D150B60-33B5-4A3E-8123-A67E35AA8D44}" dt="2020-07-10T15:38:57.336" v="2401" actId="1036"/>
          <ac:spMkLst>
            <pc:docMk/>
            <pc:sldMk cId="383958496" sldId="2134804281"/>
            <ac:spMk id="40" creationId="{25EFF114-9C03-4A67-908C-727B85061D72}"/>
          </ac:spMkLst>
        </pc:spChg>
        <pc:spChg chg="add mod">
          <ac:chgData name="Mariam Daniela Tristancho Pineda (MISION TEMPORAL LTDA)" userId="a45a17f7-7950-4cb5-bfab-f5c894f959a9" providerId="ADAL" clId="{9D150B60-33B5-4A3E-8123-A67E35AA8D44}" dt="2020-07-10T15:54:30.069" v="2789" actId="552"/>
          <ac:spMkLst>
            <pc:docMk/>
            <pc:sldMk cId="383958496" sldId="2134804281"/>
            <ac:spMk id="41" creationId="{F04142FF-DA42-4442-8692-4F397E7AEFE4}"/>
          </ac:spMkLst>
        </pc:spChg>
        <pc:spChg chg="add del mod">
          <ac:chgData name="Mariam Daniela Tristancho Pineda (MISION TEMPORAL LTDA)" userId="a45a17f7-7950-4cb5-bfab-f5c894f959a9" providerId="ADAL" clId="{9D150B60-33B5-4A3E-8123-A67E35AA8D44}" dt="2020-07-24T19:25:16.215" v="5220" actId="478"/>
          <ac:spMkLst>
            <pc:docMk/>
            <pc:sldMk cId="383958496" sldId="2134804281"/>
            <ac:spMk id="42" creationId="{BB1A5271-65D9-4273-9167-E26B17CB84CB}"/>
          </ac:spMkLst>
        </pc:spChg>
        <pc:spChg chg="del mod">
          <ac:chgData name="Mariam Daniela Tristancho Pineda (MISION TEMPORAL LTDA)" userId="a45a17f7-7950-4cb5-bfab-f5c894f959a9" providerId="ADAL" clId="{9D150B60-33B5-4A3E-8123-A67E35AA8D44}" dt="2020-07-10T15:51:45.976" v="2731" actId="478"/>
          <ac:spMkLst>
            <pc:docMk/>
            <pc:sldMk cId="383958496" sldId="2134804281"/>
            <ac:spMk id="43" creationId="{E717706E-1A55-49C0-B079-6DE218F95FC7}"/>
          </ac:spMkLst>
        </pc:spChg>
        <pc:spChg chg="add mod">
          <ac:chgData name="Mariam Daniela Tristancho Pineda (MISION TEMPORAL LTDA)" userId="a45a17f7-7950-4cb5-bfab-f5c894f959a9" providerId="ADAL" clId="{9D150B60-33B5-4A3E-8123-A67E35AA8D44}" dt="2020-07-10T15:54:41.436" v="2790" actId="12788"/>
          <ac:spMkLst>
            <pc:docMk/>
            <pc:sldMk cId="383958496" sldId="2134804281"/>
            <ac:spMk id="44" creationId="{4B1A9C8A-FFC0-483B-B825-ED5EF0C388A9}"/>
          </ac:spMkLst>
        </pc:spChg>
        <pc:spChg chg="add mod">
          <ac:chgData name="Mariam Daniela Tristancho Pineda (MISION TEMPORAL LTDA)" userId="a45a17f7-7950-4cb5-bfab-f5c894f959a9" providerId="ADAL" clId="{9D150B60-33B5-4A3E-8123-A67E35AA8D44}" dt="2020-07-10T15:54:30.069" v="2789" actId="552"/>
          <ac:spMkLst>
            <pc:docMk/>
            <pc:sldMk cId="383958496" sldId="2134804281"/>
            <ac:spMk id="45" creationId="{8E8CD834-7B34-47C9-9BE7-09ECA14BFCEB}"/>
          </ac:spMkLst>
        </pc:spChg>
        <pc:spChg chg="add del mod">
          <ac:chgData name="Mariam Daniela Tristancho Pineda (MISION TEMPORAL LTDA)" userId="a45a17f7-7950-4cb5-bfab-f5c894f959a9" providerId="ADAL" clId="{9D150B60-33B5-4A3E-8123-A67E35AA8D44}" dt="2020-07-10T15:46:29.606" v="2700"/>
          <ac:spMkLst>
            <pc:docMk/>
            <pc:sldMk cId="383958496" sldId="2134804281"/>
            <ac:spMk id="46" creationId="{E8762829-D67E-4D23-9833-54CF6852BD3D}"/>
          </ac:spMkLst>
        </pc:spChg>
        <pc:spChg chg="add mod">
          <ac:chgData name="Mariam Daniela Tristancho Pineda (MISION TEMPORAL LTDA)" userId="a45a17f7-7950-4cb5-bfab-f5c894f959a9" providerId="ADAL" clId="{9D150B60-33B5-4A3E-8123-A67E35AA8D44}" dt="2020-07-10T15:54:30.069" v="2789" actId="552"/>
          <ac:spMkLst>
            <pc:docMk/>
            <pc:sldMk cId="383958496" sldId="2134804281"/>
            <ac:spMk id="47" creationId="{137B0C4F-8471-4337-954D-6AECA53DF9C2}"/>
          </ac:spMkLst>
        </pc:spChg>
        <pc:spChg chg="del mod">
          <ac:chgData name="Mariam Daniela Tristancho Pineda (MISION TEMPORAL LTDA)" userId="a45a17f7-7950-4cb5-bfab-f5c894f959a9" providerId="ADAL" clId="{9D150B60-33B5-4A3E-8123-A67E35AA8D44}" dt="2020-07-10T15:51:47.319" v="2732" actId="478"/>
          <ac:spMkLst>
            <pc:docMk/>
            <pc:sldMk cId="383958496" sldId="2134804281"/>
            <ac:spMk id="48" creationId="{BAF27EA9-E3E0-47CF-A76A-8F58AEED0D6F}"/>
          </ac:spMkLst>
        </pc:spChg>
        <pc:spChg chg="add mod">
          <ac:chgData name="Mariam Daniela Tristancho Pineda (MISION TEMPORAL LTDA)" userId="a45a17f7-7950-4cb5-bfab-f5c894f959a9" providerId="ADAL" clId="{9D150B60-33B5-4A3E-8123-A67E35AA8D44}" dt="2020-07-10T15:54:30.069" v="2789" actId="552"/>
          <ac:spMkLst>
            <pc:docMk/>
            <pc:sldMk cId="383958496" sldId="2134804281"/>
            <ac:spMk id="50" creationId="{5456FCCF-17A3-4C09-BB8D-FFC3C7379B53}"/>
          </ac:spMkLst>
        </pc:spChg>
        <pc:spChg chg="mod">
          <ac:chgData name="Mariam Daniela Tristancho Pineda (MISION TEMPORAL LTDA)" userId="a45a17f7-7950-4cb5-bfab-f5c894f959a9" providerId="ADAL" clId="{9D150B60-33B5-4A3E-8123-A67E35AA8D44}" dt="2020-07-10T15:38:57.336" v="2401" actId="1036"/>
          <ac:spMkLst>
            <pc:docMk/>
            <pc:sldMk cId="383958496" sldId="2134804281"/>
            <ac:spMk id="51" creationId="{C0A2318E-3E25-4819-8017-0D802266D8BE}"/>
          </ac:spMkLst>
        </pc:spChg>
        <pc:spChg chg="mod">
          <ac:chgData name="Mariam Daniela Tristancho Pineda (MISION TEMPORAL LTDA)" userId="a45a17f7-7950-4cb5-bfab-f5c894f959a9" providerId="ADAL" clId="{9D150B60-33B5-4A3E-8123-A67E35AA8D44}" dt="2020-07-10T15:53:59.140" v="2785" actId="1035"/>
          <ac:spMkLst>
            <pc:docMk/>
            <pc:sldMk cId="383958496" sldId="2134804281"/>
            <ac:spMk id="52" creationId="{FC3592D3-9AB1-446B-A099-2A5C49525B49}"/>
          </ac:spMkLst>
        </pc:spChg>
        <pc:spChg chg="mod">
          <ac:chgData name="Mariam Daniela Tristancho Pineda (MISION TEMPORAL LTDA)" userId="a45a17f7-7950-4cb5-bfab-f5c894f959a9" providerId="ADAL" clId="{9D150B60-33B5-4A3E-8123-A67E35AA8D44}" dt="2020-07-10T15:47:53.722" v="2709" actId="1035"/>
          <ac:spMkLst>
            <pc:docMk/>
            <pc:sldMk cId="383958496" sldId="2134804281"/>
            <ac:spMk id="54" creationId="{18FCD16F-84E8-4671-A091-C0264D480522}"/>
          </ac:spMkLst>
        </pc:spChg>
        <pc:spChg chg="mod">
          <ac:chgData name="Mariam Daniela Tristancho Pineda (MISION TEMPORAL LTDA)" userId="a45a17f7-7950-4cb5-bfab-f5c894f959a9" providerId="ADAL" clId="{9D150B60-33B5-4A3E-8123-A67E35AA8D44}" dt="2020-07-10T15:53:54.533" v="2776" actId="1036"/>
          <ac:spMkLst>
            <pc:docMk/>
            <pc:sldMk cId="383958496" sldId="2134804281"/>
            <ac:spMk id="55" creationId="{24B43721-8F2C-4416-AF8D-9AB7CA3936C4}"/>
          </ac:spMkLst>
        </pc:spChg>
        <pc:spChg chg="del mod">
          <ac:chgData name="Mariam Daniela Tristancho Pineda (MISION TEMPORAL LTDA)" userId="a45a17f7-7950-4cb5-bfab-f5c894f959a9" providerId="ADAL" clId="{9D150B60-33B5-4A3E-8123-A67E35AA8D44}" dt="2020-07-10T15:53:47.480" v="2749" actId="478"/>
          <ac:spMkLst>
            <pc:docMk/>
            <pc:sldMk cId="383958496" sldId="2134804281"/>
            <ac:spMk id="57" creationId="{5166C191-948B-4DBA-805B-CFA30673C6A1}"/>
          </ac:spMkLst>
        </pc:spChg>
        <pc:spChg chg="add mod">
          <ac:chgData name="Mariam Daniela Tristancho Pineda (MISION TEMPORAL LTDA)" userId="a45a17f7-7950-4cb5-bfab-f5c894f959a9" providerId="ADAL" clId="{9D150B60-33B5-4A3E-8123-A67E35AA8D44}" dt="2020-07-24T19:24:33.838" v="5210" actId="20577"/>
          <ac:spMkLst>
            <pc:docMk/>
            <pc:sldMk cId="383958496" sldId="2134804281"/>
            <ac:spMk id="58" creationId="{87C0C219-147A-4233-AEBD-D8B263DF2912}"/>
          </ac:spMkLst>
        </pc:spChg>
        <pc:spChg chg="del mod">
          <ac:chgData name="Mariam Daniela Tristancho Pineda (MISION TEMPORAL LTDA)" userId="a45a17f7-7950-4cb5-bfab-f5c894f959a9" providerId="ADAL" clId="{9D150B60-33B5-4A3E-8123-A67E35AA8D44}" dt="2020-07-10T15:53:45.695" v="2748" actId="478"/>
          <ac:spMkLst>
            <pc:docMk/>
            <pc:sldMk cId="383958496" sldId="2134804281"/>
            <ac:spMk id="59" creationId="{59ACAE5A-D20F-4C0C-AF16-1F585FF5F4FE}"/>
          </ac:spMkLst>
        </pc:spChg>
        <pc:spChg chg="add mod">
          <ac:chgData name="Mariam Daniela Tristancho Pineda (MISION TEMPORAL LTDA)" userId="a45a17f7-7950-4cb5-bfab-f5c894f959a9" providerId="ADAL" clId="{9D150B60-33B5-4A3E-8123-A67E35AA8D44}" dt="2020-07-10T15:54:23.812" v="2788" actId="552"/>
          <ac:spMkLst>
            <pc:docMk/>
            <pc:sldMk cId="383958496" sldId="2134804281"/>
            <ac:spMk id="60" creationId="{416DD046-D9EC-437D-B3C4-49AE6F9E8B1B}"/>
          </ac:spMkLst>
        </pc:spChg>
        <pc:spChg chg="add mod">
          <ac:chgData name="Mariam Daniela Tristancho Pineda (MISION TEMPORAL LTDA)" userId="a45a17f7-7950-4cb5-bfab-f5c894f959a9" providerId="ADAL" clId="{9D150B60-33B5-4A3E-8123-A67E35AA8D44}" dt="2020-07-24T19:24:35.750" v="5212" actId="20577"/>
          <ac:spMkLst>
            <pc:docMk/>
            <pc:sldMk cId="383958496" sldId="2134804281"/>
            <ac:spMk id="61" creationId="{7C69D657-65A5-4E1B-8464-4A04E7AFC334}"/>
          </ac:spMkLst>
        </pc:spChg>
        <pc:spChg chg="add mod">
          <ac:chgData name="Mariam Daniela Tristancho Pineda (MISION TEMPORAL LTDA)" userId="a45a17f7-7950-4cb5-bfab-f5c894f959a9" providerId="ADAL" clId="{9D150B60-33B5-4A3E-8123-A67E35AA8D44}" dt="2020-07-10T15:54:41.436" v="2790" actId="12788"/>
          <ac:spMkLst>
            <pc:docMk/>
            <pc:sldMk cId="383958496" sldId="2134804281"/>
            <ac:spMk id="62" creationId="{CAD53C17-134A-4DBD-B578-EF435A01FB3F}"/>
          </ac:spMkLst>
        </pc:spChg>
        <pc:spChg chg="mod">
          <ac:chgData name="Mariam Daniela Tristancho Pineda (MISION TEMPORAL LTDA)" userId="a45a17f7-7950-4cb5-bfab-f5c894f959a9" providerId="ADAL" clId="{9D150B60-33B5-4A3E-8123-A67E35AA8D44}" dt="2020-07-10T15:38:33.008" v="2365" actId="1035"/>
          <ac:spMkLst>
            <pc:docMk/>
            <pc:sldMk cId="383958496" sldId="2134804281"/>
            <ac:spMk id="63" creationId="{FDF3B75C-EF94-43C4-8C4C-4ECAB5FEA69C}"/>
          </ac:spMkLst>
        </pc:spChg>
        <pc:spChg chg="add mod">
          <ac:chgData name="Mariam Daniela Tristancho Pineda (MISION TEMPORAL LTDA)" userId="a45a17f7-7950-4cb5-bfab-f5c894f959a9" providerId="ADAL" clId="{9D150B60-33B5-4A3E-8123-A67E35AA8D44}" dt="2020-07-10T15:54:30.069" v="2789" actId="552"/>
          <ac:spMkLst>
            <pc:docMk/>
            <pc:sldMk cId="383958496" sldId="2134804281"/>
            <ac:spMk id="64" creationId="{61CFA38E-1F3E-49A0-A330-E5F97D5B2A01}"/>
          </ac:spMkLst>
        </pc:spChg>
        <pc:spChg chg="add mod">
          <ac:chgData name="Mariam Daniela Tristancho Pineda (MISION TEMPORAL LTDA)" userId="a45a17f7-7950-4cb5-bfab-f5c894f959a9" providerId="ADAL" clId="{9D150B60-33B5-4A3E-8123-A67E35AA8D44}" dt="2020-07-10T15:54:30.069" v="2789" actId="552"/>
          <ac:spMkLst>
            <pc:docMk/>
            <pc:sldMk cId="383958496" sldId="2134804281"/>
            <ac:spMk id="65" creationId="{E1D02522-5753-4EFB-951A-5755483EDD96}"/>
          </ac:spMkLst>
        </pc:spChg>
        <pc:spChg chg="add mod">
          <ac:chgData name="Mariam Daniela Tristancho Pineda (MISION TEMPORAL LTDA)" userId="a45a17f7-7950-4cb5-bfab-f5c894f959a9" providerId="ADAL" clId="{9D150B60-33B5-4A3E-8123-A67E35AA8D44}" dt="2020-07-24T19:24:42.185" v="5214" actId="20577"/>
          <ac:spMkLst>
            <pc:docMk/>
            <pc:sldMk cId="383958496" sldId="2134804281"/>
            <ac:spMk id="66" creationId="{6F85F403-E123-4C2D-A378-CDAFE968B9D9}"/>
          </ac:spMkLst>
        </pc:spChg>
        <pc:spChg chg="add mod">
          <ac:chgData name="Mariam Daniela Tristancho Pineda (MISION TEMPORAL LTDA)" userId="a45a17f7-7950-4cb5-bfab-f5c894f959a9" providerId="ADAL" clId="{9D150B60-33B5-4A3E-8123-A67E35AA8D44}" dt="2020-07-10T15:54:23.812" v="2788" actId="552"/>
          <ac:spMkLst>
            <pc:docMk/>
            <pc:sldMk cId="383958496" sldId="2134804281"/>
            <ac:spMk id="67" creationId="{4CC8DF42-E8CE-4AEA-AF20-116C630E45ED}"/>
          </ac:spMkLst>
        </pc:spChg>
        <pc:spChg chg="add mod">
          <ac:chgData name="Mariam Daniela Tristancho Pineda (MISION TEMPORAL LTDA)" userId="a45a17f7-7950-4cb5-bfab-f5c894f959a9" providerId="ADAL" clId="{9D150B60-33B5-4A3E-8123-A67E35AA8D44}" dt="2020-07-24T19:24:44.073" v="5216" actId="20577"/>
          <ac:spMkLst>
            <pc:docMk/>
            <pc:sldMk cId="383958496" sldId="2134804281"/>
            <ac:spMk id="68" creationId="{8B5ED806-B54B-4057-B826-24314EC1F9B8}"/>
          </ac:spMkLst>
        </pc:spChg>
        <pc:spChg chg="add mod">
          <ac:chgData name="Mariam Daniela Tristancho Pineda (MISION TEMPORAL LTDA)" userId="a45a17f7-7950-4cb5-bfab-f5c894f959a9" providerId="ADAL" clId="{9D150B60-33B5-4A3E-8123-A67E35AA8D44}" dt="2020-07-10T15:54:41.436" v="2790" actId="12788"/>
          <ac:spMkLst>
            <pc:docMk/>
            <pc:sldMk cId="383958496" sldId="2134804281"/>
            <ac:spMk id="69" creationId="{5A5074EC-7041-463A-BA61-7944DB963505}"/>
          </ac:spMkLst>
        </pc:spChg>
        <pc:spChg chg="add mod">
          <ac:chgData name="Mariam Daniela Tristancho Pineda (MISION TEMPORAL LTDA)" userId="a45a17f7-7950-4cb5-bfab-f5c894f959a9" providerId="ADAL" clId="{9D150B60-33B5-4A3E-8123-A67E35AA8D44}" dt="2020-07-24T19:25:26.795" v="5221" actId="13926"/>
          <ac:spMkLst>
            <pc:docMk/>
            <pc:sldMk cId="383958496" sldId="2134804281"/>
            <ac:spMk id="70" creationId="{A549087F-0234-4CF2-AA9A-E2B491A99CF5}"/>
          </ac:spMkLst>
        </pc:spChg>
        <pc:spChg chg="mod">
          <ac:chgData name="Mariam Daniela Tristancho Pineda (MISION TEMPORAL LTDA)" userId="a45a17f7-7950-4cb5-bfab-f5c894f959a9" providerId="ADAL" clId="{9D150B60-33B5-4A3E-8123-A67E35AA8D44}" dt="2020-07-10T15:38:50.090" v="2387" actId="20577"/>
          <ac:spMkLst>
            <pc:docMk/>
            <pc:sldMk cId="383958496" sldId="2134804281"/>
            <ac:spMk id="79" creationId="{7A485175-A5E8-48E7-8A26-808AC78F05FA}"/>
          </ac:spMkLst>
        </pc:spChg>
        <pc:spChg chg="del mod">
          <ac:chgData name="Mariam Daniela Tristancho Pineda (MISION TEMPORAL LTDA)" userId="a45a17f7-7950-4cb5-bfab-f5c894f959a9" providerId="ADAL" clId="{9D150B60-33B5-4A3E-8123-A67E35AA8D44}" dt="2020-07-10T15:38:39.511" v="2373" actId="478"/>
          <ac:spMkLst>
            <pc:docMk/>
            <pc:sldMk cId="383958496" sldId="2134804281"/>
            <ac:spMk id="81" creationId="{4416B739-7594-4F6B-8C2D-E62439A38A83}"/>
          </ac:spMkLst>
        </pc:spChg>
        <pc:graphicFrameChg chg="mod modGraphic">
          <ac:chgData name="Mariam Daniela Tristancho Pineda (MISION TEMPORAL LTDA)" userId="a45a17f7-7950-4cb5-bfab-f5c894f959a9" providerId="ADAL" clId="{9D150B60-33B5-4A3E-8123-A67E35AA8D44}" dt="2020-07-24T19:24:48.563" v="5217" actId="2165"/>
          <ac:graphicFrameMkLst>
            <pc:docMk/>
            <pc:sldMk cId="383958496" sldId="2134804281"/>
            <ac:graphicFrameMk id="7" creationId="{C866CA4D-9ED5-4A67-9BF0-26C15AE2AA2C}"/>
          </ac:graphicFrameMkLst>
        </pc:graphicFrameChg>
        <pc:graphicFrameChg chg="del mod modGraphic">
          <ac:chgData name="Mariam Daniela Tristancho Pineda (MISION TEMPORAL LTDA)" userId="a45a17f7-7950-4cb5-bfab-f5c894f959a9" providerId="ADAL" clId="{9D150B60-33B5-4A3E-8123-A67E35AA8D44}" dt="2020-07-10T15:37:06.082" v="2202" actId="478"/>
          <ac:graphicFrameMkLst>
            <pc:docMk/>
            <pc:sldMk cId="383958496" sldId="2134804281"/>
            <ac:graphicFrameMk id="8" creationId="{4BC9CEDC-F82B-45AF-A5D9-6BBEFDB86658}"/>
          </ac:graphicFrameMkLst>
        </pc:graphicFrameChg>
        <pc:graphicFrameChg chg="del mod">
          <ac:chgData name="Mariam Daniela Tristancho Pineda (MISION TEMPORAL LTDA)" userId="a45a17f7-7950-4cb5-bfab-f5c894f959a9" providerId="ADAL" clId="{9D150B60-33B5-4A3E-8123-A67E35AA8D44}" dt="2020-07-10T15:37:25.258" v="2294" actId="478"/>
          <ac:graphicFrameMkLst>
            <pc:docMk/>
            <pc:sldMk cId="383958496" sldId="2134804281"/>
            <ac:graphicFrameMk id="23" creationId="{4A6183BD-07A2-48B0-BF8F-A726175DDCE8}"/>
          </ac:graphicFrameMkLst>
        </pc:graphicFrameChg>
        <pc:graphicFrameChg chg="del mod">
          <ac:chgData name="Mariam Daniela Tristancho Pineda (MISION TEMPORAL LTDA)" userId="a45a17f7-7950-4cb5-bfab-f5c894f959a9" providerId="ADAL" clId="{9D150B60-33B5-4A3E-8123-A67E35AA8D44}" dt="2020-07-10T15:37:21.445" v="2293" actId="478"/>
          <ac:graphicFrameMkLst>
            <pc:docMk/>
            <pc:sldMk cId="383958496" sldId="2134804281"/>
            <ac:graphicFrameMk id="34" creationId="{02B2869B-7E4D-490B-8846-042149DA7C69}"/>
          </ac:graphicFrameMkLst>
        </pc:graphicFrameChg>
        <pc:graphicFrameChg chg="add mod modGraphic">
          <ac:chgData name="Mariam Daniela Tristancho Pineda (MISION TEMPORAL LTDA)" userId="a45a17f7-7950-4cb5-bfab-f5c894f959a9" providerId="ADAL" clId="{9D150B60-33B5-4A3E-8123-A67E35AA8D44}" dt="2020-07-26T22:27:23.879" v="8958" actId="20577"/>
          <ac:graphicFrameMkLst>
            <pc:docMk/>
            <pc:sldMk cId="383958496" sldId="2134804281"/>
            <ac:graphicFrameMk id="35" creationId="{D6562056-B40E-47F9-9726-6C4C21F304AB}"/>
          </ac:graphicFrameMkLst>
        </pc:graphicFrameChg>
        <pc:graphicFrameChg chg="del mod">
          <ac:chgData name="Mariam Daniela Tristancho Pineda (MISION TEMPORAL LTDA)" userId="a45a17f7-7950-4cb5-bfab-f5c894f959a9" providerId="ADAL" clId="{9D150B60-33B5-4A3E-8123-A67E35AA8D44}" dt="2020-07-10T15:37:29.060" v="2296" actId="478"/>
          <ac:graphicFrameMkLst>
            <pc:docMk/>
            <pc:sldMk cId="383958496" sldId="2134804281"/>
            <ac:graphicFrameMk id="39" creationId="{5B59E694-0DBE-4A0B-901D-BEC487255BF4}"/>
          </ac:graphicFrameMkLst>
        </pc:graphicFrameChg>
        <pc:graphicFrameChg chg="del mod">
          <ac:chgData name="Mariam Daniela Tristancho Pineda (MISION TEMPORAL LTDA)" userId="a45a17f7-7950-4cb5-bfab-f5c894f959a9" providerId="ADAL" clId="{9D150B60-33B5-4A3E-8123-A67E35AA8D44}" dt="2020-07-10T15:37:18.071" v="2292" actId="478"/>
          <ac:graphicFrameMkLst>
            <pc:docMk/>
            <pc:sldMk cId="383958496" sldId="2134804281"/>
            <ac:graphicFrameMk id="42" creationId="{F76758D9-DF29-4C65-8046-FB9AE5C702A6}"/>
          </ac:graphicFrameMkLst>
        </pc:graphicFrameChg>
        <pc:graphicFrameChg chg="del mod">
          <ac:chgData name="Mariam Daniela Tristancho Pineda (MISION TEMPORAL LTDA)" userId="a45a17f7-7950-4cb5-bfab-f5c894f959a9" providerId="ADAL" clId="{9D150B60-33B5-4A3E-8123-A67E35AA8D44}" dt="2020-07-10T15:37:26.672" v="2295" actId="478"/>
          <ac:graphicFrameMkLst>
            <pc:docMk/>
            <pc:sldMk cId="383958496" sldId="2134804281"/>
            <ac:graphicFrameMk id="49" creationId="{F9FEDD4D-029E-496C-B3C1-822EC9768199}"/>
          </ac:graphicFrameMkLst>
        </pc:graphicFrameChg>
        <pc:graphicFrameChg chg="del mod">
          <ac:chgData name="Mariam Daniela Tristancho Pineda (MISION TEMPORAL LTDA)" userId="a45a17f7-7950-4cb5-bfab-f5c894f959a9" providerId="ADAL" clId="{9D150B60-33B5-4A3E-8123-A67E35AA8D44}" dt="2020-07-10T15:37:30.898" v="2297" actId="478"/>
          <ac:graphicFrameMkLst>
            <pc:docMk/>
            <pc:sldMk cId="383958496" sldId="2134804281"/>
            <ac:graphicFrameMk id="53" creationId="{9B5BC4FB-678A-4BCC-A7C0-7BBC44F26319}"/>
          </ac:graphicFrameMkLst>
        </pc:graphicFrameChg>
        <pc:graphicFrameChg chg="del mod">
          <ac:chgData name="Mariam Daniela Tristancho Pineda (MISION TEMPORAL LTDA)" userId="a45a17f7-7950-4cb5-bfab-f5c894f959a9" providerId="ADAL" clId="{9D150B60-33B5-4A3E-8123-A67E35AA8D44}" dt="2020-07-10T15:48:45.801" v="2728" actId="478"/>
          <ac:graphicFrameMkLst>
            <pc:docMk/>
            <pc:sldMk cId="383958496" sldId="2134804281"/>
            <ac:graphicFrameMk id="56" creationId="{8CFF7275-2CFD-476E-AC6D-F148C64CF6BF}"/>
          </ac:graphicFrameMkLst>
        </pc:graphicFrameChg>
        <pc:cxnChg chg="mod">
          <ac:chgData name="Mariam Daniela Tristancho Pineda (MISION TEMPORAL LTDA)" userId="a45a17f7-7950-4cb5-bfab-f5c894f959a9" providerId="ADAL" clId="{9D150B60-33B5-4A3E-8123-A67E35AA8D44}" dt="2020-07-10T00:21:57.352" v="1204" actId="2711"/>
          <ac:cxnSpMkLst>
            <pc:docMk/>
            <pc:sldMk cId="383958496" sldId="2134804281"/>
            <ac:cxnSpMk id="5" creationId="{017DAD00-B855-4E39-8DE1-7636A3DDFC9D}"/>
          </ac:cxnSpMkLst>
        </pc:cxnChg>
      </pc:sldChg>
      <pc:sldChg chg="addSp modSp del">
        <pc:chgData name="Mariam Daniela Tristancho Pineda (MISION TEMPORAL LTDA)" userId="a45a17f7-7950-4cb5-bfab-f5c894f959a9" providerId="ADAL" clId="{9D150B60-33B5-4A3E-8123-A67E35AA8D44}" dt="2020-07-10T15:55:21.858" v="2804" actId="47"/>
        <pc:sldMkLst>
          <pc:docMk/>
          <pc:sldMk cId="4094272692" sldId="2134804282"/>
        </pc:sldMkLst>
        <pc:spChg chg="add mod">
          <ac:chgData name="Mariam Daniela Tristancho Pineda (MISION TEMPORAL LTDA)" userId="a45a17f7-7950-4cb5-bfab-f5c894f959a9" providerId="ADAL" clId="{9D150B60-33B5-4A3E-8123-A67E35AA8D44}" dt="2020-07-10T00:24:23.764" v="1268"/>
          <ac:spMkLst>
            <pc:docMk/>
            <pc:sldMk cId="4094272692" sldId="2134804282"/>
            <ac:spMk id="43" creationId="{7E37C56E-1AD4-454F-B61C-47D9500167F9}"/>
          </ac:spMkLst>
        </pc:spChg>
      </pc:sldChg>
      <pc:sldChg chg="addSp delSp modSp mod ord">
        <pc:chgData name="Mariam Daniela Tristancho Pineda (MISION TEMPORAL LTDA)" userId="a45a17f7-7950-4cb5-bfab-f5c894f959a9" providerId="ADAL" clId="{9D150B60-33B5-4A3E-8123-A67E35AA8D44}" dt="2020-07-28T15:01:37.727" v="19906"/>
        <pc:sldMkLst>
          <pc:docMk/>
          <pc:sldMk cId="2275827461" sldId="2134804285"/>
        </pc:sldMkLst>
        <pc:spChg chg="add del mod">
          <ac:chgData name="Mariam Daniela Tristancho Pineda (MISION TEMPORAL LTDA)" userId="a45a17f7-7950-4cb5-bfab-f5c894f959a9" providerId="ADAL" clId="{9D150B60-33B5-4A3E-8123-A67E35AA8D44}" dt="2020-07-10T00:13:22.606" v="1011" actId="478"/>
          <ac:spMkLst>
            <pc:docMk/>
            <pc:sldMk cId="2275827461" sldId="2134804285"/>
            <ac:spMk id="13" creationId="{D19CC98A-58A9-49CC-ABD9-BEECE4DFA5E3}"/>
          </ac:spMkLst>
        </pc:spChg>
        <pc:spChg chg="add del mod">
          <ac:chgData name="Mariam Daniela Tristancho Pineda (MISION TEMPORAL LTDA)" userId="a45a17f7-7950-4cb5-bfab-f5c894f959a9" providerId="ADAL" clId="{9D150B60-33B5-4A3E-8123-A67E35AA8D44}" dt="2020-07-10T00:13:51.948" v="1013"/>
          <ac:spMkLst>
            <pc:docMk/>
            <pc:sldMk cId="2275827461" sldId="2134804285"/>
            <ac:spMk id="14" creationId="{D61F5B8D-7F7A-434C-9BAD-9A223528520C}"/>
          </ac:spMkLst>
        </pc:spChg>
        <pc:spChg chg="add del mod">
          <ac:chgData name="Mariam Daniela Tristancho Pineda (MISION TEMPORAL LTDA)" userId="a45a17f7-7950-4cb5-bfab-f5c894f959a9" providerId="ADAL" clId="{9D150B60-33B5-4A3E-8123-A67E35AA8D44}" dt="2020-07-10T00:13:51.948" v="1013"/>
          <ac:spMkLst>
            <pc:docMk/>
            <pc:sldMk cId="2275827461" sldId="2134804285"/>
            <ac:spMk id="15" creationId="{DDB8AC60-6664-4D26-A9C6-01D8D38CE8FD}"/>
          </ac:spMkLst>
        </pc:spChg>
        <pc:spChg chg="add del mod">
          <ac:chgData name="Mariam Daniela Tristancho Pineda (MISION TEMPORAL LTDA)" userId="a45a17f7-7950-4cb5-bfab-f5c894f959a9" providerId="ADAL" clId="{9D150B60-33B5-4A3E-8123-A67E35AA8D44}" dt="2020-07-10T00:13:51.948" v="1013"/>
          <ac:spMkLst>
            <pc:docMk/>
            <pc:sldMk cId="2275827461" sldId="2134804285"/>
            <ac:spMk id="16" creationId="{9F040BA7-7DEC-4DC5-AB68-7C722B5BB048}"/>
          </ac:spMkLst>
        </pc:spChg>
        <pc:spChg chg="add del mod">
          <ac:chgData name="Mariam Daniela Tristancho Pineda (MISION TEMPORAL LTDA)" userId="a45a17f7-7950-4cb5-bfab-f5c894f959a9" providerId="ADAL" clId="{9D150B60-33B5-4A3E-8123-A67E35AA8D44}" dt="2020-07-10T00:13:51.948" v="1013"/>
          <ac:spMkLst>
            <pc:docMk/>
            <pc:sldMk cId="2275827461" sldId="2134804285"/>
            <ac:spMk id="17" creationId="{61728F84-7867-4F1D-9BFE-00AEAF30695A}"/>
          </ac:spMkLst>
        </pc:spChg>
        <pc:spChg chg="add del mod">
          <ac:chgData name="Mariam Daniela Tristancho Pineda (MISION TEMPORAL LTDA)" userId="a45a17f7-7950-4cb5-bfab-f5c894f959a9" providerId="ADAL" clId="{9D150B60-33B5-4A3E-8123-A67E35AA8D44}" dt="2020-07-10T00:13:51.948" v="1013"/>
          <ac:spMkLst>
            <pc:docMk/>
            <pc:sldMk cId="2275827461" sldId="2134804285"/>
            <ac:spMk id="18" creationId="{AF29ABB6-15D6-4B90-BAD8-7F9885E93125}"/>
          </ac:spMkLst>
        </pc:spChg>
        <pc:spChg chg="add del mod">
          <ac:chgData name="Mariam Daniela Tristancho Pineda (MISION TEMPORAL LTDA)" userId="a45a17f7-7950-4cb5-bfab-f5c894f959a9" providerId="ADAL" clId="{9D150B60-33B5-4A3E-8123-A67E35AA8D44}" dt="2020-07-10T00:13:51.948" v="1013"/>
          <ac:spMkLst>
            <pc:docMk/>
            <pc:sldMk cId="2275827461" sldId="2134804285"/>
            <ac:spMk id="19" creationId="{8DCC61BE-CC87-4D0D-9E0E-65D1A81DAD03}"/>
          </ac:spMkLst>
        </pc:spChg>
        <pc:spChg chg="del">
          <ac:chgData name="Mariam Daniela Tristancho Pineda (MISION TEMPORAL LTDA)" userId="a45a17f7-7950-4cb5-bfab-f5c894f959a9" providerId="ADAL" clId="{9D150B60-33B5-4A3E-8123-A67E35AA8D44}" dt="2020-07-10T00:13:52.818" v="1014" actId="478"/>
          <ac:spMkLst>
            <pc:docMk/>
            <pc:sldMk cId="2275827461" sldId="2134804285"/>
            <ac:spMk id="20" creationId="{50DAA493-1B46-4D68-99FD-F9BDA2477D9B}"/>
          </ac:spMkLst>
        </pc:spChg>
        <pc:spChg chg="del">
          <ac:chgData name="Mariam Daniela Tristancho Pineda (MISION TEMPORAL LTDA)" userId="a45a17f7-7950-4cb5-bfab-f5c894f959a9" providerId="ADAL" clId="{9D150B60-33B5-4A3E-8123-A67E35AA8D44}" dt="2020-07-10T00:13:52.818" v="1014" actId="478"/>
          <ac:spMkLst>
            <pc:docMk/>
            <pc:sldMk cId="2275827461" sldId="2134804285"/>
            <ac:spMk id="21" creationId="{FCFE65B7-3A35-4722-84A8-FEC6DADDBA49}"/>
          </ac:spMkLst>
        </pc:spChg>
        <pc:spChg chg="del">
          <ac:chgData name="Mariam Daniela Tristancho Pineda (MISION TEMPORAL LTDA)" userId="a45a17f7-7950-4cb5-bfab-f5c894f959a9" providerId="ADAL" clId="{9D150B60-33B5-4A3E-8123-A67E35AA8D44}" dt="2020-07-10T00:13:52.818" v="1014" actId="478"/>
          <ac:spMkLst>
            <pc:docMk/>
            <pc:sldMk cId="2275827461" sldId="2134804285"/>
            <ac:spMk id="22" creationId="{7565957D-73CC-497F-A9EE-BA5F2A79250A}"/>
          </ac:spMkLst>
        </pc:spChg>
        <pc:spChg chg="del">
          <ac:chgData name="Mariam Daniela Tristancho Pineda (MISION TEMPORAL LTDA)" userId="a45a17f7-7950-4cb5-bfab-f5c894f959a9" providerId="ADAL" clId="{9D150B60-33B5-4A3E-8123-A67E35AA8D44}" dt="2020-07-10T00:13:52.818" v="1014" actId="478"/>
          <ac:spMkLst>
            <pc:docMk/>
            <pc:sldMk cId="2275827461" sldId="2134804285"/>
            <ac:spMk id="23" creationId="{2090C287-4A91-45B9-8277-A5A2EF2B34A0}"/>
          </ac:spMkLst>
        </pc:spChg>
        <pc:spChg chg="add del mod">
          <ac:chgData name="Mariam Daniela Tristancho Pineda (MISION TEMPORAL LTDA)" userId="a45a17f7-7950-4cb5-bfab-f5c894f959a9" providerId="ADAL" clId="{9D150B60-33B5-4A3E-8123-A67E35AA8D44}" dt="2020-07-10T00:13:51.948" v="1013"/>
          <ac:spMkLst>
            <pc:docMk/>
            <pc:sldMk cId="2275827461" sldId="2134804285"/>
            <ac:spMk id="24" creationId="{E2879BF4-3737-4AC6-B465-1CF1AF3E1F9C}"/>
          </ac:spMkLst>
        </pc:spChg>
        <pc:spChg chg="del">
          <ac:chgData name="Mariam Daniela Tristancho Pineda (MISION TEMPORAL LTDA)" userId="a45a17f7-7950-4cb5-bfab-f5c894f959a9" providerId="ADAL" clId="{9D150B60-33B5-4A3E-8123-A67E35AA8D44}" dt="2020-07-10T00:13:52.818" v="1014" actId="478"/>
          <ac:spMkLst>
            <pc:docMk/>
            <pc:sldMk cId="2275827461" sldId="2134804285"/>
            <ac:spMk id="25" creationId="{8E78EDE9-40A1-48AE-9549-373B04A21BE1}"/>
          </ac:spMkLst>
        </pc:spChg>
        <pc:spChg chg="del">
          <ac:chgData name="Mariam Daniela Tristancho Pineda (MISION TEMPORAL LTDA)" userId="a45a17f7-7950-4cb5-bfab-f5c894f959a9" providerId="ADAL" clId="{9D150B60-33B5-4A3E-8123-A67E35AA8D44}" dt="2020-07-10T00:13:52.818" v="1014" actId="478"/>
          <ac:spMkLst>
            <pc:docMk/>
            <pc:sldMk cId="2275827461" sldId="2134804285"/>
            <ac:spMk id="26" creationId="{DDE70F6C-1ADB-475F-BE97-D0A8A27E8FE6}"/>
          </ac:spMkLst>
        </pc:spChg>
        <pc:spChg chg="del">
          <ac:chgData name="Mariam Daniela Tristancho Pineda (MISION TEMPORAL LTDA)" userId="a45a17f7-7950-4cb5-bfab-f5c894f959a9" providerId="ADAL" clId="{9D150B60-33B5-4A3E-8123-A67E35AA8D44}" dt="2020-07-10T00:13:52.818" v="1014" actId="478"/>
          <ac:spMkLst>
            <pc:docMk/>
            <pc:sldMk cId="2275827461" sldId="2134804285"/>
            <ac:spMk id="27" creationId="{C90699C9-D1A5-4C87-8409-4DD5B288FE4D}"/>
          </ac:spMkLst>
        </pc:spChg>
        <pc:spChg chg="add mod">
          <ac:chgData name="Mariam Daniela Tristancho Pineda (MISION TEMPORAL LTDA)" userId="a45a17f7-7950-4cb5-bfab-f5c894f959a9" providerId="ADAL" clId="{9D150B60-33B5-4A3E-8123-A67E35AA8D44}" dt="2020-07-26T22:30:15.683" v="8976" actId="1036"/>
          <ac:spMkLst>
            <pc:docMk/>
            <pc:sldMk cId="2275827461" sldId="2134804285"/>
            <ac:spMk id="28" creationId="{BC582D1C-62FB-462B-8D05-EC8322DDD140}"/>
          </ac:spMkLst>
        </pc:spChg>
        <pc:spChg chg="add mod">
          <ac:chgData name="Mariam Daniela Tristancho Pineda (MISION TEMPORAL LTDA)" userId="a45a17f7-7950-4cb5-bfab-f5c894f959a9" providerId="ADAL" clId="{9D150B60-33B5-4A3E-8123-A67E35AA8D44}" dt="2020-07-26T22:30:15.683" v="8976" actId="1036"/>
          <ac:spMkLst>
            <pc:docMk/>
            <pc:sldMk cId="2275827461" sldId="2134804285"/>
            <ac:spMk id="29" creationId="{E50D154A-11C9-4F63-9394-5EF2467B56BE}"/>
          </ac:spMkLst>
        </pc:spChg>
        <pc:spChg chg="add mod">
          <ac:chgData name="Mariam Daniela Tristancho Pineda (MISION TEMPORAL LTDA)" userId="a45a17f7-7950-4cb5-bfab-f5c894f959a9" providerId="ADAL" clId="{9D150B60-33B5-4A3E-8123-A67E35AA8D44}" dt="2020-07-26T22:30:15.683" v="8976" actId="1036"/>
          <ac:spMkLst>
            <pc:docMk/>
            <pc:sldMk cId="2275827461" sldId="2134804285"/>
            <ac:spMk id="30" creationId="{C156CE3D-16EE-49EE-904D-71080266C6E9}"/>
          </ac:spMkLst>
        </pc:spChg>
        <pc:spChg chg="add mod">
          <ac:chgData name="Mariam Daniela Tristancho Pineda (MISION TEMPORAL LTDA)" userId="a45a17f7-7950-4cb5-bfab-f5c894f959a9" providerId="ADAL" clId="{9D150B60-33B5-4A3E-8123-A67E35AA8D44}" dt="2020-07-26T22:30:15.683" v="8976" actId="1036"/>
          <ac:spMkLst>
            <pc:docMk/>
            <pc:sldMk cId="2275827461" sldId="2134804285"/>
            <ac:spMk id="31" creationId="{2C51724D-07D9-4B33-AD6D-C2F7A19ED4B9}"/>
          </ac:spMkLst>
        </pc:spChg>
        <pc:spChg chg="add mod">
          <ac:chgData name="Mariam Daniela Tristancho Pineda (MISION TEMPORAL LTDA)" userId="a45a17f7-7950-4cb5-bfab-f5c894f959a9" providerId="ADAL" clId="{9D150B60-33B5-4A3E-8123-A67E35AA8D44}" dt="2020-07-26T22:30:15.683" v="8976" actId="1036"/>
          <ac:spMkLst>
            <pc:docMk/>
            <pc:sldMk cId="2275827461" sldId="2134804285"/>
            <ac:spMk id="32" creationId="{64896952-16ED-4D8B-AA4F-E2066AC31EB5}"/>
          </ac:spMkLst>
        </pc:spChg>
        <pc:spChg chg="add mod">
          <ac:chgData name="Mariam Daniela Tristancho Pineda (MISION TEMPORAL LTDA)" userId="a45a17f7-7950-4cb5-bfab-f5c894f959a9" providerId="ADAL" clId="{9D150B60-33B5-4A3E-8123-A67E35AA8D44}" dt="2020-07-26T22:30:15.683" v="8976" actId="1036"/>
          <ac:spMkLst>
            <pc:docMk/>
            <pc:sldMk cId="2275827461" sldId="2134804285"/>
            <ac:spMk id="33" creationId="{43ADCF73-71A7-4D57-A570-ED4DC3C68FA6}"/>
          </ac:spMkLst>
        </pc:spChg>
        <pc:spChg chg="add mod">
          <ac:chgData name="Mariam Daniela Tristancho Pineda (MISION TEMPORAL LTDA)" userId="a45a17f7-7950-4cb5-bfab-f5c894f959a9" providerId="ADAL" clId="{9D150B60-33B5-4A3E-8123-A67E35AA8D44}" dt="2020-07-26T22:30:15.683" v="8976" actId="1036"/>
          <ac:spMkLst>
            <pc:docMk/>
            <pc:sldMk cId="2275827461" sldId="2134804285"/>
            <ac:spMk id="34" creationId="{93EEA888-40E1-47F9-9D02-1BAAFE6CDE50}"/>
          </ac:spMkLst>
        </pc:spChg>
        <pc:spChg chg="add del mod">
          <ac:chgData name="Mariam Daniela Tristancho Pineda (MISION TEMPORAL LTDA)" userId="a45a17f7-7950-4cb5-bfab-f5c894f959a9" providerId="ADAL" clId="{9D150B60-33B5-4A3E-8123-A67E35AA8D44}" dt="2020-07-10T00:22:22.731" v="1209" actId="478"/>
          <ac:spMkLst>
            <pc:docMk/>
            <pc:sldMk cId="2275827461" sldId="2134804285"/>
            <ac:spMk id="35" creationId="{C635686A-F62E-4B36-9B0E-829B69C40B6E}"/>
          </ac:spMkLst>
        </pc:spChg>
        <pc:spChg chg="mod">
          <ac:chgData name="Mariam Daniela Tristancho Pineda (MISION TEMPORAL LTDA)" userId="a45a17f7-7950-4cb5-bfab-f5c894f959a9" providerId="ADAL" clId="{9D150B60-33B5-4A3E-8123-A67E35AA8D44}" dt="2020-07-10T00:22:29.205" v="1212" actId="20577"/>
          <ac:spMkLst>
            <pc:docMk/>
            <pc:sldMk cId="2275827461" sldId="2134804285"/>
            <ac:spMk id="55" creationId="{71D2E868-A54D-4479-B446-29F9C50FDEA5}"/>
          </ac:spMkLst>
        </pc:spChg>
      </pc:sldChg>
      <pc:sldChg chg="addSp delSp modSp add del mod ord">
        <pc:chgData name="Mariam Daniela Tristancho Pineda (MISION TEMPORAL LTDA)" userId="a45a17f7-7950-4cb5-bfab-f5c894f959a9" providerId="ADAL" clId="{9D150B60-33B5-4A3E-8123-A67E35AA8D44}" dt="2020-07-24T19:56:13.400" v="6001" actId="47"/>
        <pc:sldMkLst>
          <pc:docMk/>
          <pc:sldMk cId="3055166102" sldId="2134804286"/>
        </pc:sldMkLst>
        <pc:spChg chg="add mod">
          <ac:chgData name="Mariam Daniela Tristancho Pineda (MISION TEMPORAL LTDA)" userId="a45a17f7-7950-4cb5-bfab-f5c894f959a9" providerId="ADAL" clId="{9D150B60-33B5-4A3E-8123-A67E35AA8D44}" dt="2020-07-10T00:38:30.304" v="1800" actId="20577"/>
          <ac:spMkLst>
            <pc:docMk/>
            <pc:sldMk cId="3055166102" sldId="2134804286"/>
            <ac:spMk id="13" creationId="{33B65FF6-B39D-45B1-AB23-3C66F0DEA0D2}"/>
          </ac:spMkLst>
        </pc:spChg>
        <pc:spChg chg="add mod">
          <ac:chgData name="Mariam Daniela Tristancho Pineda (MISION TEMPORAL LTDA)" userId="a45a17f7-7950-4cb5-bfab-f5c894f959a9" providerId="ADAL" clId="{9D150B60-33B5-4A3E-8123-A67E35AA8D44}" dt="2020-07-10T00:38:23.989" v="1796"/>
          <ac:spMkLst>
            <pc:docMk/>
            <pc:sldMk cId="3055166102" sldId="2134804286"/>
            <ac:spMk id="14" creationId="{1D58B6D0-ACCB-49AE-8284-7F06120384F1}"/>
          </ac:spMkLst>
        </pc:spChg>
        <pc:spChg chg="add mod">
          <ac:chgData name="Mariam Daniela Tristancho Pineda (MISION TEMPORAL LTDA)" userId="a45a17f7-7950-4cb5-bfab-f5c894f959a9" providerId="ADAL" clId="{9D150B60-33B5-4A3E-8123-A67E35AA8D44}" dt="2020-07-10T15:21:41.576" v="2104" actId="1035"/>
          <ac:spMkLst>
            <pc:docMk/>
            <pc:sldMk cId="3055166102" sldId="2134804286"/>
            <ac:spMk id="15" creationId="{52E094AF-BB5A-4C00-89E7-8185748C66E3}"/>
          </ac:spMkLst>
        </pc:spChg>
        <pc:spChg chg="add mod">
          <ac:chgData name="Mariam Daniela Tristancho Pineda (MISION TEMPORAL LTDA)" userId="a45a17f7-7950-4cb5-bfab-f5c894f959a9" providerId="ADAL" clId="{9D150B60-33B5-4A3E-8123-A67E35AA8D44}" dt="2020-07-10T00:38:23.989" v="1796"/>
          <ac:spMkLst>
            <pc:docMk/>
            <pc:sldMk cId="3055166102" sldId="2134804286"/>
            <ac:spMk id="16" creationId="{F9DFE5BB-6E8B-41AB-8B28-E56E707CA976}"/>
          </ac:spMkLst>
        </pc:spChg>
        <pc:spChg chg="add mod">
          <ac:chgData name="Mariam Daniela Tristancho Pineda (MISION TEMPORAL LTDA)" userId="a45a17f7-7950-4cb5-bfab-f5c894f959a9" providerId="ADAL" clId="{9D150B60-33B5-4A3E-8123-A67E35AA8D44}" dt="2020-07-10T15:21:41.576" v="2104" actId="1035"/>
          <ac:spMkLst>
            <pc:docMk/>
            <pc:sldMk cId="3055166102" sldId="2134804286"/>
            <ac:spMk id="17" creationId="{645161B5-0B35-4100-BA91-3AECF31C989F}"/>
          </ac:spMkLst>
        </pc:spChg>
        <pc:spChg chg="del">
          <ac:chgData name="Mariam Daniela Tristancho Pineda (MISION TEMPORAL LTDA)" userId="a45a17f7-7950-4cb5-bfab-f5c894f959a9" providerId="ADAL" clId="{9D150B60-33B5-4A3E-8123-A67E35AA8D44}" dt="2020-07-10T00:38:23.659" v="1795" actId="478"/>
          <ac:spMkLst>
            <pc:docMk/>
            <pc:sldMk cId="3055166102" sldId="2134804286"/>
            <ac:spMk id="20" creationId="{50DAA493-1B46-4D68-99FD-F9BDA2477D9B}"/>
          </ac:spMkLst>
        </pc:spChg>
        <pc:spChg chg="del">
          <ac:chgData name="Mariam Daniela Tristancho Pineda (MISION TEMPORAL LTDA)" userId="a45a17f7-7950-4cb5-bfab-f5c894f959a9" providerId="ADAL" clId="{9D150B60-33B5-4A3E-8123-A67E35AA8D44}" dt="2020-07-10T00:38:23.659" v="1795" actId="478"/>
          <ac:spMkLst>
            <pc:docMk/>
            <pc:sldMk cId="3055166102" sldId="2134804286"/>
            <ac:spMk id="21" creationId="{FCFE65B7-3A35-4722-84A8-FEC6DADDBA49}"/>
          </ac:spMkLst>
        </pc:spChg>
        <pc:spChg chg="del">
          <ac:chgData name="Mariam Daniela Tristancho Pineda (MISION TEMPORAL LTDA)" userId="a45a17f7-7950-4cb5-bfab-f5c894f959a9" providerId="ADAL" clId="{9D150B60-33B5-4A3E-8123-A67E35AA8D44}" dt="2020-07-10T00:38:23.659" v="1795" actId="478"/>
          <ac:spMkLst>
            <pc:docMk/>
            <pc:sldMk cId="3055166102" sldId="2134804286"/>
            <ac:spMk id="22" creationId="{7565957D-73CC-497F-A9EE-BA5F2A79250A}"/>
          </ac:spMkLst>
        </pc:spChg>
        <pc:spChg chg="del">
          <ac:chgData name="Mariam Daniela Tristancho Pineda (MISION TEMPORAL LTDA)" userId="a45a17f7-7950-4cb5-bfab-f5c894f959a9" providerId="ADAL" clId="{9D150B60-33B5-4A3E-8123-A67E35AA8D44}" dt="2020-07-10T00:38:23.659" v="1795" actId="478"/>
          <ac:spMkLst>
            <pc:docMk/>
            <pc:sldMk cId="3055166102" sldId="2134804286"/>
            <ac:spMk id="23" creationId="{2090C287-4A91-45B9-8277-A5A2EF2B34A0}"/>
          </ac:spMkLst>
        </pc:spChg>
        <pc:spChg chg="del">
          <ac:chgData name="Mariam Daniela Tristancho Pineda (MISION TEMPORAL LTDA)" userId="a45a17f7-7950-4cb5-bfab-f5c894f959a9" providerId="ADAL" clId="{9D150B60-33B5-4A3E-8123-A67E35AA8D44}" dt="2020-07-10T00:38:23.659" v="1795" actId="478"/>
          <ac:spMkLst>
            <pc:docMk/>
            <pc:sldMk cId="3055166102" sldId="2134804286"/>
            <ac:spMk id="25" creationId="{8E78EDE9-40A1-48AE-9549-373B04A21BE1}"/>
          </ac:spMkLst>
        </pc:spChg>
        <pc:spChg chg="del">
          <ac:chgData name="Mariam Daniela Tristancho Pineda (MISION TEMPORAL LTDA)" userId="a45a17f7-7950-4cb5-bfab-f5c894f959a9" providerId="ADAL" clId="{9D150B60-33B5-4A3E-8123-A67E35AA8D44}" dt="2020-07-10T00:38:23.659" v="1795" actId="478"/>
          <ac:spMkLst>
            <pc:docMk/>
            <pc:sldMk cId="3055166102" sldId="2134804286"/>
            <ac:spMk id="26" creationId="{DDE70F6C-1ADB-475F-BE97-D0A8A27E8FE6}"/>
          </ac:spMkLst>
        </pc:spChg>
        <pc:spChg chg="del">
          <ac:chgData name="Mariam Daniela Tristancho Pineda (MISION TEMPORAL LTDA)" userId="a45a17f7-7950-4cb5-bfab-f5c894f959a9" providerId="ADAL" clId="{9D150B60-33B5-4A3E-8123-A67E35AA8D44}" dt="2020-07-10T00:38:23.659" v="1795" actId="478"/>
          <ac:spMkLst>
            <pc:docMk/>
            <pc:sldMk cId="3055166102" sldId="2134804286"/>
            <ac:spMk id="27" creationId="{C90699C9-D1A5-4C87-8409-4DD5B288FE4D}"/>
          </ac:spMkLst>
        </pc:spChg>
        <pc:spChg chg="mod">
          <ac:chgData name="Mariam Daniela Tristancho Pineda (MISION TEMPORAL LTDA)" userId="a45a17f7-7950-4cb5-bfab-f5c894f959a9" providerId="ADAL" clId="{9D150B60-33B5-4A3E-8123-A67E35AA8D44}" dt="2020-07-10T15:57:42.824" v="2955" actId="122"/>
          <ac:spMkLst>
            <pc:docMk/>
            <pc:sldMk cId="3055166102" sldId="2134804286"/>
            <ac:spMk id="55" creationId="{71D2E868-A54D-4479-B446-29F9C50FDEA5}"/>
          </ac:spMkLst>
        </pc:spChg>
      </pc:sldChg>
      <pc:sldChg chg="del">
        <pc:chgData name="Mariam Daniela Tristancho Pineda (MISION TEMPORAL LTDA)" userId="a45a17f7-7950-4cb5-bfab-f5c894f959a9" providerId="ADAL" clId="{9D150B60-33B5-4A3E-8123-A67E35AA8D44}" dt="2020-07-10T00:08:11.172" v="638" actId="47"/>
        <pc:sldMkLst>
          <pc:docMk/>
          <pc:sldMk cId="3972105642" sldId="2134804288"/>
        </pc:sldMkLst>
      </pc:sldChg>
      <pc:sldChg chg="del">
        <pc:chgData name="Mariam Daniela Tristancho Pineda (MISION TEMPORAL LTDA)" userId="a45a17f7-7950-4cb5-bfab-f5c894f959a9" providerId="ADAL" clId="{9D150B60-33B5-4A3E-8123-A67E35AA8D44}" dt="2020-07-10T00:08:16.213" v="641" actId="47"/>
        <pc:sldMkLst>
          <pc:docMk/>
          <pc:sldMk cId="2228275924" sldId="2134804290"/>
        </pc:sldMkLst>
      </pc:sldChg>
      <pc:sldChg chg="addSp delSp modSp add del mod">
        <pc:chgData name="Mariam Daniela Tristancho Pineda (MISION TEMPORAL LTDA)" userId="a45a17f7-7950-4cb5-bfab-f5c894f959a9" providerId="ADAL" clId="{9D150B60-33B5-4A3E-8123-A67E35AA8D44}" dt="2020-07-28T01:21:29.199" v="17798" actId="1037"/>
        <pc:sldMkLst>
          <pc:docMk/>
          <pc:sldMk cId="838099151" sldId="2134804292"/>
        </pc:sldMkLst>
        <pc:spChg chg="del mod">
          <ac:chgData name="Mariam Daniela Tristancho Pineda (MISION TEMPORAL LTDA)" userId="a45a17f7-7950-4cb5-bfab-f5c894f959a9" providerId="ADAL" clId="{9D150B60-33B5-4A3E-8123-A67E35AA8D44}" dt="2020-07-26T22:04:54.928" v="8240" actId="478"/>
          <ac:spMkLst>
            <pc:docMk/>
            <pc:sldMk cId="838099151" sldId="2134804292"/>
            <ac:spMk id="3" creationId="{815B10B7-60B3-4C63-8431-70CC556387C9}"/>
          </ac:spMkLst>
        </pc:spChg>
        <pc:spChg chg="add del mod">
          <ac:chgData name="Mariam Daniela Tristancho Pineda (MISION TEMPORAL LTDA)" userId="a45a17f7-7950-4cb5-bfab-f5c894f959a9" providerId="ADAL" clId="{9D150B60-33B5-4A3E-8123-A67E35AA8D44}" dt="2020-07-24T19:48:20.032" v="5765" actId="478"/>
          <ac:spMkLst>
            <pc:docMk/>
            <pc:sldMk cId="838099151" sldId="2134804292"/>
            <ac:spMk id="6" creationId="{0E98584C-06A2-43D1-B69A-3ABD175D9D3A}"/>
          </ac:spMkLst>
        </pc:spChg>
        <pc:spChg chg="mod">
          <ac:chgData name="Mariam Daniela Tristancho Pineda (MISION TEMPORAL LTDA)" userId="a45a17f7-7950-4cb5-bfab-f5c894f959a9" providerId="ADAL" clId="{9D150B60-33B5-4A3E-8123-A67E35AA8D44}" dt="2020-07-10T19:12:29.998" v="3078" actId="1035"/>
          <ac:spMkLst>
            <pc:docMk/>
            <pc:sldMk cId="838099151" sldId="2134804292"/>
            <ac:spMk id="6" creationId="{7C2A44B1-15E0-4161-B44E-FC754DFB17D2}"/>
          </ac:spMkLst>
        </pc:spChg>
        <pc:spChg chg="add mod">
          <ac:chgData name="Mariam Daniela Tristancho Pineda (MISION TEMPORAL LTDA)" userId="a45a17f7-7950-4cb5-bfab-f5c894f959a9" providerId="ADAL" clId="{9D150B60-33B5-4A3E-8123-A67E35AA8D44}" dt="2020-07-26T22:19:31.389" v="8652" actId="1036"/>
          <ac:spMkLst>
            <pc:docMk/>
            <pc:sldMk cId="838099151" sldId="2134804292"/>
            <ac:spMk id="6" creationId="{A9FC1669-8563-4947-A85B-80C35CC6BD27}"/>
          </ac:spMkLst>
        </pc:spChg>
        <pc:spChg chg="add del mod">
          <ac:chgData name="Mariam Daniela Tristancho Pineda (MISION TEMPORAL LTDA)" userId="a45a17f7-7950-4cb5-bfab-f5c894f959a9" providerId="ADAL" clId="{9D150B60-33B5-4A3E-8123-A67E35AA8D44}" dt="2020-07-24T19:54:25.015" v="5971" actId="478"/>
          <ac:spMkLst>
            <pc:docMk/>
            <pc:sldMk cId="838099151" sldId="2134804292"/>
            <ac:spMk id="7" creationId="{024B8272-112C-4C14-8DF3-10C935D2C871}"/>
          </ac:spMkLst>
        </pc:spChg>
        <pc:spChg chg="add mod">
          <ac:chgData name="Mariam Daniela Tristancho Pineda (MISION TEMPORAL LTDA)" userId="a45a17f7-7950-4cb5-bfab-f5c894f959a9" providerId="ADAL" clId="{9D150B60-33B5-4A3E-8123-A67E35AA8D44}" dt="2020-07-26T22:24:58.514" v="8855" actId="20577"/>
          <ac:spMkLst>
            <pc:docMk/>
            <pc:sldMk cId="838099151" sldId="2134804292"/>
            <ac:spMk id="8" creationId="{CDD6FB7B-B3B4-4668-9658-313DFA2F74AB}"/>
          </ac:spMkLst>
        </pc:spChg>
        <pc:spChg chg="add del mod">
          <ac:chgData name="Mariam Daniela Tristancho Pineda (MISION TEMPORAL LTDA)" userId="a45a17f7-7950-4cb5-bfab-f5c894f959a9" providerId="ADAL" clId="{9D150B60-33B5-4A3E-8123-A67E35AA8D44}" dt="2020-07-26T22:14:25.695" v="8488" actId="478"/>
          <ac:spMkLst>
            <pc:docMk/>
            <pc:sldMk cId="838099151" sldId="2134804292"/>
            <ac:spMk id="9" creationId="{CDF0DD0C-547C-45EB-84E9-31024BC2AB43}"/>
          </ac:spMkLst>
        </pc:spChg>
        <pc:spChg chg="add del mod">
          <ac:chgData name="Mariam Daniela Tristancho Pineda (MISION TEMPORAL LTDA)" userId="a45a17f7-7950-4cb5-bfab-f5c894f959a9" providerId="ADAL" clId="{9D150B60-33B5-4A3E-8123-A67E35AA8D44}" dt="2020-07-26T22:14:25.695" v="8488" actId="478"/>
          <ac:spMkLst>
            <pc:docMk/>
            <pc:sldMk cId="838099151" sldId="2134804292"/>
            <ac:spMk id="10" creationId="{932D6F42-121D-4491-9661-3F173EACB5AF}"/>
          </ac:spMkLst>
        </pc:spChg>
        <pc:spChg chg="add del mod">
          <ac:chgData name="Mariam Daniela Tristancho Pineda (MISION TEMPORAL LTDA)" userId="a45a17f7-7950-4cb5-bfab-f5c894f959a9" providerId="ADAL" clId="{9D150B60-33B5-4A3E-8123-A67E35AA8D44}" dt="2020-07-26T22:11:57.169" v="8376" actId="478"/>
          <ac:spMkLst>
            <pc:docMk/>
            <pc:sldMk cId="838099151" sldId="2134804292"/>
            <ac:spMk id="11" creationId="{31F591A6-EBE0-4A30-92F4-2452253EC994}"/>
          </ac:spMkLst>
        </pc:spChg>
        <pc:spChg chg="add mod">
          <ac:chgData name="Mariam Daniela Tristancho Pineda (MISION TEMPORAL LTDA)" userId="a45a17f7-7950-4cb5-bfab-f5c894f959a9" providerId="ADAL" clId="{9D150B60-33B5-4A3E-8123-A67E35AA8D44}" dt="2020-07-26T22:39:55.526" v="9033" actId="1035"/>
          <ac:spMkLst>
            <pc:docMk/>
            <pc:sldMk cId="838099151" sldId="2134804292"/>
            <ac:spMk id="12" creationId="{FC7A27F7-4EDF-43A9-AE3F-0DB545551211}"/>
          </ac:spMkLst>
        </pc:spChg>
        <pc:spChg chg="add mod">
          <ac:chgData name="Mariam Daniela Tristancho Pineda (MISION TEMPORAL LTDA)" userId="a45a17f7-7950-4cb5-bfab-f5c894f959a9" providerId="ADAL" clId="{9D150B60-33B5-4A3E-8123-A67E35AA8D44}" dt="2020-07-26T22:25:31.848" v="8875" actId="20577"/>
          <ac:spMkLst>
            <pc:docMk/>
            <pc:sldMk cId="838099151" sldId="2134804292"/>
            <ac:spMk id="13" creationId="{1D767C63-C148-4613-A16C-E07206BC1C36}"/>
          </ac:spMkLst>
        </pc:spChg>
        <pc:spChg chg="add mod">
          <ac:chgData name="Mariam Daniela Tristancho Pineda (MISION TEMPORAL LTDA)" userId="a45a17f7-7950-4cb5-bfab-f5c894f959a9" providerId="ADAL" clId="{9D150B60-33B5-4A3E-8123-A67E35AA8D44}" dt="2020-07-26T22:39:55.526" v="9033" actId="1035"/>
          <ac:spMkLst>
            <pc:docMk/>
            <pc:sldMk cId="838099151" sldId="2134804292"/>
            <ac:spMk id="14" creationId="{A90CC0BF-59B4-4E07-8AB8-70530EDAF99F}"/>
          </ac:spMkLst>
        </pc:spChg>
        <pc:spChg chg="add mod">
          <ac:chgData name="Mariam Daniela Tristancho Pineda (MISION TEMPORAL LTDA)" userId="a45a17f7-7950-4cb5-bfab-f5c894f959a9" providerId="ADAL" clId="{9D150B60-33B5-4A3E-8123-A67E35AA8D44}" dt="2020-07-26T22:39:55.526" v="9033" actId="1035"/>
          <ac:spMkLst>
            <pc:docMk/>
            <pc:sldMk cId="838099151" sldId="2134804292"/>
            <ac:spMk id="15" creationId="{02FEB3CE-1C52-4F50-8679-8DF6DFF3365D}"/>
          </ac:spMkLst>
        </pc:spChg>
        <pc:spChg chg="add mod">
          <ac:chgData name="Mariam Daniela Tristancho Pineda (MISION TEMPORAL LTDA)" userId="a45a17f7-7950-4cb5-bfab-f5c894f959a9" providerId="ADAL" clId="{9D150B60-33B5-4A3E-8123-A67E35AA8D44}" dt="2020-07-26T22:21:02.151" v="8684" actId="1036"/>
          <ac:spMkLst>
            <pc:docMk/>
            <pc:sldMk cId="838099151" sldId="2134804292"/>
            <ac:spMk id="16" creationId="{17B85CDC-D40D-4B9D-AE6E-A8B97692AD59}"/>
          </ac:spMkLst>
        </pc:spChg>
        <pc:spChg chg="add mod">
          <ac:chgData name="Mariam Daniela Tristancho Pineda (MISION TEMPORAL LTDA)" userId="a45a17f7-7950-4cb5-bfab-f5c894f959a9" providerId="ADAL" clId="{9D150B60-33B5-4A3E-8123-A67E35AA8D44}" dt="2020-07-26T22:39:55.526" v="9033" actId="1035"/>
          <ac:spMkLst>
            <pc:docMk/>
            <pc:sldMk cId="838099151" sldId="2134804292"/>
            <ac:spMk id="17" creationId="{4632E4AE-1E7C-4BDF-969C-8E92598DB51D}"/>
          </ac:spMkLst>
        </pc:spChg>
        <pc:spChg chg="add mod">
          <ac:chgData name="Mariam Daniela Tristancho Pineda (MISION TEMPORAL LTDA)" userId="a45a17f7-7950-4cb5-bfab-f5c894f959a9" providerId="ADAL" clId="{9D150B60-33B5-4A3E-8123-A67E35AA8D44}" dt="2020-07-26T22:39:55.526" v="9033" actId="1035"/>
          <ac:spMkLst>
            <pc:docMk/>
            <pc:sldMk cId="838099151" sldId="2134804292"/>
            <ac:spMk id="18" creationId="{E59400F2-1961-43D8-BA22-1D12B86AEE04}"/>
          </ac:spMkLst>
        </pc:spChg>
        <pc:spChg chg="add mod">
          <ac:chgData name="Mariam Daniela Tristancho Pineda (MISION TEMPORAL LTDA)" userId="a45a17f7-7950-4cb5-bfab-f5c894f959a9" providerId="ADAL" clId="{9D150B60-33B5-4A3E-8123-A67E35AA8D44}" dt="2020-07-26T22:39:55.526" v="9033" actId="1035"/>
          <ac:spMkLst>
            <pc:docMk/>
            <pc:sldMk cId="838099151" sldId="2134804292"/>
            <ac:spMk id="20" creationId="{37A910F5-8E91-4B88-9D98-7160D4B4DD12}"/>
          </ac:spMkLst>
        </pc:spChg>
        <pc:spChg chg="add mod">
          <ac:chgData name="Mariam Daniela Tristancho Pineda (MISION TEMPORAL LTDA)" userId="a45a17f7-7950-4cb5-bfab-f5c894f959a9" providerId="ADAL" clId="{9D150B60-33B5-4A3E-8123-A67E35AA8D44}" dt="2020-07-26T22:39:55.526" v="9033" actId="1035"/>
          <ac:spMkLst>
            <pc:docMk/>
            <pc:sldMk cId="838099151" sldId="2134804292"/>
            <ac:spMk id="21" creationId="{7F34E083-EFAC-40FC-A601-AA5F3E6F6136}"/>
          </ac:spMkLst>
        </pc:spChg>
        <pc:spChg chg="add mod">
          <ac:chgData name="Mariam Daniela Tristancho Pineda (MISION TEMPORAL LTDA)" userId="a45a17f7-7950-4cb5-bfab-f5c894f959a9" providerId="ADAL" clId="{9D150B60-33B5-4A3E-8123-A67E35AA8D44}" dt="2020-07-26T22:39:55.526" v="9033" actId="1035"/>
          <ac:spMkLst>
            <pc:docMk/>
            <pc:sldMk cId="838099151" sldId="2134804292"/>
            <ac:spMk id="22" creationId="{30811115-E36E-4A9B-A391-8091BEE4AE1D}"/>
          </ac:spMkLst>
        </pc:spChg>
        <pc:spChg chg="add mod">
          <ac:chgData name="Mariam Daniela Tristancho Pineda (MISION TEMPORAL LTDA)" userId="a45a17f7-7950-4cb5-bfab-f5c894f959a9" providerId="ADAL" clId="{9D150B60-33B5-4A3E-8123-A67E35AA8D44}" dt="2020-07-26T22:39:55.526" v="9033" actId="1035"/>
          <ac:spMkLst>
            <pc:docMk/>
            <pc:sldMk cId="838099151" sldId="2134804292"/>
            <ac:spMk id="23" creationId="{A29AB2FD-613B-4118-A4A2-6F616E5815DF}"/>
          </ac:spMkLst>
        </pc:spChg>
        <pc:spChg chg="add mod">
          <ac:chgData name="Mariam Daniela Tristancho Pineda (MISION TEMPORAL LTDA)" userId="a45a17f7-7950-4cb5-bfab-f5c894f959a9" providerId="ADAL" clId="{9D150B60-33B5-4A3E-8123-A67E35AA8D44}" dt="2020-07-26T22:39:55.526" v="9033" actId="1035"/>
          <ac:spMkLst>
            <pc:docMk/>
            <pc:sldMk cId="838099151" sldId="2134804292"/>
            <ac:spMk id="24" creationId="{DA695E3D-F1AC-4902-8E5C-1E1EA89B8FA3}"/>
          </ac:spMkLst>
        </pc:spChg>
        <pc:spChg chg="add mod">
          <ac:chgData name="Mariam Daniela Tristancho Pineda (MISION TEMPORAL LTDA)" userId="a45a17f7-7950-4cb5-bfab-f5c894f959a9" providerId="ADAL" clId="{9D150B60-33B5-4A3E-8123-A67E35AA8D44}" dt="2020-07-26T22:39:55.526" v="9033" actId="1035"/>
          <ac:spMkLst>
            <pc:docMk/>
            <pc:sldMk cId="838099151" sldId="2134804292"/>
            <ac:spMk id="25" creationId="{254F2341-8C11-4C73-8AB4-027EFD64C59E}"/>
          </ac:spMkLst>
        </pc:spChg>
        <pc:spChg chg="add del mod">
          <ac:chgData name="Mariam Daniela Tristancho Pineda (MISION TEMPORAL LTDA)" userId="a45a17f7-7950-4cb5-bfab-f5c894f959a9" providerId="ADAL" clId="{9D150B60-33B5-4A3E-8123-A67E35AA8D44}" dt="2020-07-26T22:23:18.899" v="8834" actId="478"/>
          <ac:spMkLst>
            <pc:docMk/>
            <pc:sldMk cId="838099151" sldId="2134804292"/>
            <ac:spMk id="26" creationId="{CFCEFA50-77FA-4D47-AAED-75B0FAFD4583}"/>
          </ac:spMkLst>
        </pc:spChg>
        <pc:spChg chg="add mod">
          <ac:chgData name="Mariam Daniela Tristancho Pineda (MISION TEMPORAL LTDA)" userId="a45a17f7-7950-4cb5-bfab-f5c894f959a9" providerId="ADAL" clId="{9D150B60-33B5-4A3E-8123-A67E35AA8D44}" dt="2020-07-26T22:39:55.526" v="9033" actId="1035"/>
          <ac:spMkLst>
            <pc:docMk/>
            <pc:sldMk cId="838099151" sldId="2134804292"/>
            <ac:spMk id="27" creationId="{850C74CA-5765-47D2-8803-F51AE2D79407}"/>
          </ac:spMkLst>
        </pc:spChg>
        <pc:spChg chg="mod">
          <ac:chgData name="Mariam Daniela Tristancho Pineda (MISION TEMPORAL LTDA)" userId="a45a17f7-7950-4cb5-bfab-f5c894f959a9" providerId="ADAL" clId="{9D150B60-33B5-4A3E-8123-A67E35AA8D44}" dt="2020-07-26T22:39:55.526" v="9033" actId="1035"/>
          <ac:spMkLst>
            <pc:docMk/>
            <pc:sldMk cId="838099151" sldId="2134804292"/>
            <ac:spMk id="40" creationId="{1E119E4D-51ED-4CD8-8FEF-E5E9E94AD24B}"/>
          </ac:spMkLst>
        </pc:spChg>
        <pc:spChg chg="del">
          <ac:chgData name="Mariam Daniela Tristancho Pineda (MISION TEMPORAL LTDA)" userId="a45a17f7-7950-4cb5-bfab-f5c894f959a9" providerId="ADAL" clId="{9D150B60-33B5-4A3E-8123-A67E35AA8D44}" dt="2020-07-26T22:04:59.193" v="8243" actId="478"/>
          <ac:spMkLst>
            <pc:docMk/>
            <pc:sldMk cId="838099151" sldId="2134804292"/>
            <ac:spMk id="41" creationId="{6823F56F-10DD-46EC-8323-666E6F6DAC6F}"/>
          </ac:spMkLst>
        </pc:spChg>
        <pc:spChg chg="del">
          <ac:chgData name="Mariam Daniela Tristancho Pineda (MISION TEMPORAL LTDA)" userId="a45a17f7-7950-4cb5-bfab-f5c894f959a9" providerId="ADAL" clId="{9D150B60-33B5-4A3E-8123-A67E35AA8D44}" dt="2020-07-24T19:52:33.450" v="5958" actId="478"/>
          <ac:spMkLst>
            <pc:docMk/>
            <pc:sldMk cId="838099151" sldId="2134804292"/>
            <ac:spMk id="42" creationId="{B45F1222-7108-4E61-A491-6A5E1CCEE6D5}"/>
          </ac:spMkLst>
        </pc:spChg>
        <pc:spChg chg="mod">
          <ac:chgData name="Mariam Daniela Tristancho Pineda (MISION TEMPORAL LTDA)" userId="a45a17f7-7950-4cb5-bfab-f5c894f959a9" providerId="ADAL" clId="{9D150B60-33B5-4A3E-8123-A67E35AA8D44}" dt="2020-07-26T22:39:55.526" v="9033" actId="1035"/>
          <ac:spMkLst>
            <pc:docMk/>
            <pc:sldMk cId="838099151" sldId="2134804292"/>
            <ac:spMk id="45" creationId="{FE8ED9F7-3608-4810-95FA-CCA357FF8DD5}"/>
          </ac:spMkLst>
        </pc:spChg>
        <pc:spChg chg="add del mod">
          <ac:chgData name="Mariam Daniela Tristancho Pineda (MISION TEMPORAL LTDA)" userId="a45a17f7-7950-4cb5-bfab-f5c894f959a9" providerId="ADAL" clId="{9D150B60-33B5-4A3E-8123-A67E35AA8D44}" dt="2020-07-24T19:47:31.888" v="5751" actId="478"/>
          <ac:spMkLst>
            <pc:docMk/>
            <pc:sldMk cId="838099151" sldId="2134804292"/>
            <ac:spMk id="46" creationId="{37613081-A8A7-4283-97BA-0F79BCAFB2C8}"/>
          </ac:spMkLst>
        </pc:spChg>
        <pc:spChg chg="mod">
          <ac:chgData name="Mariam Daniela Tristancho Pineda (MISION TEMPORAL LTDA)" userId="a45a17f7-7950-4cb5-bfab-f5c894f959a9" providerId="ADAL" clId="{9D150B60-33B5-4A3E-8123-A67E35AA8D44}" dt="2020-07-26T22:19:31.389" v="8652" actId="1036"/>
          <ac:spMkLst>
            <pc:docMk/>
            <pc:sldMk cId="838099151" sldId="2134804292"/>
            <ac:spMk id="49" creationId="{2415F8F2-3DA7-41EF-8038-82DFF151E6CF}"/>
          </ac:spMkLst>
        </pc:spChg>
        <pc:spChg chg="add del mod">
          <ac:chgData name="Mariam Daniela Tristancho Pineda (MISION TEMPORAL LTDA)" userId="a45a17f7-7950-4cb5-bfab-f5c894f959a9" providerId="ADAL" clId="{9D150B60-33B5-4A3E-8123-A67E35AA8D44}" dt="2020-07-26T22:04:16.496" v="8237" actId="478"/>
          <ac:spMkLst>
            <pc:docMk/>
            <pc:sldMk cId="838099151" sldId="2134804292"/>
            <ac:spMk id="50" creationId="{A2CBE4FF-3B72-4BCB-96B5-AC49A9C0724E}"/>
          </ac:spMkLst>
        </pc:spChg>
        <pc:spChg chg="add del mod">
          <ac:chgData name="Mariam Daniela Tristancho Pineda (MISION TEMPORAL LTDA)" userId="a45a17f7-7950-4cb5-bfab-f5c894f959a9" providerId="ADAL" clId="{9D150B60-33B5-4A3E-8123-A67E35AA8D44}" dt="2020-07-26T22:04:16.496" v="8237" actId="478"/>
          <ac:spMkLst>
            <pc:docMk/>
            <pc:sldMk cId="838099151" sldId="2134804292"/>
            <ac:spMk id="51" creationId="{A17D1840-C920-480A-86B8-CC9130D9E660}"/>
          </ac:spMkLst>
        </pc:spChg>
        <pc:spChg chg="add del mod">
          <ac:chgData name="Mariam Daniela Tristancho Pineda (MISION TEMPORAL LTDA)" userId="a45a17f7-7950-4cb5-bfab-f5c894f959a9" providerId="ADAL" clId="{9D150B60-33B5-4A3E-8123-A67E35AA8D44}" dt="2020-07-26T22:04:16.496" v="8237" actId="478"/>
          <ac:spMkLst>
            <pc:docMk/>
            <pc:sldMk cId="838099151" sldId="2134804292"/>
            <ac:spMk id="52" creationId="{9F2A52C4-F18A-4C3F-B272-BA172316667D}"/>
          </ac:spMkLst>
        </pc:spChg>
        <pc:spChg chg="mod">
          <ac:chgData name="Mariam Daniela Tristancho Pineda (MISION TEMPORAL LTDA)" userId="a45a17f7-7950-4cb5-bfab-f5c894f959a9" providerId="ADAL" clId="{9D150B60-33B5-4A3E-8123-A67E35AA8D44}" dt="2020-07-26T22:39:47.512" v="9027" actId="14100"/>
          <ac:spMkLst>
            <pc:docMk/>
            <pc:sldMk cId="838099151" sldId="2134804292"/>
            <ac:spMk id="53" creationId="{F9C857D3-C5F6-4D00-8D9C-646D1DA60918}"/>
          </ac:spMkLst>
        </pc:spChg>
        <pc:spChg chg="del mod">
          <ac:chgData name="Mariam Daniela Tristancho Pineda (MISION TEMPORAL LTDA)" userId="a45a17f7-7950-4cb5-bfab-f5c894f959a9" providerId="ADAL" clId="{9D150B60-33B5-4A3E-8123-A67E35AA8D44}" dt="2020-07-28T01:21:29.199" v="17798" actId="1037"/>
          <ac:spMkLst>
            <pc:docMk/>
            <pc:sldMk cId="838099151" sldId="2134804292"/>
            <ac:spMk id="54" creationId="{C38A9719-1AF0-4D7F-AF9E-714FBC133573}"/>
          </ac:spMkLst>
        </pc:spChg>
        <pc:spChg chg="add del mod">
          <ac:chgData name="Mariam Daniela Tristancho Pineda (MISION TEMPORAL LTDA)" userId="a45a17f7-7950-4cb5-bfab-f5c894f959a9" providerId="ADAL" clId="{9D150B60-33B5-4A3E-8123-A67E35AA8D44}" dt="2020-07-26T22:04:16.496" v="8237" actId="478"/>
          <ac:spMkLst>
            <pc:docMk/>
            <pc:sldMk cId="838099151" sldId="2134804292"/>
            <ac:spMk id="55" creationId="{A00678AB-A5D6-4A0C-A43C-E011B1D6518A}"/>
          </ac:spMkLst>
        </pc:spChg>
        <pc:spChg chg="mod">
          <ac:chgData name="Mariam Daniela Tristancho Pineda (MISION TEMPORAL LTDA)" userId="a45a17f7-7950-4cb5-bfab-f5c894f959a9" providerId="ADAL" clId="{9D150B60-33B5-4A3E-8123-A67E35AA8D44}" dt="2020-07-10T19:17:02.427" v="3173" actId="465"/>
          <ac:spMkLst>
            <pc:docMk/>
            <pc:sldMk cId="838099151" sldId="2134804292"/>
            <ac:spMk id="55" creationId="{E5843E8D-DE77-4A98-83D3-1B69B5893830}"/>
          </ac:spMkLst>
        </pc:spChg>
        <pc:spChg chg="mod">
          <ac:chgData name="Mariam Daniela Tristancho Pineda (MISION TEMPORAL LTDA)" userId="a45a17f7-7950-4cb5-bfab-f5c894f959a9" providerId="ADAL" clId="{9D150B60-33B5-4A3E-8123-A67E35AA8D44}" dt="2020-07-10T19:17:02.427" v="3173" actId="465"/>
          <ac:spMkLst>
            <pc:docMk/>
            <pc:sldMk cId="838099151" sldId="2134804292"/>
            <ac:spMk id="56" creationId="{34103625-66EE-445B-B7BE-2B9E31D4759F}"/>
          </ac:spMkLst>
        </pc:spChg>
        <pc:spChg chg="mod">
          <ac:chgData name="Mariam Daniela Tristancho Pineda (MISION TEMPORAL LTDA)" userId="a45a17f7-7950-4cb5-bfab-f5c894f959a9" providerId="ADAL" clId="{9D150B60-33B5-4A3E-8123-A67E35AA8D44}" dt="2020-07-10T19:17:05.763" v="3179" actId="1036"/>
          <ac:spMkLst>
            <pc:docMk/>
            <pc:sldMk cId="838099151" sldId="2134804292"/>
            <ac:spMk id="57" creationId="{31A2647C-53EA-44C0-AFA0-A27C3942FF4D}"/>
          </ac:spMkLst>
        </pc:spChg>
        <pc:spChg chg="add del mod">
          <ac:chgData name="Mariam Daniela Tristancho Pineda (MISION TEMPORAL LTDA)" userId="a45a17f7-7950-4cb5-bfab-f5c894f959a9" providerId="ADAL" clId="{9D150B60-33B5-4A3E-8123-A67E35AA8D44}" dt="2020-07-26T22:04:16.496" v="8237" actId="478"/>
          <ac:spMkLst>
            <pc:docMk/>
            <pc:sldMk cId="838099151" sldId="2134804292"/>
            <ac:spMk id="57" creationId="{B7993C49-F6AE-457C-A931-8106261BE660}"/>
          </ac:spMkLst>
        </pc:spChg>
        <pc:spChg chg="mod">
          <ac:chgData name="Mariam Daniela Tristancho Pineda (MISION TEMPORAL LTDA)" userId="a45a17f7-7950-4cb5-bfab-f5c894f959a9" providerId="ADAL" clId="{9D150B60-33B5-4A3E-8123-A67E35AA8D44}" dt="2020-07-10T19:15:51.806" v="3127" actId="1036"/>
          <ac:spMkLst>
            <pc:docMk/>
            <pc:sldMk cId="838099151" sldId="2134804292"/>
            <ac:spMk id="58" creationId="{1783D2D3-D240-49BF-9DB4-3DFB6C80684F}"/>
          </ac:spMkLst>
        </pc:spChg>
        <pc:spChg chg="mod">
          <ac:chgData name="Mariam Daniela Tristancho Pineda (MISION TEMPORAL LTDA)" userId="a45a17f7-7950-4cb5-bfab-f5c894f959a9" providerId="ADAL" clId="{9D150B60-33B5-4A3E-8123-A67E35AA8D44}" dt="2020-07-26T22:03:07.230" v="8235"/>
          <ac:spMkLst>
            <pc:docMk/>
            <pc:sldMk cId="838099151" sldId="2134804292"/>
            <ac:spMk id="59" creationId="{E6E57732-6AA9-477E-B654-2E4CAAE03A44}"/>
          </ac:spMkLst>
        </pc:spChg>
        <pc:spChg chg="mod">
          <ac:chgData name="Mariam Daniela Tristancho Pineda (MISION TEMPORAL LTDA)" userId="a45a17f7-7950-4cb5-bfab-f5c894f959a9" providerId="ADAL" clId="{9D150B60-33B5-4A3E-8123-A67E35AA8D44}" dt="2020-07-10T19:14:22.226" v="3110" actId="12788"/>
          <ac:spMkLst>
            <pc:docMk/>
            <pc:sldMk cId="838099151" sldId="2134804292"/>
            <ac:spMk id="59" creationId="{F7F40CCA-ABAE-4078-88E6-9D138D69C82C}"/>
          </ac:spMkLst>
        </pc:spChg>
        <pc:spChg chg="mod">
          <ac:chgData name="Mariam Daniela Tristancho Pineda (MISION TEMPORAL LTDA)" userId="a45a17f7-7950-4cb5-bfab-f5c894f959a9" providerId="ADAL" clId="{9D150B60-33B5-4A3E-8123-A67E35AA8D44}" dt="2020-07-26T22:03:07.230" v="8235"/>
          <ac:spMkLst>
            <pc:docMk/>
            <pc:sldMk cId="838099151" sldId="2134804292"/>
            <ac:spMk id="60" creationId="{13753559-7818-4C9F-B4A7-932EC94979C2}"/>
          </ac:spMkLst>
        </pc:spChg>
        <pc:spChg chg="mod">
          <ac:chgData name="Mariam Daniela Tristancho Pineda (MISION TEMPORAL LTDA)" userId="a45a17f7-7950-4cb5-bfab-f5c894f959a9" providerId="ADAL" clId="{9D150B60-33B5-4A3E-8123-A67E35AA8D44}" dt="2020-07-10T19:14:22.226" v="3110" actId="12788"/>
          <ac:spMkLst>
            <pc:docMk/>
            <pc:sldMk cId="838099151" sldId="2134804292"/>
            <ac:spMk id="60" creationId="{18EB7B77-27AD-4C26-B483-B5E8819775FF}"/>
          </ac:spMkLst>
        </pc:spChg>
        <pc:spChg chg="mod">
          <ac:chgData name="Mariam Daniela Tristancho Pineda (MISION TEMPORAL LTDA)" userId="a45a17f7-7950-4cb5-bfab-f5c894f959a9" providerId="ADAL" clId="{9D150B60-33B5-4A3E-8123-A67E35AA8D44}" dt="2020-07-26T22:03:07.230" v="8235"/>
          <ac:spMkLst>
            <pc:docMk/>
            <pc:sldMk cId="838099151" sldId="2134804292"/>
            <ac:spMk id="62" creationId="{13424565-63AC-496C-A71B-F9DAA34AD75D}"/>
          </ac:spMkLst>
        </pc:spChg>
        <pc:spChg chg="mod">
          <ac:chgData name="Mariam Daniela Tristancho Pineda (MISION TEMPORAL LTDA)" userId="a45a17f7-7950-4cb5-bfab-f5c894f959a9" providerId="ADAL" clId="{9D150B60-33B5-4A3E-8123-A67E35AA8D44}" dt="2020-07-10T19:16:30.251" v="3140" actId="465"/>
          <ac:spMkLst>
            <pc:docMk/>
            <pc:sldMk cId="838099151" sldId="2134804292"/>
            <ac:spMk id="62" creationId="{79CE826B-7F6B-4F4B-BA67-5F3C9A8CF769}"/>
          </ac:spMkLst>
        </pc:spChg>
        <pc:spChg chg="mod">
          <ac:chgData name="Mariam Daniela Tristancho Pineda (MISION TEMPORAL LTDA)" userId="a45a17f7-7950-4cb5-bfab-f5c894f959a9" providerId="ADAL" clId="{9D150B60-33B5-4A3E-8123-A67E35AA8D44}" dt="2020-07-26T22:03:07.230" v="8235"/>
          <ac:spMkLst>
            <pc:docMk/>
            <pc:sldMk cId="838099151" sldId="2134804292"/>
            <ac:spMk id="63" creationId="{495373B9-9C28-41EC-B70D-897E3C245562}"/>
          </ac:spMkLst>
        </pc:spChg>
        <pc:spChg chg="mod">
          <ac:chgData name="Mariam Daniela Tristancho Pineda (MISION TEMPORAL LTDA)" userId="a45a17f7-7950-4cb5-bfab-f5c894f959a9" providerId="ADAL" clId="{9D150B60-33B5-4A3E-8123-A67E35AA8D44}" dt="2020-07-26T22:03:07.230" v="8235"/>
          <ac:spMkLst>
            <pc:docMk/>
            <pc:sldMk cId="838099151" sldId="2134804292"/>
            <ac:spMk id="65" creationId="{523313B9-624F-40B6-9CA3-DD2215406FF1}"/>
          </ac:spMkLst>
        </pc:spChg>
        <pc:spChg chg="mod">
          <ac:chgData name="Mariam Daniela Tristancho Pineda (MISION TEMPORAL LTDA)" userId="a45a17f7-7950-4cb5-bfab-f5c894f959a9" providerId="ADAL" clId="{9D150B60-33B5-4A3E-8123-A67E35AA8D44}" dt="2020-07-26T22:03:07.230" v="8235"/>
          <ac:spMkLst>
            <pc:docMk/>
            <pc:sldMk cId="838099151" sldId="2134804292"/>
            <ac:spMk id="66" creationId="{A9976791-D1AC-495F-A5CF-0D14B23B4DDF}"/>
          </ac:spMkLst>
        </pc:spChg>
        <pc:spChg chg="mod">
          <ac:chgData name="Mariam Daniela Tristancho Pineda (MISION TEMPORAL LTDA)" userId="a45a17f7-7950-4cb5-bfab-f5c894f959a9" providerId="ADAL" clId="{9D150B60-33B5-4A3E-8123-A67E35AA8D44}" dt="2020-07-26T22:03:07.230" v="8235"/>
          <ac:spMkLst>
            <pc:docMk/>
            <pc:sldMk cId="838099151" sldId="2134804292"/>
            <ac:spMk id="68" creationId="{6A15DFB9-8423-4D1B-8A76-DE8C62CD1DD3}"/>
          </ac:spMkLst>
        </pc:spChg>
        <pc:spChg chg="mod">
          <ac:chgData name="Mariam Daniela Tristancho Pineda (MISION TEMPORAL LTDA)" userId="a45a17f7-7950-4cb5-bfab-f5c894f959a9" providerId="ADAL" clId="{9D150B60-33B5-4A3E-8123-A67E35AA8D44}" dt="2020-07-26T22:03:07.230" v="8235"/>
          <ac:spMkLst>
            <pc:docMk/>
            <pc:sldMk cId="838099151" sldId="2134804292"/>
            <ac:spMk id="69" creationId="{4F4821D9-A5C6-4CC4-A15F-5F63273736AB}"/>
          </ac:spMkLst>
        </pc:spChg>
        <pc:spChg chg="mod">
          <ac:chgData name="Mariam Daniela Tristancho Pineda (MISION TEMPORAL LTDA)" userId="a45a17f7-7950-4cb5-bfab-f5c894f959a9" providerId="ADAL" clId="{9D150B60-33B5-4A3E-8123-A67E35AA8D44}" dt="2020-07-26T22:03:07.230" v="8235"/>
          <ac:spMkLst>
            <pc:docMk/>
            <pc:sldMk cId="838099151" sldId="2134804292"/>
            <ac:spMk id="71" creationId="{09F4D481-6E28-4C9B-BD5D-78193D783A3C}"/>
          </ac:spMkLst>
        </pc:spChg>
        <pc:spChg chg="mod">
          <ac:chgData name="Mariam Daniela Tristancho Pineda (MISION TEMPORAL LTDA)" userId="a45a17f7-7950-4cb5-bfab-f5c894f959a9" providerId="ADAL" clId="{9D150B60-33B5-4A3E-8123-A67E35AA8D44}" dt="2020-07-10T19:16:30.251" v="3140" actId="465"/>
          <ac:spMkLst>
            <pc:docMk/>
            <pc:sldMk cId="838099151" sldId="2134804292"/>
            <ac:spMk id="71" creationId="{A0731C0B-7452-4501-ACFA-4F9917D02ABC}"/>
          </ac:spMkLst>
        </pc:spChg>
        <pc:spChg chg="mod">
          <ac:chgData name="Mariam Daniela Tristancho Pineda (MISION TEMPORAL LTDA)" userId="a45a17f7-7950-4cb5-bfab-f5c894f959a9" providerId="ADAL" clId="{9D150B60-33B5-4A3E-8123-A67E35AA8D44}" dt="2020-07-26T22:21:09.573" v="8685" actId="1036"/>
          <ac:spMkLst>
            <pc:docMk/>
            <pc:sldMk cId="838099151" sldId="2134804292"/>
            <ac:spMk id="72" creationId="{41E8D21E-9982-4381-835B-4E9BF24C4946}"/>
          </ac:spMkLst>
        </pc:spChg>
        <pc:spChg chg="mod">
          <ac:chgData name="Mariam Daniela Tristancho Pineda (MISION TEMPORAL LTDA)" userId="a45a17f7-7950-4cb5-bfab-f5c894f959a9" providerId="ADAL" clId="{9D150B60-33B5-4A3E-8123-A67E35AA8D44}" dt="2020-07-10T19:16:45.885" v="3169" actId="1036"/>
          <ac:spMkLst>
            <pc:docMk/>
            <pc:sldMk cId="838099151" sldId="2134804292"/>
            <ac:spMk id="72" creationId="{D3D1EBBD-B6D6-4565-8797-5867297482B1}"/>
          </ac:spMkLst>
        </pc:spChg>
        <pc:spChg chg="mod">
          <ac:chgData name="Mariam Daniela Tristancho Pineda (MISION TEMPORAL LTDA)" userId="a45a17f7-7950-4cb5-bfab-f5c894f959a9" providerId="ADAL" clId="{9D150B60-33B5-4A3E-8123-A67E35AA8D44}" dt="2020-07-10T19:16:48.218" v="3172" actId="1036"/>
          <ac:spMkLst>
            <pc:docMk/>
            <pc:sldMk cId="838099151" sldId="2134804292"/>
            <ac:spMk id="73" creationId="{017CE56D-EF3B-40D7-BF7E-7C063A152869}"/>
          </ac:spMkLst>
        </pc:spChg>
        <pc:spChg chg="mod">
          <ac:chgData name="Mariam Daniela Tristancho Pineda (MISION TEMPORAL LTDA)" userId="a45a17f7-7950-4cb5-bfab-f5c894f959a9" providerId="ADAL" clId="{9D150B60-33B5-4A3E-8123-A67E35AA8D44}" dt="2020-07-26T22:23:09.818" v="8830" actId="113"/>
          <ac:spMkLst>
            <pc:docMk/>
            <pc:sldMk cId="838099151" sldId="2134804292"/>
            <ac:spMk id="73" creationId="{08A90E6D-EB7D-4592-82AD-5783DEEAF288}"/>
          </ac:spMkLst>
        </pc:spChg>
        <pc:spChg chg="del">
          <ac:chgData name="Mariam Daniela Tristancho Pineda (MISION TEMPORAL LTDA)" userId="a45a17f7-7950-4cb5-bfab-f5c894f959a9" providerId="ADAL" clId="{9D150B60-33B5-4A3E-8123-A67E35AA8D44}" dt="2020-07-26T22:14:25.695" v="8488" actId="478"/>
          <ac:spMkLst>
            <pc:docMk/>
            <pc:sldMk cId="838099151" sldId="2134804292"/>
            <ac:spMk id="74" creationId="{62852506-D68C-429F-929F-326A2C7971D2}"/>
          </ac:spMkLst>
        </pc:spChg>
        <pc:spChg chg="mod">
          <ac:chgData name="Mariam Daniela Tristancho Pineda (MISION TEMPORAL LTDA)" userId="a45a17f7-7950-4cb5-bfab-f5c894f959a9" providerId="ADAL" clId="{9D150B60-33B5-4A3E-8123-A67E35AA8D44}" dt="2020-07-10T19:16:30.251" v="3140" actId="465"/>
          <ac:spMkLst>
            <pc:docMk/>
            <pc:sldMk cId="838099151" sldId="2134804292"/>
            <ac:spMk id="74" creationId="{9BDCE0A3-E572-4F14-8134-5473B4BB8EDB}"/>
          </ac:spMkLst>
        </pc:spChg>
        <pc:spChg chg="del mod">
          <ac:chgData name="Mariam Daniela Tristancho Pineda (MISION TEMPORAL LTDA)" userId="a45a17f7-7950-4cb5-bfab-f5c894f959a9" providerId="ADAL" clId="{9D150B60-33B5-4A3E-8123-A67E35AA8D44}" dt="2020-07-26T22:14:25.695" v="8488" actId="478"/>
          <ac:spMkLst>
            <pc:docMk/>
            <pc:sldMk cId="838099151" sldId="2134804292"/>
            <ac:spMk id="75" creationId="{6101B1AE-0D80-4B06-82AC-68549D1BB4B8}"/>
          </ac:spMkLst>
        </pc:spChg>
        <pc:spChg chg="mod">
          <ac:chgData name="Mariam Daniela Tristancho Pineda (MISION TEMPORAL LTDA)" userId="a45a17f7-7950-4cb5-bfab-f5c894f959a9" providerId="ADAL" clId="{9D150B60-33B5-4A3E-8123-A67E35AA8D44}" dt="2020-07-26T22:03:07.230" v="8235"/>
          <ac:spMkLst>
            <pc:docMk/>
            <pc:sldMk cId="838099151" sldId="2134804292"/>
            <ac:spMk id="76" creationId="{1466E071-2318-42C6-BCAE-8156C9896845}"/>
          </ac:spMkLst>
        </pc:spChg>
        <pc:spChg chg="mod">
          <ac:chgData name="Mariam Daniela Tristancho Pineda (MISION TEMPORAL LTDA)" userId="a45a17f7-7950-4cb5-bfab-f5c894f959a9" providerId="ADAL" clId="{9D150B60-33B5-4A3E-8123-A67E35AA8D44}" dt="2020-07-10T19:16:30.251" v="3140" actId="465"/>
          <ac:spMkLst>
            <pc:docMk/>
            <pc:sldMk cId="838099151" sldId="2134804292"/>
            <ac:spMk id="76" creationId="{98FDB50E-90E7-4372-BCEE-F84731427F1D}"/>
          </ac:spMkLst>
        </pc:spChg>
        <pc:spChg chg="mod">
          <ac:chgData name="Mariam Daniela Tristancho Pineda (MISION TEMPORAL LTDA)" userId="a45a17f7-7950-4cb5-bfab-f5c894f959a9" providerId="ADAL" clId="{9D150B60-33B5-4A3E-8123-A67E35AA8D44}" dt="2020-07-10T19:15:51.806" v="3127" actId="1036"/>
          <ac:spMkLst>
            <pc:docMk/>
            <pc:sldMk cId="838099151" sldId="2134804292"/>
            <ac:spMk id="77" creationId="{0835BF0D-7607-47F1-8842-3137F277D15B}"/>
          </ac:spMkLst>
        </pc:spChg>
        <pc:spChg chg="mod">
          <ac:chgData name="Mariam Daniela Tristancho Pineda (MISION TEMPORAL LTDA)" userId="a45a17f7-7950-4cb5-bfab-f5c894f959a9" providerId="ADAL" clId="{9D150B60-33B5-4A3E-8123-A67E35AA8D44}" dt="2020-07-26T22:03:07.230" v="8235"/>
          <ac:spMkLst>
            <pc:docMk/>
            <pc:sldMk cId="838099151" sldId="2134804292"/>
            <ac:spMk id="78" creationId="{7C2E2372-4E32-43A6-99BD-19C851E7C7F2}"/>
          </ac:spMkLst>
        </pc:spChg>
        <pc:spChg chg="mod">
          <ac:chgData name="Mariam Daniela Tristancho Pineda (MISION TEMPORAL LTDA)" userId="a45a17f7-7950-4cb5-bfab-f5c894f959a9" providerId="ADAL" clId="{9D150B60-33B5-4A3E-8123-A67E35AA8D44}" dt="2020-07-10T19:17:09.850" v="3190" actId="1036"/>
          <ac:spMkLst>
            <pc:docMk/>
            <pc:sldMk cId="838099151" sldId="2134804292"/>
            <ac:spMk id="79" creationId="{3E0B78C6-ABEB-4B0B-882E-9C0544772F94}"/>
          </ac:spMkLst>
        </pc:spChg>
        <pc:spChg chg="mod">
          <ac:chgData name="Mariam Daniela Tristancho Pineda (MISION TEMPORAL LTDA)" userId="a45a17f7-7950-4cb5-bfab-f5c894f959a9" providerId="ADAL" clId="{9D150B60-33B5-4A3E-8123-A67E35AA8D44}" dt="2020-07-26T22:03:07.230" v="8235"/>
          <ac:spMkLst>
            <pc:docMk/>
            <pc:sldMk cId="838099151" sldId="2134804292"/>
            <ac:spMk id="79" creationId="{E9A99CAF-D36E-4FF8-8EBB-58AD1CB92381}"/>
          </ac:spMkLst>
        </pc:spChg>
        <pc:spChg chg="del mod">
          <ac:chgData name="Mariam Daniela Tristancho Pineda (MISION TEMPORAL LTDA)" userId="a45a17f7-7950-4cb5-bfab-f5c894f959a9" providerId="ADAL" clId="{9D150B60-33B5-4A3E-8123-A67E35AA8D44}" dt="2020-07-26T22:14:25.695" v="8488" actId="478"/>
          <ac:spMkLst>
            <pc:docMk/>
            <pc:sldMk cId="838099151" sldId="2134804292"/>
            <ac:spMk id="80" creationId="{873CFAA6-FC7F-45D2-92E6-DAAD1C2983D7}"/>
          </ac:spMkLst>
        </pc:spChg>
        <pc:spChg chg="del">
          <ac:chgData name="Mariam Daniela Tristancho Pineda (MISION TEMPORAL LTDA)" userId="a45a17f7-7950-4cb5-bfab-f5c894f959a9" providerId="ADAL" clId="{9D150B60-33B5-4A3E-8123-A67E35AA8D44}" dt="2020-07-26T22:14:25.695" v="8488" actId="478"/>
          <ac:spMkLst>
            <pc:docMk/>
            <pc:sldMk cId="838099151" sldId="2134804292"/>
            <ac:spMk id="81" creationId="{3BE7021F-7134-46E3-90D1-C69BBAE2A0E5}"/>
          </ac:spMkLst>
        </pc:spChg>
        <pc:spChg chg="mod">
          <ac:chgData name="Mariam Daniela Tristancho Pineda (MISION TEMPORAL LTDA)" userId="a45a17f7-7950-4cb5-bfab-f5c894f959a9" providerId="ADAL" clId="{9D150B60-33B5-4A3E-8123-A67E35AA8D44}" dt="2020-07-10T19:13:06.347" v="3103" actId="408"/>
          <ac:spMkLst>
            <pc:docMk/>
            <pc:sldMk cId="838099151" sldId="2134804292"/>
            <ac:spMk id="81" creationId="{CD1A0964-34FB-4EA7-8C35-CE65C810D6AC}"/>
          </ac:spMkLst>
        </pc:spChg>
        <pc:spChg chg="add del mod">
          <ac:chgData name="Mariam Daniela Tristancho Pineda (MISION TEMPORAL LTDA)" userId="a45a17f7-7950-4cb5-bfab-f5c894f959a9" providerId="ADAL" clId="{9D150B60-33B5-4A3E-8123-A67E35AA8D44}" dt="2020-07-26T22:16:07.050" v="8566" actId="478"/>
          <ac:spMkLst>
            <pc:docMk/>
            <pc:sldMk cId="838099151" sldId="2134804292"/>
            <ac:spMk id="82" creationId="{68A35470-ABD4-4C25-B7B1-5E181FAB8314}"/>
          </ac:spMkLst>
        </pc:spChg>
        <pc:spChg chg="mod">
          <ac:chgData name="Mariam Daniela Tristancho Pineda (MISION TEMPORAL LTDA)" userId="a45a17f7-7950-4cb5-bfab-f5c894f959a9" providerId="ADAL" clId="{9D150B60-33B5-4A3E-8123-A67E35AA8D44}" dt="2020-07-10T19:12:29.998" v="3078" actId="1035"/>
          <ac:spMkLst>
            <pc:docMk/>
            <pc:sldMk cId="838099151" sldId="2134804292"/>
            <ac:spMk id="82" creationId="{F356276F-95A8-4D9D-A3D9-51171A0292F7}"/>
          </ac:spMkLst>
        </pc:spChg>
        <pc:spChg chg="add del mod">
          <ac:chgData name="Mariam Daniela Tristancho Pineda (MISION TEMPORAL LTDA)" userId="a45a17f7-7950-4cb5-bfab-f5c894f959a9" providerId="ADAL" clId="{9D150B60-33B5-4A3E-8123-A67E35AA8D44}" dt="2020-07-26T22:16:06.125" v="8565" actId="478"/>
          <ac:spMkLst>
            <pc:docMk/>
            <pc:sldMk cId="838099151" sldId="2134804292"/>
            <ac:spMk id="83" creationId="{AE54F04F-D404-497E-809B-3F849EF82DB1}"/>
          </ac:spMkLst>
        </pc:spChg>
        <pc:spChg chg="del">
          <ac:chgData name="Mariam Daniela Tristancho Pineda (MISION TEMPORAL LTDA)" userId="a45a17f7-7950-4cb5-bfab-f5c894f959a9" providerId="ADAL" clId="{9D150B60-33B5-4A3E-8123-A67E35AA8D44}" dt="2020-07-24T19:54:36.222" v="5983" actId="478"/>
          <ac:spMkLst>
            <pc:docMk/>
            <pc:sldMk cId="838099151" sldId="2134804292"/>
            <ac:spMk id="84" creationId="{18C28815-054E-43C3-8C6D-2901ECFF8DD5}"/>
          </ac:spMkLst>
        </pc:spChg>
        <pc:spChg chg="mod">
          <ac:chgData name="Mariam Daniela Tristancho Pineda (MISION TEMPORAL LTDA)" userId="a45a17f7-7950-4cb5-bfab-f5c894f959a9" providerId="ADAL" clId="{9D150B60-33B5-4A3E-8123-A67E35AA8D44}" dt="2020-07-10T19:12:37.317" v="3090" actId="1038"/>
          <ac:spMkLst>
            <pc:docMk/>
            <pc:sldMk cId="838099151" sldId="2134804292"/>
            <ac:spMk id="84" creationId="{293DBAF3-3942-4C58-8A63-D4484E215E20}"/>
          </ac:spMkLst>
        </pc:spChg>
        <pc:spChg chg="add del mod">
          <ac:chgData name="Mariam Daniela Tristancho Pineda (MISION TEMPORAL LTDA)" userId="a45a17f7-7950-4cb5-bfab-f5c894f959a9" providerId="ADAL" clId="{9D150B60-33B5-4A3E-8123-A67E35AA8D44}" dt="2020-07-26T22:16:04.706" v="8564" actId="478"/>
          <ac:spMkLst>
            <pc:docMk/>
            <pc:sldMk cId="838099151" sldId="2134804292"/>
            <ac:spMk id="84" creationId="{B6966F2C-5DB4-4513-93B3-B951C337B0AE}"/>
          </ac:spMkLst>
        </pc:spChg>
        <pc:spChg chg="del">
          <ac:chgData name="Mariam Daniela Tristancho Pineda (MISION TEMPORAL LTDA)" userId="a45a17f7-7950-4cb5-bfab-f5c894f959a9" providerId="ADAL" clId="{9D150B60-33B5-4A3E-8123-A67E35AA8D44}" dt="2020-07-24T19:54:36.955" v="5984" actId="478"/>
          <ac:spMkLst>
            <pc:docMk/>
            <pc:sldMk cId="838099151" sldId="2134804292"/>
            <ac:spMk id="85" creationId="{23D1103A-6DD4-491B-B095-1A0231D044EB}"/>
          </ac:spMkLst>
        </pc:spChg>
        <pc:spChg chg="add del mod">
          <ac:chgData name="Mariam Daniela Tristancho Pineda (MISION TEMPORAL LTDA)" userId="a45a17f7-7950-4cb5-bfab-f5c894f959a9" providerId="ADAL" clId="{9D150B60-33B5-4A3E-8123-A67E35AA8D44}" dt="2020-07-26T22:16:04.706" v="8564" actId="478"/>
          <ac:spMkLst>
            <pc:docMk/>
            <pc:sldMk cId="838099151" sldId="2134804292"/>
            <ac:spMk id="85" creationId="{CF62E66A-FC24-4EDB-8025-EE240A08691E}"/>
          </ac:spMkLst>
        </pc:spChg>
        <pc:spChg chg="add del mod">
          <ac:chgData name="Mariam Daniela Tristancho Pineda (MISION TEMPORAL LTDA)" userId="a45a17f7-7950-4cb5-bfab-f5c894f959a9" providerId="ADAL" clId="{9D150B60-33B5-4A3E-8123-A67E35AA8D44}" dt="2020-07-26T22:16:04.706" v="8564" actId="478"/>
          <ac:spMkLst>
            <pc:docMk/>
            <pc:sldMk cId="838099151" sldId="2134804292"/>
            <ac:spMk id="86" creationId="{3D65BE33-49D3-454F-8D42-F9F372518711}"/>
          </ac:spMkLst>
        </pc:spChg>
        <pc:spChg chg="mod">
          <ac:chgData name="Mariam Daniela Tristancho Pineda (MISION TEMPORAL LTDA)" userId="a45a17f7-7950-4cb5-bfab-f5c894f959a9" providerId="ADAL" clId="{9D150B60-33B5-4A3E-8123-A67E35AA8D44}" dt="2020-07-10T19:12:37.317" v="3090" actId="1038"/>
          <ac:spMkLst>
            <pc:docMk/>
            <pc:sldMk cId="838099151" sldId="2134804292"/>
            <ac:spMk id="86" creationId="{7696A978-4362-4DE3-8C58-0F58608C4AA6}"/>
          </ac:spMkLst>
        </pc:spChg>
        <pc:spChg chg="mod">
          <ac:chgData name="Mariam Daniela Tristancho Pineda (MISION TEMPORAL LTDA)" userId="a45a17f7-7950-4cb5-bfab-f5c894f959a9" providerId="ADAL" clId="{9D150B60-33B5-4A3E-8123-A67E35AA8D44}" dt="2020-07-26T22:21:09.573" v="8685" actId="1036"/>
          <ac:spMkLst>
            <pc:docMk/>
            <pc:sldMk cId="838099151" sldId="2134804292"/>
            <ac:spMk id="88" creationId="{F9578A02-E162-4167-98BC-7A5265BC5FF6}"/>
          </ac:spMkLst>
        </pc:spChg>
        <pc:spChg chg="mod">
          <ac:chgData name="Mariam Daniela Tristancho Pineda (MISION TEMPORAL LTDA)" userId="a45a17f7-7950-4cb5-bfab-f5c894f959a9" providerId="ADAL" clId="{9D150B60-33B5-4A3E-8123-A67E35AA8D44}" dt="2020-07-10T19:16:41.997" v="3165" actId="1036"/>
          <ac:spMkLst>
            <pc:docMk/>
            <pc:sldMk cId="838099151" sldId="2134804292"/>
            <ac:spMk id="89" creationId="{CA6A86BF-8AE3-49E3-8AEA-D2ED5D0D8C46}"/>
          </ac:spMkLst>
        </pc:spChg>
        <pc:spChg chg="mod">
          <ac:chgData name="Mariam Daniela Tristancho Pineda (MISION TEMPORAL LTDA)" userId="a45a17f7-7950-4cb5-bfab-f5c894f959a9" providerId="ADAL" clId="{9D150B60-33B5-4A3E-8123-A67E35AA8D44}" dt="2020-07-26T22:21:09.573" v="8685" actId="1036"/>
          <ac:spMkLst>
            <pc:docMk/>
            <pc:sldMk cId="838099151" sldId="2134804292"/>
            <ac:spMk id="89" creationId="{D8E9CA48-03D1-4197-9C62-0C7C1EDBC531}"/>
          </ac:spMkLst>
        </pc:spChg>
        <pc:spChg chg="mod">
          <ac:chgData name="Mariam Daniela Tristancho Pineda (MISION TEMPORAL LTDA)" userId="a45a17f7-7950-4cb5-bfab-f5c894f959a9" providerId="ADAL" clId="{9D150B60-33B5-4A3E-8123-A67E35AA8D44}" dt="2020-07-10T19:16:39.316" v="3160" actId="1036"/>
          <ac:spMkLst>
            <pc:docMk/>
            <pc:sldMk cId="838099151" sldId="2134804292"/>
            <ac:spMk id="90" creationId="{0661D48B-FF76-4EA0-9CB0-F0D51B6451EF}"/>
          </ac:spMkLst>
        </pc:spChg>
        <pc:spChg chg="mod">
          <ac:chgData name="Mariam Daniela Tristancho Pineda (MISION TEMPORAL LTDA)" userId="a45a17f7-7950-4cb5-bfab-f5c894f959a9" providerId="ADAL" clId="{9D150B60-33B5-4A3E-8123-A67E35AA8D44}" dt="2020-07-26T22:21:09.573" v="8685" actId="1036"/>
          <ac:spMkLst>
            <pc:docMk/>
            <pc:sldMk cId="838099151" sldId="2134804292"/>
            <ac:spMk id="90" creationId="{189D5391-3F5F-4F14-B976-20E6562B27F4}"/>
          </ac:spMkLst>
        </pc:spChg>
        <pc:spChg chg="del mod">
          <ac:chgData name="Mariam Daniela Tristancho Pineda (MISION TEMPORAL LTDA)" userId="a45a17f7-7950-4cb5-bfab-f5c894f959a9" providerId="ADAL" clId="{9D150B60-33B5-4A3E-8123-A67E35AA8D44}" dt="2020-07-26T22:09:41.798" v="8299" actId="478"/>
          <ac:spMkLst>
            <pc:docMk/>
            <pc:sldMk cId="838099151" sldId="2134804292"/>
            <ac:spMk id="91" creationId="{86027C77-543B-45CC-A593-F11606CAD52B}"/>
          </ac:spMkLst>
        </pc:spChg>
        <pc:spChg chg="del mod">
          <ac:chgData name="Mariam Daniela Tristancho Pineda (MISION TEMPORAL LTDA)" userId="a45a17f7-7950-4cb5-bfab-f5c894f959a9" providerId="ADAL" clId="{9D150B60-33B5-4A3E-8123-A67E35AA8D44}" dt="2020-07-26T22:10:03.530" v="8303" actId="478"/>
          <ac:spMkLst>
            <pc:docMk/>
            <pc:sldMk cId="838099151" sldId="2134804292"/>
            <ac:spMk id="92" creationId="{86027C77-543B-45CC-A593-F11606CAD52B}"/>
          </ac:spMkLst>
        </pc:spChg>
        <pc:spChg chg="del mod">
          <ac:chgData name="Mariam Daniela Tristancho Pineda (MISION TEMPORAL LTDA)" userId="a45a17f7-7950-4cb5-bfab-f5c894f959a9" providerId="ADAL" clId="{9D150B60-33B5-4A3E-8123-A67E35AA8D44}" dt="2020-07-26T22:10:19.972" v="8307" actId="478"/>
          <ac:spMkLst>
            <pc:docMk/>
            <pc:sldMk cId="838099151" sldId="2134804292"/>
            <ac:spMk id="93" creationId="{86027C77-543B-45CC-A593-F11606CAD52B}"/>
          </ac:spMkLst>
        </pc:spChg>
        <pc:spChg chg="del mod">
          <ac:chgData name="Mariam Daniela Tristancho Pineda (MISION TEMPORAL LTDA)" userId="a45a17f7-7950-4cb5-bfab-f5c894f959a9" providerId="ADAL" clId="{9D150B60-33B5-4A3E-8123-A67E35AA8D44}" dt="2020-07-26T22:11:28.633" v="8352" actId="478"/>
          <ac:spMkLst>
            <pc:docMk/>
            <pc:sldMk cId="838099151" sldId="2134804292"/>
            <ac:spMk id="94" creationId="{6C55BCB5-68E2-47A8-839E-7BC835441287}"/>
          </ac:spMkLst>
        </pc:spChg>
        <pc:spChg chg="del">
          <ac:chgData name="Mariam Daniela Tristancho Pineda (MISION TEMPORAL LTDA)" userId="a45a17f7-7950-4cb5-bfab-f5c894f959a9" providerId="ADAL" clId="{9D150B60-33B5-4A3E-8123-A67E35AA8D44}" dt="2020-07-24T19:52:21.182" v="5954" actId="478"/>
          <ac:spMkLst>
            <pc:docMk/>
            <pc:sldMk cId="838099151" sldId="2134804292"/>
            <ac:spMk id="96" creationId="{256C467E-CC0B-4F0C-8C6B-FBD08CE12424}"/>
          </ac:spMkLst>
        </pc:spChg>
        <pc:spChg chg="mod">
          <ac:chgData name="Mariam Daniela Tristancho Pineda (MISION TEMPORAL LTDA)" userId="a45a17f7-7950-4cb5-bfab-f5c894f959a9" providerId="ADAL" clId="{9D150B60-33B5-4A3E-8123-A67E35AA8D44}" dt="2020-07-26T22:04:17.396" v="8238"/>
          <ac:spMkLst>
            <pc:docMk/>
            <pc:sldMk cId="838099151" sldId="2134804292"/>
            <ac:spMk id="96" creationId="{BC964D27-B3DC-42B1-A059-2035E153260E}"/>
          </ac:spMkLst>
        </pc:spChg>
        <pc:spChg chg="mod">
          <ac:chgData name="Mariam Daniela Tristancho Pineda (MISION TEMPORAL LTDA)" userId="a45a17f7-7950-4cb5-bfab-f5c894f959a9" providerId="ADAL" clId="{9D150B60-33B5-4A3E-8123-A67E35AA8D44}" dt="2020-07-26T22:39:55.526" v="9033" actId="1035"/>
          <ac:spMkLst>
            <pc:docMk/>
            <pc:sldMk cId="838099151" sldId="2134804292"/>
            <ac:spMk id="97" creationId="{99300021-C267-43BD-A0F5-B3ECE622345E}"/>
          </ac:spMkLst>
        </pc:spChg>
        <pc:spChg chg="add del mod">
          <ac:chgData name="Mariam Daniela Tristancho Pineda (MISION TEMPORAL LTDA)" userId="a45a17f7-7950-4cb5-bfab-f5c894f959a9" providerId="ADAL" clId="{9D150B60-33B5-4A3E-8123-A67E35AA8D44}" dt="2020-07-26T22:12:02.614" v="8380" actId="478"/>
          <ac:spMkLst>
            <pc:docMk/>
            <pc:sldMk cId="838099151" sldId="2134804292"/>
            <ac:spMk id="98" creationId="{256C467E-CC0B-4F0C-8C6B-FBD08CE12424}"/>
          </ac:spMkLst>
        </pc:spChg>
        <pc:spChg chg="mod">
          <ac:chgData name="Mariam Daniela Tristancho Pineda (MISION TEMPORAL LTDA)" userId="a45a17f7-7950-4cb5-bfab-f5c894f959a9" providerId="ADAL" clId="{9D150B60-33B5-4A3E-8123-A67E35AA8D44}" dt="2020-07-26T22:39:55.526" v="9033" actId="1035"/>
          <ac:spMkLst>
            <pc:docMk/>
            <pc:sldMk cId="838099151" sldId="2134804292"/>
            <ac:spMk id="99" creationId="{90CC82AC-D82E-4F89-AC67-093894759099}"/>
          </ac:spMkLst>
        </pc:spChg>
        <pc:spChg chg="mod">
          <ac:chgData name="Mariam Daniela Tristancho Pineda (MISION TEMPORAL LTDA)" userId="a45a17f7-7950-4cb5-bfab-f5c894f959a9" providerId="ADAL" clId="{9D150B60-33B5-4A3E-8123-A67E35AA8D44}" dt="2020-07-26T22:39:55.526" v="9033" actId="1035"/>
          <ac:spMkLst>
            <pc:docMk/>
            <pc:sldMk cId="838099151" sldId="2134804292"/>
            <ac:spMk id="100" creationId="{1835F856-5B59-4AFF-86DE-2F0968B76CF7}"/>
          </ac:spMkLst>
        </pc:spChg>
        <pc:spChg chg="del">
          <ac:chgData name="Mariam Daniela Tristancho Pineda (MISION TEMPORAL LTDA)" userId="a45a17f7-7950-4cb5-bfab-f5c894f959a9" providerId="ADAL" clId="{9D150B60-33B5-4A3E-8123-A67E35AA8D44}" dt="2020-07-26T22:14:25.695" v="8488" actId="478"/>
          <ac:spMkLst>
            <pc:docMk/>
            <pc:sldMk cId="838099151" sldId="2134804292"/>
            <ac:spMk id="101" creationId="{3F3066EA-DE5F-4129-8BE2-3236092F0C68}"/>
          </ac:spMkLst>
        </pc:spChg>
        <pc:spChg chg="mod">
          <ac:chgData name="Mariam Daniela Tristancho Pineda (MISION TEMPORAL LTDA)" userId="a45a17f7-7950-4cb5-bfab-f5c894f959a9" providerId="ADAL" clId="{9D150B60-33B5-4A3E-8123-A67E35AA8D44}" dt="2020-07-26T22:39:55.526" v="9033" actId="1035"/>
          <ac:spMkLst>
            <pc:docMk/>
            <pc:sldMk cId="838099151" sldId="2134804292"/>
            <ac:spMk id="102" creationId="{101F3273-AA10-47F1-9872-07AD50130DF5}"/>
          </ac:spMkLst>
        </pc:spChg>
        <pc:spChg chg="mod">
          <ac:chgData name="Mariam Daniela Tristancho Pineda (MISION TEMPORAL LTDA)" userId="a45a17f7-7950-4cb5-bfab-f5c894f959a9" providerId="ADAL" clId="{9D150B60-33B5-4A3E-8123-A67E35AA8D44}" dt="2020-07-26T22:39:55.526" v="9033" actId="1035"/>
          <ac:spMkLst>
            <pc:docMk/>
            <pc:sldMk cId="838099151" sldId="2134804292"/>
            <ac:spMk id="103" creationId="{BDBCDC72-F935-45A4-AE31-C045019965AF}"/>
          </ac:spMkLst>
        </pc:spChg>
        <pc:spChg chg="del mod">
          <ac:chgData name="Mariam Daniela Tristancho Pineda (MISION TEMPORAL LTDA)" userId="a45a17f7-7950-4cb5-bfab-f5c894f959a9" providerId="ADAL" clId="{9D150B60-33B5-4A3E-8123-A67E35AA8D44}" dt="2020-07-26T22:05:03.288" v="8246" actId="478"/>
          <ac:spMkLst>
            <pc:docMk/>
            <pc:sldMk cId="838099151" sldId="2134804292"/>
            <ac:spMk id="104" creationId="{0326A105-08B6-409E-9596-07BD7645DEAE}"/>
          </ac:spMkLst>
        </pc:spChg>
        <pc:spChg chg="del mod">
          <ac:chgData name="Mariam Daniela Tristancho Pineda (MISION TEMPORAL LTDA)" userId="a45a17f7-7950-4cb5-bfab-f5c894f959a9" providerId="ADAL" clId="{9D150B60-33B5-4A3E-8123-A67E35AA8D44}" dt="2020-07-26T22:04:58.198" v="8242" actId="478"/>
          <ac:spMkLst>
            <pc:docMk/>
            <pc:sldMk cId="838099151" sldId="2134804292"/>
            <ac:spMk id="105" creationId="{DC633C75-4D21-4E37-ABEB-B69D06C0A224}"/>
          </ac:spMkLst>
        </pc:spChg>
        <pc:spChg chg="del mod">
          <ac:chgData name="Mariam Daniela Tristancho Pineda (MISION TEMPORAL LTDA)" userId="a45a17f7-7950-4cb5-bfab-f5c894f959a9" providerId="ADAL" clId="{9D150B60-33B5-4A3E-8123-A67E35AA8D44}" dt="2020-07-26T22:05:01.841" v="8245" actId="478"/>
          <ac:spMkLst>
            <pc:docMk/>
            <pc:sldMk cId="838099151" sldId="2134804292"/>
            <ac:spMk id="106" creationId="{8BF155F6-9EE4-4410-BB22-DEE4B18E9FEF}"/>
          </ac:spMkLst>
        </pc:spChg>
        <pc:spChg chg="del mod">
          <ac:chgData name="Mariam Daniela Tristancho Pineda (MISION TEMPORAL LTDA)" userId="a45a17f7-7950-4cb5-bfab-f5c894f959a9" providerId="ADAL" clId="{9D150B60-33B5-4A3E-8123-A67E35AA8D44}" dt="2020-07-26T22:04:55.767" v="8241" actId="478"/>
          <ac:spMkLst>
            <pc:docMk/>
            <pc:sldMk cId="838099151" sldId="2134804292"/>
            <ac:spMk id="107" creationId="{4802A65C-C4BA-49C6-A107-DC404BE5C336}"/>
          </ac:spMkLst>
        </pc:spChg>
        <pc:spChg chg="del mod">
          <ac:chgData name="Mariam Daniela Tristancho Pineda (MISION TEMPORAL LTDA)" userId="a45a17f7-7950-4cb5-bfab-f5c894f959a9" providerId="ADAL" clId="{9D150B60-33B5-4A3E-8123-A67E35AA8D44}" dt="2020-07-26T22:05:03.965" v="8247" actId="478"/>
          <ac:spMkLst>
            <pc:docMk/>
            <pc:sldMk cId="838099151" sldId="2134804292"/>
            <ac:spMk id="108" creationId="{E7417F2C-4445-4433-AA31-1B1D9A1C89B3}"/>
          </ac:spMkLst>
        </pc:spChg>
        <pc:spChg chg="del mod">
          <ac:chgData name="Mariam Daniela Tristancho Pineda (MISION TEMPORAL LTDA)" userId="a45a17f7-7950-4cb5-bfab-f5c894f959a9" providerId="ADAL" clId="{9D150B60-33B5-4A3E-8123-A67E35AA8D44}" dt="2020-07-26T22:12:23.655" v="8399" actId="478"/>
          <ac:spMkLst>
            <pc:docMk/>
            <pc:sldMk cId="838099151" sldId="2134804292"/>
            <ac:spMk id="109" creationId="{35684B41-9189-4EE1-B0D7-CFEE8FED279E}"/>
          </ac:spMkLst>
        </pc:spChg>
        <pc:spChg chg="del mod">
          <ac:chgData name="Mariam Daniela Tristancho Pineda (MISION TEMPORAL LTDA)" userId="a45a17f7-7950-4cb5-bfab-f5c894f959a9" providerId="ADAL" clId="{9D150B60-33B5-4A3E-8123-A67E35AA8D44}" dt="2020-07-26T22:12:34.225" v="8408" actId="478"/>
          <ac:spMkLst>
            <pc:docMk/>
            <pc:sldMk cId="838099151" sldId="2134804292"/>
            <ac:spMk id="110" creationId="{08F27C66-1304-4E87-AA0A-61E84CBEF979}"/>
          </ac:spMkLst>
        </pc:spChg>
        <pc:spChg chg="del">
          <ac:chgData name="Mariam Daniela Tristancho Pineda (MISION TEMPORAL LTDA)" userId="a45a17f7-7950-4cb5-bfab-f5c894f959a9" providerId="ADAL" clId="{9D150B60-33B5-4A3E-8123-A67E35AA8D44}" dt="2020-07-26T22:14:25.695" v="8488" actId="478"/>
          <ac:spMkLst>
            <pc:docMk/>
            <pc:sldMk cId="838099151" sldId="2134804292"/>
            <ac:spMk id="111" creationId="{16F672C9-1919-4179-86DF-EB5E10F4BEF7}"/>
          </ac:spMkLst>
        </pc:spChg>
        <pc:spChg chg="mod">
          <ac:chgData name="Mariam Daniela Tristancho Pineda (MISION TEMPORAL LTDA)" userId="a45a17f7-7950-4cb5-bfab-f5c894f959a9" providerId="ADAL" clId="{9D150B60-33B5-4A3E-8123-A67E35AA8D44}" dt="2020-07-26T22:04:17.396" v="8238"/>
          <ac:spMkLst>
            <pc:docMk/>
            <pc:sldMk cId="838099151" sldId="2134804292"/>
            <ac:spMk id="112" creationId="{2F5888B2-AF7D-4A7B-9E98-BABC7746BB94}"/>
          </ac:spMkLst>
        </pc:spChg>
        <pc:spChg chg="mod">
          <ac:chgData name="Mariam Daniela Tristancho Pineda (MISION TEMPORAL LTDA)" userId="a45a17f7-7950-4cb5-bfab-f5c894f959a9" providerId="ADAL" clId="{9D150B60-33B5-4A3E-8123-A67E35AA8D44}" dt="2020-07-10T19:16:35.817" v="3152" actId="1035"/>
          <ac:spMkLst>
            <pc:docMk/>
            <pc:sldMk cId="838099151" sldId="2134804292"/>
            <ac:spMk id="114" creationId="{3796ABAE-603C-44E4-8560-5E4B81602E69}"/>
          </ac:spMkLst>
        </pc:spChg>
        <pc:spChg chg="mod">
          <ac:chgData name="Mariam Daniela Tristancho Pineda (MISION TEMPORAL LTDA)" userId="a45a17f7-7950-4cb5-bfab-f5c894f959a9" providerId="ADAL" clId="{9D150B60-33B5-4A3E-8123-A67E35AA8D44}" dt="2020-07-26T22:12:57.488" v="8420" actId="20577"/>
          <ac:spMkLst>
            <pc:docMk/>
            <pc:sldMk cId="838099151" sldId="2134804292"/>
            <ac:spMk id="114" creationId="{ADFDE276-B9A6-45C5-A37A-541445A94E29}"/>
          </ac:spMkLst>
        </pc:spChg>
        <pc:spChg chg="mod">
          <ac:chgData name="Mariam Daniela Tristancho Pineda (MISION TEMPORAL LTDA)" userId="a45a17f7-7950-4cb5-bfab-f5c894f959a9" providerId="ADAL" clId="{9D150B60-33B5-4A3E-8123-A67E35AA8D44}" dt="2020-07-10T19:16:05.792" v="3128" actId="465"/>
          <ac:spMkLst>
            <pc:docMk/>
            <pc:sldMk cId="838099151" sldId="2134804292"/>
            <ac:spMk id="115" creationId="{38BBD378-EC4D-4433-A4C5-13D5BED88BEE}"/>
          </ac:spMkLst>
        </pc:spChg>
        <pc:spChg chg="mod">
          <ac:chgData name="Mariam Daniela Tristancho Pineda (MISION TEMPORAL LTDA)" userId="a45a17f7-7950-4cb5-bfab-f5c894f959a9" providerId="ADAL" clId="{9D150B60-33B5-4A3E-8123-A67E35AA8D44}" dt="2020-07-26T22:07:53.502" v="8274" actId="207"/>
          <ac:spMkLst>
            <pc:docMk/>
            <pc:sldMk cId="838099151" sldId="2134804292"/>
            <ac:spMk id="115" creationId="{DD909307-5B0C-4667-95EC-1195B948A654}"/>
          </ac:spMkLst>
        </pc:spChg>
        <pc:spChg chg="mod">
          <ac:chgData name="Mariam Daniela Tristancho Pineda (MISION TEMPORAL LTDA)" userId="a45a17f7-7950-4cb5-bfab-f5c894f959a9" providerId="ADAL" clId="{9D150B60-33B5-4A3E-8123-A67E35AA8D44}" dt="2020-07-10T19:16:10.737" v="3132" actId="1036"/>
          <ac:spMkLst>
            <pc:docMk/>
            <pc:sldMk cId="838099151" sldId="2134804292"/>
            <ac:spMk id="116" creationId="{C571755E-A254-4E40-82DC-FD0321DECCBF}"/>
          </ac:spMkLst>
        </pc:spChg>
        <pc:spChg chg="mod">
          <ac:chgData name="Mariam Daniela Tristancho Pineda (MISION TEMPORAL LTDA)" userId="a45a17f7-7950-4cb5-bfab-f5c894f959a9" providerId="ADAL" clId="{9D150B60-33B5-4A3E-8123-A67E35AA8D44}" dt="2020-07-10T19:12:37.317" v="3090" actId="1038"/>
          <ac:spMkLst>
            <pc:docMk/>
            <pc:sldMk cId="838099151" sldId="2134804292"/>
            <ac:spMk id="117" creationId="{8960734A-1053-42D2-BD72-6674DCCE6A97}"/>
          </ac:spMkLst>
        </pc:spChg>
        <pc:spChg chg="mod">
          <ac:chgData name="Mariam Daniela Tristancho Pineda (MISION TEMPORAL LTDA)" userId="a45a17f7-7950-4cb5-bfab-f5c894f959a9" providerId="ADAL" clId="{9D150B60-33B5-4A3E-8123-A67E35AA8D44}" dt="2020-07-26T22:13:08.820" v="8430" actId="1036"/>
          <ac:spMkLst>
            <pc:docMk/>
            <pc:sldMk cId="838099151" sldId="2134804292"/>
            <ac:spMk id="117" creationId="{927FDB58-6A00-46E2-914D-050CE2EAEB47}"/>
          </ac:spMkLst>
        </pc:spChg>
        <pc:spChg chg="mod">
          <ac:chgData name="Mariam Daniela Tristancho Pineda (MISION TEMPORAL LTDA)" userId="a45a17f7-7950-4cb5-bfab-f5c894f959a9" providerId="ADAL" clId="{9D150B60-33B5-4A3E-8123-A67E35AA8D44}" dt="2020-07-10T19:12:37.317" v="3090" actId="1038"/>
          <ac:spMkLst>
            <pc:docMk/>
            <pc:sldMk cId="838099151" sldId="2134804292"/>
            <ac:spMk id="118" creationId="{C77431EE-A761-4323-B75F-692D4CAEC462}"/>
          </ac:spMkLst>
        </pc:spChg>
        <pc:spChg chg="mod">
          <ac:chgData name="Mariam Daniela Tristancho Pineda (MISION TEMPORAL LTDA)" userId="a45a17f7-7950-4cb5-bfab-f5c894f959a9" providerId="ADAL" clId="{9D150B60-33B5-4A3E-8123-A67E35AA8D44}" dt="2020-07-26T22:11:52.428" v="8373" actId="20577"/>
          <ac:spMkLst>
            <pc:docMk/>
            <pc:sldMk cId="838099151" sldId="2134804292"/>
            <ac:spMk id="118" creationId="{D1E91996-2AB3-43DA-A1A9-3BD8CE0E618D}"/>
          </ac:spMkLst>
        </pc:spChg>
        <pc:spChg chg="mod">
          <ac:chgData name="Mariam Daniela Tristancho Pineda (MISION TEMPORAL LTDA)" userId="a45a17f7-7950-4cb5-bfab-f5c894f959a9" providerId="ADAL" clId="{9D150B60-33B5-4A3E-8123-A67E35AA8D44}" dt="2020-07-10T19:12:37.317" v="3090" actId="1038"/>
          <ac:spMkLst>
            <pc:docMk/>
            <pc:sldMk cId="838099151" sldId="2134804292"/>
            <ac:spMk id="119" creationId="{A66DDFF6-8990-4632-9B16-3852035C81BA}"/>
          </ac:spMkLst>
        </pc:spChg>
        <pc:spChg chg="mod">
          <ac:chgData name="Mariam Daniela Tristancho Pineda (MISION TEMPORAL LTDA)" userId="a45a17f7-7950-4cb5-bfab-f5c894f959a9" providerId="ADAL" clId="{9D150B60-33B5-4A3E-8123-A67E35AA8D44}" dt="2020-07-26T22:13:14.294" v="8438" actId="20577"/>
          <ac:spMkLst>
            <pc:docMk/>
            <pc:sldMk cId="838099151" sldId="2134804292"/>
            <ac:spMk id="120" creationId="{07227B9A-D4AE-4AAC-80DE-AFB18DA63E33}"/>
          </ac:spMkLst>
        </pc:spChg>
        <pc:spChg chg="mod">
          <ac:chgData name="Mariam Daniela Tristancho Pineda (MISION TEMPORAL LTDA)" userId="a45a17f7-7950-4cb5-bfab-f5c894f959a9" providerId="ADAL" clId="{9D150B60-33B5-4A3E-8123-A67E35AA8D44}" dt="2020-07-10T19:16:05.792" v="3128" actId="465"/>
          <ac:spMkLst>
            <pc:docMk/>
            <pc:sldMk cId="838099151" sldId="2134804292"/>
            <ac:spMk id="120" creationId="{D32D16B0-640E-4960-B3FD-7E2B7747664D}"/>
          </ac:spMkLst>
        </pc:spChg>
        <pc:spChg chg="mod">
          <ac:chgData name="Mariam Daniela Tristancho Pineda (MISION TEMPORAL LTDA)" userId="a45a17f7-7950-4cb5-bfab-f5c894f959a9" providerId="ADAL" clId="{9D150B60-33B5-4A3E-8123-A67E35AA8D44}" dt="2020-07-26T22:12:32.427" v="8406" actId="20577"/>
          <ac:spMkLst>
            <pc:docMk/>
            <pc:sldMk cId="838099151" sldId="2134804292"/>
            <ac:spMk id="121" creationId="{BA5B3C7E-DC2F-417D-8CA2-8DA1506218F1}"/>
          </ac:spMkLst>
        </pc:spChg>
        <pc:spChg chg="mod">
          <ac:chgData name="Mariam Daniela Tristancho Pineda (MISION TEMPORAL LTDA)" userId="a45a17f7-7950-4cb5-bfab-f5c894f959a9" providerId="ADAL" clId="{9D150B60-33B5-4A3E-8123-A67E35AA8D44}" dt="2020-07-26T22:13:00.888" v="8424" actId="20577"/>
          <ac:spMkLst>
            <pc:docMk/>
            <pc:sldMk cId="838099151" sldId="2134804292"/>
            <ac:spMk id="123" creationId="{998D5E60-9AEE-446F-BB2E-325FB89E32B1}"/>
          </ac:spMkLst>
        </pc:spChg>
        <pc:spChg chg="mod">
          <ac:chgData name="Mariam Daniela Tristancho Pineda (MISION TEMPORAL LTDA)" userId="a45a17f7-7950-4cb5-bfab-f5c894f959a9" providerId="ADAL" clId="{9D150B60-33B5-4A3E-8123-A67E35AA8D44}" dt="2020-07-26T22:25:22.173" v="8872" actId="20577"/>
          <ac:spMkLst>
            <pc:docMk/>
            <pc:sldMk cId="838099151" sldId="2134804292"/>
            <ac:spMk id="124" creationId="{D51FB751-B772-44C1-A8F7-5E12A861F7DF}"/>
          </ac:spMkLst>
        </pc:spChg>
        <pc:spChg chg="mod">
          <ac:chgData name="Mariam Daniela Tristancho Pineda (MISION TEMPORAL LTDA)" userId="a45a17f7-7950-4cb5-bfab-f5c894f959a9" providerId="ADAL" clId="{9D150B60-33B5-4A3E-8123-A67E35AA8D44}" dt="2020-07-26T22:04:17.396" v="8238"/>
          <ac:spMkLst>
            <pc:docMk/>
            <pc:sldMk cId="838099151" sldId="2134804292"/>
            <ac:spMk id="126" creationId="{7328B2AE-EADB-4D84-B9EF-3F0D30367873}"/>
          </ac:spMkLst>
        </pc:spChg>
        <pc:spChg chg="mod">
          <ac:chgData name="Mariam Daniela Tristancho Pineda (MISION TEMPORAL LTDA)" userId="a45a17f7-7950-4cb5-bfab-f5c894f959a9" providerId="ADAL" clId="{9D150B60-33B5-4A3E-8123-A67E35AA8D44}" dt="2020-07-26T22:04:17.396" v="8238"/>
          <ac:spMkLst>
            <pc:docMk/>
            <pc:sldMk cId="838099151" sldId="2134804292"/>
            <ac:spMk id="127" creationId="{76EF8975-9E51-4075-971A-72CD22C20A7E}"/>
          </ac:spMkLst>
        </pc:spChg>
        <pc:spChg chg="mod">
          <ac:chgData name="Mariam Daniela Tristancho Pineda (MISION TEMPORAL LTDA)" userId="a45a17f7-7950-4cb5-bfab-f5c894f959a9" providerId="ADAL" clId="{9D150B60-33B5-4A3E-8123-A67E35AA8D44}" dt="2020-07-10T19:16:14.321" v="3134" actId="1036"/>
          <ac:spMkLst>
            <pc:docMk/>
            <pc:sldMk cId="838099151" sldId="2134804292"/>
            <ac:spMk id="129" creationId="{768A8744-E6E1-4FF0-9FD4-DED31B75E22D}"/>
          </ac:spMkLst>
        </pc:spChg>
        <pc:spChg chg="mod">
          <ac:chgData name="Mariam Daniela Tristancho Pineda (MISION TEMPORAL LTDA)" userId="a45a17f7-7950-4cb5-bfab-f5c894f959a9" providerId="ADAL" clId="{9D150B60-33B5-4A3E-8123-A67E35AA8D44}" dt="2020-07-10T19:15:51.806" v="3127" actId="1036"/>
          <ac:spMkLst>
            <pc:docMk/>
            <pc:sldMk cId="838099151" sldId="2134804292"/>
            <ac:spMk id="130" creationId="{511004CF-94E0-4264-AC62-5C6A3ED0EDEE}"/>
          </ac:spMkLst>
        </pc:spChg>
        <pc:spChg chg="mod">
          <ac:chgData name="Mariam Daniela Tristancho Pineda (MISION TEMPORAL LTDA)" userId="a45a17f7-7950-4cb5-bfab-f5c894f959a9" providerId="ADAL" clId="{9D150B60-33B5-4A3E-8123-A67E35AA8D44}" dt="2020-07-10T19:16:18.662" v="3139" actId="1036"/>
          <ac:spMkLst>
            <pc:docMk/>
            <pc:sldMk cId="838099151" sldId="2134804292"/>
            <ac:spMk id="133" creationId="{79F03A4B-665C-4244-919F-C4FAE4CBDC38}"/>
          </ac:spMkLst>
        </pc:spChg>
        <pc:spChg chg="mod">
          <ac:chgData name="Mariam Daniela Tristancho Pineda (MISION TEMPORAL LTDA)" userId="a45a17f7-7950-4cb5-bfab-f5c894f959a9" providerId="ADAL" clId="{9D150B60-33B5-4A3E-8123-A67E35AA8D44}" dt="2020-07-10T19:17:34.957" v="3197" actId="465"/>
          <ac:spMkLst>
            <pc:docMk/>
            <pc:sldMk cId="838099151" sldId="2134804292"/>
            <ac:spMk id="134" creationId="{3B6E08F0-2A6B-4FBF-B53B-07369D4CFDBA}"/>
          </ac:spMkLst>
        </pc:spChg>
        <pc:spChg chg="mod">
          <ac:chgData name="Mariam Daniela Tristancho Pineda (MISION TEMPORAL LTDA)" userId="a45a17f7-7950-4cb5-bfab-f5c894f959a9" providerId="ADAL" clId="{9D150B60-33B5-4A3E-8123-A67E35AA8D44}" dt="2020-07-10T19:14:31.674" v="3112" actId="12788"/>
          <ac:spMkLst>
            <pc:docMk/>
            <pc:sldMk cId="838099151" sldId="2134804292"/>
            <ac:spMk id="136" creationId="{DFA19DB5-E7B5-4128-AF10-3B3F25B8EE02}"/>
          </ac:spMkLst>
        </pc:spChg>
        <pc:spChg chg="mod">
          <ac:chgData name="Mariam Daniela Tristancho Pineda (MISION TEMPORAL LTDA)" userId="a45a17f7-7950-4cb5-bfab-f5c894f959a9" providerId="ADAL" clId="{9D150B60-33B5-4A3E-8123-A67E35AA8D44}" dt="2020-07-10T19:17:34.957" v="3197" actId="465"/>
          <ac:spMkLst>
            <pc:docMk/>
            <pc:sldMk cId="838099151" sldId="2134804292"/>
            <ac:spMk id="137" creationId="{8BD636FA-D0D7-4314-B770-AFE46B60FC2D}"/>
          </ac:spMkLst>
        </pc:spChg>
        <pc:spChg chg="mod">
          <ac:chgData name="Mariam Daniela Tristancho Pineda (MISION TEMPORAL LTDA)" userId="a45a17f7-7950-4cb5-bfab-f5c894f959a9" providerId="ADAL" clId="{9D150B60-33B5-4A3E-8123-A67E35AA8D44}" dt="2020-07-26T22:19:31.389" v="8652" actId="1036"/>
          <ac:spMkLst>
            <pc:docMk/>
            <pc:sldMk cId="838099151" sldId="2134804292"/>
            <ac:spMk id="137" creationId="{F2F1441C-82E3-4978-ADB4-2E81AB714A12}"/>
          </ac:spMkLst>
        </pc:spChg>
        <pc:spChg chg="mod">
          <ac:chgData name="Mariam Daniela Tristancho Pineda (MISION TEMPORAL LTDA)" userId="a45a17f7-7950-4cb5-bfab-f5c894f959a9" providerId="ADAL" clId="{9D150B60-33B5-4A3E-8123-A67E35AA8D44}" dt="2020-07-10T19:14:31.674" v="3112" actId="12788"/>
          <ac:spMkLst>
            <pc:docMk/>
            <pc:sldMk cId="838099151" sldId="2134804292"/>
            <ac:spMk id="138" creationId="{4CA79C3A-A5EE-407E-9E9E-E331A85A48CD}"/>
          </ac:spMkLst>
        </pc:spChg>
        <pc:spChg chg="mod">
          <ac:chgData name="Mariam Daniela Tristancho Pineda (MISION TEMPORAL LTDA)" userId="a45a17f7-7950-4cb5-bfab-f5c894f959a9" providerId="ADAL" clId="{9D150B60-33B5-4A3E-8123-A67E35AA8D44}" dt="2020-07-10T19:17:27.306" v="3196" actId="555"/>
          <ac:spMkLst>
            <pc:docMk/>
            <pc:sldMk cId="838099151" sldId="2134804292"/>
            <ac:spMk id="139" creationId="{5E076018-21BF-45B0-9B3C-F3D739C8731C}"/>
          </ac:spMkLst>
        </pc:spChg>
        <pc:spChg chg="mod">
          <ac:chgData name="Mariam Daniela Tristancho Pineda (MISION TEMPORAL LTDA)" userId="a45a17f7-7950-4cb5-bfab-f5c894f959a9" providerId="ADAL" clId="{9D150B60-33B5-4A3E-8123-A67E35AA8D44}" dt="2020-07-28T01:21:29.199" v="17798" actId="1037"/>
          <ac:spMkLst>
            <pc:docMk/>
            <pc:sldMk cId="838099151" sldId="2134804292"/>
            <ac:spMk id="140" creationId="{2062ABD7-3E18-481C-BE0F-59304E710CAD}"/>
          </ac:spMkLst>
        </pc:spChg>
        <pc:spChg chg="mod">
          <ac:chgData name="Mariam Daniela Tristancho Pineda (MISION TEMPORAL LTDA)" userId="a45a17f7-7950-4cb5-bfab-f5c894f959a9" providerId="ADAL" clId="{9D150B60-33B5-4A3E-8123-A67E35AA8D44}" dt="2020-07-10T19:17:48.646" v="3204" actId="1036"/>
          <ac:spMkLst>
            <pc:docMk/>
            <pc:sldMk cId="838099151" sldId="2134804292"/>
            <ac:spMk id="141" creationId="{1F99501C-E9BE-4524-AD69-B8B905609A68}"/>
          </ac:spMkLst>
        </pc:spChg>
        <pc:spChg chg="del mod">
          <ac:chgData name="Mariam Daniela Tristancho Pineda (MISION TEMPORAL LTDA)" userId="a45a17f7-7950-4cb5-bfab-f5c894f959a9" providerId="ADAL" clId="{9D150B60-33B5-4A3E-8123-A67E35AA8D44}" dt="2020-07-24T19:47:48.895" v="5757" actId="478"/>
          <ac:spMkLst>
            <pc:docMk/>
            <pc:sldMk cId="838099151" sldId="2134804292"/>
            <ac:spMk id="141" creationId="{6DFBB2A7-5F2D-4D91-9156-98CB032BD858}"/>
          </ac:spMkLst>
        </pc:spChg>
        <pc:spChg chg="mod">
          <ac:chgData name="Mariam Daniela Tristancho Pineda (MISION TEMPORAL LTDA)" userId="a45a17f7-7950-4cb5-bfab-f5c894f959a9" providerId="ADAL" clId="{9D150B60-33B5-4A3E-8123-A67E35AA8D44}" dt="2020-07-10T19:17:44.804" v="3199" actId="465"/>
          <ac:spMkLst>
            <pc:docMk/>
            <pc:sldMk cId="838099151" sldId="2134804292"/>
            <ac:spMk id="142" creationId="{038FDE28-2D96-4A8C-B8B5-30A8A4D0BF3A}"/>
          </ac:spMkLst>
        </pc:spChg>
        <pc:spChg chg="mod">
          <ac:chgData name="Mariam Daniela Tristancho Pineda (MISION TEMPORAL LTDA)" userId="a45a17f7-7950-4cb5-bfab-f5c894f959a9" providerId="ADAL" clId="{9D150B60-33B5-4A3E-8123-A67E35AA8D44}" dt="2020-07-26T22:20:59.067" v="8681" actId="12788"/>
          <ac:spMkLst>
            <pc:docMk/>
            <pc:sldMk cId="838099151" sldId="2134804292"/>
            <ac:spMk id="142" creationId="{9660C67C-C249-4C29-87B1-2E22B67DE74F}"/>
          </ac:spMkLst>
        </pc:spChg>
        <pc:spChg chg="mod">
          <ac:chgData name="Mariam Daniela Tristancho Pineda (MISION TEMPORAL LTDA)" userId="a45a17f7-7950-4cb5-bfab-f5c894f959a9" providerId="ADAL" clId="{9D150B60-33B5-4A3E-8123-A67E35AA8D44}" dt="2020-07-10T19:17:56.477" v="3211" actId="1036"/>
          <ac:spMkLst>
            <pc:docMk/>
            <pc:sldMk cId="838099151" sldId="2134804292"/>
            <ac:spMk id="143" creationId="{38845BF2-B201-4C3D-852F-C5B77258CE4D}"/>
          </ac:spMkLst>
        </pc:spChg>
        <pc:spChg chg="mod">
          <ac:chgData name="Mariam Daniela Tristancho Pineda (MISION TEMPORAL LTDA)" userId="a45a17f7-7950-4cb5-bfab-f5c894f959a9" providerId="ADAL" clId="{9D150B60-33B5-4A3E-8123-A67E35AA8D44}" dt="2020-07-10T19:17:27.306" v="3196" actId="555"/>
          <ac:spMkLst>
            <pc:docMk/>
            <pc:sldMk cId="838099151" sldId="2134804292"/>
            <ac:spMk id="144" creationId="{05FB7BF9-A935-4CD2-90AB-414F55875B4C}"/>
          </ac:spMkLst>
        </pc:spChg>
        <pc:spChg chg="mod">
          <ac:chgData name="Mariam Daniela Tristancho Pineda (MISION TEMPORAL LTDA)" userId="a45a17f7-7950-4cb5-bfab-f5c894f959a9" providerId="ADAL" clId="{9D150B60-33B5-4A3E-8123-A67E35AA8D44}" dt="2020-07-10T19:17:54.807" v="3210" actId="1035"/>
          <ac:spMkLst>
            <pc:docMk/>
            <pc:sldMk cId="838099151" sldId="2134804292"/>
            <ac:spMk id="145" creationId="{2F83E84D-1862-43DE-93D9-912B7FF18AC1}"/>
          </ac:spMkLst>
        </pc:spChg>
        <pc:spChg chg="del">
          <ac:chgData name="Mariam Daniela Tristancho Pineda (MISION TEMPORAL LTDA)" userId="a45a17f7-7950-4cb5-bfab-f5c894f959a9" providerId="ADAL" clId="{9D150B60-33B5-4A3E-8123-A67E35AA8D44}" dt="2020-07-24T19:52:44.451" v="5961" actId="478"/>
          <ac:spMkLst>
            <pc:docMk/>
            <pc:sldMk cId="838099151" sldId="2134804292"/>
            <ac:spMk id="146" creationId="{D86974CC-32BF-439F-A6E2-D1E82520294D}"/>
          </ac:spMkLst>
        </pc:spChg>
        <pc:spChg chg="mod">
          <ac:chgData name="Mariam Daniela Tristancho Pineda (MISION TEMPORAL LTDA)" userId="a45a17f7-7950-4cb5-bfab-f5c894f959a9" providerId="ADAL" clId="{9D150B60-33B5-4A3E-8123-A67E35AA8D44}" dt="2020-07-10T19:18:25.812" v="3217" actId="1036"/>
          <ac:spMkLst>
            <pc:docMk/>
            <pc:sldMk cId="838099151" sldId="2134804292"/>
            <ac:spMk id="146" creationId="{E581618D-F82B-4ABC-9AA7-ACE260205736}"/>
          </ac:spMkLst>
        </pc:spChg>
        <pc:spChg chg="add mod">
          <ac:chgData name="Mariam Daniela Tristancho Pineda (MISION TEMPORAL LTDA)" userId="a45a17f7-7950-4cb5-bfab-f5c894f959a9" providerId="ADAL" clId="{9D150B60-33B5-4A3E-8123-A67E35AA8D44}" dt="2020-07-26T22:25:08.377" v="8863" actId="1076"/>
          <ac:spMkLst>
            <pc:docMk/>
            <pc:sldMk cId="838099151" sldId="2134804292"/>
            <ac:spMk id="147" creationId="{7AE06ED6-F18A-4AD1-A2CC-5709E7959E47}"/>
          </ac:spMkLst>
        </pc:spChg>
        <pc:spChg chg="del">
          <ac:chgData name="Mariam Daniela Tristancho Pineda (MISION TEMPORAL LTDA)" userId="a45a17f7-7950-4cb5-bfab-f5c894f959a9" providerId="ADAL" clId="{9D150B60-33B5-4A3E-8123-A67E35AA8D44}" dt="2020-07-24T19:50:35" v="5902" actId="478"/>
          <ac:spMkLst>
            <pc:docMk/>
            <pc:sldMk cId="838099151" sldId="2134804292"/>
            <ac:spMk id="148" creationId="{3D0EFFEA-E9FE-4053-B9D8-C9F8D8881270}"/>
          </ac:spMkLst>
        </pc:spChg>
        <pc:spChg chg="mod">
          <ac:chgData name="Mariam Daniela Tristancho Pineda (MISION TEMPORAL LTDA)" userId="a45a17f7-7950-4cb5-bfab-f5c894f959a9" providerId="ADAL" clId="{9D150B60-33B5-4A3E-8123-A67E35AA8D44}" dt="2020-07-10T19:18:25.812" v="3217" actId="1036"/>
          <ac:spMkLst>
            <pc:docMk/>
            <pc:sldMk cId="838099151" sldId="2134804292"/>
            <ac:spMk id="148" creationId="{5F93DFD2-F19C-4FDA-8CDF-0578836DEE9F}"/>
          </ac:spMkLst>
        </pc:spChg>
        <pc:spChg chg="mod">
          <ac:chgData name="Mariam Daniela Tristancho Pineda (MISION TEMPORAL LTDA)" userId="a45a17f7-7950-4cb5-bfab-f5c894f959a9" providerId="ADAL" clId="{9D150B60-33B5-4A3E-8123-A67E35AA8D44}" dt="2020-07-10T19:18:25.812" v="3217" actId="1036"/>
          <ac:spMkLst>
            <pc:docMk/>
            <pc:sldMk cId="838099151" sldId="2134804292"/>
            <ac:spMk id="152" creationId="{81B55E9D-6520-4232-8F95-CA5DA2B05E27}"/>
          </ac:spMkLst>
        </pc:spChg>
        <pc:spChg chg="mod">
          <ac:chgData name="Mariam Daniela Tristancho Pineda (MISION TEMPORAL LTDA)" userId="a45a17f7-7950-4cb5-bfab-f5c894f959a9" providerId="ADAL" clId="{9D150B60-33B5-4A3E-8123-A67E35AA8D44}" dt="2020-07-10T19:13:06.347" v="3103" actId="408"/>
          <ac:spMkLst>
            <pc:docMk/>
            <pc:sldMk cId="838099151" sldId="2134804292"/>
            <ac:spMk id="154" creationId="{51569EEF-5FF5-4885-AF0F-9B61A97A9213}"/>
          </ac:spMkLst>
        </pc:spChg>
        <pc:spChg chg="mod">
          <ac:chgData name="Mariam Daniela Tristancho Pineda (MISION TEMPORAL LTDA)" userId="a45a17f7-7950-4cb5-bfab-f5c894f959a9" providerId="ADAL" clId="{9D150B60-33B5-4A3E-8123-A67E35AA8D44}" dt="2020-07-10T19:12:29.998" v="3078" actId="1035"/>
          <ac:spMkLst>
            <pc:docMk/>
            <pc:sldMk cId="838099151" sldId="2134804292"/>
            <ac:spMk id="155" creationId="{85DECC14-EFD0-416A-A5B4-200EFD930259}"/>
          </ac:spMkLst>
        </pc:spChg>
        <pc:spChg chg="mod">
          <ac:chgData name="Mariam Daniela Tristancho Pineda (MISION TEMPORAL LTDA)" userId="a45a17f7-7950-4cb5-bfab-f5c894f959a9" providerId="ADAL" clId="{9D150B60-33B5-4A3E-8123-A67E35AA8D44}" dt="2020-07-10T19:13:51.978" v="3109" actId="12788"/>
          <ac:spMkLst>
            <pc:docMk/>
            <pc:sldMk cId="838099151" sldId="2134804292"/>
            <ac:spMk id="157" creationId="{91F13659-BE11-4E1B-BDAB-822E9F006000}"/>
          </ac:spMkLst>
        </pc:spChg>
        <pc:spChg chg="mod">
          <ac:chgData name="Mariam Daniela Tristancho Pineda (MISION TEMPORAL LTDA)" userId="a45a17f7-7950-4cb5-bfab-f5c894f959a9" providerId="ADAL" clId="{9D150B60-33B5-4A3E-8123-A67E35AA8D44}" dt="2020-07-10T19:12:29.998" v="3078" actId="1035"/>
          <ac:spMkLst>
            <pc:docMk/>
            <pc:sldMk cId="838099151" sldId="2134804292"/>
            <ac:spMk id="158" creationId="{3C4052CE-36EF-4834-84E0-2FA58614DC3D}"/>
          </ac:spMkLst>
        </pc:spChg>
        <pc:spChg chg="mod">
          <ac:chgData name="Mariam Daniela Tristancho Pineda (MISION TEMPORAL LTDA)" userId="a45a17f7-7950-4cb5-bfab-f5c894f959a9" providerId="ADAL" clId="{9D150B60-33B5-4A3E-8123-A67E35AA8D44}" dt="2020-07-10T19:12:46.913" v="3102" actId="1036"/>
          <ac:spMkLst>
            <pc:docMk/>
            <pc:sldMk cId="838099151" sldId="2134804292"/>
            <ac:spMk id="159" creationId="{D1B09D29-0F94-4A9E-B937-912A7757E003}"/>
          </ac:spMkLst>
        </pc:spChg>
        <pc:spChg chg="mod">
          <ac:chgData name="Mariam Daniela Tristancho Pineda (MISION TEMPORAL LTDA)" userId="a45a17f7-7950-4cb5-bfab-f5c894f959a9" providerId="ADAL" clId="{9D150B60-33B5-4A3E-8123-A67E35AA8D44}" dt="2020-07-10T19:13:51.978" v="3109" actId="12788"/>
          <ac:spMkLst>
            <pc:docMk/>
            <pc:sldMk cId="838099151" sldId="2134804292"/>
            <ac:spMk id="161" creationId="{A2C0A837-67F3-42ED-886B-523101680577}"/>
          </ac:spMkLst>
        </pc:spChg>
        <pc:spChg chg="mod">
          <ac:chgData name="Mariam Daniela Tristancho Pineda (MISION TEMPORAL LTDA)" userId="a45a17f7-7950-4cb5-bfab-f5c894f959a9" providerId="ADAL" clId="{9D150B60-33B5-4A3E-8123-A67E35AA8D44}" dt="2020-07-10T19:12:43.269" v="3099" actId="1036"/>
          <ac:spMkLst>
            <pc:docMk/>
            <pc:sldMk cId="838099151" sldId="2134804292"/>
            <ac:spMk id="163" creationId="{352B0074-8236-4A71-86F6-E6BD18130FF4}"/>
          </ac:spMkLst>
        </pc:spChg>
        <pc:spChg chg="mod">
          <ac:chgData name="Mariam Daniela Tristancho Pineda (MISION TEMPORAL LTDA)" userId="a45a17f7-7950-4cb5-bfab-f5c894f959a9" providerId="ADAL" clId="{9D150B60-33B5-4A3E-8123-A67E35AA8D44}" dt="2020-07-10T19:13:51.978" v="3109" actId="12788"/>
          <ac:spMkLst>
            <pc:docMk/>
            <pc:sldMk cId="838099151" sldId="2134804292"/>
            <ac:spMk id="166" creationId="{A8C6C946-3CE2-4699-8F7F-D7D65A0162AE}"/>
          </ac:spMkLst>
        </pc:spChg>
        <pc:spChg chg="mod">
          <ac:chgData name="Mariam Daniela Tristancho Pineda (MISION TEMPORAL LTDA)" userId="a45a17f7-7950-4cb5-bfab-f5c894f959a9" providerId="ADAL" clId="{9D150B60-33B5-4A3E-8123-A67E35AA8D44}" dt="2020-07-10T19:12:29.998" v="3078" actId="1035"/>
          <ac:spMkLst>
            <pc:docMk/>
            <pc:sldMk cId="838099151" sldId="2134804292"/>
            <ac:spMk id="171" creationId="{31F9A789-6159-4027-AA08-AEBDED84D15B}"/>
          </ac:spMkLst>
        </pc:spChg>
        <pc:spChg chg="mod">
          <ac:chgData name="Mariam Daniela Tristancho Pineda (MISION TEMPORAL LTDA)" userId="a45a17f7-7950-4cb5-bfab-f5c894f959a9" providerId="ADAL" clId="{9D150B60-33B5-4A3E-8123-A67E35AA8D44}" dt="2020-07-10T19:12:29.998" v="3078" actId="1035"/>
          <ac:spMkLst>
            <pc:docMk/>
            <pc:sldMk cId="838099151" sldId="2134804292"/>
            <ac:spMk id="172" creationId="{73861465-728B-488A-BCBF-DA3013EDE110}"/>
          </ac:spMkLst>
        </pc:spChg>
        <pc:spChg chg="mod">
          <ac:chgData name="Mariam Daniela Tristancho Pineda (MISION TEMPORAL LTDA)" userId="a45a17f7-7950-4cb5-bfab-f5c894f959a9" providerId="ADAL" clId="{9D150B60-33B5-4A3E-8123-A67E35AA8D44}" dt="2020-07-10T19:12:29.998" v="3078" actId="1035"/>
          <ac:spMkLst>
            <pc:docMk/>
            <pc:sldMk cId="838099151" sldId="2134804292"/>
            <ac:spMk id="173" creationId="{457E92A2-197D-4ABC-B979-4E46A2D2A50A}"/>
          </ac:spMkLst>
        </pc:spChg>
        <pc:spChg chg="mod">
          <ac:chgData name="Mariam Daniela Tristancho Pineda (MISION TEMPORAL LTDA)" userId="a45a17f7-7950-4cb5-bfab-f5c894f959a9" providerId="ADAL" clId="{9D150B60-33B5-4A3E-8123-A67E35AA8D44}" dt="2020-07-10T19:12:46.913" v="3102" actId="1036"/>
          <ac:spMkLst>
            <pc:docMk/>
            <pc:sldMk cId="838099151" sldId="2134804292"/>
            <ac:spMk id="174" creationId="{91F6C1C3-3AEA-42B3-9357-98C2C33009C5}"/>
          </ac:spMkLst>
        </pc:spChg>
        <pc:spChg chg="mod">
          <ac:chgData name="Mariam Daniela Tristancho Pineda (MISION TEMPORAL LTDA)" userId="a45a17f7-7950-4cb5-bfab-f5c894f959a9" providerId="ADAL" clId="{9D150B60-33B5-4A3E-8123-A67E35AA8D44}" dt="2020-07-10T19:12:43.269" v="3099" actId="1036"/>
          <ac:spMkLst>
            <pc:docMk/>
            <pc:sldMk cId="838099151" sldId="2134804292"/>
            <ac:spMk id="181" creationId="{F0C8DCB7-8E59-4C5E-83BC-7A422A34F55B}"/>
          </ac:spMkLst>
        </pc:spChg>
        <pc:grpChg chg="mod">
          <ac:chgData name="Mariam Daniela Tristancho Pineda (MISION TEMPORAL LTDA)" userId="a45a17f7-7950-4cb5-bfab-f5c894f959a9" providerId="ADAL" clId="{9D150B60-33B5-4A3E-8123-A67E35AA8D44}" dt="2020-07-10T19:12:46.913" v="3102" actId="1036"/>
          <ac:grpSpMkLst>
            <pc:docMk/>
            <pc:sldMk cId="838099151" sldId="2134804292"/>
            <ac:grpSpMk id="12" creationId="{F7A27740-773B-4462-BF89-1401A505A214}"/>
          </ac:grpSpMkLst>
        </pc:grpChg>
        <pc:grpChg chg="mod">
          <ac:chgData name="Mariam Daniela Tristancho Pineda (MISION TEMPORAL LTDA)" userId="a45a17f7-7950-4cb5-bfab-f5c894f959a9" providerId="ADAL" clId="{9D150B60-33B5-4A3E-8123-A67E35AA8D44}" dt="2020-07-10T19:12:46.913" v="3102" actId="1036"/>
          <ac:grpSpMkLst>
            <pc:docMk/>
            <pc:sldMk cId="838099151" sldId="2134804292"/>
            <ac:grpSpMk id="13" creationId="{A8CA6308-BA4A-4036-98AC-A0FC96BDEE65}"/>
          </ac:grpSpMkLst>
        </pc:grpChg>
        <pc:grpChg chg="mod">
          <ac:chgData name="Mariam Daniela Tristancho Pineda (MISION TEMPORAL LTDA)" userId="a45a17f7-7950-4cb5-bfab-f5c894f959a9" providerId="ADAL" clId="{9D150B60-33B5-4A3E-8123-A67E35AA8D44}" dt="2020-07-10T19:12:43.269" v="3099" actId="1036"/>
          <ac:grpSpMkLst>
            <pc:docMk/>
            <pc:sldMk cId="838099151" sldId="2134804292"/>
            <ac:grpSpMk id="14" creationId="{318A26BA-E4F9-4151-AC7F-1D44608D9931}"/>
          </ac:grpSpMkLst>
        </pc:grpChg>
        <pc:grpChg chg="mod">
          <ac:chgData name="Mariam Daniela Tristancho Pineda (MISION TEMPORAL LTDA)" userId="a45a17f7-7950-4cb5-bfab-f5c894f959a9" providerId="ADAL" clId="{9D150B60-33B5-4A3E-8123-A67E35AA8D44}" dt="2020-07-10T19:12:43.269" v="3099" actId="1036"/>
          <ac:grpSpMkLst>
            <pc:docMk/>
            <pc:sldMk cId="838099151" sldId="2134804292"/>
            <ac:grpSpMk id="15" creationId="{F77208F2-2A0A-4CBA-884C-AE4F6B5D58FB}"/>
          </ac:grpSpMkLst>
        </pc:grpChg>
        <pc:grpChg chg="mod">
          <ac:chgData name="Mariam Daniela Tristancho Pineda (MISION TEMPORAL LTDA)" userId="a45a17f7-7950-4cb5-bfab-f5c894f959a9" providerId="ADAL" clId="{9D150B60-33B5-4A3E-8123-A67E35AA8D44}" dt="2020-07-10T19:12:37.317" v="3090" actId="1038"/>
          <ac:grpSpMkLst>
            <pc:docMk/>
            <pc:sldMk cId="838099151" sldId="2134804292"/>
            <ac:grpSpMk id="16" creationId="{C2A3B512-7A1C-4FAF-A81F-067631C52819}"/>
          </ac:grpSpMkLst>
        </pc:grpChg>
        <pc:grpChg chg="mod">
          <ac:chgData name="Mariam Daniela Tristancho Pineda (MISION TEMPORAL LTDA)" userId="a45a17f7-7950-4cb5-bfab-f5c894f959a9" providerId="ADAL" clId="{9D150B60-33B5-4A3E-8123-A67E35AA8D44}" dt="2020-07-10T19:12:37.317" v="3090" actId="1038"/>
          <ac:grpSpMkLst>
            <pc:docMk/>
            <pc:sldMk cId="838099151" sldId="2134804292"/>
            <ac:grpSpMk id="17" creationId="{3FA1F953-EEBE-442C-918A-F7B21E87A8A9}"/>
          </ac:grpSpMkLst>
        </pc:grpChg>
        <pc:grpChg chg="mod">
          <ac:chgData name="Mariam Daniela Tristancho Pineda (MISION TEMPORAL LTDA)" userId="a45a17f7-7950-4cb5-bfab-f5c894f959a9" providerId="ADAL" clId="{9D150B60-33B5-4A3E-8123-A67E35AA8D44}" dt="2020-07-10T19:12:37.317" v="3090" actId="1038"/>
          <ac:grpSpMkLst>
            <pc:docMk/>
            <pc:sldMk cId="838099151" sldId="2134804292"/>
            <ac:grpSpMk id="18" creationId="{6EAE7CEA-676F-4400-97CC-CCB1402325E8}"/>
          </ac:grpSpMkLst>
        </pc:grpChg>
        <pc:grpChg chg="mod">
          <ac:chgData name="Mariam Daniela Tristancho Pineda (MISION TEMPORAL LTDA)" userId="a45a17f7-7950-4cb5-bfab-f5c894f959a9" providerId="ADAL" clId="{9D150B60-33B5-4A3E-8123-A67E35AA8D44}" dt="2020-07-10T19:12:37.317" v="3090" actId="1038"/>
          <ac:grpSpMkLst>
            <pc:docMk/>
            <pc:sldMk cId="838099151" sldId="2134804292"/>
            <ac:grpSpMk id="19" creationId="{0F855846-8A33-4060-B70C-0ACBFC4A7022}"/>
          </ac:grpSpMkLst>
        </pc:grpChg>
        <pc:grpChg chg="mod">
          <ac:chgData name="Mariam Daniela Tristancho Pineda (MISION TEMPORAL LTDA)" userId="a45a17f7-7950-4cb5-bfab-f5c894f959a9" providerId="ADAL" clId="{9D150B60-33B5-4A3E-8123-A67E35AA8D44}" dt="2020-07-10T19:12:37.317" v="3090" actId="1038"/>
          <ac:grpSpMkLst>
            <pc:docMk/>
            <pc:sldMk cId="838099151" sldId="2134804292"/>
            <ac:grpSpMk id="20" creationId="{903ABF81-475D-410E-9692-550132D53972}"/>
          </ac:grpSpMkLst>
        </pc:grpChg>
        <pc:grpChg chg="mod">
          <ac:chgData name="Mariam Daniela Tristancho Pineda (MISION TEMPORAL LTDA)" userId="a45a17f7-7950-4cb5-bfab-f5c894f959a9" providerId="ADAL" clId="{9D150B60-33B5-4A3E-8123-A67E35AA8D44}" dt="2020-07-10T19:12:37.317" v="3090" actId="1038"/>
          <ac:grpSpMkLst>
            <pc:docMk/>
            <pc:sldMk cId="838099151" sldId="2134804292"/>
            <ac:grpSpMk id="21" creationId="{819DBC46-BA70-49B0-818A-DC77081E7584}"/>
          </ac:grpSpMkLst>
        </pc:grpChg>
        <pc:grpChg chg="mod">
          <ac:chgData name="Mariam Daniela Tristancho Pineda (MISION TEMPORAL LTDA)" userId="a45a17f7-7950-4cb5-bfab-f5c894f959a9" providerId="ADAL" clId="{9D150B60-33B5-4A3E-8123-A67E35AA8D44}" dt="2020-07-10T19:12:37.317" v="3090" actId="1038"/>
          <ac:grpSpMkLst>
            <pc:docMk/>
            <pc:sldMk cId="838099151" sldId="2134804292"/>
            <ac:grpSpMk id="22" creationId="{5513E780-7012-49CC-8CFB-E8E88FF42465}"/>
          </ac:grpSpMkLst>
        </pc:grpChg>
        <pc:grpChg chg="mod">
          <ac:chgData name="Mariam Daniela Tristancho Pineda (MISION TEMPORAL LTDA)" userId="a45a17f7-7950-4cb5-bfab-f5c894f959a9" providerId="ADAL" clId="{9D150B60-33B5-4A3E-8123-A67E35AA8D44}" dt="2020-07-10T19:12:37.317" v="3090" actId="1038"/>
          <ac:grpSpMkLst>
            <pc:docMk/>
            <pc:sldMk cId="838099151" sldId="2134804292"/>
            <ac:grpSpMk id="23" creationId="{E25430C1-763D-4B30-9379-4DCBD0D85D96}"/>
          </ac:grpSpMkLst>
        </pc:grpChg>
        <pc:grpChg chg="mod">
          <ac:chgData name="Mariam Daniela Tristancho Pineda (MISION TEMPORAL LTDA)" userId="a45a17f7-7950-4cb5-bfab-f5c894f959a9" providerId="ADAL" clId="{9D150B60-33B5-4A3E-8123-A67E35AA8D44}" dt="2020-07-10T19:12:37.317" v="3090" actId="1038"/>
          <ac:grpSpMkLst>
            <pc:docMk/>
            <pc:sldMk cId="838099151" sldId="2134804292"/>
            <ac:grpSpMk id="24" creationId="{957BE8E2-0B1B-42AA-9BC2-FE166024F81A}"/>
          </ac:grpSpMkLst>
        </pc:grpChg>
        <pc:grpChg chg="mod">
          <ac:chgData name="Mariam Daniela Tristancho Pineda (MISION TEMPORAL LTDA)" userId="a45a17f7-7950-4cb5-bfab-f5c894f959a9" providerId="ADAL" clId="{9D150B60-33B5-4A3E-8123-A67E35AA8D44}" dt="2020-07-10T19:12:37.317" v="3090" actId="1038"/>
          <ac:grpSpMkLst>
            <pc:docMk/>
            <pc:sldMk cId="838099151" sldId="2134804292"/>
            <ac:grpSpMk id="25" creationId="{1C646559-D1E9-4E1F-B2C1-2BF522FDD45D}"/>
          </ac:grpSpMkLst>
        </pc:grpChg>
        <pc:grpChg chg="mod">
          <ac:chgData name="Mariam Daniela Tristancho Pineda (MISION TEMPORAL LTDA)" userId="a45a17f7-7950-4cb5-bfab-f5c894f959a9" providerId="ADAL" clId="{9D150B60-33B5-4A3E-8123-A67E35AA8D44}" dt="2020-07-10T19:18:25.812" v="3217" actId="1036"/>
          <ac:grpSpMkLst>
            <pc:docMk/>
            <pc:sldMk cId="838099151" sldId="2134804292"/>
            <ac:grpSpMk id="26" creationId="{492B52D9-6320-4D1D-BA39-7AEC22A2C945}"/>
          </ac:grpSpMkLst>
        </pc:grpChg>
        <pc:grpChg chg="add del mod">
          <ac:chgData name="Mariam Daniela Tristancho Pineda (MISION TEMPORAL LTDA)" userId="a45a17f7-7950-4cb5-bfab-f5c894f959a9" providerId="ADAL" clId="{9D150B60-33B5-4A3E-8123-A67E35AA8D44}" dt="2020-07-26T22:04:16.496" v="8237" actId="478"/>
          <ac:grpSpMkLst>
            <pc:docMk/>
            <pc:sldMk cId="838099151" sldId="2134804292"/>
            <ac:grpSpMk id="58" creationId="{F394591C-06BF-4BFB-8272-E1310CAC5A99}"/>
          </ac:grpSpMkLst>
        </pc:grpChg>
        <pc:grpChg chg="add del mod">
          <ac:chgData name="Mariam Daniela Tristancho Pineda (MISION TEMPORAL LTDA)" userId="a45a17f7-7950-4cb5-bfab-f5c894f959a9" providerId="ADAL" clId="{9D150B60-33B5-4A3E-8123-A67E35AA8D44}" dt="2020-07-26T22:04:16.496" v="8237" actId="478"/>
          <ac:grpSpMkLst>
            <pc:docMk/>
            <pc:sldMk cId="838099151" sldId="2134804292"/>
            <ac:grpSpMk id="61" creationId="{1A0CED9E-C5DB-4CB6-9D18-36A21FE376E8}"/>
          </ac:grpSpMkLst>
        </pc:grpChg>
        <pc:grpChg chg="add del mod">
          <ac:chgData name="Mariam Daniela Tristancho Pineda (MISION TEMPORAL LTDA)" userId="a45a17f7-7950-4cb5-bfab-f5c894f959a9" providerId="ADAL" clId="{9D150B60-33B5-4A3E-8123-A67E35AA8D44}" dt="2020-07-26T22:04:16.496" v="8237" actId="478"/>
          <ac:grpSpMkLst>
            <pc:docMk/>
            <pc:sldMk cId="838099151" sldId="2134804292"/>
            <ac:grpSpMk id="64" creationId="{E548B259-2257-48E4-9046-BF8B4875967B}"/>
          </ac:grpSpMkLst>
        </pc:grpChg>
        <pc:grpChg chg="add del mod">
          <ac:chgData name="Mariam Daniela Tristancho Pineda (MISION TEMPORAL LTDA)" userId="a45a17f7-7950-4cb5-bfab-f5c894f959a9" providerId="ADAL" clId="{9D150B60-33B5-4A3E-8123-A67E35AA8D44}" dt="2020-07-26T22:04:16.496" v="8237" actId="478"/>
          <ac:grpSpMkLst>
            <pc:docMk/>
            <pc:sldMk cId="838099151" sldId="2134804292"/>
            <ac:grpSpMk id="67" creationId="{FD756814-B571-4ECF-A2C2-78FC03BF5DCA}"/>
          </ac:grpSpMkLst>
        </pc:grpChg>
        <pc:grpChg chg="add del mod">
          <ac:chgData name="Mariam Daniela Tristancho Pineda (MISION TEMPORAL LTDA)" userId="a45a17f7-7950-4cb5-bfab-f5c894f959a9" providerId="ADAL" clId="{9D150B60-33B5-4A3E-8123-A67E35AA8D44}" dt="2020-07-26T22:04:16.496" v="8237" actId="478"/>
          <ac:grpSpMkLst>
            <pc:docMk/>
            <pc:sldMk cId="838099151" sldId="2134804292"/>
            <ac:grpSpMk id="70" creationId="{DA56902C-A1F5-40CF-9231-DF8A141EFA1D}"/>
          </ac:grpSpMkLst>
        </pc:grpChg>
        <pc:grpChg chg="add del mod">
          <ac:chgData name="Mariam Daniela Tristancho Pineda (MISION TEMPORAL LTDA)" userId="a45a17f7-7950-4cb5-bfab-f5c894f959a9" providerId="ADAL" clId="{9D150B60-33B5-4A3E-8123-A67E35AA8D44}" dt="2020-07-26T22:04:16.496" v="8237" actId="478"/>
          <ac:grpSpMkLst>
            <pc:docMk/>
            <pc:sldMk cId="838099151" sldId="2134804292"/>
            <ac:grpSpMk id="77" creationId="{4DCC1A05-7645-463E-B669-5943AF3B7C6D}"/>
          </ac:grpSpMkLst>
        </pc:grpChg>
        <pc:grpChg chg="add del mod">
          <ac:chgData name="Mariam Daniela Tristancho Pineda (MISION TEMPORAL LTDA)" userId="a45a17f7-7950-4cb5-bfab-f5c894f959a9" providerId="ADAL" clId="{9D150B60-33B5-4A3E-8123-A67E35AA8D44}" dt="2020-07-26T22:16:04.706" v="8564" actId="478"/>
          <ac:grpSpMkLst>
            <pc:docMk/>
            <pc:sldMk cId="838099151" sldId="2134804292"/>
            <ac:grpSpMk id="87" creationId="{36771D14-BC6D-4048-9DDE-3A39E67D2F65}"/>
          </ac:grpSpMkLst>
        </pc:grpChg>
        <pc:grpChg chg="add mod">
          <ac:chgData name="Mariam Daniela Tristancho Pineda (MISION TEMPORAL LTDA)" userId="a45a17f7-7950-4cb5-bfab-f5c894f959a9" providerId="ADAL" clId="{9D150B60-33B5-4A3E-8123-A67E35AA8D44}" dt="2020-07-26T22:21:09.573" v="8685" actId="1036"/>
          <ac:grpSpMkLst>
            <pc:docMk/>
            <pc:sldMk cId="838099151" sldId="2134804292"/>
            <ac:grpSpMk id="113" creationId="{7ED12C34-F637-4DAC-808B-33F0F0C0AE63}"/>
          </ac:grpSpMkLst>
        </pc:grpChg>
        <pc:grpChg chg="add mod">
          <ac:chgData name="Mariam Daniela Tristancho Pineda (MISION TEMPORAL LTDA)" userId="a45a17f7-7950-4cb5-bfab-f5c894f959a9" providerId="ADAL" clId="{9D150B60-33B5-4A3E-8123-A67E35AA8D44}" dt="2020-07-26T22:21:09.573" v="8685" actId="1036"/>
          <ac:grpSpMkLst>
            <pc:docMk/>
            <pc:sldMk cId="838099151" sldId="2134804292"/>
            <ac:grpSpMk id="116" creationId="{2AE1AF7C-B2E3-4C12-A184-D47DAF460027}"/>
          </ac:grpSpMkLst>
        </pc:grpChg>
        <pc:grpChg chg="add mod">
          <ac:chgData name="Mariam Daniela Tristancho Pineda (MISION TEMPORAL LTDA)" userId="a45a17f7-7950-4cb5-bfab-f5c894f959a9" providerId="ADAL" clId="{9D150B60-33B5-4A3E-8123-A67E35AA8D44}" dt="2020-07-26T22:21:09.573" v="8685" actId="1036"/>
          <ac:grpSpMkLst>
            <pc:docMk/>
            <pc:sldMk cId="838099151" sldId="2134804292"/>
            <ac:grpSpMk id="119" creationId="{EC8C491D-5400-4A74-9B19-D5B8EF53853A}"/>
          </ac:grpSpMkLst>
        </pc:grpChg>
        <pc:grpChg chg="add mod">
          <ac:chgData name="Mariam Daniela Tristancho Pineda (MISION TEMPORAL LTDA)" userId="a45a17f7-7950-4cb5-bfab-f5c894f959a9" providerId="ADAL" clId="{9D150B60-33B5-4A3E-8123-A67E35AA8D44}" dt="2020-07-26T22:21:09.573" v="8685" actId="1036"/>
          <ac:grpSpMkLst>
            <pc:docMk/>
            <pc:sldMk cId="838099151" sldId="2134804292"/>
            <ac:grpSpMk id="122" creationId="{D710D151-3BB6-4205-8524-7FDE79AB8CDC}"/>
          </ac:grpSpMkLst>
        </pc:grpChg>
        <pc:grpChg chg="add del mod">
          <ac:chgData name="Mariam Daniela Tristancho Pineda (MISION TEMPORAL LTDA)" userId="a45a17f7-7950-4cb5-bfab-f5c894f959a9" providerId="ADAL" clId="{9D150B60-33B5-4A3E-8123-A67E35AA8D44}" dt="2020-07-26T22:16:04.706" v="8564" actId="478"/>
          <ac:grpSpMkLst>
            <pc:docMk/>
            <pc:sldMk cId="838099151" sldId="2134804292"/>
            <ac:grpSpMk id="125" creationId="{42964395-E04E-4002-919E-3E0C7B4C8798}"/>
          </ac:grpSpMkLst>
        </pc:grpChg>
        <pc:grpChg chg="mod">
          <ac:chgData name="Mariam Daniela Tristancho Pineda (MISION TEMPORAL LTDA)" userId="a45a17f7-7950-4cb5-bfab-f5c894f959a9" providerId="ADAL" clId="{9D150B60-33B5-4A3E-8123-A67E35AA8D44}" dt="2020-07-10T19:12:43.269" v="3099" actId="1036"/>
          <ac:grpSpMkLst>
            <pc:docMk/>
            <pc:sldMk cId="838099151" sldId="2134804292"/>
            <ac:grpSpMk id="182" creationId="{18CDD8BD-2677-41B6-93C4-8A32F84E2C55}"/>
          </ac:grpSpMkLst>
        </pc:grpChg>
        <pc:grpChg chg="mod">
          <ac:chgData name="Mariam Daniela Tristancho Pineda (MISION TEMPORAL LTDA)" userId="a45a17f7-7950-4cb5-bfab-f5c894f959a9" providerId="ADAL" clId="{9D150B60-33B5-4A3E-8123-A67E35AA8D44}" dt="2020-07-10T19:12:46.913" v="3102" actId="1036"/>
          <ac:grpSpMkLst>
            <pc:docMk/>
            <pc:sldMk cId="838099151" sldId="2134804292"/>
            <ac:grpSpMk id="185" creationId="{C63D56BD-6EFF-441A-8C60-646467BF7FC4}"/>
          </ac:grpSpMkLst>
        </pc:grpChg>
        <pc:cxnChg chg="del mod">
          <ac:chgData name="Mariam Daniela Tristancho Pineda (MISION TEMPORAL LTDA)" userId="a45a17f7-7950-4cb5-bfab-f5c894f959a9" providerId="ADAL" clId="{9D150B60-33B5-4A3E-8123-A67E35AA8D44}" dt="2020-07-26T22:09:47.950" v="8301" actId="478"/>
          <ac:cxnSpMkLst>
            <pc:docMk/>
            <pc:sldMk cId="838099151" sldId="2134804292"/>
            <ac:cxnSpMk id="56" creationId="{35C4C0AB-EEA0-4037-A02A-D63A5320080C}"/>
          </ac:cxnSpMkLst>
        </pc:cxnChg>
        <pc:cxnChg chg="del">
          <ac:chgData name="Mariam Daniela Tristancho Pineda (MISION TEMPORAL LTDA)" userId="a45a17f7-7950-4cb5-bfab-f5c894f959a9" providerId="ADAL" clId="{9D150B60-33B5-4A3E-8123-A67E35AA8D44}" dt="2020-07-24T19:46:41.779" v="5735" actId="478"/>
          <ac:cxnSpMkLst>
            <pc:docMk/>
            <pc:sldMk cId="838099151" sldId="2134804292"/>
            <ac:cxnSpMk id="58" creationId="{1CDF63A8-A838-4ED6-9699-E71238824855}"/>
          </ac:cxnSpMkLst>
        </pc:cxnChg>
        <pc:cxnChg chg="add del mod">
          <ac:chgData name="Mariam Daniela Tristancho Pineda (MISION TEMPORAL LTDA)" userId="a45a17f7-7950-4cb5-bfab-f5c894f959a9" providerId="ADAL" clId="{9D150B60-33B5-4A3E-8123-A67E35AA8D44}" dt="2020-07-26T22:24:49.743" v="8853" actId="1035"/>
          <ac:cxnSpMkLst>
            <pc:docMk/>
            <pc:sldMk cId="838099151" sldId="2134804292"/>
            <ac:cxnSpMk id="95" creationId="{992CCE25-00CE-4C15-881A-068C6B1A3F0E}"/>
          </ac:cxnSpMkLst>
        </pc:cxnChg>
      </pc:sldChg>
      <pc:sldChg chg="addSp delSp modSp mod ord">
        <pc:chgData name="Mariam Daniela Tristancho Pineda (MISION TEMPORAL LTDA)" userId="a45a17f7-7950-4cb5-bfab-f5c894f959a9" providerId="ADAL" clId="{9D150B60-33B5-4A3E-8123-A67E35AA8D44}" dt="2020-07-28T15:01:37.727" v="19906"/>
        <pc:sldMkLst>
          <pc:docMk/>
          <pc:sldMk cId="1822149763" sldId="2134804293"/>
        </pc:sldMkLst>
        <pc:spChg chg="add mod">
          <ac:chgData name="Mariam Daniela Tristancho Pineda (MISION TEMPORAL LTDA)" userId="a45a17f7-7950-4cb5-bfab-f5c894f959a9" providerId="ADAL" clId="{9D150B60-33B5-4A3E-8123-A67E35AA8D44}" dt="2020-07-26T22:30:27.881" v="8983" actId="1036"/>
          <ac:spMkLst>
            <pc:docMk/>
            <pc:sldMk cId="1822149763" sldId="2134804293"/>
            <ac:spMk id="3" creationId="{A9D16483-47D7-4577-B9F8-184A938FB7E2}"/>
          </ac:spMkLst>
        </pc:spChg>
        <pc:spChg chg="mod">
          <ac:chgData name="Mariam Daniela Tristancho Pineda (MISION TEMPORAL LTDA)" userId="a45a17f7-7950-4cb5-bfab-f5c894f959a9" providerId="ADAL" clId="{9D150B60-33B5-4A3E-8123-A67E35AA8D44}" dt="2020-07-10T00:25:23.320" v="1309" actId="14100"/>
          <ac:spMkLst>
            <pc:docMk/>
            <pc:sldMk cId="1822149763" sldId="2134804293"/>
            <ac:spMk id="4" creationId="{C47780CB-210E-480D-AF15-355BDC7F6E93}"/>
          </ac:spMkLst>
        </pc:spChg>
        <pc:spChg chg="mod">
          <ac:chgData name="Mariam Daniela Tristancho Pineda (MISION TEMPORAL LTDA)" userId="a45a17f7-7950-4cb5-bfab-f5c894f959a9" providerId="ADAL" clId="{9D150B60-33B5-4A3E-8123-A67E35AA8D44}" dt="2020-07-10T00:25:27.632" v="1313" actId="1036"/>
          <ac:spMkLst>
            <pc:docMk/>
            <pc:sldMk cId="1822149763" sldId="2134804293"/>
            <ac:spMk id="5" creationId="{60144380-CBE4-4263-86E5-F4A7E5CEC0BB}"/>
          </ac:spMkLst>
        </pc:spChg>
        <pc:spChg chg="mod">
          <ac:chgData name="Mariam Daniela Tristancho Pineda (MISION TEMPORAL LTDA)" userId="a45a17f7-7950-4cb5-bfab-f5c894f959a9" providerId="ADAL" clId="{9D150B60-33B5-4A3E-8123-A67E35AA8D44}" dt="2020-07-10T00:22:48.599" v="1217" actId="164"/>
          <ac:spMkLst>
            <pc:docMk/>
            <pc:sldMk cId="1822149763" sldId="2134804293"/>
            <ac:spMk id="6" creationId="{935E60B3-FFBE-4EF9-967C-09104A4E6C2E}"/>
          </ac:spMkLst>
        </pc:spChg>
        <pc:spChg chg="mod">
          <ac:chgData name="Mariam Daniela Tristancho Pineda (MISION TEMPORAL LTDA)" userId="a45a17f7-7950-4cb5-bfab-f5c894f959a9" providerId="ADAL" clId="{9D150B60-33B5-4A3E-8123-A67E35AA8D44}" dt="2020-07-26T22:30:27.881" v="8983" actId="1036"/>
          <ac:spMkLst>
            <pc:docMk/>
            <pc:sldMk cId="1822149763" sldId="2134804293"/>
            <ac:spMk id="7" creationId="{49F21896-A687-4F29-8499-091C5F1FE377}"/>
          </ac:spMkLst>
        </pc:spChg>
        <pc:spChg chg="mod">
          <ac:chgData name="Mariam Daniela Tristancho Pineda (MISION TEMPORAL LTDA)" userId="a45a17f7-7950-4cb5-bfab-f5c894f959a9" providerId="ADAL" clId="{9D150B60-33B5-4A3E-8123-A67E35AA8D44}" dt="2020-07-10T00:18:01.082" v="1139" actId="164"/>
          <ac:spMkLst>
            <pc:docMk/>
            <pc:sldMk cId="1822149763" sldId="2134804293"/>
            <ac:spMk id="8" creationId="{81A81C5F-F714-4D52-A962-FC37F5FDCEB1}"/>
          </ac:spMkLst>
        </pc:spChg>
        <pc:spChg chg="del mod">
          <ac:chgData name="Mariam Daniela Tristancho Pineda (MISION TEMPORAL LTDA)" userId="a45a17f7-7950-4cb5-bfab-f5c894f959a9" providerId="ADAL" clId="{9D150B60-33B5-4A3E-8123-A67E35AA8D44}" dt="2020-07-10T00:15:40.066" v="1063" actId="478"/>
          <ac:spMkLst>
            <pc:docMk/>
            <pc:sldMk cId="1822149763" sldId="2134804293"/>
            <ac:spMk id="9" creationId="{584AA256-4158-427B-9200-1F1C0296A486}"/>
          </ac:spMkLst>
        </pc:spChg>
        <pc:spChg chg="add mod">
          <ac:chgData name="Mariam Daniela Tristancho Pineda (MISION TEMPORAL LTDA)" userId="a45a17f7-7950-4cb5-bfab-f5c894f959a9" providerId="ADAL" clId="{9D150B60-33B5-4A3E-8123-A67E35AA8D44}" dt="2020-07-24T19:41:22.681" v="5606" actId="404"/>
          <ac:spMkLst>
            <pc:docMk/>
            <pc:sldMk cId="1822149763" sldId="2134804293"/>
            <ac:spMk id="9" creationId="{843A89DC-9148-428C-8B25-E10F36D4E507}"/>
          </ac:spMkLst>
        </pc:spChg>
        <pc:spChg chg="mod topLvl">
          <ac:chgData name="Mariam Daniela Tristancho Pineda (MISION TEMPORAL LTDA)" userId="a45a17f7-7950-4cb5-bfab-f5c894f959a9" providerId="ADAL" clId="{9D150B60-33B5-4A3E-8123-A67E35AA8D44}" dt="2020-07-10T00:17:26.161" v="1133" actId="164"/>
          <ac:spMkLst>
            <pc:docMk/>
            <pc:sldMk cId="1822149763" sldId="2134804293"/>
            <ac:spMk id="10" creationId="{4EF69960-2302-4C37-B17A-2E116254781D}"/>
          </ac:spMkLst>
        </pc:spChg>
        <pc:spChg chg="mod">
          <ac:chgData name="Mariam Daniela Tristancho Pineda (MISION TEMPORAL LTDA)" userId="a45a17f7-7950-4cb5-bfab-f5c894f959a9" providerId="ADAL" clId="{9D150B60-33B5-4A3E-8123-A67E35AA8D44}" dt="2020-07-26T22:30:27.881" v="8983" actId="1036"/>
          <ac:spMkLst>
            <pc:docMk/>
            <pc:sldMk cId="1822149763" sldId="2134804293"/>
            <ac:spMk id="11" creationId="{BE3FDB33-82DE-49B7-85B7-9476B27F9C30}"/>
          </ac:spMkLst>
        </pc:spChg>
        <pc:spChg chg="add mod">
          <ac:chgData name="Mariam Daniela Tristancho Pineda (MISION TEMPORAL LTDA)" userId="a45a17f7-7950-4cb5-bfab-f5c894f959a9" providerId="ADAL" clId="{9D150B60-33B5-4A3E-8123-A67E35AA8D44}" dt="2020-07-26T22:30:27.881" v="8983" actId="1036"/>
          <ac:spMkLst>
            <pc:docMk/>
            <pc:sldMk cId="1822149763" sldId="2134804293"/>
            <ac:spMk id="14" creationId="{0572F48F-01C6-4118-B2F6-94C3B890E625}"/>
          </ac:spMkLst>
        </pc:spChg>
        <pc:spChg chg="add del mod">
          <ac:chgData name="Mariam Daniela Tristancho Pineda (MISION TEMPORAL LTDA)" userId="a45a17f7-7950-4cb5-bfab-f5c894f959a9" providerId="ADAL" clId="{9D150B60-33B5-4A3E-8123-A67E35AA8D44}" dt="2020-07-10T00:22:24.533" v="1210" actId="478"/>
          <ac:spMkLst>
            <pc:docMk/>
            <pc:sldMk cId="1822149763" sldId="2134804293"/>
            <ac:spMk id="15" creationId="{BDC7F68D-E359-4FD6-9799-1B6B084CFB48}"/>
          </ac:spMkLst>
        </pc:spChg>
        <pc:spChg chg="mod topLvl">
          <ac:chgData name="Mariam Daniela Tristancho Pineda (MISION TEMPORAL LTDA)" userId="a45a17f7-7950-4cb5-bfab-f5c894f959a9" providerId="ADAL" clId="{9D150B60-33B5-4A3E-8123-A67E35AA8D44}" dt="2020-07-10T00:17:26.161" v="1133" actId="164"/>
          <ac:spMkLst>
            <pc:docMk/>
            <pc:sldMk cId="1822149763" sldId="2134804293"/>
            <ac:spMk id="18" creationId="{B5FA47DF-667C-4E6C-9D12-E5E5CEA490D8}"/>
          </ac:spMkLst>
        </pc:spChg>
        <pc:spChg chg="add mod">
          <ac:chgData name="Mariam Daniela Tristancho Pineda (MISION TEMPORAL LTDA)" userId="a45a17f7-7950-4cb5-bfab-f5c894f959a9" providerId="ADAL" clId="{9D150B60-33B5-4A3E-8123-A67E35AA8D44}" dt="2020-07-24T19:45:55.992" v="5731" actId="404"/>
          <ac:spMkLst>
            <pc:docMk/>
            <pc:sldMk cId="1822149763" sldId="2134804293"/>
            <ac:spMk id="20" creationId="{2690C17A-D8A4-4912-9990-E2826E05139B}"/>
          </ac:spMkLst>
        </pc:spChg>
        <pc:spChg chg="add del mod">
          <ac:chgData name="Mariam Daniela Tristancho Pineda (MISION TEMPORAL LTDA)" userId="a45a17f7-7950-4cb5-bfab-f5c894f959a9" providerId="ADAL" clId="{9D150B60-33B5-4A3E-8123-A67E35AA8D44}" dt="2020-07-10T00:20:47.682" v="1194" actId="478"/>
          <ac:spMkLst>
            <pc:docMk/>
            <pc:sldMk cId="1822149763" sldId="2134804293"/>
            <ac:spMk id="22" creationId="{B6E80459-6D3F-4DBC-B0D8-C0DF326C9CB6}"/>
          </ac:spMkLst>
        </pc:spChg>
        <pc:grpChg chg="add del mod">
          <ac:chgData name="Mariam Daniela Tristancho Pineda (MISION TEMPORAL LTDA)" userId="a45a17f7-7950-4cb5-bfab-f5c894f959a9" providerId="ADAL" clId="{9D150B60-33B5-4A3E-8123-A67E35AA8D44}" dt="2020-07-10T00:17:17.408" v="1116" actId="165"/>
          <ac:grpSpMkLst>
            <pc:docMk/>
            <pc:sldMk cId="1822149763" sldId="2134804293"/>
            <ac:grpSpMk id="3" creationId="{E5D27C38-315E-4B0B-8473-AFD73668E5AD}"/>
          </ac:grpSpMkLst>
        </pc:grpChg>
        <pc:grpChg chg="add mod">
          <ac:chgData name="Mariam Daniela Tristancho Pineda (MISION TEMPORAL LTDA)" userId="a45a17f7-7950-4cb5-bfab-f5c894f959a9" providerId="ADAL" clId="{9D150B60-33B5-4A3E-8123-A67E35AA8D44}" dt="2020-07-26T22:30:24.439" v="8980" actId="1036"/>
          <ac:grpSpMkLst>
            <pc:docMk/>
            <pc:sldMk cId="1822149763" sldId="2134804293"/>
            <ac:grpSpMk id="12" creationId="{97A64B71-2068-4384-8243-F4ED1BE3BD64}"/>
          </ac:grpSpMkLst>
        </pc:grpChg>
        <pc:grpChg chg="add mod">
          <ac:chgData name="Mariam Daniela Tristancho Pineda (MISION TEMPORAL LTDA)" userId="a45a17f7-7950-4cb5-bfab-f5c894f959a9" providerId="ADAL" clId="{9D150B60-33B5-4A3E-8123-A67E35AA8D44}" dt="2020-07-26T22:30:24.439" v="8980" actId="1036"/>
          <ac:grpSpMkLst>
            <pc:docMk/>
            <pc:sldMk cId="1822149763" sldId="2134804293"/>
            <ac:grpSpMk id="13" creationId="{A8D5E88D-0623-41AE-9881-9D4BA0197AEA}"/>
          </ac:grpSpMkLst>
        </pc:grpChg>
        <pc:grpChg chg="add mod">
          <ac:chgData name="Mariam Daniela Tristancho Pineda (MISION TEMPORAL LTDA)" userId="a45a17f7-7950-4cb5-bfab-f5c894f959a9" providerId="ADAL" clId="{9D150B60-33B5-4A3E-8123-A67E35AA8D44}" dt="2020-07-26T22:30:24.439" v="8980" actId="1036"/>
          <ac:grpSpMkLst>
            <pc:docMk/>
            <pc:sldMk cId="1822149763" sldId="2134804293"/>
            <ac:grpSpMk id="16" creationId="{0B2E59AD-3929-43C2-8F9D-A17671E2843E}"/>
          </ac:grpSpMkLst>
        </pc:grpChg>
        <pc:picChg chg="mod">
          <ac:chgData name="Mariam Daniela Tristancho Pineda (MISION TEMPORAL LTDA)" userId="a45a17f7-7950-4cb5-bfab-f5c894f959a9" providerId="ADAL" clId="{9D150B60-33B5-4A3E-8123-A67E35AA8D44}" dt="2020-07-10T00:22:48.599" v="1217" actId="164"/>
          <ac:picMkLst>
            <pc:docMk/>
            <pc:sldMk cId="1822149763" sldId="2134804293"/>
            <ac:picMk id="19" creationId="{5D90D1B2-2CBD-4FED-8155-3C080DC03FC0}"/>
          </ac:picMkLst>
        </pc:picChg>
        <pc:picChg chg="mod">
          <ac:chgData name="Mariam Daniela Tristancho Pineda (MISION TEMPORAL LTDA)" userId="a45a17f7-7950-4cb5-bfab-f5c894f959a9" providerId="ADAL" clId="{9D150B60-33B5-4A3E-8123-A67E35AA8D44}" dt="2020-07-10T00:18:01.082" v="1139" actId="164"/>
          <ac:picMkLst>
            <pc:docMk/>
            <pc:sldMk cId="1822149763" sldId="2134804293"/>
            <ac:picMk id="21" creationId="{802D394E-E061-44FF-8816-DDC7B1B331B1}"/>
          </ac:picMkLst>
        </pc:picChg>
      </pc:sldChg>
      <pc:sldChg chg="del">
        <pc:chgData name="Mariam Daniela Tristancho Pineda (MISION TEMPORAL LTDA)" userId="a45a17f7-7950-4cb5-bfab-f5c894f959a9" providerId="ADAL" clId="{9D150B60-33B5-4A3E-8123-A67E35AA8D44}" dt="2020-07-10T00:27:58.806" v="1340" actId="47"/>
        <pc:sldMkLst>
          <pc:docMk/>
          <pc:sldMk cId="689766239" sldId="2134804294"/>
        </pc:sldMkLst>
      </pc:sldChg>
      <pc:sldChg chg="addSp modSp del mod">
        <pc:chgData name="Mariam Daniela Tristancho Pineda (MISION TEMPORAL LTDA)" userId="a45a17f7-7950-4cb5-bfab-f5c894f959a9" providerId="ADAL" clId="{9D150B60-33B5-4A3E-8123-A67E35AA8D44}" dt="2020-07-24T19:13:41.307" v="4807" actId="47"/>
        <pc:sldMkLst>
          <pc:docMk/>
          <pc:sldMk cId="866124386" sldId="2134804297"/>
        </pc:sldMkLst>
        <pc:spChg chg="add mod">
          <ac:chgData name="Mariam Daniela Tristancho Pineda (MISION TEMPORAL LTDA)" userId="a45a17f7-7950-4cb5-bfab-f5c894f959a9" providerId="ADAL" clId="{9D150B60-33B5-4A3E-8123-A67E35AA8D44}" dt="2020-07-09T23:53:33.668" v="216" actId="20577"/>
          <ac:spMkLst>
            <pc:docMk/>
            <pc:sldMk cId="866124386" sldId="2134804297"/>
            <ac:spMk id="3" creationId="{87D5B95F-D42A-4C74-B1FD-21CF6B6FBA71}"/>
          </ac:spMkLst>
        </pc:spChg>
      </pc:sldChg>
      <pc:sldChg chg="addSp modSp mod">
        <pc:chgData name="Mariam Daniela Tristancho Pineda (MISION TEMPORAL LTDA)" userId="a45a17f7-7950-4cb5-bfab-f5c894f959a9" providerId="ADAL" clId="{9D150B60-33B5-4A3E-8123-A67E35AA8D44}" dt="2020-07-12T22:04:02.022" v="4629" actId="20577"/>
        <pc:sldMkLst>
          <pc:docMk/>
          <pc:sldMk cId="2197550008" sldId="2134804299"/>
        </pc:sldMkLst>
        <pc:spChg chg="add mod">
          <ac:chgData name="Mariam Daniela Tristancho Pineda (MISION TEMPORAL LTDA)" userId="a45a17f7-7950-4cb5-bfab-f5c894f959a9" providerId="ADAL" clId="{9D150B60-33B5-4A3E-8123-A67E35AA8D44}" dt="2020-07-10T20:45:13.849" v="4274" actId="164"/>
          <ac:spMkLst>
            <pc:docMk/>
            <pc:sldMk cId="2197550008" sldId="2134804299"/>
            <ac:spMk id="3" creationId="{483A50DB-F420-44FF-923C-4CE871575389}"/>
          </ac:spMkLst>
        </pc:spChg>
        <pc:spChg chg="mod">
          <ac:chgData name="Mariam Daniela Tristancho Pineda (MISION TEMPORAL LTDA)" userId="a45a17f7-7950-4cb5-bfab-f5c894f959a9" providerId="ADAL" clId="{9D150B60-33B5-4A3E-8123-A67E35AA8D44}" dt="2020-07-12T22:04:02.022" v="4629" actId="20577"/>
          <ac:spMkLst>
            <pc:docMk/>
            <pc:sldMk cId="2197550008" sldId="2134804299"/>
            <ac:spMk id="13" creationId="{0C105355-B353-4974-AE3C-CAE77E3666F4}"/>
          </ac:spMkLst>
        </pc:spChg>
        <pc:spChg chg="add mod">
          <ac:chgData name="Mariam Daniela Tristancho Pineda (MISION TEMPORAL LTDA)" userId="a45a17f7-7950-4cb5-bfab-f5c894f959a9" providerId="ADAL" clId="{9D150B60-33B5-4A3E-8123-A67E35AA8D44}" dt="2020-07-10T20:45:17.085" v="4275" actId="164"/>
          <ac:spMkLst>
            <pc:docMk/>
            <pc:sldMk cId="2197550008" sldId="2134804299"/>
            <ac:spMk id="15" creationId="{932C580A-B2B5-49EC-A0F5-61CAEE48D98C}"/>
          </ac:spMkLst>
        </pc:spChg>
        <pc:spChg chg="add mod">
          <ac:chgData name="Mariam Daniela Tristancho Pineda (MISION TEMPORAL LTDA)" userId="a45a17f7-7950-4cb5-bfab-f5c894f959a9" providerId="ADAL" clId="{9D150B60-33B5-4A3E-8123-A67E35AA8D44}" dt="2020-07-10T20:46:53.863" v="4333" actId="14100"/>
          <ac:spMkLst>
            <pc:docMk/>
            <pc:sldMk cId="2197550008" sldId="2134804299"/>
            <ac:spMk id="18" creationId="{8E50C878-CE37-4D41-8591-D887E8CECB80}"/>
          </ac:spMkLst>
        </pc:spChg>
        <pc:spChg chg="mod">
          <ac:chgData name="Mariam Daniela Tristancho Pineda (MISION TEMPORAL LTDA)" userId="a45a17f7-7950-4cb5-bfab-f5c894f959a9" providerId="ADAL" clId="{9D150B60-33B5-4A3E-8123-A67E35AA8D44}" dt="2020-07-10T20:46:17.719" v="4305" actId="14100"/>
          <ac:spMkLst>
            <pc:docMk/>
            <pc:sldMk cId="2197550008" sldId="2134804299"/>
            <ac:spMk id="22" creationId="{ACC48894-1EAE-4E17-8FE5-4CADB6585C77}"/>
          </ac:spMkLst>
        </pc:spChg>
        <pc:spChg chg="mod">
          <ac:chgData name="Mariam Daniela Tristancho Pineda (MISION TEMPORAL LTDA)" userId="a45a17f7-7950-4cb5-bfab-f5c894f959a9" providerId="ADAL" clId="{9D150B60-33B5-4A3E-8123-A67E35AA8D44}" dt="2020-07-10T20:46:45.738" v="4332" actId="207"/>
          <ac:spMkLst>
            <pc:docMk/>
            <pc:sldMk cId="2197550008" sldId="2134804299"/>
            <ac:spMk id="55" creationId="{804531EE-B071-4214-9182-DEDD9B20B6A6}"/>
          </ac:spMkLst>
        </pc:spChg>
        <pc:spChg chg="mod">
          <ac:chgData name="Mariam Daniela Tristancho Pineda (MISION TEMPORAL LTDA)" userId="a45a17f7-7950-4cb5-bfab-f5c894f959a9" providerId="ADAL" clId="{9D150B60-33B5-4A3E-8123-A67E35AA8D44}" dt="2020-07-10T20:46:45.738" v="4332" actId="207"/>
          <ac:spMkLst>
            <pc:docMk/>
            <pc:sldMk cId="2197550008" sldId="2134804299"/>
            <ac:spMk id="56" creationId="{D31E7DE7-A7DC-4AA9-BB36-6C1C3B30A6A8}"/>
          </ac:spMkLst>
        </pc:spChg>
        <pc:spChg chg="mod ord">
          <ac:chgData name="Mariam Daniela Tristancho Pineda (MISION TEMPORAL LTDA)" userId="a45a17f7-7950-4cb5-bfab-f5c894f959a9" providerId="ADAL" clId="{9D150B60-33B5-4A3E-8123-A67E35AA8D44}" dt="2020-07-10T20:45:13.849" v="4274" actId="164"/>
          <ac:spMkLst>
            <pc:docMk/>
            <pc:sldMk cId="2197550008" sldId="2134804299"/>
            <ac:spMk id="59" creationId="{020A618E-9BCF-4BA1-97A0-073F8A55ADE5}"/>
          </ac:spMkLst>
        </pc:spChg>
        <pc:spChg chg="mod">
          <ac:chgData name="Mariam Daniela Tristancho Pineda (MISION TEMPORAL LTDA)" userId="a45a17f7-7950-4cb5-bfab-f5c894f959a9" providerId="ADAL" clId="{9D150B60-33B5-4A3E-8123-A67E35AA8D44}" dt="2020-07-10T20:45:17.085" v="4275" actId="164"/>
          <ac:spMkLst>
            <pc:docMk/>
            <pc:sldMk cId="2197550008" sldId="2134804299"/>
            <ac:spMk id="60" creationId="{03887575-76B9-43B2-9405-27BAF9B1655E}"/>
          </ac:spMkLst>
        </pc:spChg>
        <pc:spChg chg="mod">
          <ac:chgData name="Mariam Daniela Tristancho Pineda (MISION TEMPORAL LTDA)" userId="a45a17f7-7950-4cb5-bfab-f5c894f959a9" providerId="ADAL" clId="{9D150B60-33B5-4A3E-8123-A67E35AA8D44}" dt="2020-07-10T20:45:34.823" v="4284" actId="164"/>
          <ac:spMkLst>
            <pc:docMk/>
            <pc:sldMk cId="2197550008" sldId="2134804299"/>
            <ac:spMk id="61" creationId="{FD69D1BA-1FDF-43EF-A364-8499349E82FE}"/>
          </ac:spMkLst>
        </pc:spChg>
        <pc:spChg chg="mod">
          <ac:chgData name="Mariam Daniela Tristancho Pineda (MISION TEMPORAL LTDA)" userId="a45a17f7-7950-4cb5-bfab-f5c894f959a9" providerId="ADAL" clId="{9D150B60-33B5-4A3E-8123-A67E35AA8D44}" dt="2020-07-10T20:46:34.108" v="4331" actId="1035"/>
          <ac:spMkLst>
            <pc:docMk/>
            <pc:sldMk cId="2197550008" sldId="2134804299"/>
            <ac:spMk id="64" creationId="{0B241E27-0669-4644-94CA-0292F2D10DF6}"/>
          </ac:spMkLst>
        </pc:spChg>
        <pc:spChg chg="mod">
          <ac:chgData name="Mariam Daniela Tristancho Pineda (MISION TEMPORAL LTDA)" userId="a45a17f7-7950-4cb5-bfab-f5c894f959a9" providerId="ADAL" clId="{9D150B60-33B5-4A3E-8123-A67E35AA8D44}" dt="2020-07-10T20:46:34.108" v="4331" actId="1035"/>
          <ac:spMkLst>
            <pc:docMk/>
            <pc:sldMk cId="2197550008" sldId="2134804299"/>
            <ac:spMk id="65" creationId="{14BA1960-1B77-46A9-B4B9-CBCBDCFAF42D}"/>
          </ac:spMkLst>
        </pc:spChg>
        <pc:spChg chg="mod">
          <ac:chgData name="Mariam Daniela Tristancho Pineda (MISION TEMPORAL LTDA)" userId="a45a17f7-7950-4cb5-bfab-f5c894f959a9" providerId="ADAL" clId="{9D150B60-33B5-4A3E-8123-A67E35AA8D44}" dt="2020-07-10T20:46:34.108" v="4331" actId="1035"/>
          <ac:spMkLst>
            <pc:docMk/>
            <pc:sldMk cId="2197550008" sldId="2134804299"/>
            <ac:spMk id="66" creationId="{D85A4DF8-3044-4B8E-8B4E-A3482DC7BE48}"/>
          </ac:spMkLst>
        </pc:spChg>
        <pc:spChg chg="mod">
          <ac:chgData name="Mariam Daniela Tristancho Pineda (MISION TEMPORAL LTDA)" userId="a45a17f7-7950-4cb5-bfab-f5c894f959a9" providerId="ADAL" clId="{9D150B60-33B5-4A3E-8123-A67E35AA8D44}" dt="2020-07-10T20:46:45.738" v="4332" actId="207"/>
          <ac:spMkLst>
            <pc:docMk/>
            <pc:sldMk cId="2197550008" sldId="2134804299"/>
            <ac:spMk id="72" creationId="{2C1815BB-5DDB-4DA6-8220-F8F82216AB7C}"/>
          </ac:spMkLst>
        </pc:spChg>
        <pc:grpChg chg="add mod">
          <ac:chgData name="Mariam Daniela Tristancho Pineda (MISION TEMPORAL LTDA)" userId="a45a17f7-7950-4cb5-bfab-f5c894f959a9" providerId="ADAL" clId="{9D150B60-33B5-4A3E-8123-A67E35AA8D44}" dt="2020-07-10T20:46:34.108" v="4331" actId="1035"/>
          <ac:grpSpMkLst>
            <pc:docMk/>
            <pc:sldMk cId="2197550008" sldId="2134804299"/>
            <ac:grpSpMk id="4" creationId="{C2212130-341D-4E97-9373-753A16E80D5B}"/>
          </ac:grpSpMkLst>
        </pc:grpChg>
        <pc:grpChg chg="add mod">
          <ac:chgData name="Mariam Daniela Tristancho Pineda (MISION TEMPORAL LTDA)" userId="a45a17f7-7950-4cb5-bfab-f5c894f959a9" providerId="ADAL" clId="{9D150B60-33B5-4A3E-8123-A67E35AA8D44}" dt="2020-07-10T20:46:34.108" v="4331" actId="1035"/>
          <ac:grpSpMkLst>
            <pc:docMk/>
            <pc:sldMk cId="2197550008" sldId="2134804299"/>
            <ac:grpSpMk id="5" creationId="{956A1F1A-E405-4EF7-9417-042051623463}"/>
          </ac:grpSpMkLst>
        </pc:grpChg>
        <pc:grpChg chg="add mod">
          <ac:chgData name="Mariam Daniela Tristancho Pineda (MISION TEMPORAL LTDA)" userId="a45a17f7-7950-4cb5-bfab-f5c894f959a9" providerId="ADAL" clId="{9D150B60-33B5-4A3E-8123-A67E35AA8D44}" dt="2020-07-10T20:46:34.108" v="4331" actId="1035"/>
          <ac:grpSpMkLst>
            <pc:docMk/>
            <pc:sldMk cId="2197550008" sldId="2134804299"/>
            <ac:grpSpMk id="6" creationId="{E0631263-5920-456B-88C6-34F5F5D6A497}"/>
          </ac:grpSpMkLst>
        </pc:grpChg>
      </pc:sldChg>
      <pc:sldChg chg="del">
        <pc:chgData name="Mariam Daniela Tristancho Pineda (MISION TEMPORAL LTDA)" userId="a45a17f7-7950-4cb5-bfab-f5c894f959a9" providerId="ADAL" clId="{9D150B60-33B5-4A3E-8123-A67E35AA8D44}" dt="2020-07-10T00:08:09.890" v="637" actId="47"/>
        <pc:sldMkLst>
          <pc:docMk/>
          <pc:sldMk cId="1881171097" sldId="2134804309"/>
        </pc:sldMkLst>
      </pc:sldChg>
      <pc:sldChg chg="del">
        <pc:chgData name="Mariam Daniela Tristancho Pineda (MISION TEMPORAL LTDA)" userId="a45a17f7-7950-4cb5-bfab-f5c894f959a9" providerId="ADAL" clId="{9D150B60-33B5-4A3E-8123-A67E35AA8D44}" dt="2020-07-10T00:11:21.404" v="923" actId="47"/>
        <pc:sldMkLst>
          <pc:docMk/>
          <pc:sldMk cId="888575759" sldId="2134804310"/>
        </pc:sldMkLst>
      </pc:sldChg>
      <pc:sldChg chg="modSp add mod ord">
        <pc:chgData name="Mariam Daniela Tristancho Pineda (MISION TEMPORAL LTDA)" userId="a45a17f7-7950-4cb5-bfab-f5c894f959a9" providerId="ADAL" clId="{9D150B60-33B5-4A3E-8123-A67E35AA8D44}" dt="2020-07-28T15:06:52.280" v="20039" actId="20577"/>
        <pc:sldMkLst>
          <pc:docMk/>
          <pc:sldMk cId="1505401777" sldId="2134804310"/>
        </pc:sldMkLst>
        <pc:spChg chg="mod">
          <ac:chgData name="Mariam Daniela Tristancho Pineda (MISION TEMPORAL LTDA)" userId="a45a17f7-7950-4cb5-bfab-f5c894f959a9" providerId="ADAL" clId="{9D150B60-33B5-4A3E-8123-A67E35AA8D44}" dt="2020-07-28T15:06:52.280" v="20039" actId="20577"/>
          <ac:spMkLst>
            <pc:docMk/>
            <pc:sldMk cId="1505401777" sldId="2134804310"/>
            <ac:spMk id="2" creationId="{6431BBCF-96E5-45A7-B7E5-D44090D06329}"/>
          </ac:spMkLst>
        </pc:spChg>
      </pc:sldChg>
      <pc:sldChg chg="addSp delSp modSp add mod">
        <pc:chgData name="Mariam Daniela Tristancho Pineda (MISION TEMPORAL LTDA)" userId="a45a17f7-7950-4cb5-bfab-f5c894f959a9" providerId="ADAL" clId="{9D150B60-33B5-4A3E-8123-A67E35AA8D44}" dt="2020-07-27T19:24:51.058" v="11590" actId="20577"/>
        <pc:sldMkLst>
          <pc:docMk/>
          <pc:sldMk cId="2857089145" sldId="2134804311"/>
        </pc:sldMkLst>
        <pc:spChg chg="mod">
          <ac:chgData name="Mariam Daniela Tristancho Pineda (MISION TEMPORAL LTDA)" userId="a45a17f7-7950-4cb5-bfab-f5c894f959a9" providerId="ADAL" clId="{9D150B60-33B5-4A3E-8123-A67E35AA8D44}" dt="2020-07-26T21:57:24.156" v="8062" actId="1035"/>
          <ac:spMkLst>
            <pc:docMk/>
            <pc:sldMk cId="2857089145" sldId="2134804311"/>
            <ac:spMk id="2" creationId="{3A93B487-116E-4767-AA0D-CAE2A460FBE4}"/>
          </ac:spMkLst>
        </pc:spChg>
        <pc:spChg chg="del mod">
          <ac:chgData name="Mariam Daniela Tristancho Pineda (MISION TEMPORAL LTDA)" userId="a45a17f7-7950-4cb5-bfab-f5c894f959a9" providerId="ADAL" clId="{9D150B60-33B5-4A3E-8123-A67E35AA8D44}" dt="2020-07-27T19:14:08.788" v="11186" actId="478"/>
          <ac:spMkLst>
            <pc:docMk/>
            <pc:sldMk cId="2857089145" sldId="2134804311"/>
            <ac:spMk id="3" creationId="{815B10B7-60B3-4C63-8431-70CC556387C9}"/>
          </ac:spMkLst>
        </pc:spChg>
        <pc:spChg chg="add del mod">
          <ac:chgData name="Mariam Daniela Tristancho Pineda (MISION TEMPORAL LTDA)" userId="a45a17f7-7950-4cb5-bfab-f5c894f959a9" providerId="ADAL" clId="{9D150B60-33B5-4A3E-8123-A67E35AA8D44}" dt="2020-07-24T19:25:58.713" v="5225" actId="478"/>
          <ac:spMkLst>
            <pc:docMk/>
            <pc:sldMk cId="2857089145" sldId="2134804311"/>
            <ac:spMk id="6" creationId="{176A1BC7-0C2B-46FE-9DC1-6327C3BF3634}"/>
          </ac:spMkLst>
        </pc:spChg>
        <pc:spChg chg="add del mod">
          <ac:chgData name="Mariam Daniela Tristancho Pineda (MISION TEMPORAL LTDA)" userId="a45a17f7-7950-4cb5-bfab-f5c894f959a9" providerId="ADAL" clId="{9D150B60-33B5-4A3E-8123-A67E35AA8D44}" dt="2020-07-24T19:26:44.009" v="5237"/>
          <ac:spMkLst>
            <pc:docMk/>
            <pc:sldMk cId="2857089145" sldId="2134804311"/>
            <ac:spMk id="7" creationId="{65560609-76A3-4D35-9EC2-7ADC05E11F78}"/>
          </ac:spMkLst>
        </pc:spChg>
        <pc:spChg chg="add mod">
          <ac:chgData name="Mariam Daniela Tristancho Pineda (MISION TEMPORAL LTDA)" userId="a45a17f7-7950-4cb5-bfab-f5c894f959a9" providerId="ADAL" clId="{9D150B60-33B5-4A3E-8123-A67E35AA8D44}" dt="2020-07-27T19:15:04.081" v="11198" actId="14100"/>
          <ac:spMkLst>
            <pc:docMk/>
            <pc:sldMk cId="2857089145" sldId="2134804311"/>
            <ac:spMk id="7" creationId="{729CDB4D-12FF-47BB-A02C-F9F9D7D26D99}"/>
          </ac:spMkLst>
        </pc:spChg>
        <pc:spChg chg="add mod">
          <ac:chgData name="Mariam Daniela Tristancho Pineda (MISION TEMPORAL LTDA)" userId="a45a17f7-7950-4cb5-bfab-f5c894f959a9" providerId="ADAL" clId="{9D150B60-33B5-4A3E-8123-A67E35AA8D44}" dt="2020-07-27T19:14:12.595" v="11187" actId="1076"/>
          <ac:spMkLst>
            <pc:docMk/>
            <pc:sldMk cId="2857089145" sldId="2134804311"/>
            <ac:spMk id="9" creationId="{6260AE1B-9CC2-4D73-9EFA-E10D76B20F0D}"/>
          </ac:spMkLst>
        </pc:spChg>
        <pc:spChg chg="add mod">
          <ac:chgData name="Mariam Daniela Tristancho Pineda (MISION TEMPORAL LTDA)" userId="a45a17f7-7950-4cb5-bfab-f5c894f959a9" providerId="ADAL" clId="{9D150B60-33B5-4A3E-8123-A67E35AA8D44}" dt="2020-07-27T19:15:12.641" v="11199" actId="1076"/>
          <ac:spMkLst>
            <pc:docMk/>
            <pc:sldMk cId="2857089145" sldId="2134804311"/>
            <ac:spMk id="10" creationId="{E471DFFB-10DC-4003-9986-B10F0593516B}"/>
          </ac:spMkLst>
        </pc:spChg>
        <pc:spChg chg="add del mod">
          <ac:chgData name="Mariam Daniela Tristancho Pineda (MISION TEMPORAL LTDA)" userId="a45a17f7-7950-4cb5-bfab-f5c894f959a9" providerId="ADAL" clId="{9D150B60-33B5-4A3E-8123-A67E35AA8D44}" dt="2020-07-24T19:36:12.792" v="5488" actId="478"/>
          <ac:spMkLst>
            <pc:docMk/>
            <pc:sldMk cId="2857089145" sldId="2134804311"/>
            <ac:spMk id="10" creationId="{F1CA9157-5B77-4DE3-B92D-0B98B9ECD505}"/>
          </ac:spMkLst>
        </pc:spChg>
        <pc:spChg chg="add del mod">
          <ac:chgData name="Mariam Daniela Tristancho Pineda (MISION TEMPORAL LTDA)" userId="a45a17f7-7950-4cb5-bfab-f5c894f959a9" providerId="ADAL" clId="{9D150B60-33B5-4A3E-8123-A67E35AA8D44}" dt="2020-07-24T19:33:37.269" v="5400" actId="478"/>
          <ac:spMkLst>
            <pc:docMk/>
            <pc:sldMk cId="2857089145" sldId="2134804311"/>
            <ac:spMk id="12" creationId="{54A66564-DEC6-4C5B-9A74-1FDC8C9F66B7}"/>
          </ac:spMkLst>
        </pc:spChg>
        <pc:spChg chg="add mod">
          <ac:chgData name="Mariam Daniela Tristancho Pineda (MISION TEMPORAL LTDA)" userId="a45a17f7-7950-4cb5-bfab-f5c894f959a9" providerId="ADAL" clId="{9D150B60-33B5-4A3E-8123-A67E35AA8D44}" dt="2020-07-27T19:15:12.641" v="11199" actId="1076"/>
          <ac:spMkLst>
            <pc:docMk/>
            <pc:sldMk cId="2857089145" sldId="2134804311"/>
            <ac:spMk id="12" creationId="{A7DA2696-2798-43FD-9339-132E49A0D2FD}"/>
          </ac:spMkLst>
        </pc:spChg>
        <pc:spChg chg="add del mod">
          <ac:chgData name="Mariam Daniela Tristancho Pineda (MISION TEMPORAL LTDA)" userId="a45a17f7-7950-4cb5-bfab-f5c894f959a9" providerId="ADAL" clId="{9D150B60-33B5-4A3E-8123-A67E35AA8D44}" dt="2020-07-24T19:33:37.269" v="5400" actId="478"/>
          <ac:spMkLst>
            <pc:docMk/>
            <pc:sldMk cId="2857089145" sldId="2134804311"/>
            <ac:spMk id="13" creationId="{F855B051-A350-4E48-9418-56FB259B37E6}"/>
          </ac:spMkLst>
        </pc:spChg>
        <pc:spChg chg="add del mod">
          <ac:chgData name="Mariam Daniela Tristancho Pineda (MISION TEMPORAL LTDA)" userId="a45a17f7-7950-4cb5-bfab-f5c894f959a9" providerId="ADAL" clId="{9D150B60-33B5-4A3E-8123-A67E35AA8D44}" dt="2020-07-24T19:33:37.269" v="5400" actId="478"/>
          <ac:spMkLst>
            <pc:docMk/>
            <pc:sldMk cId="2857089145" sldId="2134804311"/>
            <ac:spMk id="18" creationId="{B1A08C9D-AF92-4D92-B253-B9ADD560D71F}"/>
          </ac:spMkLst>
        </pc:spChg>
        <pc:spChg chg="add del mod">
          <ac:chgData name="Mariam Daniela Tristancho Pineda (MISION TEMPORAL LTDA)" userId="a45a17f7-7950-4cb5-bfab-f5c894f959a9" providerId="ADAL" clId="{9D150B60-33B5-4A3E-8123-A67E35AA8D44}" dt="2020-07-24T19:33:37.269" v="5400" actId="478"/>
          <ac:spMkLst>
            <pc:docMk/>
            <pc:sldMk cId="2857089145" sldId="2134804311"/>
            <ac:spMk id="19" creationId="{22DA06D5-820C-45AE-8E58-707D4D72FD78}"/>
          </ac:spMkLst>
        </pc:spChg>
        <pc:spChg chg="add mod ord">
          <ac:chgData name="Mariam Daniela Tristancho Pineda (MISION TEMPORAL LTDA)" userId="a45a17f7-7950-4cb5-bfab-f5c894f959a9" providerId="ADAL" clId="{9D150B60-33B5-4A3E-8123-A67E35AA8D44}" dt="2020-07-27T19:18:40.607" v="11409" actId="1037"/>
          <ac:spMkLst>
            <pc:docMk/>
            <pc:sldMk cId="2857089145" sldId="2134804311"/>
            <ac:spMk id="20" creationId="{76D830BA-6809-4B00-97EA-4BF2F62005C0}"/>
          </ac:spMkLst>
        </pc:spChg>
        <pc:spChg chg="add del mod">
          <ac:chgData name="Mariam Daniela Tristancho Pineda (MISION TEMPORAL LTDA)" userId="a45a17f7-7950-4cb5-bfab-f5c894f959a9" providerId="ADAL" clId="{9D150B60-33B5-4A3E-8123-A67E35AA8D44}" dt="2020-07-26T21:29:43.418" v="7093" actId="478"/>
          <ac:spMkLst>
            <pc:docMk/>
            <pc:sldMk cId="2857089145" sldId="2134804311"/>
            <ac:spMk id="21" creationId="{708DD5BB-BE43-4CA6-9ED3-220EE625622F}"/>
          </ac:spMkLst>
        </pc:spChg>
        <pc:spChg chg="add del mod">
          <ac:chgData name="Mariam Daniela Tristancho Pineda (MISION TEMPORAL LTDA)" userId="a45a17f7-7950-4cb5-bfab-f5c894f959a9" providerId="ADAL" clId="{9D150B60-33B5-4A3E-8123-A67E35AA8D44}" dt="2020-07-24T19:34:58.137" v="5464" actId="478"/>
          <ac:spMkLst>
            <pc:docMk/>
            <pc:sldMk cId="2857089145" sldId="2134804311"/>
            <ac:spMk id="22" creationId="{75FF912D-0ABB-433E-944E-F6B044A555D4}"/>
          </ac:spMkLst>
        </pc:spChg>
        <pc:spChg chg="add mod">
          <ac:chgData name="Mariam Daniela Tristancho Pineda (MISION TEMPORAL LTDA)" userId="a45a17f7-7950-4cb5-bfab-f5c894f959a9" providerId="ADAL" clId="{9D150B60-33B5-4A3E-8123-A67E35AA8D44}" dt="2020-07-27T19:18:40.607" v="11409" actId="1037"/>
          <ac:spMkLst>
            <pc:docMk/>
            <pc:sldMk cId="2857089145" sldId="2134804311"/>
            <ac:spMk id="23" creationId="{1B7F3B79-9926-43AB-9BF5-0385EC9E64C6}"/>
          </ac:spMkLst>
        </pc:spChg>
        <pc:spChg chg="add mod">
          <ac:chgData name="Mariam Daniela Tristancho Pineda (MISION TEMPORAL LTDA)" userId="a45a17f7-7950-4cb5-bfab-f5c894f959a9" providerId="ADAL" clId="{9D150B60-33B5-4A3E-8123-A67E35AA8D44}" dt="2020-07-27T19:18:40.607" v="11409" actId="1037"/>
          <ac:spMkLst>
            <pc:docMk/>
            <pc:sldMk cId="2857089145" sldId="2134804311"/>
            <ac:spMk id="24" creationId="{DF671ED5-B712-42B2-865D-ADF852C70B18}"/>
          </ac:spMkLst>
        </pc:spChg>
        <pc:spChg chg="mod ord">
          <ac:chgData name="Mariam Daniela Tristancho Pineda (MISION TEMPORAL LTDA)" userId="a45a17f7-7950-4cb5-bfab-f5c894f959a9" providerId="ADAL" clId="{9D150B60-33B5-4A3E-8123-A67E35AA8D44}" dt="2020-07-27T19:19:13.426" v="11426" actId="14100"/>
          <ac:spMkLst>
            <pc:docMk/>
            <pc:sldMk cId="2857089145" sldId="2134804311"/>
            <ac:spMk id="45" creationId="{FE8ED9F7-3608-4810-95FA-CCA357FF8DD5}"/>
          </ac:spMkLst>
        </pc:spChg>
        <pc:spChg chg="del">
          <ac:chgData name="Mariam Daniela Tristancho Pineda (MISION TEMPORAL LTDA)" userId="a45a17f7-7950-4cb5-bfab-f5c894f959a9" providerId="ADAL" clId="{9D150B60-33B5-4A3E-8123-A67E35AA8D44}" dt="2020-07-24T19:32:11.634" v="5354" actId="478"/>
          <ac:spMkLst>
            <pc:docMk/>
            <pc:sldMk cId="2857089145" sldId="2134804311"/>
            <ac:spMk id="46" creationId="{37613081-A8A7-4283-97BA-0F79BCAFB2C8}"/>
          </ac:spMkLst>
        </pc:spChg>
        <pc:spChg chg="mod">
          <ac:chgData name="Mariam Daniela Tristancho Pineda (MISION TEMPORAL LTDA)" userId="a45a17f7-7950-4cb5-bfab-f5c894f959a9" providerId="ADAL" clId="{9D150B60-33B5-4A3E-8123-A67E35AA8D44}" dt="2020-07-27T19:19:11.096" v="11425" actId="1036"/>
          <ac:spMkLst>
            <pc:docMk/>
            <pc:sldMk cId="2857089145" sldId="2134804311"/>
            <ac:spMk id="50" creationId="{A6FD2FCA-22BD-4408-A162-974663FFA2AE}"/>
          </ac:spMkLst>
        </pc:spChg>
        <pc:spChg chg="mod ord">
          <ac:chgData name="Mariam Daniela Tristancho Pineda (MISION TEMPORAL LTDA)" userId="a45a17f7-7950-4cb5-bfab-f5c894f959a9" providerId="ADAL" clId="{9D150B60-33B5-4A3E-8123-A67E35AA8D44}" dt="2020-07-27T19:18:27.913" v="11373" actId="14100"/>
          <ac:spMkLst>
            <pc:docMk/>
            <pc:sldMk cId="2857089145" sldId="2134804311"/>
            <ac:spMk id="51" creationId="{D395E86E-3965-40C4-A3DF-5364D60CE5F2}"/>
          </ac:spMkLst>
        </pc:spChg>
        <pc:spChg chg="mod">
          <ac:chgData name="Mariam Daniela Tristancho Pineda (MISION TEMPORAL LTDA)" userId="a45a17f7-7950-4cb5-bfab-f5c894f959a9" providerId="ADAL" clId="{9D150B60-33B5-4A3E-8123-A67E35AA8D44}" dt="2020-07-27T19:18:27.913" v="11373" actId="14100"/>
          <ac:spMkLst>
            <pc:docMk/>
            <pc:sldMk cId="2857089145" sldId="2134804311"/>
            <ac:spMk id="52" creationId="{5B06B1DA-3BD9-47D7-9B3D-C321E2E527E4}"/>
          </ac:spMkLst>
        </pc:spChg>
        <pc:spChg chg="mod">
          <ac:chgData name="Mariam Daniela Tristancho Pineda (MISION TEMPORAL LTDA)" userId="a45a17f7-7950-4cb5-bfab-f5c894f959a9" providerId="ADAL" clId="{9D150B60-33B5-4A3E-8123-A67E35AA8D44}" dt="2020-07-10T00:25:11.980" v="1308" actId="20577"/>
          <ac:spMkLst>
            <pc:docMk/>
            <pc:sldMk cId="2857089145" sldId="2134804311"/>
            <ac:spMk id="53" creationId="{F9C857D3-C5F6-4D00-8D9C-646D1DA60918}"/>
          </ac:spMkLst>
        </pc:spChg>
        <pc:spChg chg="del mod">
          <ac:chgData name="Mariam Daniela Tristancho Pineda (MISION TEMPORAL LTDA)" userId="a45a17f7-7950-4cb5-bfab-f5c894f959a9" providerId="ADAL" clId="{9D150B60-33B5-4A3E-8123-A67E35AA8D44}" dt="2020-07-26T21:33:18.693" v="7312" actId="478"/>
          <ac:spMkLst>
            <pc:docMk/>
            <pc:sldMk cId="2857089145" sldId="2134804311"/>
            <ac:spMk id="54" creationId="{C38A9719-1AF0-4D7F-AF9E-714FBC133573}"/>
          </ac:spMkLst>
        </pc:spChg>
        <pc:spChg chg="mod">
          <ac:chgData name="Mariam Daniela Tristancho Pineda (MISION TEMPORAL LTDA)" userId="a45a17f7-7950-4cb5-bfab-f5c894f959a9" providerId="ADAL" clId="{9D150B60-33B5-4A3E-8123-A67E35AA8D44}" dt="2020-07-27T19:18:40.607" v="11409" actId="1037"/>
          <ac:spMkLst>
            <pc:docMk/>
            <pc:sldMk cId="2857089145" sldId="2134804311"/>
            <ac:spMk id="55" creationId="{29532448-A08B-43D8-A118-91936FED3C43}"/>
          </ac:spMkLst>
        </pc:spChg>
        <pc:spChg chg="mod">
          <ac:chgData name="Mariam Daniela Tristancho Pineda (MISION TEMPORAL LTDA)" userId="a45a17f7-7950-4cb5-bfab-f5c894f959a9" providerId="ADAL" clId="{9D150B60-33B5-4A3E-8123-A67E35AA8D44}" dt="2020-07-27T19:18:27.913" v="11373" actId="14100"/>
          <ac:spMkLst>
            <pc:docMk/>
            <pc:sldMk cId="2857089145" sldId="2134804311"/>
            <ac:spMk id="57" creationId="{899A4C5F-C341-448B-B15D-BB337D4E4176}"/>
          </ac:spMkLst>
        </pc:spChg>
        <pc:spChg chg="mod ord">
          <ac:chgData name="Mariam Daniela Tristancho Pineda (MISION TEMPORAL LTDA)" userId="a45a17f7-7950-4cb5-bfab-f5c894f959a9" providerId="ADAL" clId="{9D150B60-33B5-4A3E-8123-A67E35AA8D44}" dt="2020-07-27T19:18:36.666" v="11396" actId="1037"/>
          <ac:spMkLst>
            <pc:docMk/>
            <pc:sldMk cId="2857089145" sldId="2134804311"/>
            <ac:spMk id="58" creationId="{13971695-02CB-4075-AB5E-BDAB89C4EB52}"/>
          </ac:spMkLst>
        </pc:spChg>
        <pc:spChg chg="mod">
          <ac:chgData name="Mariam Daniela Tristancho Pineda (MISION TEMPORAL LTDA)" userId="a45a17f7-7950-4cb5-bfab-f5c894f959a9" providerId="ADAL" clId="{9D150B60-33B5-4A3E-8123-A67E35AA8D44}" dt="2020-07-27T19:18:27.913" v="11373" actId="14100"/>
          <ac:spMkLst>
            <pc:docMk/>
            <pc:sldMk cId="2857089145" sldId="2134804311"/>
            <ac:spMk id="59" creationId="{7127D3DE-EF0D-403A-A224-06CFC244F2F7}"/>
          </ac:spMkLst>
        </pc:spChg>
        <pc:spChg chg="mod">
          <ac:chgData name="Mariam Daniela Tristancho Pineda (MISION TEMPORAL LTDA)" userId="a45a17f7-7950-4cb5-bfab-f5c894f959a9" providerId="ADAL" clId="{9D150B60-33B5-4A3E-8123-A67E35AA8D44}" dt="2020-07-27T19:18:27.913" v="11373" actId="14100"/>
          <ac:spMkLst>
            <pc:docMk/>
            <pc:sldMk cId="2857089145" sldId="2134804311"/>
            <ac:spMk id="60" creationId="{C756E770-FDC5-4AD2-8422-3E24C956681E}"/>
          </ac:spMkLst>
        </pc:spChg>
        <pc:spChg chg="mod ord">
          <ac:chgData name="Mariam Daniela Tristancho Pineda (MISION TEMPORAL LTDA)" userId="a45a17f7-7950-4cb5-bfab-f5c894f959a9" providerId="ADAL" clId="{9D150B60-33B5-4A3E-8123-A67E35AA8D44}" dt="2020-07-27T19:18:15.371" v="11372" actId="1037"/>
          <ac:spMkLst>
            <pc:docMk/>
            <pc:sldMk cId="2857089145" sldId="2134804311"/>
            <ac:spMk id="61" creationId="{34F7D164-E994-45AC-8F26-F92B7ACB058A}"/>
          </ac:spMkLst>
        </pc:spChg>
        <pc:spChg chg="mod">
          <ac:chgData name="Mariam Daniela Tristancho Pineda (MISION TEMPORAL LTDA)" userId="a45a17f7-7950-4cb5-bfab-f5c894f959a9" providerId="ADAL" clId="{9D150B60-33B5-4A3E-8123-A67E35AA8D44}" dt="2020-07-27T19:15:27.394" v="11218" actId="1037"/>
          <ac:spMkLst>
            <pc:docMk/>
            <pc:sldMk cId="2857089145" sldId="2134804311"/>
            <ac:spMk id="63" creationId="{C8570C6E-3F05-4155-850A-C74FBEC80B54}"/>
          </ac:spMkLst>
        </pc:spChg>
        <pc:spChg chg="mod">
          <ac:chgData name="Mariam Daniela Tristancho Pineda (MISION TEMPORAL LTDA)" userId="a45a17f7-7950-4cb5-bfab-f5c894f959a9" providerId="ADAL" clId="{9D150B60-33B5-4A3E-8123-A67E35AA8D44}" dt="2020-07-27T19:18:15.371" v="11372" actId="1037"/>
          <ac:spMkLst>
            <pc:docMk/>
            <pc:sldMk cId="2857089145" sldId="2134804311"/>
            <ac:spMk id="64" creationId="{646BACCF-FF90-4891-9AFB-F9D4221C88F5}"/>
          </ac:spMkLst>
        </pc:spChg>
        <pc:spChg chg="mod">
          <ac:chgData name="Mariam Daniela Tristancho Pineda (MISION TEMPORAL LTDA)" userId="a45a17f7-7950-4cb5-bfab-f5c894f959a9" providerId="ADAL" clId="{9D150B60-33B5-4A3E-8123-A67E35AA8D44}" dt="2020-07-27T19:18:36.666" v="11396" actId="1037"/>
          <ac:spMkLst>
            <pc:docMk/>
            <pc:sldMk cId="2857089145" sldId="2134804311"/>
            <ac:spMk id="65" creationId="{1065D923-F137-4939-8930-2192BD04211D}"/>
          </ac:spMkLst>
        </pc:spChg>
        <pc:spChg chg="mod">
          <ac:chgData name="Mariam Daniela Tristancho Pineda (MISION TEMPORAL LTDA)" userId="a45a17f7-7950-4cb5-bfab-f5c894f959a9" providerId="ADAL" clId="{9D150B60-33B5-4A3E-8123-A67E35AA8D44}" dt="2020-07-27T19:18:36.666" v="11396" actId="1037"/>
          <ac:spMkLst>
            <pc:docMk/>
            <pc:sldMk cId="2857089145" sldId="2134804311"/>
            <ac:spMk id="66" creationId="{DC1BBBBA-158A-411A-BB38-9A477BEC2498}"/>
          </ac:spMkLst>
        </pc:spChg>
        <pc:spChg chg="mod">
          <ac:chgData name="Mariam Daniela Tristancho Pineda (MISION TEMPORAL LTDA)" userId="a45a17f7-7950-4cb5-bfab-f5c894f959a9" providerId="ADAL" clId="{9D150B60-33B5-4A3E-8123-A67E35AA8D44}" dt="2020-07-27T19:18:36.666" v="11396" actId="1037"/>
          <ac:spMkLst>
            <pc:docMk/>
            <pc:sldMk cId="2857089145" sldId="2134804311"/>
            <ac:spMk id="67" creationId="{C40762A9-67E9-4AAE-9CCD-76B6A006557E}"/>
          </ac:spMkLst>
        </pc:spChg>
        <pc:spChg chg="mod">
          <ac:chgData name="Mariam Daniela Tristancho Pineda (MISION TEMPORAL LTDA)" userId="a45a17f7-7950-4cb5-bfab-f5c894f959a9" providerId="ADAL" clId="{9D150B60-33B5-4A3E-8123-A67E35AA8D44}" dt="2020-07-27T19:21:48.004" v="11502" actId="1038"/>
          <ac:spMkLst>
            <pc:docMk/>
            <pc:sldMk cId="2857089145" sldId="2134804311"/>
            <ac:spMk id="71" creationId="{999B1B90-D742-4D29-B51B-141387E09C9F}"/>
          </ac:spMkLst>
        </pc:spChg>
        <pc:spChg chg="mod">
          <ac:chgData name="Mariam Daniela Tristancho Pineda (MISION TEMPORAL LTDA)" userId="a45a17f7-7950-4cb5-bfab-f5c894f959a9" providerId="ADAL" clId="{9D150B60-33B5-4A3E-8123-A67E35AA8D44}" dt="2020-07-27T19:24:51.058" v="11590" actId="20577"/>
          <ac:spMkLst>
            <pc:docMk/>
            <pc:sldMk cId="2857089145" sldId="2134804311"/>
            <ac:spMk id="72" creationId="{2FBB49E6-161E-494F-B0AF-91D6129F8F33}"/>
          </ac:spMkLst>
        </pc:spChg>
        <pc:spChg chg="mod">
          <ac:chgData name="Mariam Daniela Tristancho Pineda (MISION TEMPORAL LTDA)" userId="a45a17f7-7950-4cb5-bfab-f5c894f959a9" providerId="ADAL" clId="{9D150B60-33B5-4A3E-8123-A67E35AA8D44}" dt="2020-07-27T19:24:27.358" v="11582" actId="20577"/>
          <ac:spMkLst>
            <pc:docMk/>
            <pc:sldMk cId="2857089145" sldId="2134804311"/>
            <ac:spMk id="73" creationId="{7882AF9C-51C3-42A3-B5BB-994F0A38CDAC}"/>
          </ac:spMkLst>
        </pc:spChg>
        <pc:spChg chg="mod">
          <ac:chgData name="Mariam Daniela Tristancho Pineda (MISION TEMPORAL LTDA)" userId="a45a17f7-7950-4cb5-bfab-f5c894f959a9" providerId="ADAL" clId="{9D150B60-33B5-4A3E-8123-A67E35AA8D44}" dt="2020-07-27T19:23:56.061" v="11522" actId="20577"/>
          <ac:spMkLst>
            <pc:docMk/>
            <pc:sldMk cId="2857089145" sldId="2134804311"/>
            <ac:spMk id="74" creationId="{9580D3C9-E22F-46DD-870C-E0072C65AB7F}"/>
          </ac:spMkLst>
        </pc:spChg>
        <pc:spChg chg="mod">
          <ac:chgData name="Mariam Daniela Tristancho Pineda (MISION TEMPORAL LTDA)" userId="a45a17f7-7950-4cb5-bfab-f5c894f959a9" providerId="ADAL" clId="{9D150B60-33B5-4A3E-8123-A67E35AA8D44}" dt="2020-07-27T19:23:59.931" v="11524" actId="20577"/>
          <ac:spMkLst>
            <pc:docMk/>
            <pc:sldMk cId="2857089145" sldId="2134804311"/>
            <ac:spMk id="75" creationId="{038013D2-E475-419B-A6D0-BE4D39D57D15}"/>
          </ac:spMkLst>
        </pc:spChg>
        <pc:spChg chg="mod">
          <ac:chgData name="Mariam Daniela Tristancho Pineda (MISION TEMPORAL LTDA)" userId="a45a17f7-7950-4cb5-bfab-f5c894f959a9" providerId="ADAL" clId="{9D150B60-33B5-4A3E-8123-A67E35AA8D44}" dt="2020-07-27T19:24:48.961" v="11586" actId="20577"/>
          <ac:spMkLst>
            <pc:docMk/>
            <pc:sldMk cId="2857089145" sldId="2134804311"/>
            <ac:spMk id="76" creationId="{0F21D6C4-EC29-43B6-B8E7-338DB7DD7C1E}"/>
          </ac:spMkLst>
        </pc:spChg>
        <pc:spChg chg="mod">
          <ac:chgData name="Mariam Daniela Tristancho Pineda (MISION TEMPORAL LTDA)" userId="a45a17f7-7950-4cb5-bfab-f5c894f959a9" providerId="ADAL" clId="{9D150B60-33B5-4A3E-8123-A67E35AA8D44}" dt="2020-07-27T19:24:03.817" v="11526" actId="20577"/>
          <ac:spMkLst>
            <pc:docMk/>
            <pc:sldMk cId="2857089145" sldId="2134804311"/>
            <ac:spMk id="77" creationId="{95FD1090-EE89-438B-9895-DC57C1D16AA3}"/>
          </ac:spMkLst>
        </pc:spChg>
        <pc:spChg chg="mod">
          <ac:chgData name="Mariam Daniela Tristancho Pineda (MISION TEMPORAL LTDA)" userId="a45a17f7-7950-4cb5-bfab-f5c894f959a9" providerId="ADAL" clId="{9D150B60-33B5-4A3E-8123-A67E35AA8D44}" dt="2020-07-27T19:20:23.875" v="11436" actId="12789"/>
          <ac:spMkLst>
            <pc:docMk/>
            <pc:sldMk cId="2857089145" sldId="2134804311"/>
            <ac:spMk id="78" creationId="{1775A41A-7B98-4609-BF00-BC54D6AACB93}"/>
          </ac:spMkLst>
        </pc:spChg>
        <pc:spChg chg="mod">
          <ac:chgData name="Mariam Daniela Tristancho Pineda (MISION TEMPORAL LTDA)" userId="a45a17f7-7950-4cb5-bfab-f5c894f959a9" providerId="ADAL" clId="{9D150B60-33B5-4A3E-8123-A67E35AA8D44}" dt="2020-07-27T19:20:28.028" v="11437" actId="408"/>
          <ac:spMkLst>
            <pc:docMk/>
            <pc:sldMk cId="2857089145" sldId="2134804311"/>
            <ac:spMk id="79" creationId="{4CB33A5F-A766-46AC-A7C7-BF7EAD99C46C}"/>
          </ac:spMkLst>
        </pc:spChg>
        <pc:spChg chg="mod">
          <ac:chgData name="Mariam Daniela Tristancho Pineda (MISION TEMPORAL LTDA)" userId="a45a17f7-7950-4cb5-bfab-f5c894f959a9" providerId="ADAL" clId="{9D150B60-33B5-4A3E-8123-A67E35AA8D44}" dt="2020-07-27T19:20:23.875" v="11436" actId="12789"/>
          <ac:spMkLst>
            <pc:docMk/>
            <pc:sldMk cId="2857089145" sldId="2134804311"/>
            <ac:spMk id="80" creationId="{4CCC5681-CD2B-48BE-AC2F-73599B525803}"/>
          </ac:spMkLst>
        </pc:spChg>
        <pc:spChg chg="del">
          <ac:chgData name="Mariam Daniela Tristancho Pineda (MISION TEMPORAL LTDA)" userId="a45a17f7-7950-4cb5-bfab-f5c894f959a9" providerId="ADAL" clId="{9D150B60-33B5-4A3E-8123-A67E35AA8D44}" dt="2020-07-24T19:27:31.987" v="5249" actId="478"/>
          <ac:spMkLst>
            <pc:docMk/>
            <pc:sldMk cId="2857089145" sldId="2134804311"/>
            <ac:spMk id="86" creationId="{F7362C91-67BB-4CFB-8114-BCC038C9F5A5}"/>
          </ac:spMkLst>
        </pc:spChg>
        <pc:spChg chg="mod">
          <ac:chgData name="Mariam Daniela Tristancho Pineda (MISION TEMPORAL LTDA)" userId="a45a17f7-7950-4cb5-bfab-f5c894f959a9" providerId="ADAL" clId="{9D150B60-33B5-4A3E-8123-A67E35AA8D44}" dt="2020-07-27T19:18:40.607" v="11409" actId="1037"/>
          <ac:spMkLst>
            <pc:docMk/>
            <pc:sldMk cId="2857089145" sldId="2134804311"/>
            <ac:spMk id="87" creationId="{A58BF597-C51C-4E2C-9BD2-59F949AC6F75}"/>
          </ac:spMkLst>
        </pc:spChg>
        <pc:spChg chg="mod">
          <ac:chgData name="Mariam Daniela Tristancho Pineda (MISION TEMPORAL LTDA)" userId="a45a17f7-7950-4cb5-bfab-f5c894f959a9" providerId="ADAL" clId="{9D150B60-33B5-4A3E-8123-A67E35AA8D44}" dt="2020-07-27T19:18:40.607" v="11409" actId="1037"/>
          <ac:spMkLst>
            <pc:docMk/>
            <pc:sldMk cId="2857089145" sldId="2134804311"/>
            <ac:spMk id="88" creationId="{F61EEF2A-B598-4665-AE21-A8A3931488AC}"/>
          </ac:spMkLst>
        </pc:spChg>
        <pc:spChg chg="mod">
          <ac:chgData name="Mariam Daniela Tristancho Pineda (MISION TEMPORAL LTDA)" userId="a45a17f7-7950-4cb5-bfab-f5c894f959a9" providerId="ADAL" clId="{9D150B60-33B5-4A3E-8123-A67E35AA8D44}" dt="2020-07-27T19:18:15.371" v="11372" actId="1037"/>
          <ac:spMkLst>
            <pc:docMk/>
            <pc:sldMk cId="2857089145" sldId="2134804311"/>
            <ac:spMk id="89" creationId="{973F83E5-B4A3-40C6-8A01-259D39F0C4EF}"/>
          </ac:spMkLst>
        </pc:spChg>
        <pc:spChg chg="mod">
          <ac:chgData name="Mariam Daniela Tristancho Pineda (MISION TEMPORAL LTDA)" userId="a45a17f7-7950-4cb5-bfab-f5c894f959a9" providerId="ADAL" clId="{9D150B60-33B5-4A3E-8123-A67E35AA8D44}" dt="2020-07-27T19:18:15.371" v="11372" actId="1037"/>
          <ac:spMkLst>
            <pc:docMk/>
            <pc:sldMk cId="2857089145" sldId="2134804311"/>
            <ac:spMk id="90" creationId="{744DB82B-E482-4033-8CAD-6B29F669CFF4}"/>
          </ac:spMkLst>
        </pc:spChg>
        <pc:spChg chg="mod">
          <ac:chgData name="Mariam Daniela Tristancho Pineda (MISION TEMPORAL LTDA)" userId="a45a17f7-7950-4cb5-bfab-f5c894f959a9" providerId="ADAL" clId="{9D150B60-33B5-4A3E-8123-A67E35AA8D44}" dt="2020-07-27T19:18:15.371" v="11372" actId="1037"/>
          <ac:spMkLst>
            <pc:docMk/>
            <pc:sldMk cId="2857089145" sldId="2134804311"/>
            <ac:spMk id="91" creationId="{D66505A6-8BAE-42E1-964E-6D28D62D280F}"/>
          </ac:spMkLst>
        </pc:spChg>
        <pc:spChg chg="mod topLvl">
          <ac:chgData name="Mariam Daniela Tristancho Pineda (MISION TEMPORAL LTDA)" userId="a45a17f7-7950-4cb5-bfab-f5c894f959a9" providerId="ADAL" clId="{9D150B60-33B5-4A3E-8123-A67E35AA8D44}" dt="2020-07-26T21:30:25.902" v="7119" actId="164"/>
          <ac:spMkLst>
            <pc:docMk/>
            <pc:sldMk cId="2857089145" sldId="2134804311"/>
            <ac:spMk id="92" creationId="{3EA3CEBF-AE3A-4473-8734-7C7235782152}"/>
          </ac:spMkLst>
        </pc:spChg>
        <pc:spChg chg="mod topLvl">
          <ac:chgData name="Mariam Daniela Tristancho Pineda (MISION TEMPORAL LTDA)" userId="a45a17f7-7950-4cb5-bfab-f5c894f959a9" providerId="ADAL" clId="{9D150B60-33B5-4A3E-8123-A67E35AA8D44}" dt="2020-07-27T19:11:33.324" v="11015" actId="20577"/>
          <ac:spMkLst>
            <pc:docMk/>
            <pc:sldMk cId="2857089145" sldId="2134804311"/>
            <ac:spMk id="93" creationId="{5275F773-D793-4CF4-99F5-C30720C81666}"/>
          </ac:spMkLst>
        </pc:spChg>
        <pc:spChg chg="del">
          <ac:chgData name="Mariam Daniela Tristancho Pineda (MISION TEMPORAL LTDA)" userId="a45a17f7-7950-4cb5-bfab-f5c894f959a9" providerId="ADAL" clId="{9D150B60-33B5-4A3E-8123-A67E35AA8D44}" dt="2020-07-24T19:32:11.634" v="5354" actId="478"/>
          <ac:spMkLst>
            <pc:docMk/>
            <pc:sldMk cId="2857089145" sldId="2134804311"/>
            <ac:spMk id="93" creationId="{AD90D2B9-42A2-4AAA-A28D-605C2393156F}"/>
          </ac:spMkLst>
        </pc:spChg>
        <pc:spChg chg="mod">
          <ac:chgData name="Mariam Daniela Tristancho Pineda (MISION TEMPORAL LTDA)" userId="a45a17f7-7950-4cb5-bfab-f5c894f959a9" providerId="ADAL" clId="{9D150B60-33B5-4A3E-8123-A67E35AA8D44}" dt="2020-07-27T19:19:11.096" v="11425" actId="1036"/>
          <ac:spMkLst>
            <pc:docMk/>
            <pc:sldMk cId="2857089145" sldId="2134804311"/>
            <ac:spMk id="94" creationId="{75F6475F-AD44-4C16-BAE2-A31BB96FC41E}"/>
          </ac:spMkLst>
        </pc:spChg>
        <pc:spChg chg="mod">
          <ac:chgData name="Mariam Daniela Tristancho Pineda (MISION TEMPORAL LTDA)" userId="a45a17f7-7950-4cb5-bfab-f5c894f959a9" providerId="ADAL" clId="{9D150B60-33B5-4A3E-8123-A67E35AA8D44}" dt="2020-07-27T19:18:32.597" v="11385" actId="1037"/>
          <ac:spMkLst>
            <pc:docMk/>
            <pc:sldMk cId="2857089145" sldId="2134804311"/>
            <ac:spMk id="96" creationId="{2F854CD9-D212-4B31-8682-2DA5928CD160}"/>
          </ac:spMkLst>
        </pc:spChg>
        <pc:spChg chg="mod ord">
          <ac:chgData name="Mariam Daniela Tristancho Pineda (MISION TEMPORAL LTDA)" userId="a45a17f7-7950-4cb5-bfab-f5c894f959a9" providerId="ADAL" clId="{9D150B60-33B5-4A3E-8123-A67E35AA8D44}" dt="2020-07-27T19:14:12.595" v="11187" actId="1076"/>
          <ac:spMkLst>
            <pc:docMk/>
            <pc:sldMk cId="2857089145" sldId="2134804311"/>
            <ac:spMk id="97" creationId="{99300021-C267-43BD-A0F5-B3ECE622345E}"/>
          </ac:spMkLst>
        </pc:spChg>
        <pc:spChg chg="mod">
          <ac:chgData name="Mariam Daniela Tristancho Pineda (MISION TEMPORAL LTDA)" userId="a45a17f7-7950-4cb5-bfab-f5c894f959a9" providerId="ADAL" clId="{9D150B60-33B5-4A3E-8123-A67E35AA8D44}" dt="2020-07-27T19:18:32.597" v="11385" actId="1037"/>
          <ac:spMkLst>
            <pc:docMk/>
            <pc:sldMk cId="2857089145" sldId="2134804311"/>
            <ac:spMk id="98" creationId="{1B36C647-4A59-44AE-8DCC-30702D96622E}"/>
          </ac:spMkLst>
        </pc:spChg>
        <pc:spChg chg="mod ord">
          <ac:chgData name="Mariam Daniela Tristancho Pineda (MISION TEMPORAL LTDA)" userId="a45a17f7-7950-4cb5-bfab-f5c894f959a9" providerId="ADAL" clId="{9D150B60-33B5-4A3E-8123-A67E35AA8D44}" dt="2020-07-27T19:18:15.371" v="11372" actId="1037"/>
          <ac:spMkLst>
            <pc:docMk/>
            <pc:sldMk cId="2857089145" sldId="2134804311"/>
            <ac:spMk id="99" creationId="{90CC82AC-D82E-4F89-AC67-093894759099}"/>
          </ac:spMkLst>
        </pc:spChg>
        <pc:spChg chg="mod ord">
          <ac:chgData name="Mariam Daniela Tristancho Pineda (MISION TEMPORAL LTDA)" userId="a45a17f7-7950-4cb5-bfab-f5c894f959a9" providerId="ADAL" clId="{9D150B60-33B5-4A3E-8123-A67E35AA8D44}" dt="2020-07-27T19:18:15.371" v="11372" actId="1037"/>
          <ac:spMkLst>
            <pc:docMk/>
            <pc:sldMk cId="2857089145" sldId="2134804311"/>
            <ac:spMk id="100" creationId="{1835F856-5B59-4AFF-86DE-2F0968B76CF7}"/>
          </ac:spMkLst>
        </pc:spChg>
        <pc:spChg chg="mod ord">
          <ac:chgData name="Mariam Daniela Tristancho Pineda (MISION TEMPORAL LTDA)" userId="a45a17f7-7950-4cb5-bfab-f5c894f959a9" providerId="ADAL" clId="{9D150B60-33B5-4A3E-8123-A67E35AA8D44}" dt="2020-07-27T19:18:40.607" v="11409" actId="1037"/>
          <ac:spMkLst>
            <pc:docMk/>
            <pc:sldMk cId="2857089145" sldId="2134804311"/>
            <ac:spMk id="102" creationId="{101F3273-AA10-47F1-9872-07AD50130DF5}"/>
          </ac:spMkLst>
        </pc:spChg>
        <pc:spChg chg="mod ord">
          <ac:chgData name="Mariam Daniela Tristancho Pineda (MISION TEMPORAL LTDA)" userId="a45a17f7-7950-4cb5-bfab-f5c894f959a9" providerId="ADAL" clId="{9D150B60-33B5-4A3E-8123-A67E35AA8D44}" dt="2020-07-27T19:18:15.371" v="11372" actId="1037"/>
          <ac:spMkLst>
            <pc:docMk/>
            <pc:sldMk cId="2857089145" sldId="2134804311"/>
            <ac:spMk id="103" creationId="{BDBCDC72-F935-45A4-AE31-C045019965AF}"/>
          </ac:spMkLst>
        </pc:spChg>
        <pc:spChg chg="mod">
          <ac:chgData name="Mariam Daniela Tristancho Pineda (MISION TEMPORAL LTDA)" userId="a45a17f7-7950-4cb5-bfab-f5c894f959a9" providerId="ADAL" clId="{9D150B60-33B5-4A3E-8123-A67E35AA8D44}" dt="2020-07-27T19:18:40.607" v="11409" actId="1037"/>
          <ac:spMkLst>
            <pc:docMk/>
            <pc:sldMk cId="2857089145" sldId="2134804311"/>
            <ac:spMk id="104" creationId="{0326A105-08B6-409E-9596-07BD7645DEAE}"/>
          </ac:spMkLst>
        </pc:spChg>
        <pc:spChg chg="mod">
          <ac:chgData name="Mariam Daniela Tristancho Pineda (MISION TEMPORAL LTDA)" userId="a45a17f7-7950-4cb5-bfab-f5c894f959a9" providerId="ADAL" clId="{9D150B60-33B5-4A3E-8123-A67E35AA8D44}" dt="2020-07-27T19:18:15.371" v="11372" actId="1037"/>
          <ac:spMkLst>
            <pc:docMk/>
            <pc:sldMk cId="2857089145" sldId="2134804311"/>
            <ac:spMk id="105" creationId="{DC633C75-4D21-4E37-ABEB-B69D06C0A224}"/>
          </ac:spMkLst>
        </pc:spChg>
        <pc:spChg chg="mod">
          <ac:chgData name="Mariam Daniela Tristancho Pineda (MISION TEMPORAL LTDA)" userId="a45a17f7-7950-4cb5-bfab-f5c894f959a9" providerId="ADAL" clId="{9D150B60-33B5-4A3E-8123-A67E35AA8D44}" dt="2020-07-27T19:18:15.371" v="11372" actId="1037"/>
          <ac:spMkLst>
            <pc:docMk/>
            <pc:sldMk cId="2857089145" sldId="2134804311"/>
            <ac:spMk id="106" creationId="{8BF155F6-9EE4-4410-BB22-DEE4B18E9FEF}"/>
          </ac:spMkLst>
        </pc:spChg>
        <pc:spChg chg="mod">
          <ac:chgData name="Mariam Daniela Tristancho Pineda (MISION TEMPORAL LTDA)" userId="a45a17f7-7950-4cb5-bfab-f5c894f959a9" providerId="ADAL" clId="{9D150B60-33B5-4A3E-8123-A67E35AA8D44}" dt="2020-07-27T19:18:40.607" v="11409" actId="1037"/>
          <ac:spMkLst>
            <pc:docMk/>
            <pc:sldMk cId="2857089145" sldId="2134804311"/>
            <ac:spMk id="107" creationId="{4802A65C-C4BA-49C6-A107-DC404BE5C336}"/>
          </ac:spMkLst>
        </pc:spChg>
        <pc:spChg chg="mod">
          <ac:chgData name="Mariam Daniela Tristancho Pineda (MISION TEMPORAL LTDA)" userId="a45a17f7-7950-4cb5-bfab-f5c894f959a9" providerId="ADAL" clId="{9D150B60-33B5-4A3E-8123-A67E35AA8D44}" dt="2020-07-27T19:18:44.083" v="11416" actId="1038"/>
          <ac:spMkLst>
            <pc:docMk/>
            <pc:sldMk cId="2857089145" sldId="2134804311"/>
            <ac:spMk id="108" creationId="{E7417F2C-4445-4433-AA31-1B1D9A1C89B3}"/>
          </ac:spMkLst>
        </pc:spChg>
        <pc:spChg chg="mod">
          <ac:chgData name="Mariam Daniela Tristancho Pineda (MISION TEMPORAL LTDA)" userId="a45a17f7-7950-4cb5-bfab-f5c894f959a9" providerId="ADAL" clId="{9D150B60-33B5-4A3E-8123-A67E35AA8D44}" dt="2020-07-27T19:23:54.620" v="11520" actId="20577"/>
          <ac:spMkLst>
            <pc:docMk/>
            <pc:sldMk cId="2857089145" sldId="2134804311"/>
            <ac:spMk id="109" creationId="{08385488-E147-46D8-B063-DA33E0733CB0}"/>
          </ac:spMkLst>
        </pc:spChg>
        <pc:spChg chg="mod">
          <ac:chgData name="Mariam Daniela Tristancho Pineda (MISION TEMPORAL LTDA)" userId="a45a17f7-7950-4cb5-bfab-f5c894f959a9" providerId="ADAL" clId="{9D150B60-33B5-4A3E-8123-A67E35AA8D44}" dt="2020-07-27T19:18:32.597" v="11385" actId="1037"/>
          <ac:spMkLst>
            <pc:docMk/>
            <pc:sldMk cId="2857089145" sldId="2134804311"/>
            <ac:spMk id="110" creationId="{1B70395F-81C2-4B2E-ACAD-1A28A2D30AE3}"/>
          </ac:spMkLst>
        </pc:spChg>
        <pc:spChg chg="mod">
          <ac:chgData name="Mariam Daniela Tristancho Pineda (MISION TEMPORAL LTDA)" userId="a45a17f7-7950-4cb5-bfab-f5c894f959a9" providerId="ADAL" clId="{9D150B60-33B5-4A3E-8123-A67E35AA8D44}" dt="2020-07-27T19:18:32.597" v="11385" actId="1037"/>
          <ac:spMkLst>
            <pc:docMk/>
            <pc:sldMk cId="2857089145" sldId="2134804311"/>
            <ac:spMk id="111" creationId="{E2D710C4-D10D-431C-8002-D7A8CD9F9791}"/>
          </ac:spMkLst>
        </pc:spChg>
        <pc:spChg chg="mod">
          <ac:chgData name="Mariam Daniela Tristancho Pineda (MISION TEMPORAL LTDA)" userId="a45a17f7-7950-4cb5-bfab-f5c894f959a9" providerId="ADAL" clId="{9D150B60-33B5-4A3E-8123-A67E35AA8D44}" dt="2020-07-27T19:18:15.371" v="11372" actId="1037"/>
          <ac:spMkLst>
            <pc:docMk/>
            <pc:sldMk cId="2857089145" sldId="2134804311"/>
            <ac:spMk id="112" creationId="{B4C1BF04-1012-45AC-9EB0-AC2838F84533}"/>
          </ac:spMkLst>
        </pc:spChg>
        <pc:spChg chg="mod">
          <ac:chgData name="Mariam Daniela Tristancho Pineda (MISION TEMPORAL LTDA)" userId="a45a17f7-7950-4cb5-bfab-f5c894f959a9" providerId="ADAL" clId="{9D150B60-33B5-4A3E-8123-A67E35AA8D44}" dt="2020-07-27T19:18:36.666" v="11396" actId="1037"/>
          <ac:spMkLst>
            <pc:docMk/>
            <pc:sldMk cId="2857089145" sldId="2134804311"/>
            <ac:spMk id="113" creationId="{D5B58FCE-2D1A-4950-97BC-0B5CDA0B7BD1}"/>
          </ac:spMkLst>
        </pc:spChg>
        <pc:spChg chg="mod">
          <ac:chgData name="Mariam Daniela Tristancho Pineda (MISION TEMPORAL LTDA)" userId="a45a17f7-7950-4cb5-bfab-f5c894f959a9" providerId="ADAL" clId="{9D150B60-33B5-4A3E-8123-A67E35AA8D44}" dt="2020-07-27T19:18:36.666" v="11396" actId="1037"/>
          <ac:spMkLst>
            <pc:docMk/>
            <pc:sldMk cId="2857089145" sldId="2134804311"/>
            <ac:spMk id="114" creationId="{C750392A-C581-4AE8-9E2B-5AF290039A2A}"/>
          </ac:spMkLst>
        </pc:spChg>
        <pc:spChg chg="del">
          <ac:chgData name="Mariam Daniela Tristancho Pineda (MISION TEMPORAL LTDA)" userId="a45a17f7-7950-4cb5-bfab-f5c894f959a9" providerId="ADAL" clId="{9D150B60-33B5-4A3E-8123-A67E35AA8D44}" dt="2020-07-26T21:34:59.746" v="7434" actId="478"/>
          <ac:spMkLst>
            <pc:docMk/>
            <pc:sldMk cId="2857089145" sldId="2134804311"/>
            <ac:spMk id="140" creationId="{2062ABD7-3E18-481C-BE0F-59304E710CAD}"/>
          </ac:spMkLst>
        </pc:spChg>
        <pc:spChg chg="mod">
          <ac:chgData name="Mariam Daniela Tristancho Pineda (MISION TEMPORAL LTDA)" userId="a45a17f7-7950-4cb5-bfab-f5c894f959a9" providerId="ADAL" clId="{9D150B60-33B5-4A3E-8123-A67E35AA8D44}" dt="2020-07-27T19:18:40.607" v="11409" actId="1037"/>
          <ac:spMkLst>
            <pc:docMk/>
            <pc:sldMk cId="2857089145" sldId="2134804311"/>
            <ac:spMk id="146" creationId="{D86974CC-32BF-439F-A6E2-D1E82520294D}"/>
          </ac:spMkLst>
        </pc:spChg>
        <pc:grpChg chg="add mod">
          <ac:chgData name="Mariam Daniela Tristancho Pineda (MISION TEMPORAL LTDA)" userId="a45a17f7-7950-4cb5-bfab-f5c894f959a9" providerId="ADAL" clId="{9D150B60-33B5-4A3E-8123-A67E35AA8D44}" dt="2020-07-27T19:18:15.371" v="11372" actId="1037"/>
          <ac:grpSpMkLst>
            <pc:docMk/>
            <pc:sldMk cId="2857089145" sldId="2134804311"/>
            <ac:grpSpMk id="6" creationId="{CC434849-3074-4611-B817-AC1F162296B9}"/>
          </ac:grpSpMkLst>
        </pc:grpChg>
        <pc:grpChg chg="mod">
          <ac:chgData name="Mariam Daniela Tristancho Pineda (MISION TEMPORAL LTDA)" userId="a45a17f7-7950-4cb5-bfab-f5c894f959a9" providerId="ADAL" clId="{9D150B60-33B5-4A3E-8123-A67E35AA8D44}" dt="2020-07-27T19:21:58.743" v="11505" actId="1035"/>
          <ac:grpSpMkLst>
            <pc:docMk/>
            <pc:sldMk cId="2857089145" sldId="2134804311"/>
            <ac:grpSpMk id="8" creationId="{9A1EDE44-EA9B-4DEC-81AF-AD07328FAF29}"/>
          </ac:grpSpMkLst>
        </pc:grpChg>
        <pc:grpChg chg="mod">
          <ac:chgData name="Mariam Daniela Tristancho Pineda (MISION TEMPORAL LTDA)" userId="a45a17f7-7950-4cb5-bfab-f5c894f959a9" providerId="ADAL" clId="{9D150B60-33B5-4A3E-8123-A67E35AA8D44}" dt="2020-07-27T19:21:58.743" v="11505" actId="1035"/>
          <ac:grpSpMkLst>
            <pc:docMk/>
            <pc:sldMk cId="2857089145" sldId="2134804311"/>
            <ac:grpSpMk id="11" creationId="{32344C98-1BC7-4CEF-AC79-5B765B75F873}"/>
          </ac:grpSpMkLst>
        </pc:grpChg>
        <pc:grpChg chg="mod">
          <ac:chgData name="Mariam Daniela Tristancho Pineda (MISION TEMPORAL LTDA)" userId="a45a17f7-7950-4cb5-bfab-f5c894f959a9" providerId="ADAL" clId="{9D150B60-33B5-4A3E-8123-A67E35AA8D44}" dt="2020-07-27T19:21:58.743" v="11505" actId="1035"/>
          <ac:grpSpMkLst>
            <pc:docMk/>
            <pc:sldMk cId="2857089145" sldId="2134804311"/>
            <ac:grpSpMk id="14" creationId="{82DCB183-5F30-4F01-AD74-C88240C33079}"/>
          </ac:grpSpMkLst>
        </pc:grpChg>
        <pc:grpChg chg="mod">
          <ac:chgData name="Mariam Daniela Tristancho Pineda (MISION TEMPORAL LTDA)" userId="a45a17f7-7950-4cb5-bfab-f5c894f959a9" providerId="ADAL" clId="{9D150B60-33B5-4A3E-8123-A67E35AA8D44}" dt="2020-07-27T19:21:58.743" v="11505" actId="1035"/>
          <ac:grpSpMkLst>
            <pc:docMk/>
            <pc:sldMk cId="2857089145" sldId="2134804311"/>
            <ac:grpSpMk id="15" creationId="{8B2AEF35-7481-4609-8636-E91921A14250}"/>
          </ac:grpSpMkLst>
        </pc:grpChg>
        <pc:grpChg chg="mod">
          <ac:chgData name="Mariam Daniela Tristancho Pineda (MISION TEMPORAL LTDA)" userId="a45a17f7-7950-4cb5-bfab-f5c894f959a9" providerId="ADAL" clId="{9D150B60-33B5-4A3E-8123-A67E35AA8D44}" dt="2020-07-27T19:21:58.743" v="11505" actId="1035"/>
          <ac:grpSpMkLst>
            <pc:docMk/>
            <pc:sldMk cId="2857089145" sldId="2134804311"/>
            <ac:grpSpMk id="16" creationId="{77278303-2E76-4047-9BF0-D65EDCAD4766}"/>
          </ac:grpSpMkLst>
        </pc:grpChg>
        <pc:grpChg chg="mod">
          <ac:chgData name="Mariam Daniela Tristancho Pineda (MISION TEMPORAL LTDA)" userId="a45a17f7-7950-4cb5-bfab-f5c894f959a9" providerId="ADAL" clId="{9D150B60-33B5-4A3E-8123-A67E35AA8D44}" dt="2020-07-27T19:21:58.743" v="11505" actId="1035"/>
          <ac:grpSpMkLst>
            <pc:docMk/>
            <pc:sldMk cId="2857089145" sldId="2134804311"/>
            <ac:grpSpMk id="17" creationId="{A6E0797A-1030-49A0-BCEB-31275A2AD22F}"/>
          </ac:grpSpMkLst>
        </pc:grpChg>
        <pc:grpChg chg="add del mod">
          <ac:chgData name="Mariam Daniela Tristancho Pineda (MISION TEMPORAL LTDA)" userId="a45a17f7-7950-4cb5-bfab-f5c894f959a9" providerId="ADAL" clId="{9D150B60-33B5-4A3E-8123-A67E35AA8D44}" dt="2020-07-26T21:30:17.190" v="7116" actId="165"/>
          <ac:grpSpMkLst>
            <pc:docMk/>
            <pc:sldMk cId="2857089145" sldId="2134804311"/>
            <ac:grpSpMk id="86" creationId="{C47E76BD-BB98-4B19-990C-C564EF6321A6}"/>
          </ac:grpSpMkLst>
        </pc:grpChg>
        <pc:cxnChg chg="del mod">
          <ac:chgData name="Mariam Daniela Tristancho Pineda (MISION TEMPORAL LTDA)" userId="a45a17f7-7950-4cb5-bfab-f5c894f959a9" providerId="ADAL" clId="{9D150B60-33B5-4A3E-8123-A67E35AA8D44}" dt="2020-07-26T22:00:52.561" v="8212" actId="478"/>
          <ac:cxnSpMkLst>
            <pc:docMk/>
            <pc:sldMk cId="2857089145" sldId="2134804311"/>
            <ac:cxnSpMk id="95" creationId="{992CCE25-00CE-4C15-881A-068C6B1A3F0E}"/>
          </ac:cxnSpMkLst>
        </pc:cxnChg>
      </pc:sldChg>
      <pc:sldChg chg="add del">
        <pc:chgData name="Mariam Daniela Tristancho Pineda (MISION TEMPORAL LTDA)" userId="a45a17f7-7950-4cb5-bfab-f5c894f959a9" providerId="ADAL" clId="{9D150B60-33B5-4A3E-8123-A67E35AA8D44}" dt="2020-07-27T00:08:38.717" v="10950" actId="47"/>
        <pc:sldMkLst>
          <pc:docMk/>
          <pc:sldMk cId="2461600132" sldId="2134804312"/>
        </pc:sldMkLst>
      </pc:sldChg>
      <pc:sldChg chg="addSp modSp add del mod">
        <pc:chgData name="Mariam Daniela Tristancho Pineda (MISION TEMPORAL LTDA)" userId="a45a17f7-7950-4cb5-bfab-f5c894f959a9" providerId="ADAL" clId="{9D150B60-33B5-4A3E-8123-A67E35AA8D44}" dt="2020-07-26T22:52:48.086" v="9328" actId="47"/>
        <pc:sldMkLst>
          <pc:docMk/>
          <pc:sldMk cId="3339628768" sldId="2134804312"/>
        </pc:sldMkLst>
        <pc:spChg chg="add mod">
          <ac:chgData name="Mariam Daniela Tristancho Pineda (MISION TEMPORAL LTDA)" userId="a45a17f7-7950-4cb5-bfab-f5c894f959a9" providerId="ADAL" clId="{9D150B60-33B5-4A3E-8123-A67E35AA8D44}" dt="2020-07-26T22:52:45.254" v="9327" actId="1076"/>
          <ac:spMkLst>
            <pc:docMk/>
            <pc:sldMk cId="3339628768" sldId="2134804312"/>
            <ac:spMk id="6" creationId="{763030F3-2D3F-4568-BC6A-3611E0D9F770}"/>
          </ac:spMkLst>
        </pc:spChg>
      </pc:sldChg>
      <pc:sldChg chg="addSp delSp modSp add del mod">
        <pc:chgData name="Mariam Daniela Tristancho Pineda (MISION TEMPORAL LTDA)" userId="a45a17f7-7950-4cb5-bfab-f5c894f959a9" providerId="ADAL" clId="{9D150B60-33B5-4A3E-8123-A67E35AA8D44}" dt="2020-07-24T19:46:26.707" v="5733" actId="47"/>
        <pc:sldMkLst>
          <pc:docMk/>
          <pc:sldMk cId="4166213262" sldId="2134804312"/>
        </pc:sldMkLst>
        <pc:spChg chg="mod ord">
          <ac:chgData name="Mariam Daniela Tristancho Pineda (MISION TEMPORAL LTDA)" userId="a45a17f7-7950-4cb5-bfab-f5c894f959a9" providerId="ADAL" clId="{9D150B60-33B5-4A3E-8123-A67E35AA8D44}" dt="2020-07-10T00:40:04.220" v="1876" actId="1038"/>
          <ac:spMkLst>
            <pc:docMk/>
            <pc:sldMk cId="4166213262" sldId="2134804312"/>
            <ac:spMk id="3" creationId="{815B10B7-60B3-4C63-8431-70CC556387C9}"/>
          </ac:spMkLst>
        </pc:spChg>
        <pc:spChg chg="del">
          <ac:chgData name="Mariam Daniela Tristancho Pineda (MISION TEMPORAL LTDA)" userId="a45a17f7-7950-4cb5-bfab-f5c894f959a9" providerId="ADAL" clId="{9D150B60-33B5-4A3E-8123-A67E35AA8D44}" dt="2020-07-10T00:28:21.875" v="1366" actId="478"/>
          <ac:spMkLst>
            <pc:docMk/>
            <pc:sldMk cId="4166213262" sldId="2134804312"/>
            <ac:spMk id="6" creationId="{176A1BC7-0C2B-46FE-9DC1-6327C3BF3634}"/>
          </ac:spMkLst>
        </pc:spChg>
        <pc:spChg chg="mod">
          <ac:chgData name="Mariam Daniela Tristancho Pineda (MISION TEMPORAL LTDA)" userId="a45a17f7-7950-4cb5-bfab-f5c894f959a9" providerId="ADAL" clId="{9D150B60-33B5-4A3E-8123-A67E35AA8D44}" dt="2020-07-10T20:50:36.833" v="4432" actId="12788"/>
          <ac:spMkLst>
            <pc:docMk/>
            <pc:sldMk cId="4166213262" sldId="2134804312"/>
            <ac:spMk id="45" creationId="{FE8ED9F7-3608-4810-95FA-CCA357FF8DD5}"/>
          </ac:spMkLst>
        </pc:spChg>
        <pc:spChg chg="del">
          <ac:chgData name="Mariam Daniela Tristancho Pineda (MISION TEMPORAL LTDA)" userId="a45a17f7-7950-4cb5-bfab-f5c894f959a9" providerId="ADAL" clId="{9D150B60-33B5-4A3E-8123-A67E35AA8D44}" dt="2020-07-10T00:29:38.514" v="1483" actId="478"/>
          <ac:spMkLst>
            <pc:docMk/>
            <pc:sldMk cId="4166213262" sldId="2134804312"/>
            <ac:spMk id="46" creationId="{37613081-A8A7-4283-97BA-0F79BCAFB2C8}"/>
          </ac:spMkLst>
        </pc:spChg>
        <pc:spChg chg="del">
          <ac:chgData name="Mariam Daniela Tristancho Pineda (MISION TEMPORAL LTDA)" userId="a45a17f7-7950-4cb5-bfab-f5c894f959a9" providerId="ADAL" clId="{9D150B60-33B5-4A3E-8123-A67E35AA8D44}" dt="2020-07-10T00:29:38.514" v="1483" actId="478"/>
          <ac:spMkLst>
            <pc:docMk/>
            <pc:sldMk cId="4166213262" sldId="2134804312"/>
            <ac:spMk id="50" creationId="{A6FD2FCA-22BD-4408-A162-974663FFA2AE}"/>
          </ac:spMkLst>
        </pc:spChg>
        <pc:spChg chg="mod">
          <ac:chgData name="Mariam Daniela Tristancho Pineda (MISION TEMPORAL LTDA)" userId="a45a17f7-7950-4cb5-bfab-f5c894f959a9" providerId="ADAL" clId="{9D150B60-33B5-4A3E-8123-A67E35AA8D44}" dt="2020-07-10T20:50:32.288" v="4431" actId="12788"/>
          <ac:spMkLst>
            <pc:docMk/>
            <pc:sldMk cId="4166213262" sldId="2134804312"/>
            <ac:spMk id="51" creationId="{D395E86E-3965-40C4-A3DF-5364D60CE5F2}"/>
          </ac:spMkLst>
        </pc:spChg>
        <pc:spChg chg="del">
          <ac:chgData name="Mariam Daniela Tristancho Pineda (MISION TEMPORAL LTDA)" userId="a45a17f7-7950-4cb5-bfab-f5c894f959a9" providerId="ADAL" clId="{9D150B60-33B5-4A3E-8123-A67E35AA8D44}" dt="2020-07-10T00:29:38.514" v="1483" actId="478"/>
          <ac:spMkLst>
            <pc:docMk/>
            <pc:sldMk cId="4166213262" sldId="2134804312"/>
            <ac:spMk id="52" creationId="{5B06B1DA-3BD9-47D7-9B3D-C321E2E527E4}"/>
          </ac:spMkLst>
        </pc:spChg>
        <pc:spChg chg="mod">
          <ac:chgData name="Mariam Daniela Tristancho Pineda (MISION TEMPORAL LTDA)" userId="a45a17f7-7950-4cb5-bfab-f5c894f959a9" providerId="ADAL" clId="{9D150B60-33B5-4A3E-8123-A67E35AA8D44}" dt="2020-07-10T15:57:38.790" v="2952" actId="20577"/>
          <ac:spMkLst>
            <pc:docMk/>
            <pc:sldMk cId="4166213262" sldId="2134804312"/>
            <ac:spMk id="53" creationId="{F9C857D3-C5F6-4D00-8D9C-646D1DA60918}"/>
          </ac:spMkLst>
        </pc:spChg>
        <pc:spChg chg="mod ord">
          <ac:chgData name="Mariam Daniela Tristancho Pineda (MISION TEMPORAL LTDA)" userId="a45a17f7-7950-4cb5-bfab-f5c894f959a9" providerId="ADAL" clId="{9D150B60-33B5-4A3E-8123-A67E35AA8D44}" dt="2020-07-10T19:53:42.639" v="4041" actId="167"/>
          <ac:spMkLst>
            <pc:docMk/>
            <pc:sldMk cId="4166213262" sldId="2134804312"/>
            <ac:spMk id="54" creationId="{C38A9719-1AF0-4D7F-AF9E-714FBC133573}"/>
          </ac:spMkLst>
        </pc:spChg>
        <pc:spChg chg="mod">
          <ac:chgData name="Mariam Daniela Tristancho Pineda (MISION TEMPORAL LTDA)" userId="a45a17f7-7950-4cb5-bfab-f5c894f959a9" providerId="ADAL" clId="{9D150B60-33B5-4A3E-8123-A67E35AA8D44}" dt="2020-07-10T20:50:53.925" v="4436" actId="12788"/>
          <ac:spMkLst>
            <pc:docMk/>
            <pc:sldMk cId="4166213262" sldId="2134804312"/>
            <ac:spMk id="55" creationId="{29532448-A08B-43D8-A118-91936FED3C43}"/>
          </ac:spMkLst>
        </pc:spChg>
        <pc:spChg chg="del">
          <ac:chgData name="Mariam Daniela Tristancho Pineda (MISION TEMPORAL LTDA)" userId="a45a17f7-7950-4cb5-bfab-f5c894f959a9" providerId="ADAL" clId="{9D150B60-33B5-4A3E-8123-A67E35AA8D44}" dt="2020-07-10T00:29:38.514" v="1483" actId="478"/>
          <ac:spMkLst>
            <pc:docMk/>
            <pc:sldMk cId="4166213262" sldId="2134804312"/>
            <ac:spMk id="57" creationId="{899A4C5F-C341-448B-B15D-BB337D4E4176}"/>
          </ac:spMkLst>
        </pc:spChg>
        <pc:spChg chg="mod">
          <ac:chgData name="Mariam Daniela Tristancho Pineda (MISION TEMPORAL LTDA)" userId="a45a17f7-7950-4cb5-bfab-f5c894f959a9" providerId="ADAL" clId="{9D150B60-33B5-4A3E-8123-A67E35AA8D44}" dt="2020-07-10T20:50:25.393" v="4430" actId="12788"/>
          <ac:spMkLst>
            <pc:docMk/>
            <pc:sldMk cId="4166213262" sldId="2134804312"/>
            <ac:spMk id="58" creationId="{13971695-02CB-4075-AB5E-BDAB89C4EB52}"/>
          </ac:spMkLst>
        </pc:spChg>
        <pc:spChg chg="del">
          <ac:chgData name="Mariam Daniela Tristancho Pineda (MISION TEMPORAL LTDA)" userId="a45a17f7-7950-4cb5-bfab-f5c894f959a9" providerId="ADAL" clId="{9D150B60-33B5-4A3E-8123-A67E35AA8D44}" dt="2020-07-10T00:29:38.514" v="1483" actId="478"/>
          <ac:spMkLst>
            <pc:docMk/>
            <pc:sldMk cId="4166213262" sldId="2134804312"/>
            <ac:spMk id="59" creationId="{7127D3DE-EF0D-403A-A224-06CFC244F2F7}"/>
          </ac:spMkLst>
        </pc:spChg>
        <pc:spChg chg="del">
          <ac:chgData name="Mariam Daniela Tristancho Pineda (MISION TEMPORAL LTDA)" userId="a45a17f7-7950-4cb5-bfab-f5c894f959a9" providerId="ADAL" clId="{9D150B60-33B5-4A3E-8123-A67E35AA8D44}" dt="2020-07-10T00:29:38.514" v="1483" actId="478"/>
          <ac:spMkLst>
            <pc:docMk/>
            <pc:sldMk cId="4166213262" sldId="2134804312"/>
            <ac:spMk id="60" creationId="{C756E770-FDC5-4AD2-8422-3E24C956681E}"/>
          </ac:spMkLst>
        </pc:spChg>
        <pc:spChg chg="mod">
          <ac:chgData name="Mariam Daniela Tristancho Pineda (MISION TEMPORAL LTDA)" userId="a45a17f7-7950-4cb5-bfab-f5c894f959a9" providerId="ADAL" clId="{9D150B60-33B5-4A3E-8123-A67E35AA8D44}" dt="2020-07-10T20:50:40.684" v="4433" actId="12788"/>
          <ac:spMkLst>
            <pc:docMk/>
            <pc:sldMk cId="4166213262" sldId="2134804312"/>
            <ac:spMk id="61" creationId="{34F7D164-E994-45AC-8F26-F92B7ACB058A}"/>
          </ac:spMkLst>
        </pc:spChg>
        <pc:spChg chg="mod ord">
          <ac:chgData name="Mariam Daniela Tristancho Pineda (MISION TEMPORAL LTDA)" userId="a45a17f7-7950-4cb5-bfab-f5c894f959a9" providerId="ADAL" clId="{9D150B60-33B5-4A3E-8123-A67E35AA8D44}" dt="2020-07-10T00:40:16.498" v="1914" actId="1037"/>
          <ac:spMkLst>
            <pc:docMk/>
            <pc:sldMk cId="4166213262" sldId="2134804312"/>
            <ac:spMk id="63" creationId="{C8570C6E-3F05-4155-850A-C74FBEC80B54}"/>
          </ac:spMkLst>
        </pc:spChg>
        <pc:spChg chg="mod ord">
          <ac:chgData name="Mariam Daniela Tristancho Pineda (MISION TEMPORAL LTDA)" userId="a45a17f7-7950-4cb5-bfab-f5c894f959a9" providerId="ADAL" clId="{9D150B60-33B5-4A3E-8123-A67E35AA8D44}" dt="2020-07-10T00:40:09.319" v="1895" actId="1037"/>
          <ac:spMkLst>
            <pc:docMk/>
            <pc:sldMk cId="4166213262" sldId="2134804312"/>
            <ac:spMk id="64" creationId="{646BACCF-FF90-4891-9AFB-F9D4221C88F5}"/>
          </ac:spMkLst>
        </pc:spChg>
        <pc:spChg chg="del">
          <ac:chgData name="Mariam Daniela Tristancho Pineda (MISION TEMPORAL LTDA)" userId="a45a17f7-7950-4cb5-bfab-f5c894f959a9" providerId="ADAL" clId="{9D150B60-33B5-4A3E-8123-A67E35AA8D44}" dt="2020-07-10T00:29:38.514" v="1483" actId="478"/>
          <ac:spMkLst>
            <pc:docMk/>
            <pc:sldMk cId="4166213262" sldId="2134804312"/>
            <ac:spMk id="65" creationId="{1065D923-F137-4939-8930-2192BD04211D}"/>
          </ac:spMkLst>
        </pc:spChg>
        <pc:spChg chg="del">
          <ac:chgData name="Mariam Daniela Tristancho Pineda (MISION TEMPORAL LTDA)" userId="a45a17f7-7950-4cb5-bfab-f5c894f959a9" providerId="ADAL" clId="{9D150B60-33B5-4A3E-8123-A67E35AA8D44}" dt="2020-07-10T00:29:38.514" v="1483" actId="478"/>
          <ac:spMkLst>
            <pc:docMk/>
            <pc:sldMk cId="4166213262" sldId="2134804312"/>
            <ac:spMk id="66" creationId="{DC1BBBBA-158A-411A-BB38-9A477BEC2498}"/>
          </ac:spMkLst>
        </pc:spChg>
        <pc:spChg chg="mod ord">
          <ac:chgData name="Mariam Daniela Tristancho Pineda (MISION TEMPORAL LTDA)" userId="a45a17f7-7950-4cb5-bfab-f5c894f959a9" providerId="ADAL" clId="{9D150B60-33B5-4A3E-8123-A67E35AA8D44}" dt="2020-07-10T00:40:12.849" v="1906" actId="1037"/>
          <ac:spMkLst>
            <pc:docMk/>
            <pc:sldMk cId="4166213262" sldId="2134804312"/>
            <ac:spMk id="67" creationId="{C40762A9-67E9-4AAE-9CCD-76B6A006557E}"/>
          </ac:spMkLst>
        </pc:spChg>
        <pc:spChg chg="mod">
          <ac:chgData name="Mariam Daniela Tristancho Pineda (MISION TEMPORAL LTDA)" userId="a45a17f7-7950-4cb5-bfab-f5c894f959a9" providerId="ADAL" clId="{9D150B60-33B5-4A3E-8123-A67E35AA8D44}" dt="2020-07-10T00:42:25.101" v="1971" actId="1036"/>
          <ac:spMkLst>
            <pc:docMk/>
            <pc:sldMk cId="4166213262" sldId="2134804312"/>
            <ac:spMk id="71" creationId="{999B1B90-D742-4D29-B51B-141387E09C9F}"/>
          </ac:spMkLst>
        </pc:spChg>
        <pc:spChg chg="mod">
          <ac:chgData name="Mariam Daniela Tristancho Pineda (MISION TEMPORAL LTDA)" userId="a45a17f7-7950-4cb5-bfab-f5c894f959a9" providerId="ADAL" clId="{9D150B60-33B5-4A3E-8123-A67E35AA8D44}" dt="2020-07-10T00:41:09.386" v="1930" actId="403"/>
          <ac:spMkLst>
            <pc:docMk/>
            <pc:sldMk cId="4166213262" sldId="2134804312"/>
            <ac:spMk id="72" creationId="{2FBB49E6-161E-494F-B0AF-91D6129F8F33}"/>
          </ac:spMkLst>
        </pc:spChg>
        <pc:spChg chg="mod">
          <ac:chgData name="Mariam Daniela Tristancho Pineda (MISION TEMPORAL LTDA)" userId="a45a17f7-7950-4cb5-bfab-f5c894f959a9" providerId="ADAL" clId="{9D150B60-33B5-4A3E-8123-A67E35AA8D44}" dt="2020-07-10T00:42:05.696" v="1959" actId="1037"/>
          <ac:spMkLst>
            <pc:docMk/>
            <pc:sldMk cId="4166213262" sldId="2134804312"/>
            <ac:spMk id="73" creationId="{7882AF9C-51C3-42A3-B5BB-994F0A38CDAC}"/>
          </ac:spMkLst>
        </pc:spChg>
        <pc:spChg chg="mod">
          <ac:chgData name="Mariam Daniela Tristancho Pineda (MISION TEMPORAL LTDA)" userId="a45a17f7-7950-4cb5-bfab-f5c894f959a9" providerId="ADAL" clId="{9D150B60-33B5-4A3E-8123-A67E35AA8D44}" dt="2020-07-10T00:41:11.491" v="1931" actId="403"/>
          <ac:spMkLst>
            <pc:docMk/>
            <pc:sldMk cId="4166213262" sldId="2134804312"/>
            <ac:spMk id="75" creationId="{038013D2-E475-419B-A6D0-BE4D39D57D15}"/>
          </ac:spMkLst>
        </pc:spChg>
        <pc:spChg chg="mod">
          <ac:chgData name="Mariam Daniela Tristancho Pineda (MISION TEMPORAL LTDA)" userId="a45a17f7-7950-4cb5-bfab-f5c894f959a9" providerId="ADAL" clId="{9D150B60-33B5-4A3E-8123-A67E35AA8D44}" dt="2020-07-10T00:41:04.219" v="1928" actId="403"/>
          <ac:spMkLst>
            <pc:docMk/>
            <pc:sldMk cId="4166213262" sldId="2134804312"/>
            <ac:spMk id="76" creationId="{0F21D6C4-EC29-43B6-B8E7-338DB7DD7C1E}"/>
          </ac:spMkLst>
        </pc:spChg>
        <pc:spChg chg="mod">
          <ac:chgData name="Mariam Daniela Tristancho Pineda (MISION TEMPORAL LTDA)" userId="a45a17f7-7950-4cb5-bfab-f5c894f959a9" providerId="ADAL" clId="{9D150B60-33B5-4A3E-8123-A67E35AA8D44}" dt="2020-07-10T00:41:06.459" v="1929" actId="403"/>
          <ac:spMkLst>
            <pc:docMk/>
            <pc:sldMk cId="4166213262" sldId="2134804312"/>
            <ac:spMk id="77" creationId="{95FD1090-EE89-438B-9895-DC57C1D16AA3}"/>
          </ac:spMkLst>
        </pc:spChg>
        <pc:spChg chg="mod">
          <ac:chgData name="Mariam Daniela Tristancho Pineda (MISION TEMPORAL LTDA)" userId="a45a17f7-7950-4cb5-bfab-f5c894f959a9" providerId="ADAL" clId="{9D150B60-33B5-4A3E-8123-A67E35AA8D44}" dt="2020-07-10T00:42:10.437" v="1968" actId="1037"/>
          <ac:spMkLst>
            <pc:docMk/>
            <pc:sldMk cId="4166213262" sldId="2134804312"/>
            <ac:spMk id="78" creationId="{1775A41A-7B98-4609-BF00-BC54D6AACB93}"/>
          </ac:spMkLst>
        </pc:spChg>
        <pc:spChg chg="mod">
          <ac:chgData name="Mariam Daniela Tristancho Pineda (MISION TEMPORAL LTDA)" userId="a45a17f7-7950-4cb5-bfab-f5c894f959a9" providerId="ADAL" clId="{9D150B60-33B5-4A3E-8123-A67E35AA8D44}" dt="2020-07-10T00:42:10.437" v="1968" actId="1037"/>
          <ac:spMkLst>
            <pc:docMk/>
            <pc:sldMk cId="4166213262" sldId="2134804312"/>
            <ac:spMk id="79" creationId="{4CB33A5F-A766-46AC-A7C7-BF7EAD99C46C}"/>
          </ac:spMkLst>
        </pc:spChg>
        <pc:spChg chg="mod">
          <ac:chgData name="Mariam Daniela Tristancho Pineda (MISION TEMPORAL LTDA)" userId="a45a17f7-7950-4cb5-bfab-f5c894f959a9" providerId="ADAL" clId="{9D150B60-33B5-4A3E-8123-A67E35AA8D44}" dt="2020-07-10T00:42:10.437" v="1968" actId="1037"/>
          <ac:spMkLst>
            <pc:docMk/>
            <pc:sldMk cId="4166213262" sldId="2134804312"/>
            <ac:spMk id="80" creationId="{4CCC5681-CD2B-48BE-AC2F-73599B525803}"/>
          </ac:spMkLst>
        </pc:spChg>
        <pc:spChg chg="mod">
          <ac:chgData name="Mariam Daniela Tristancho Pineda (MISION TEMPORAL LTDA)" userId="a45a17f7-7950-4cb5-bfab-f5c894f959a9" providerId="ADAL" clId="{9D150B60-33B5-4A3E-8123-A67E35AA8D44}" dt="2020-07-10T00:40:58.447" v="1927" actId="403"/>
          <ac:spMkLst>
            <pc:docMk/>
            <pc:sldMk cId="4166213262" sldId="2134804312"/>
            <ac:spMk id="81" creationId="{634E8F6A-D227-42AA-8F9A-1A7BE729C4A7}"/>
          </ac:spMkLst>
        </pc:spChg>
        <pc:spChg chg="mod">
          <ac:chgData name="Mariam Daniela Tristancho Pineda (MISION TEMPORAL LTDA)" userId="a45a17f7-7950-4cb5-bfab-f5c894f959a9" providerId="ADAL" clId="{9D150B60-33B5-4A3E-8123-A67E35AA8D44}" dt="2020-07-10T00:40:58.447" v="1927" actId="403"/>
          <ac:spMkLst>
            <pc:docMk/>
            <pc:sldMk cId="4166213262" sldId="2134804312"/>
            <ac:spMk id="83" creationId="{83FFFF75-698F-4830-A17F-3A75C875E441}"/>
          </ac:spMkLst>
        </pc:spChg>
        <pc:spChg chg="mod">
          <ac:chgData name="Mariam Daniela Tristancho Pineda (MISION TEMPORAL LTDA)" userId="a45a17f7-7950-4cb5-bfab-f5c894f959a9" providerId="ADAL" clId="{9D150B60-33B5-4A3E-8123-A67E35AA8D44}" dt="2020-07-10T00:40:58.447" v="1927" actId="403"/>
          <ac:spMkLst>
            <pc:docMk/>
            <pc:sldMk cId="4166213262" sldId="2134804312"/>
            <ac:spMk id="84" creationId="{E8FAC1FE-10FB-45A2-ADB6-53328F0B0D2D}"/>
          </ac:spMkLst>
        </pc:spChg>
        <pc:spChg chg="mod">
          <ac:chgData name="Mariam Daniela Tristancho Pineda (MISION TEMPORAL LTDA)" userId="a45a17f7-7950-4cb5-bfab-f5c894f959a9" providerId="ADAL" clId="{9D150B60-33B5-4A3E-8123-A67E35AA8D44}" dt="2020-07-10T00:40:58.447" v="1927" actId="403"/>
          <ac:spMkLst>
            <pc:docMk/>
            <pc:sldMk cId="4166213262" sldId="2134804312"/>
            <ac:spMk id="85" creationId="{2E45A84E-D7BC-4D0A-86B6-E69D7A67D6F1}"/>
          </ac:spMkLst>
        </pc:spChg>
        <pc:spChg chg="del">
          <ac:chgData name="Mariam Daniela Tristancho Pineda (MISION TEMPORAL LTDA)" userId="a45a17f7-7950-4cb5-bfab-f5c894f959a9" providerId="ADAL" clId="{9D150B60-33B5-4A3E-8123-A67E35AA8D44}" dt="2020-07-10T00:32:16.275" v="1586" actId="478"/>
          <ac:spMkLst>
            <pc:docMk/>
            <pc:sldMk cId="4166213262" sldId="2134804312"/>
            <ac:spMk id="86" creationId="{F7362C91-67BB-4CFB-8114-BCC038C9F5A5}"/>
          </ac:spMkLst>
        </pc:spChg>
        <pc:spChg chg="del">
          <ac:chgData name="Mariam Daniela Tristancho Pineda (MISION TEMPORAL LTDA)" userId="a45a17f7-7950-4cb5-bfab-f5c894f959a9" providerId="ADAL" clId="{9D150B60-33B5-4A3E-8123-A67E35AA8D44}" dt="2020-07-10T00:30:04.545" v="1487" actId="478"/>
          <ac:spMkLst>
            <pc:docMk/>
            <pc:sldMk cId="4166213262" sldId="2134804312"/>
            <ac:spMk id="87" creationId="{A58BF597-C51C-4E2C-9BD2-59F949AC6F75}"/>
          </ac:spMkLst>
        </pc:spChg>
        <pc:spChg chg="mod">
          <ac:chgData name="Mariam Daniela Tristancho Pineda (MISION TEMPORAL LTDA)" userId="a45a17f7-7950-4cb5-bfab-f5c894f959a9" providerId="ADAL" clId="{9D150B60-33B5-4A3E-8123-A67E35AA8D44}" dt="2020-07-10T00:36:51.392" v="1720" actId="164"/>
          <ac:spMkLst>
            <pc:docMk/>
            <pc:sldMk cId="4166213262" sldId="2134804312"/>
            <ac:spMk id="88" creationId="{F61EEF2A-B598-4665-AE21-A8A3931488AC}"/>
          </ac:spMkLst>
        </pc:spChg>
        <pc:spChg chg="del mod">
          <ac:chgData name="Mariam Daniela Tristancho Pineda (MISION TEMPORAL LTDA)" userId="a45a17f7-7950-4cb5-bfab-f5c894f959a9" providerId="ADAL" clId="{9D150B60-33B5-4A3E-8123-A67E35AA8D44}" dt="2020-07-10T00:32:55.811" v="1633" actId="478"/>
          <ac:spMkLst>
            <pc:docMk/>
            <pc:sldMk cId="4166213262" sldId="2134804312"/>
            <ac:spMk id="89" creationId="{973F83E5-B4A3-40C6-8A01-259D39F0C4EF}"/>
          </ac:spMkLst>
        </pc:spChg>
        <pc:spChg chg="del">
          <ac:chgData name="Mariam Daniela Tristancho Pineda (MISION TEMPORAL LTDA)" userId="a45a17f7-7950-4cb5-bfab-f5c894f959a9" providerId="ADAL" clId="{9D150B60-33B5-4A3E-8123-A67E35AA8D44}" dt="2020-07-10T00:28:40.982" v="1368" actId="478"/>
          <ac:spMkLst>
            <pc:docMk/>
            <pc:sldMk cId="4166213262" sldId="2134804312"/>
            <ac:spMk id="90" creationId="{744DB82B-E482-4033-8CAD-6B29F669CFF4}"/>
          </ac:spMkLst>
        </pc:spChg>
        <pc:spChg chg="del">
          <ac:chgData name="Mariam Daniela Tristancho Pineda (MISION TEMPORAL LTDA)" userId="a45a17f7-7950-4cb5-bfab-f5c894f959a9" providerId="ADAL" clId="{9D150B60-33B5-4A3E-8123-A67E35AA8D44}" dt="2020-07-10T00:28:40.982" v="1368" actId="478"/>
          <ac:spMkLst>
            <pc:docMk/>
            <pc:sldMk cId="4166213262" sldId="2134804312"/>
            <ac:spMk id="91" creationId="{D66505A6-8BAE-42E1-964E-6D28D62D280F}"/>
          </ac:spMkLst>
        </pc:spChg>
        <pc:spChg chg="add mod">
          <ac:chgData name="Mariam Daniela Tristancho Pineda (MISION TEMPORAL LTDA)" userId="a45a17f7-7950-4cb5-bfab-f5c894f959a9" providerId="ADAL" clId="{9D150B60-33B5-4A3E-8123-A67E35AA8D44}" dt="2020-07-10T20:51:00.131" v="4437" actId="12788"/>
          <ac:spMkLst>
            <pc:docMk/>
            <pc:sldMk cId="4166213262" sldId="2134804312"/>
            <ac:spMk id="92" creationId="{DB1752F5-4060-4D61-BFAC-2C0F1BFD040B}"/>
          </ac:spMkLst>
        </pc:spChg>
        <pc:spChg chg="del">
          <ac:chgData name="Mariam Daniela Tristancho Pineda (MISION TEMPORAL LTDA)" userId="a45a17f7-7950-4cb5-bfab-f5c894f959a9" providerId="ADAL" clId="{9D150B60-33B5-4A3E-8123-A67E35AA8D44}" dt="2020-07-10T00:29:38.514" v="1483" actId="478"/>
          <ac:spMkLst>
            <pc:docMk/>
            <pc:sldMk cId="4166213262" sldId="2134804312"/>
            <ac:spMk id="93" creationId="{AD90D2B9-42A2-4AAA-A28D-605C2393156F}"/>
          </ac:spMkLst>
        </pc:spChg>
        <pc:spChg chg="del">
          <ac:chgData name="Mariam Daniela Tristancho Pineda (MISION TEMPORAL LTDA)" userId="a45a17f7-7950-4cb5-bfab-f5c894f959a9" providerId="ADAL" clId="{9D150B60-33B5-4A3E-8123-A67E35AA8D44}" dt="2020-07-10T00:29:38.514" v="1483" actId="478"/>
          <ac:spMkLst>
            <pc:docMk/>
            <pc:sldMk cId="4166213262" sldId="2134804312"/>
            <ac:spMk id="94" creationId="{75F6475F-AD44-4C16-BAE2-A31BB96FC41E}"/>
          </ac:spMkLst>
        </pc:spChg>
        <pc:spChg chg="del">
          <ac:chgData name="Mariam Daniela Tristancho Pineda (MISION TEMPORAL LTDA)" userId="a45a17f7-7950-4cb5-bfab-f5c894f959a9" providerId="ADAL" clId="{9D150B60-33B5-4A3E-8123-A67E35AA8D44}" dt="2020-07-10T00:29:38.514" v="1483" actId="478"/>
          <ac:spMkLst>
            <pc:docMk/>
            <pc:sldMk cId="4166213262" sldId="2134804312"/>
            <ac:spMk id="96" creationId="{2F854CD9-D212-4B31-8682-2DA5928CD160}"/>
          </ac:spMkLst>
        </pc:spChg>
        <pc:spChg chg="mod">
          <ac:chgData name="Mariam Daniela Tristancho Pineda (MISION TEMPORAL LTDA)" userId="a45a17f7-7950-4cb5-bfab-f5c894f959a9" providerId="ADAL" clId="{9D150B60-33B5-4A3E-8123-A67E35AA8D44}" dt="2020-07-10T20:50:44.707" v="4434" actId="12788"/>
          <ac:spMkLst>
            <pc:docMk/>
            <pc:sldMk cId="4166213262" sldId="2134804312"/>
            <ac:spMk id="97" creationId="{99300021-C267-43BD-A0F5-B3ECE622345E}"/>
          </ac:spMkLst>
        </pc:spChg>
        <pc:spChg chg="del">
          <ac:chgData name="Mariam Daniela Tristancho Pineda (MISION TEMPORAL LTDA)" userId="a45a17f7-7950-4cb5-bfab-f5c894f959a9" providerId="ADAL" clId="{9D150B60-33B5-4A3E-8123-A67E35AA8D44}" dt="2020-07-10T00:29:38.514" v="1483" actId="478"/>
          <ac:spMkLst>
            <pc:docMk/>
            <pc:sldMk cId="4166213262" sldId="2134804312"/>
            <ac:spMk id="98" creationId="{1B36C647-4A59-44AE-8DCC-30702D96622E}"/>
          </ac:spMkLst>
        </pc:spChg>
        <pc:spChg chg="del">
          <ac:chgData name="Mariam Daniela Tristancho Pineda (MISION TEMPORAL LTDA)" userId="a45a17f7-7950-4cb5-bfab-f5c894f959a9" providerId="ADAL" clId="{9D150B60-33B5-4A3E-8123-A67E35AA8D44}" dt="2020-07-10T00:28:40.982" v="1368" actId="478"/>
          <ac:spMkLst>
            <pc:docMk/>
            <pc:sldMk cId="4166213262" sldId="2134804312"/>
            <ac:spMk id="99" creationId="{90CC82AC-D82E-4F89-AC67-093894759099}"/>
          </ac:spMkLst>
        </pc:spChg>
        <pc:spChg chg="del">
          <ac:chgData name="Mariam Daniela Tristancho Pineda (MISION TEMPORAL LTDA)" userId="a45a17f7-7950-4cb5-bfab-f5c894f959a9" providerId="ADAL" clId="{9D150B60-33B5-4A3E-8123-A67E35AA8D44}" dt="2020-07-10T00:28:40.982" v="1368" actId="478"/>
          <ac:spMkLst>
            <pc:docMk/>
            <pc:sldMk cId="4166213262" sldId="2134804312"/>
            <ac:spMk id="100" creationId="{1835F856-5B59-4AFF-86DE-2F0968B76CF7}"/>
          </ac:spMkLst>
        </pc:spChg>
        <pc:spChg chg="mod">
          <ac:chgData name="Mariam Daniela Tristancho Pineda (MISION TEMPORAL LTDA)" userId="a45a17f7-7950-4cb5-bfab-f5c894f959a9" providerId="ADAL" clId="{9D150B60-33B5-4A3E-8123-A67E35AA8D44}" dt="2020-07-10T00:40:58.447" v="1927" actId="403"/>
          <ac:spMkLst>
            <pc:docMk/>
            <pc:sldMk cId="4166213262" sldId="2134804312"/>
            <ac:spMk id="101" creationId="{44FF1F0B-7DB4-4DE9-84A8-F7DD4E54D710}"/>
          </ac:spMkLst>
        </pc:spChg>
        <pc:spChg chg="mod">
          <ac:chgData name="Mariam Daniela Tristancho Pineda (MISION TEMPORAL LTDA)" userId="a45a17f7-7950-4cb5-bfab-f5c894f959a9" providerId="ADAL" clId="{9D150B60-33B5-4A3E-8123-A67E35AA8D44}" dt="2020-07-10T00:39:04.061" v="1834" actId="255"/>
          <ac:spMkLst>
            <pc:docMk/>
            <pc:sldMk cId="4166213262" sldId="2134804312"/>
            <ac:spMk id="102" creationId="{101F3273-AA10-47F1-9872-07AD50130DF5}"/>
          </ac:spMkLst>
        </pc:spChg>
        <pc:spChg chg="mod">
          <ac:chgData name="Mariam Daniela Tristancho Pineda (MISION TEMPORAL LTDA)" userId="a45a17f7-7950-4cb5-bfab-f5c894f959a9" providerId="ADAL" clId="{9D150B60-33B5-4A3E-8123-A67E35AA8D44}" dt="2020-07-10T20:50:48.283" v="4435" actId="12788"/>
          <ac:spMkLst>
            <pc:docMk/>
            <pc:sldMk cId="4166213262" sldId="2134804312"/>
            <ac:spMk id="103" creationId="{BDBCDC72-F935-45A4-AE31-C045019965AF}"/>
          </ac:spMkLst>
        </pc:spChg>
        <pc:spChg chg="del">
          <ac:chgData name="Mariam Daniela Tristancho Pineda (MISION TEMPORAL LTDA)" userId="a45a17f7-7950-4cb5-bfab-f5c894f959a9" providerId="ADAL" clId="{9D150B60-33B5-4A3E-8123-A67E35AA8D44}" dt="2020-07-10T00:28:40.982" v="1368" actId="478"/>
          <ac:spMkLst>
            <pc:docMk/>
            <pc:sldMk cId="4166213262" sldId="2134804312"/>
            <ac:spMk id="104" creationId="{0326A105-08B6-409E-9596-07BD7645DEAE}"/>
          </ac:spMkLst>
        </pc:spChg>
        <pc:spChg chg="mod ord">
          <ac:chgData name="Mariam Daniela Tristancho Pineda (MISION TEMPORAL LTDA)" userId="a45a17f7-7950-4cb5-bfab-f5c894f959a9" providerId="ADAL" clId="{9D150B60-33B5-4A3E-8123-A67E35AA8D44}" dt="2020-07-10T00:34:24.100" v="1702" actId="1035"/>
          <ac:spMkLst>
            <pc:docMk/>
            <pc:sldMk cId="4166213262" sldId="2134804312"/>
            <ac:spMk id="105" creationId="{DC633C75-4D21-4E37-ABEB-B69D06C0A224}"/>
          </ac:spMkLst>
        </pc:spChg>
        <pc:spChg chg="del mod">
          <ac:chgData name="Mariam Daniela Tristancho Pineda (MISION TEMPORAL LTDA)" userId="a45a17f7-7950-4cb5-bfab-f5c894f959a9" providerId="ADAL" clId="{9D150B60-33B5-4A3E-8123-A67E35AA8D44}" dt="2020-07-10T00:28:44.305" v="1370" actId="478"/>
          <ac:spMkLst>
            <pc:docMk/>
            <pc:sldMk cId="4166213262" sldId="2134804312"/>
            <ac:spMk id="106" creationId="{8BF155F6-9EE4-4410-BB22-DEE4B18E9FEF}"/>
          </ac:spMkLst>
        </pc:spChg>
        <pc:spChg chg="mod ord">
          <ac:chgData name="Mariam Daniela Tristancho Pineda (MISION TEMPORAL LTDA)" userId="a45a17f7-7950-4cb5-bfab-f5c894f959a9" providerId="ADAL" clId="{9D150B60-33B5-4A3E-8123-A67E35AA8D44}" dt="2020-07-10T00:34:24.100" v="1702" actId="1035"/>
          <ac:spMkLst>
            <pc:docMk/>
            <pc:sldMk cId="4166213262" sldId="2134804312"/>
            <ac:spMk id="107" creationId="{4802A65C-C4BA-49C6-A107-DC404BE5C336}"/>
          </ac:spMkLst>
        </pc:spChg>
        <pc:spChg chg="mod ord">
          <ac:chgData name="Mariam Daniela Tristancho Pineda (MISION TEMPORAL LTDA)" userId="a45a17f7-7950-4cb5-bfab-f5c894f959a9" providerId="ADAL" clId="{9D150B60-33B5-4A3E-8123-A67E35AA8D44}" dt="2020-07-10T00:39:28.509" v="1845" actId="1037"/>
          <ac:spMkLst>
            <pc:docMk/>
            <pc:sldMk cId="4166213262" sldId="2134804312"/>
            <ac:spMk id="108" creationId="{E7417F2C-4445-4433-AA31-1B1D9A1C89B3}"/>
          </ac:spMkLst>
        </pc:spChg>
        <pc:spChg chg="mod">
          <ac:chgData name="Mariam Daniela Tristancho Pineda (MISION TEMPORAL LTDA)" userId="a45a17f7-7950-4cb5-bfab-f5c894f959a9" providerId="ADAL" clId="{9D150B60-33B5-4A3E-8123-A67E35AA8D44}" dt="2020-07-10T00:41:55.486" v="1951" actId="1036"/>
          <ac:spMkLst>
            <pc:docMk/>
            <pc:sldMk cId="4166213262" sldId="2134804312"/>
            <ac:spMk id="109" creationId="{08385488-E147-46D8-B063-DA33E0733CB0}"/>
          </ac:spMkLst>
        </pc:spChg>
        <pc:spChg chg="del">
          <ac:chgData name="Mariam Daniela Tristancho Pineda (MISION TEMPORAL LTDA)" userId="a45a17f7-7950-4cb5-bfab-f5c894f959a9" providerId="ADAL" clId="{9D150B60-33B5-4A3E-8123-A67E35AA8D44}" dt="2020-07-10T00:29:38.514" v="1483" actId="478"/>
          <ac:spMkLst>
            <pc:docMk/>
            <pc:sldMk cId="4166213262" sldId="2134804312"/>
            <ac:spMk id="110" creationId="{1B70395F-81C2-4B2E-ACAD-1A28A2D30AE3}"/>
          </ac:spMkLst>
        </pc:spChg>
        <pc:spChg chg="del">
          <ac:chgData name="Mariam Daniela Tristancho Pineda (MISION TEMPORAL LTDA)" userId="a45a17f7-7950-4cb5-bfab-f5c894f959a9" providerId="ADAL" clId="{9D150B60-33B5-4A3E-8123-A67E35AA8D44}" dt="2020-07-10T00:29:38.514" v="1483" actId="478"/>
          <ac:spMkLst>
            <pc:docMk/>
            <pc:sldMk cId="4166213262" sldId="2134804312"/>
            <ac:spMk id="111" creationId="{E2D710C4-D10D-431C-8002-D7A8CD9F9791}"/>
          </ac:spMkLst>
        </pc:spChg>
        <pc:spChg chg="del">
          <ac:chgData name="Mariam Daniela Tristancho Pineda (MISION TEMPORAL LTDA)" userId="a45a17f7-7950-4cb5-bfab-f5c894f959a9" providerId="ADAL" clId="{9D150B60-33B5-4A3E-8123-A67E35AA8D44}" dt="2020-07-10T00:31:48.051" v="1538" actId="478"/>
          <ac:spMkLst>
            <pc:docMk/>
            <pc:sldMk cId="4166213262" sldId="2134804312"/>
            <ac:spMk id="112" creationId="{B4C1BF04-1012-45AC-9EB0-AC2838F84533}"/>
          </ac:spMkLst>
        </pc:spChg>
        <pc:spChg chg="del">
          <ac:chgData name="Mariam Daniela Tristancho Pineda (MISION TEMPORAL LTDA)" userId="a45a17f7-7950-4cb5-bfab-f5c894f959a9" providerId="ADAL" clId="{9D150B60-33B5-4A3E-8123-A67E35AA8D44}" dt="2020-07-10T00:29:38.514" v="1483" actId="478"/>
          <ac:spMkLst>
            <pc:docMk/>
            <pc:sldMk cId="4166213262" sldId="2134804312"/>
            <ac:spMk id="113" creationId="{D5B58FCE-2D1A-4950-97BC-0B5CDA0B7BD1}"/>
          </ac:spMkLst>
        </pc:spChg>
        <pc:spChg chg="del">
          <ac:chgData name="Mariam Daniela Tristancho Pineda (MISION TEMPORAL LTDA)" userId="a45a17f7-7950-4cb5-bfab-f5c894f959a9" providerId="ADAL" clId="{9D150B60-33B5-4A3E-8123-A67E35AA8D44}" dt="2020-07-10T00:29:38.514" v="1483" actId="478"/>
          <ac:spMkLst>
            <pc:docMk/>
            <pc:sldMk cId="4166213262" sldId="2134804312"/>
            <ac:spMk id="114" creationId="{C750392A-C581-4AE8-9E2B-5AF290039A2A}"/>
          </ac:spMkLst>
        </pc:spChg>
        <pc:spChg chg="add mod">
          <ac:chgData name="Mariam Daniela Tristancho Pineda (MISION TEMPORAL LTDA)" userId="a45a17f7-7950-4cb5-bfab-f5c894f959a9" providerId="ADAL" clId="{9D150B60-33B5-4A3E-8123-A67E35AA8D44}" dt="2020-07-10T00:36:51.392" v="1720" actId="164"/>
          <ac:spMkLst>
            <pc:docMk/>
            <pc:sldMk cId="4166213262" sldId="2134804312"/>
            <ac:spMk id="115" creationId="{7C7F20D3-7C76-4D21-ABC0-7A78EA72DDAC}"/>
          </ac:spMkLst>
        </pc:spChg>
        <pc:spChg chg="add mod">
          <ac:chgData name="Mariam Daniela Tristancho Pineda (MISION TEMPORAL LTDA)" userId="a45a17f7-7950-4cb5-bfab-f5c894f959a9" providerId="ADAL" clId="{9D150B60-33B5-4A3E-8123-A67E35AA8D44}" dt="2020-07-10T20:50:36.833" v="4432" actId="12788"/>
          <ac:spMkLst>
            <pc:docMk/>
            <pc:sldMk cId="4166213262" sldId="2134804312"/>
            <ac:spMk id="116" creationId="{F9B4EC4A-DEF8-4849-967D-F271AF5E728F}"/>
          </ac:spMkLst>
        </pc:spChg>
        <pc:spChg chg="add mod">
          <ac:chgData name="Mariam Daniela Tristancho Pineda (MISION TEMPORAL LTDA)" userId="a45a17f7-7950-4cb5-bfab-f5c894f959a9" providerId="ADAL" clId="{9D150B60-33B5-4A3E-8123-A67E35AA8D44}" dt="2020-07-10T20:50:32.288" v="4431" actId="12788"/>
          <ac:spMkLst>
            <pc:docMk/>
            <pc:sldMk cId="4166213262" sldId="2134804312"/>
            <ac:spMk id="117" creationId="{8AE31521-9A41-44BE-9E9D-BF658043CDF7}"/>
          </ac:spMkLst>
        </pc:spChg>
        <pc:spChg chg="add mod">
          <ac:chgData name="Mariam Daniela Tristancho Pineda (MISION TEMPORAL LTDA)" userId="a45a17f7-7950-4cb5-bfab-f5c894f959a9" providerId="ADAL" clId="{9D150B60-33B5-4A3E-8123-A67E35AA8D44}" dt="2020-07-10T20:50:25.393" v="4430" actId="12788"/>
          <ac:spMkLst>
            <pc:docMk/>
            <pc:sldMk cId="4166213262" sldId="2134804312"/>
            <ac:spMk id="118" creationId="{05C12AA3-6976-4F46-81AF-3A751B866B15}"/>
          </ac:spMkLst>
        </pc:spChg>
        <pc:spChg chg="add mod">
          <ac:chgData name="Mariam Daniela Tristancho Pineda (MISION TEMPORAL LTDA)" userId="a45a17f7-7950-4cb5-bfab-f5c894f959a9" providerId="ADAL" clId="{9D150B60-33B5-4A3E-8123-A67E35AA8D44}" dt="2020-07-10T20:50:40.684" v="4433" actId="12788"/>
          <ac:spMkLst>
            <pc:docMk/>
            <pc:sldMk cId="4166213262" sldId="2134804312"/>
            <ac:spMk id="119" creationId="{0C340092-C150-4035-8182-33B7C9A82FFB}"/>
          </ac:spMkLst>
        </pc:spChg>
        <pc:spChg chg="add mod">
          <ac:chgData name="Mariam Daniela Tristancho Pineda (MISION TEMPORAL LTDA)" userId="a45a17f7-7950-4cb5-bfab-f5c894f959a9" providerId="ADAL" clId="{9D150B60-33B5-4A3E-8123-A67E35AA8D44}" dt="2020-07-10T20:50:44.707" v="4434" actId="12788"/>
          <ac:spMkLst>
            <pc:docMk/>
            <pc:sldMk cId="4166213262" sldId="2134804312"/>
            <ac:spMk id="120" creationId="{A235ED41-8B46-4E2C-AE6A-6B5C7E592406}"/>
          </ac:spMkLst>
        </pc:spChg>
        <pc:spChg chg="add mod">
          <ac:chgData name="Mariam Daniela Tristancho Pineda (MISION TEMPORAL LTDA)" userId="a45a17f7-7950-4cb5-bfab-f5c894f959a9" providerId="ADAL" clId="{9D150B60-33B5-4A3E-8123-A67E35AA8D44}" dt="2020-07-10T20:50:48.283" v="4435" actId="12788"/>
          <ac:spMkLst>
            <pc:docMk/>
            <pc:sldMk cId="4166213262" sldId="2134804312"/>
            <ac:spMk id="121" creationId="{5C66F4FD-2E4E-46DB-BF99-D417376F791E}"/>
          </ac:spMkLst>
        </pc:spChg>
        <pc:spChg chg="add del mod">
          <ac:chgData name="Mariam Daniela Tristancho Pineda (MISION TEMPORAL LTDA)" userId="a45a17f7-7950-4cb5-bfab-f5c894f959a9" providerId="ADAL" clId="{9D150B60-33B5-4A3E-8123-A67E35AA8D44}" dt="2020-07-10T00:38:18.402" v="1793"/>
          <ac:spMkLst>
            <pc:docMk/>
            <pc:sldMk cId="4166213262" sldId="2134804312"/>
            <ac:spMk id="122" creationId="{475C396F-1091-472F-B36C-B0849A58D194}"/>
          </ac:spMkLst>
        </pc:spChg>
        <pc:spChg chg="add del mod">
          <ac:chgData name="Mariam Daniela Tristancho Pineda (MISION TEMPORAL LTDA)" userId="a45a17f7-7950-4cb5-bfab-f5c894f959a9" providerId="ADAL" clId="{9D150B60-33B5-4A3E-8123-A67E35AA8D44}" dt="2020-07-10T00:38:18.402" v="1793"/>
          <ac:spMkLst>
            <pc:docMk/>
            <pc:sldMk cId="4166213262" sldId="2134804312"/>
            <ac:spMk id="123" creationId="{C121654D-E647-416B-900F-0BC8642CE315}"/>
          </ac:spMkLst>
        </pc:spChg>
        <pc:spChg chg="add del mod">
          <ac:chgData name="Mariam Daniela Tristancho Pineda (MISION TEMPORAL LTDA)" userId="a45a17f7-7950-4cb5-bfab-f5c894f959a9" providerId="ADAL" clId="{9D150B60-33B5-4A3E-8123-A67E35AA8D44}" dt="2020-07-10T00:38:18.402" v="1793"/>
          <ac:spMkLst>
            <pc:docMk/>
            <pc:sldMk cId="4166213262" sldId="2134804312"/>
            <ac:spMk id="124" creationId="{CBF694CA-8CCB-4D6E-9E91-1702905756EE}"/>
          </ac:spMkLst>
        </pc:spChg>
        <pc:spChg chg="add del mod">
          <ac:chgData name="Mariam Daniela Tristancho Pineda (MISION TEMPORAL LTDA)" userId="a45a17f7-7950-4cb5-bfab-f5c894f959a9" providerId="ADAL" clId="{9D150B60-33B5-4A3E-8123-A67E35AA8D44}" dt="2020-07-10T00:38:18.402" v="1793"/>
          <ac:spMkLst>
            <pc:docMk/>
            <pc:sldMk cId="4166213262" sldId="2134804312"/>
            <ac:spMk id="125" creationId="{E71A3A43-74ED-4882-9E79-B134E6477614}"/>
          </ac:spMkLst>
        </pc:spChg>
        <pc:spChg chg="add del mod">
          <ac:chgData name="Mariam Daniela Tristancho Pineda (MISION TEMPORAL LTDA)" userId="a45a17f7-7950-4cb5-bfab-f5c894f959a9" providerId="ADAL" clId="{9D150B60-33B5-4A3E-8123-A67E35AA8D44}" dt="2020-07-10T00:38:18.402" v="1793"/>
          <ac:spMkLst>
            <pc:docMk/>
            <pc:sldMk cId="4166213262" sldId="2134804312"/>
            <ac:spMk id="126" creationId="{74DC9F1A-93DF-4158-85DF-6B100037F46C}"/>
          </ac:spMkLst>
        </pc:spChg>
        <pc:spChg chg="mod">
          <ac:chgData name="Mariam Daniela Tristancho Pineda (MISION TEMPORAL LTDA)" userId="a45a17f7-7950-4cb5-bfab-f5c894f959a9" providerId="ADAL" clId="{9D150B60-33B5-4A3E-8123-A67E35AA8D44}" dt="2020-07-10T00:33:41.467" v="1676" actId="1036"/>
          <ac:spMkLst>
            <pc:docMk/>
            <pc:sldMk cId="4166213262" sldId="2134804312"/>
            <ac:spMk id="140" creationId="{2062ABD7-3E18-481C-BE0F-59304E710CAD}"/>
          </ac:spMkLst>
        </pc:spChg>
        <pc:spChg chg="mod">
          <ac:chgData name="Mariam Daniela Tristancho Pineda (MISION TEMPORAL LTDA)" userId="a45a17f7-7950-4cb5-bfab-f5c894f959a9" providerId="ADAL" clId="{9D150B60-33B5-4A3E-8123-A67E35AA8D44}" dt="2020-07-10T20:51:00.131" v="4437" actId="12788"/>
          <ac:spMkLst>
            <pc:docMk/>
            <pc:sldMk cId="4166213262" sldId="2134804312"/>
            <ac:spMk id="146" creationId="{D86974CC-32BF-439F-A6E2-D1E82520294D}"/>
          </ac:spMkLst>
        </pc:spChg>
        <pc:grpChg chg="add mod">
          <ac:chgData name="Mariam Daniela Tristancho Pineda (MISION TEMPORAL LTDA)" userId="a45a17f7-7950-4cb5-bfab-f5c894f959a9" providerId="ADAL" clId="{9D150B60-33B5-4A3E-8123-A67E35AA8D44}" dt="2020-07-10T20:50:53.925" v="4436" actId="12788"/>
          <ac:grpSpMkLst>
            <pc:docMk/>
            <pc:sldMk cId="4166213262" sldId="2134804312"/>
            <ac:grpSpMk id="7" creationId="{A8E7CC26-468B-4A46-80D1-F7B8C3D88492}"/>
          </ac:grpSpMkLst>
        </pc:grpChg>
        <pc:grpChg chg="mod">
          <ac:chgData name="Mariam Daniela Tristancho Pineda (MISION TEMPORAL LTDA)" userId="a45a17f7-7950-4cb5-bfab-f5c894f959a9" providerId="ADAL" clId="{9D150B60-33B5-4A3E-8123-A67E35AA8D44}" dt="2020-07-10T00:41:52.265" v="1945" actId="1076"/>
          <ac:grpSpMkLst>
            <pc:docMk/>
            <pc:sldMk cId="4166213262" sldId="2134804312"/>
            <ac:grpSpMk id="8" creationId="{9A1EDE44-EA9B-4DEC-81AF-AD07328FAF29}"/>
          </ac:grpSpMkLst>
        </pc:grpChg>
        <pc:grpChg chg="mod">
          <ac:chgData name="Mariam Daniela Tristancho Pineda (MISION TEMPORAL LTDA)" userId="a45a17f7-7950-4cb5-bfab-f5c894f959a9" providerId="ADAL" clId="{9D150B60-33B5-4A3E-8123-A67E35AA8D44}" dt="2020-07-10T00:41:47.344" v="1944" actId="1076"/>
          <ac:grpSpMkLst>
            <pc:docMk/>
            <pc:sldMk cId="4166213262" sldId="2134804312"/>
            <ac:grpSpMk id="11" creationId="{32344C98-1BC7-4CEF-AC79-5B765B75F873}"/>
          </ac:grpSpMkLst>
        </pc:grpChg>
        <pc:grpChg chg="del">
          <ac:chgData name="Mariam Daniela Tristancho Pineda (MISION TEMPORAL LTDA)" userId="a45a17f7-7950-4cb5-bfab-f5c894f959a9" providerId="ADAL" clId="{9D150B60-33B5-4A3E-8123-A67E35AA8D44}" dt="2020-07-10T00:36:32.300" v="1714" actId="478"/>
          <ac:grpSpMkLst>
            <pc:docMk/>
            <pc:sldMk cId="4166213262" sldId="2134804312"/>
            <ac:grpSpMk id="14" creationId="{82DCB183-5F30-4F01-AD74-C88240C33079}"/>
          </ac:grpSpMkLst>
        </pc:grpChg>
        <pc:grpChg chg="mod">
          <ac:chgData name="Mariam Daniela Tristancho Pineda (MISION TEMPORAL LTDA)" userId="a45a17f7-7950-4cb5-bfab-f5c894f959a9" providerId="ADAL" clId="{9D150B60-33B5-4A3E-8123-A67E35AA8D44}" dt="2020-07-10T00:41:36.439" v="1942" actId="1076"/>
          <ac:grpSpMkLst>
            <pc:docMk/>
            <pc:sldMk cId="4166213262" sldId="2134804312"/>
            <ac:grpSpMk id="15" creationId="{8B2AEF35-7481-4609-8636-E91921A14250}"/>
          </ac:grpSpMkLst>
        </pc:grpChg>
        <pc:grpChg chg="mod">
          <ac:chgData name="Mariam Daniela Tristancho Pineda (MISION TEMPORAL LTDA)" userId="a45a17f7-7950-4cb5-bfab-f5c894f959a9" providerId="ADAL" clId="{9D150B60-33B5-4A3E-8123-A67E35AA8D44}" dt="2020-07-10T00:42:01.616" v="1952" actId="1076"/>
          <ac:grpSpMkLst>
            <pc:docMk/>
            <pc:sldMk cId="4166213262" sldId="2134804312"/>
            <ac:grpSpMk id="16" creationId="{77278303-2E76-4047-9BF0-D65EDCAD4766}"/>
          </ac:grpSpMkLst>
        </pc:grpChg>
        <pc:grpChg chg="mod">
          <ac:chgData name="Mariam Daniela Tristancho Pineda (MISION TEMPORAL LTDA)" userId="a45a17f7-7950-4cb5-bfab-f5c894f959a9" providerId="ADAL" clId="{9D150B60-33B5-4A3E-8123-A67E35AA8D44}" dt="2020-07-10T00:41:41.048" v="1943" actId="1076"/>
          <ac:grpSpMkLst>
            <pc:docMk/>
            <pc:sldMk cId="4166213262" sldId="2134804312"/>
            <ac:grpSpMk id="17" creationId="{A6E0797A-1030-49A0-BCEB-31275A2AD22F}"/>
          </ac:grpSpMkLst>
        </pc:grpChg>
        <pc:cxnChg chg="mod">
          <ac:chgData name="Mariam Daniela Tristancho Pineda (MISION TEMPORAL LTDA)" userId="a45a17f7-7950-4cb5-bfab-f5c894f959a9" providerId="ADAL" clId="{9D150B60-33B5-4A3E-8123-A67E35AA8D44}" dt="2020-07-10T19:53:53.583" v="4044" actId="1036"/>
          <ac:cxnSpMkLst>
            <pc:docMk/>
            <pc:sldMk cId="4166213262" sldId="2134804312"/>
            <ac:cxnSpMk id="95" creationId="{992CCE25-00CE-4C15-881A-068C6B1A3F0E}"/>
          </ac:cxnSpMkLst>
        </pc:cxnChg>
      </pc:sldChg>
      <pc:sldChg chg="addSp delSp modSp add mod ord">
        <pc:chgData name="Mariam Daniela Tristancho Pineda (MISION TEMPORAL LTDA)" userId="a45a17f7-7950-4cb5-bfab-f5c894f959a9" providerId="ADAL" clId="{9D150B60-33B5-4A3E-8123-A67E35AA8D44}" dt="2020-07-28T15:07:41.893" v="20052"/>
        <pc:sldMkLst>
          <pc:docMk/>
          <pc:sldMk cId="1359201595" sldId="2134804313"/>
        </pc:sldMkLst>
        <pc:spChg chg="mod">
          <ac:chgData name="Mariam Daniela Tristancho Pineda (MISION TEMPORAL LTDA)" userId="a45a17f7-7950-4cb5-bfab-f5c894f959a9" providerId="ADAL" clId="{9D150B60-33B5-4A3E-8123-A67E35AA8D44}" dt="2020-07-10T15:57:46.145" v="2957" actId="20577"/>
          <ac:spMkLst>
            <pc:docMk/>
            <pc:sldMk cId="1359201595" sldId="2134804313"/>
            <ac:spMk id="4" creationId="{C47780CB-210E-480D-AF15-355BDC7F6E93}"/>
          </ac:spMkLst>
        </pc:spChg>
        <pc:spChg chg="mod">
          <ac:chgData name="Mariam Daniela Tristancho Pineda (MISION TEMPORAL LTDA)" userId="a45a17f7-7950-4cb5-bfab-f5c894f959a9" providerId="ADAL" clId="{9D150B60-33B5-4A3E-8123-A67E35AA8D44}" dt="2020-07-10T00:45:18.293" v="2061" actId="1036"/>
          <ac:spMkLst>
            <pc:docMk/>
            <pc:sldMk cId="1359201595" sldId="2134804313"/>
            <ac:spMk id="5" creationId="{60144380-CBE4-4263-86E5-F4A7E5CEC0BB}"/>
          </ac:spMkLst>
        </pc:spChg>
        <pc:spChg chg="mod">
          <ac:chgData name="Mariam Daniela Tristancho Pineda (MISION TEMPORAL LTDA)" userId="a45a17f7-7950-4cb5-bfab-f5c894f959a9" providerId="ADAL" clId="{9D150B60-33B5-4A3E-8123-A67E35AA8D44}" dt="2020-07-26T22:39:34.113" v="9026" actId="1036"/>
          <ac:spMkLst>
            <pc:docMk/>
            <pc:sldMk cId="1359201595" sldId="2134804313"/>
            <ac:spMk id="7" creationId="{49F21896-A687-4F29-8499-091C5F1FE377}"/>
          </ac:spMkLst>
        </pc:spChg>
        <pc:spChg chg="del">
          <ac:chgData name="Mariam Daniela Tristancho Pineda (MISION TEMPORAL LTDA)" userId="a45a17f7-7950-4cb5-bfab-f5c894f959a9" providerId="ADAL" clId="{9D150B60-33B5-4A3E-8123-A67E35AA8D44}" dt="2020-07-10T00:44:36.428" v="2012" actId="478"/>
          <ac:spMkLst>
            <pc:docMk/>
            <pc:sldMk cId="1359201595" sldId="2134804313"/>
            <ac:spMk id="11" creationId="{BE3FDB33-82DE-49B7-85B7-9476B27F9C30}"/>
          </ac:spMkLst>
        </pc:spChg>
        <pc:spChg chg="del mod">
          <ac:chgData name="Mariam Daniela Tristancho Pineda (MISION TEMPORAL LTDA)" userId="a45a17f7-7950-4cb5-bfab-f5c894f959a9" providerId="ADAL" clId="{9D150B60-33B5-4A3E-8123-A67E35AA8D44}" dt="2020-07-24T19:56:35.603" v="6002" actId="478"/>
          <ac:spMkLst>
            <pc:docMk/>
            <pc:sldMk cId="1359201595" sldId="2134804313"/>
            <ac:spMk id="14" creationId="{0572F48F-01C6-4118-B2F6-94C3B890E625}"/>
          </ac:spMkLst>
        </pc:spChg>
        <pc:spChg chg="add del">
          <ac:chgData name="Mariam Daniela Tristancho Pineda (MISION TEMPORAL LTDA)" userId="a45a17f7-7950-4cb5-bfab-f5c894f959a9" providerId="ADAL" clId="{9D150B60-33B5-4A3E-8123-A67E35AA8D44}" dt="2020-07-24T19:57:10.810" v="6013" actId="22"/>
          <ac:spMkLst>
            <pc:docMk/>
            <pc:sldMk cId="1359201595" sldId="2134804313"/>
            <ac:spMk id="17" creationId="{2000E44E-4FD4-4015-978F-D55265001862}"/>
          </ac:spMkLst>
        </pc:spChg>
        <pc:spChg chg="del">
          <ac:chgData name="Mariam Daniela Tristancho Pineda (MISION TEMPORAL LTDA)" userId="a45a17f7-7950-4cb5-bfab-f5c894f959a9" providerId="ADAL" clId="{9D150B60-33B5-4A3E-8123-A67E35AA8D44}" dt="2020-07-10T00:43:52.401" v="1999" actId="478"/>
          <ac:spMkLst>
            <pc:docMk/>
            <pc:sldMk cId="1359201595" sldId="2134804313"/>
            <ac:spMk id="20" creationId="{2690C17A-D8A4-4912-9990-E2826E05139B}"/>
          </ac:spMkLst>
        </pc:spChg>
        <pc:grpChg chg="mod">
          <ac:chgData name="Mariam Daniela Tristancho Pineda (MISION TEMPORAL LTDA)" userId="a45a17f7-7950-4cb5-bfab-f5c894f959a9" providerId="ADAL" clId="{9D150B60-33B5-4A3E-8123-A67E35AA8D44}" dt="2020-07-10T00:45:21.551" v="2067" actId="1036"/>
          <ac:grpSpMkLst>
            <pc:docMk/>
            <pc:sldMk cId="1359201595" sldId="2134804313"/>
            <ac:grpSpMk id="12" creationId="{97A64B71-2068-4384-8243-F4ED1BE3BD64}"/>
          </ac:grpSpMkLst>
        </pc:grpChg>
        <pc:grpChg chg="mod">
          <ac:chgData name="Mariam Daniela Tristancho Pineda (MISION TEMPORAL LTDA)" userId="a45a17f7-7950-4cb5-bfab-f5c894f959a9" providerId="ADAL" clId="{9D150B60-33B5-4A3E-8123-A67E35AA8D44}" dt="2020-07-10T00:45:21.551" v="2067" actId="1036"/>
          <ac:grpSpMkLst>
            <pc:docMk/>
            <pc:sldMk cId="1359201595" sldId="2134804313"/>
            <ac:grpSpMk id="13" creationId="{A8D5E88D-0623-41AE-9881-9D4BA0197AEA}"/>
          </ac:grpSpMkLst>
        </pc:grpChg>
        <pc:grpChg chg="mod">
          <ac:chgData name="Mariam Daniela Tristancho Pineda (MISION TEMPORAL LTDA)" userId="a45a17f7-7950-4cb5-bfab-f5c894f959a9" providerId="ADAL" clId="{9D150B60-33B5-4A3E-8123-A67E35AA8D44}" dt="2020-07-10T00:45:21.551" v="2067" actId="1036"/>
          <ac:grpSpMkLst>
            <pc:docMk/>
            <pc:sldMk cId="1359201595" sldId="2134804313"/>
            <ac:grpSpMk id="16" creationId="{0B2E59AD-3929-43C2-8F9D-A17671E2843E}"/>
          </ac:grpSpMkLst>
        </pc:grpChg>
      </pc:sldChg>
      <pc:sldChg chg="add del">
        <pc:chgData name="Mariam Daniela Tristancho Pineda (MISION TEMPORAL LTDA)" userId="a45a17f7-7950-4cb5-bfab-f5c894f959a9" providerId="ADAL" clId="{9D150B60-33B5-4A3E-8123-A67E35AA8D44}" dt="2020-07-10T00:43:42.878" v="1975" actId="47"/>
        <pc:sldMkLst>
          <pc:docMk/>
          <pc:sldMk cId="1746920980" sldId="2134804313"/>
        </pc:sldMkLst>
      </pc:sldChg>
      <pc:sldChg chg="delSp modSp add del mod ord">
        <pc:chgData name="Mariam Daniela Tristancho Pineda (MISION TEMPORAL LTDA)" userId="a45a17f7-7950-4cb5-bfab-f5c894f959a9" providerId="ADAL" clId="{9D150B60-33B5-4A3E-8123-A67E35AA8D44}" dt="2020-07-24T19:58:06.156" v="6030" actId="47"/>
        <pc:sldMkLst>
          <pc:docMk/>
          <pc:sldMk cId="1129559079" sldId="2134804314"/>
        </pc:sldMkLst>
        <pc:spChg chg="mod">
          <ac:chgData name="Mariam Daniela Tristancho Pineda (MISION TEMPORAL LTDA)" userId="a45a17f7-7950-4cb5-bfab-f5c894f959a9" providerId="ADAL" clId="{9D150B60-33B5-4A3E-8123-A67E35AA8D44}" dt="2020-07-10T15:58:27.185" v="2979" actId="14100"/>
          <ac:spMkLst>
            <pc:docMk/>
            <pc:sldMk cId="1129559079" sldId="2134804314"/>
            <ac:spMk id="2" creationId="{6431BBCF-96E5-45A7-B7E5-D44090D06329}"/>
          </ac:spMkLst>
        </pc:spChg>
        <pc:spChg chg="del">
          <ac:chgData name="Mariam Daniela Tristancho Pineda (MISION TEMPORAL LTDA)" userId="a45a17f7-7950-4cb5-bfab-f5c894f959a9" providerId="ADAL" clId="{9D150B60-33B5-4A3E-8123-A67E35AA8D44}" dt="2020-07-10T15:58:28.949" v="2980" actId="478"/>
          <ac:spMkLst>
            <pc:docMk/>
            <pc:sldMk cId="1129559079" sldId="2134804314"/>
            <ac:spMk id="4" creationId="{C6BB69BF-88FF-4A74-ADFD-C157B112F919}"/>
          </ac:spMkLst>
        </pc:spChg>
      </pc:sldChg>
      <pc:sldChg chg="add del ord">
        <pc:chgData name="Mariam Daniela Tristancho Pineda (MISION TEMPORAL LTDA)" userId="a45a17f7-7950-4cb5-bfab-f5c894f959a9" providerId="ADAL" clId="{9D150B60-33B5-4A3E-8123-A67E35AA8D44}" dt="2020-07-10T19:10:07.347" v="3023" actId="47"/>
        <pc:sldMkLst>
          <pc:docMk/>
          <pc:sldMk cId="1505770489" sldId="2134804315"/>
        </pc:sldMkLst>
      </pc:sldChg>
      <pc:sldChg chg="addSp delSp modSp add del mod ord">
        <pc:chgData name="Mariam Daniela Tristancho Pineda (MISION TEMPORAL LTDA)" userId="a45a17f7-7950-4cb5-bfab-f5c894f959a9" providerId="ADAL" clId="{9D150B60-33B5-4A3E-8123-A67E35AA8D44}" dt="2020-07-28T15:04:06.889" v="20012" actId="478"/>
        <pc:sldMkLst>
          <pc:docMk/>
          <pc:sldMk cId="1535562114" sldId="2134804316"/>
        </pc:sldMkLst>
        <pc:spChg chg="mod">
          <ac:chgData name="Mariam Daniela Tristancho Pineda (MISION TEMPORAL LTDA)" userId="a45a17f7-7950-4cb5-bfab-f5c894f959a9" providerId="ADAL" clId="{9D150B60-33B5-4A3E-8123-A67E35AA8D44}" dt="2020-07-27T00:08:11.389" v="10928" actId="1036"/>
          <ac:spMkLst>
            <pc:docMk/>
            <pc:sldMk cId="1535562114" sldId="2134804316"/>
            <ac:spMk id="3" creationId="{31514E04-D9F2-4C9D-BB7C-0BB641AFCD5E}"/>
          </ac:spMkLst>
        </pc:spChg>
        <pc:spChg chg="add del mod">
          <ac:chgData name="Mariam Daniela Tristancho Pineda (MISION TEMPORAL LTDA)" userId="a45a17f7-7950-4cb5-bfab-f5c894f959a9" providerId="ADAL" clId="{9D150B60-33B5-4A3E-8123-A67E35AA8D44}" dt="2020-07-28T15:03:13.679" v="19931"/>
          <ac:spMkLst>
            <pc:docMk/>
            <pc:sldMk cId="1535562114" sldId="2134804316"/>
            <ac:spMk id="4" creationId="{9B0CE30D-625A-4CD9-98D4-3AF33243D194}"/>
          </ac:spMkLst>
        </pc:spChg>
        <pc:spChg chg="del mod">
          <ac:chgData name="Mariam Daniela Tristancho Pineda (MISION TEMPORAL LTDA)" userId="a45a17f7-7950-4cb5-bfab-f5c894f959a9" providerId="ADAL" clId="{9D150B60-33B5-4A3E-8123-A67E35AA8D44}" dt="2020-07-28T15:04:06.889" v="20012" actId="478"/>
          <ac:spMkLst>
            <pc:docMk/>
            <pc:sldMk cId="1535562114" sldId="2134804316"/>
            <ac:spMk id="8" creationId="{8297F929-C1B1-480C-B41F-11DADC46CD00}"/>
          </ac:spMkLst>
        </pc:spChg>
        <pc:spChg chg="mod">
          <ac:chgData name="Mariam Daniela Tristancho Pineda (MISION TEMPORAL LTDA)" userId="a45a17f7-7950-4cb5-bfab-f5c894f959a9" providerId="ADAL" clId="{9D150B60-33B5-4A3E-8123-A67E35AA8D44}" dt="2020-07-27T00:08:11.389" v="10928" actId="1036"/>
          <ac:spMkLst>
            <pc:docMk/>
            <pc:sldMk cId="1535562114" sldId="2134804316"/>
            <ac:spMk id="10" creationId="{810E18BD-2955-4DB2-AEDB-386E84418C6C}"/>
          </ac:spMkLst>
        </pc:spChg>
        <pc:spChg chg="mod">
          <ac:chgData name="Mariam Daniela Tristancho Pineda (MISION TEMPORAL LTDA)" userId="a45a17f7-7950-4cb5-bfab-f5c894f959a9" providerId="ADAL" clId="{9D150B60-33B5-4A3E-8123-A67E35AA8D44}" dt="2020-07-27T00:08:11.389" v="10928" actId="1036"/>
          <ac:spMkLst>
            <pc:docMk/>
            <pc:sldMk cId="1535562114" sldId="2134804316"/>
            <ac:spMk id="12" creationId="{96C9E76C-8C7F-489D-82CB-B2BD03852707}"/>
          </ac:spMkLst>
        </pc:spChg>
        <pc:spChg chg="mod">
          <ac:chgData name="Mariam Daniela Tristancho Pineda (MISION TEMPORAL LTDA)" userId="a45a17f7-7950-4cb5-bfab-f5c894f959a9" providerId="ADAL" clId="{9D150B60-33B5-4A3E-8123-A67E35AA8D44}" dt="2020-07-27T00:08:11.389" v="10928" actId="1036"/>
          <ac:spMkLst>
            <pc:docMk/>
            <pc:sldMk cId="1535562114" sldId="2134804316"/>
            <ac:spMk id="13" creationId="{3014ABA7-CFC8-4DE9-B63D-0E20E8E6D593}"/>
          </ac:spMkLst>
        </pc:spChg>
        <pc:spChg chg="mod">
          <ac:chgData name="Mariam Daniela Tristancho Pineda (MISION TEMPORAL LTDA)" userId="a45a17f7-7950-4cb5-bfab-f5c894f959a9" providerId="ADAL" clId="{9D150B60-33B5-4A3E-8123-A67E35AA8D44}" dt="2020-07-27T00:08:11.389" v="10928" actId="1036"/>
          <ac:spMkLst>
            <pc:docMk/>
            <pc:sldMk cId="1535562114" sldId="2134804316"/>
            <ac:spMk id="14" creationId="{D1DAE228-949A-4D89-BEA5-C97D123F5CC4}"/>
          </ac:spMkLst>
        </pc:spChg>
        <pc:spChg chg="mod">
          <ac:chgData name="Mariam Daniela Tristancho Pineda (MISION TEMPORAL LTDA)" userId="a45a17f7-7950-4cb5-bfab-f5c894f959a9" providerId="ADAL" clId="{9D150B60-33B5-4A3E-8123-A67E35AA8D44}" dt="2020-07-27T00:08:11.389" v="10928" actId="1036"/>
          <ac:spMkLst>
            <pc:docMk/>
            <pc:sldMk cId="1535562114" sldId="2134804316"/>
            <ac:spMk id="19" creationId="{CE9667FC-2EDF-4F30-B9FB-41AC4BCA57C5}"/>
          </ac:spMkLst>
        </pc:spChg>
        <pc:spChg chg="mod">
          <ac:chgData name="Mariam Daniela Tristancho Pineda (MISION TEMPORAL LTDA)" userId="a45a17f7-7950-4cb5-bfab-f5c894f959a9" providerId="ADAL" clId="{9D150B60-33B5-4A3E-8123-A67E35AA8D44}" dt="2020-07-27T00:08:13.330" v="10929" actId="14100"/>
          <ac:spMkLst>
            <pc:docMk/>
            <pc:sldMk cId="1535562114" sldId="2134804316"/>
            <ac:spMk id="20" creationId="{92C8D133-E6D8-4045-B204-E026C5621093}"/>
          </ac:spMkLst>
        </pc:spChg>
        <pc:spChg chg="mod">
          <ac:chgData name="Mariam Daniela Tristancho Pineda (MISION TEMPORAL LTDA)" userId="a45a17f7-7950-4cb5-bfab-f5c894f959a9" providerId="ADAL" clId="{9D150B60-33B5-4A3E-8123-A67E35AA8D44}" dt="2020-07-27T00:08:11.389" v="10928" actId="1036"/>
          <ac:spMkLst>
            <pc:docMk/>
            <pc:sldMk cId="1535562114" sldId="2134804316"/>
            <ac:spMk id="33" creationId="{257A51C8-EB6E-4CAA-8ED7-3E4E7C0B3A8A}"/>
          </ac:spMkLst>
        </pc:spChg>
        <pc:spChg chg="mod">
          <ac:chgData name="Mariam Daniela Tristancho Pineda (MISION TEMPORAL LTDA)" userId="a45a17f7-7950-4cb5-bfab-f5c894f959a9" providerId="ADAL" clId="{9D150B60-33B5-4A3E-8123-A67E35AA8D44}" dt="2020-07-27T00:08:11.389" v="10928" actId="1036"/>
          <ac:spMkLst>
            <pc:docMk/>
            <pc:sldMk cId="1535562114" sldId="2134804316"/>
            <ac:spMk id="36" creationId="{25CCB3F9-8A57-42B5-B0AC-56F5E0EDACF5}"/>
          </ac:spMkLst>
        </pc:spChg>
        <pc:spChg chg="mod">
          <ac:chgData name="Mariam Daniela Tristancho Pineda (MISION TEMPORAL LTDA)" userId="a45a17f7-7950-4cb5-bfab-f5c894f959a9" providerId="ADAL" clId="{9D150B60-33B5-4A3E-8123-A67E35AA8D44}" dt="2020-07-27T00:08:11.389" v="10928" actId="1036"/>
          <ac:spMkLst>
            <pc:docMk/>
            <pc:sldMk cId="1535562114" sldId="2134804316"/>
            <ac:spMk id="37" creationId="{50BFBD21-058C-4134-A883-5F522F8B0B76}"/>
          </ac:spMkLst>
        </pc:spChg>
        <pc:spChg chg="mod">
          <ac:chgData name="Mariam Daniela Tristancho Pineda (MISION TEMPORAL LTDA)" userId="a45a17f7-7950-4cb5-bfab-f5c894f959a9" providerId="ADAL" clId="{9D150B60-33B5-4A3E-8123-A67E35AA8D44}" dt="2020-07-27T00:08:11.389" v="10928" actId="1036"/>
          <ac:spMkLst>
            <pc:docMk/>
            <pc:sldMk cId="1535562114" sldId="2134804316"/>
            <ac:spMk id="38" creationId="{3552541D-17C8-4822-9A1D-90A0C0B5AD8E}"/>
          </ac:spMkLst>
        </pc:spChg>
        <pc:spChg chg="add del mod">
          <ac:chgData name="Mariam Daniela Tristancho Pineda (MISION TEMPORAL LTDA)" userId="a45a17f7-7950-4cb5-bfab-f5c894f959a9" providerId="ADAL" clId="{9D150B60-33B5-4A3E-8123-A67E35AA8D44}" dt="2020-07-27T00:08:11.389" v="10928" actId="1036"/>
          <ac:spMkLst>
            <pc:docMk/>
            <pc:sldMk cId="1535562114" sldId="2134804316"/>
            <ac:spMk id="40" creationId="{25EFF114-9C03-4A67-908C-727B85061D72}"/>
          </ac:spMkLst>
        </pc:spChg>
        <pc:spChg chg="mod">
          <ac:chgData name="Mariam Daniela Tristancho Pineda (MISION TEMPORAL LTDA)" userId="a45a17f7-7950-4cb5-bfab-f5c894f959a9" providerId="ADAL" clId="{9D150B60-33B5-4A3E-8123-A67E35AA8D44}" dt="2020-07-27T00:08:11.389" v="10928" actId="1036"/>
          <ac:spMkLst>
            <pc:docMk/>
            <pc:sldMk cId="1535562114" sldId="2134804316"/>
            <ac:spMk id="41" creationId="{F04142FF-DA42-4442-8692-4F397E7AEFE4}"/>
          </ac:spMkLst>
        </pc:spChg>
        <pc:spChg chg="add del mod">
          <ac:chgData name="Mariam Daniela Tristancho Pineda (MISION TEMPORAL LTDA)" userId="a45a17f7-7950-4cb5-bfab-f5c894f959a9" providerId="ADAL" clId="{9D150B60-33B5-4A3E-8123-A67E35AA8D44}" dt="2020-07-10T19:35:44.760" v="3218" actId="478"/>
          <ac:spMkLst>
            <pc:docMk/>
            <pc:sldMk cId="1535562114" sldId="2134804316"/>
            <ac:spMk id="42" creationId="{1BE30CD7-C545-41AF-B87F-5265E36598A8}"/>
          </ac:spMkLst>
        </pc:spChg>
        <pc:spChg chg="add mod">
          <ac:chgData name="Mariam Daniela Tristancho Pineda (MISION TEMPORAL LTDA)" userId="a45a17f7-7950-4cb5-bfab-f5c894f959a9" providerId="ADAL" clId="{9D150B60-33B5-4A3E-8123-A67E35AA8D44}" dt="2020-07-27T00:08:11.389" v="10928" actId="1036"/>
          <ac:spMkLst>
            <pc:docMk/>
            <pc:sldMk cId="1535562114" sldId="2134804316"/>
            <ac:spMk id="43" creationId="{EEC3A31D-356D-41DB-A156-97872532EB82}"/>
          </ac:spMkLst>
        </pc:spChg>
        <pc:spChg chg="mod">
          <ac:chgData name="Mariam Daniela Tristancho Pineda (MISION TEMPORAL LTDA)" userId="a45a17f7-7950-4cb5-bfab-f5c894f959a9" providerId="ADAL" clId="{9D150B60-33B5-4A3E-8123-A67E35AA8D44}" dt="2020-07-27T00:08:11.389" v="10928" actId="1036"/>
          <ac:spMkLst>
            <pc:docMk/>
            <pc:sldMk cId="1535562114" sldId="2134804316"/>
            <ac:spMk id="44" creationId="{4B1A9C8A-FFC0-483B-B825-ED5EF0C388A9}"/>
          </ac:spMkLst>
        </pc:spChg>
        <pc:spChg chg="mod">
          <ac:chgData name="Mariam Daniela Tristancho Pineda (MISION TEMPORAL LTDA)" userId="a45a17f7-7950-4cb5-bfab-f5c894f959a9" providerId="ADAL" clId="{9D150B60-33B5-4A3E-8123-A67E35AA8D44}" dt="2020-07-27T00:08:11.389" v="10928" actId="1036"/>
          <ac:spMkLst>
            <pc:docMk/>
            <pc:sldMk cId="1535562114" sldId="2134804316"/>
            <ac:spMk id="45" creationId="{8E8CD834-7B34-47C9-9BE7-09ECA14BFCEB}"/>
          </ac:spMkLst>
        </pc:spChg>
        <pc:spChg chg="add del mod">
          <ac:chgData name="Mariam Daniela Tristancho Pineda (MISION TEMPORAL LTDA)" userId="a45a17f7-7950-4cb5-bfab-f5c894f959a9" providerId="ADAL" clId="{9D150B60-33B5-4A3E-8123-A67E35AA8D44}" dt="2020-07-27T00:08:11.389" v="10928" actId="1036"/>
          <ac:spMkLst>
            <pc:docMk/>
            <pc:sldMk cId="1535562114" sldId="2134804316"/>
            <ac:spMk id="47" creationId="{137B0C4F-8471-4337-954D-6AECA53DF9C2}"/>
          </ac:spMkLst>
        </pc:spChg>
        <pc:spChg chg="add mod">
          <ac:chgData name="Mariam Daniela Tristancho Pineda (MISION TEMPORAL LTDA)" userId="a45a17f7-7950-4cb5-bfab-f5c894f959a9" providerId="ADAL" clId="{9D150B60-33B5-4A3E-8123-A67E35AA8D44}" dt="2020-07-27T00:08:11.389" v="10928" actId="1036"/>
          <ac:spMkLst>
            <pc:docMk/>
            <pc:sldMk cId="1535562114" sldId="2134804316"/>
            <ac:spMk id="48" creationId="{35A19989-D8F4-434C-A107-FEE4491A62ED}"/>
          </ac:spMkLst>
        </pc:spChg>
        <pc:spChg chg="add mod">
          <ac:chgData name="Mariam Daniela Tristancho Pineda (MISION TEMPORAL LTDA)" userId="a45a17f7-7950-4cb5-bfab-f5c894f959a9" providerId="ADAL" clId="{9D150B60-33B5-4A3E-8123-A67E35AA8D44}" dt="2020-07-27T00:08:11.389" v="10928" actId="1036"/>
          <ac:spMkLst>
            <pc:docMk/>
            <pc:sldMk cId="1535562114" sldId="2134804316"/>
            <ac:spMk id="49" creationId="{428A637F-3262-4326-AF06-59FAD81C88BA}"/>
          </ac:spMkLst>
        </pc:spChg>
        <pc:spChg chg="add del mod">
          <ac:chgData name="Mariam Daniela Tristancho Pineda (MISION TEMPORAL LTDA)" userId="a45a17f7-7950-4cb5-bfab-f5c894f959a9" providerId="ADAL" clId="{9D150B60-33B5-4A3E-8123-A67E35AA8D44}" dt="2020-07-10T19:46:40.159" v="3781" actId="478"/>
          <ac:spMkLst>
            <pc:docMk/>
            <pc:sldMk cId="1535562114" sldId="2134804316"/>
            <ac:spMk id="50" creationId="{5456FCCF-17A3-4C09-BB8D-FFC3C7379B53}"/>
          </ac:spMkLst>
        </pc:spChg>
        <pc:spChg chg="mod">
          <ac:chgData name="Mariam Daniela Tristancho Pineda (MISION TEMPORAL LTDA)" userId="a45a17f7-7950-4cb5-bfab-f5c894f959a9" providerId="ADAL" clId="{9D150B60-33B5-4A3E-8123-A67E35AA8D44}" dt="2020-07-27T00:08:11.389" v="10928" actId="1036"/>
          <ac:spMkLst>
            <pc:docMk/>
            <pc:sldMk cId="1535562114" sldId="2134804316"/>
            <ac:spMk id="51" creationId="{C0A2318E-3E25-4819-8017-0D802266D8BE}"/>
          </ac:spMkLst>
        </pc:spChg>
        <pc:spChg chg="del mod">
          <ac:chgData name="Mariam Daniela Tristancho Pineda (MISION TEMPORAL LTDA)" userId="a45a17f7-7950-4cb5-bfab-f5c894f959a9" providerId="ADAL" clId="{9D150B60-33B5-4A3E-8123-A67E35AA8D44}" dt="2020-07-10T19:47:41.272" v="3821" actId="478"/>
          <ac:spMkLst>
            <pc:docMk/>
            <pc:sldMk cId="1535562114" sldId="2134804316"/>
            <ac:spMk id="52" creationId="{FC3592D3-9AB1-446B-A099-2A5C49525B49}"/>
          </ac:spMkLst>
        </pc:spChg>
        <pc:spChg chg="add mod">
          <ac:chgData name="Mariam Daniela Tristancho Pineda (MISION TEMPORAL LTDA)" userId="a45a17f7-7950-4cb5-bfab-f5c894f959a9" providerId="ADAL" clId="{9D150B60-33B5-4A3E-8123-A67E35AA8D44}" dt="2020-07-27T00:08:11.389" v="10928" actId="1036"/>
          <ac:spMkLst>
            <pc:docMk/>
            <pc:sldMk cId="1535562114" sldId="2134804316"/>
            <ac:spMk id="53" creationId="{86FB72C7-C1CA-4677-9B10-F459107B4233}"/>
          </ac:spMkLst>
        </pc:spChg>
        <pc:spChg chg="add del mod">
          <ac:chgData name="Mariam Daniela Tristancho Pineda (MISION TEMPORAL LTDA)" userId="a45a17f7-7950-4cb5-bfab-f5c894f959a9" providerId="ADAL" clId="{9D150B60-33B5-4A3E-8123-A67E35AA8D44}" dt="2020-07-27T00:08:11.389" v="10928" actId="1036"/>
          <ac:spMkLst>
            <pc:docMk/>
            <pc:sldMk cId="1535562114" sldId="2134804316"/>
            <ac:spMk id="54" creationId="{18FCD16F-84E8-4671-A091-C0264D480522}"/>
          </ac:spMkLst>
        </pc:spChg>
        <pc:spChg chg="del mod">
          <ac:chgData name="Mariam Daniela Tristancho Pineda (MISION TEMPORAL LTDA)" userId="a45a17f7-7950-4cb5-bfab-f5c894f959a9" providerId="ADAL" clId="{9D150B60-33B5-4A3E-8123-A67E35AA8D44}" dt="2020-07-10T19:47:41.272" v="3821" actId="478"/>
          <ac:spMkLst>
            <pc:docMk/>
            <pc:sldMk cId="1535562114" sldId="2134804316"/>
            <ac:spMk id="55" creationId="{24B43721-8F2C-4416-AF8D-9AB7CA3936C4}"/>
          </ac:spMkLst>
        </pc:spChg>
        <pc:spChg chg="add mod">
          <ac:chgData name="Mariam Daniela Tristancho Pineda (MISION TEMPORAL LTDA)" userId="a45a17f7-7950-4cb5-bfab-f5c894f959a9" providerId="ADAL" clId="{9D150B60-33B5-4A3E-8123-A67E35AA8D44}" dt="2020-07-27T00:08:11.389" v="10928" actId="1036"/>
          <ac:spMkLst>
            <pc:docMk/>
            <pc:sldMk cId="1535562114" sldId="2134804316"/>
            <ac:spMk id="56" creationId="{C16E047E-B58C-48A8-8CD8-BB364156BA52}"/>
          </ac:spMkLst>
        </pc:spChg>
        <pc:spChg chg="add mod">
          <ac:chgData name="Mariam Daniela Tristancho Pineda (MISION TEMPORAL LTDA)" userId="a45a17f7-7950-4cb5-bfab-f5c894f959a9" providerId="ADAL" clId="{9D150B60-33B5-4A3E-8123-A67E35AA8D44}" dt="2020-07-27T00:08:11.389" v="10928" actId="1036"/>
          <ac:spMkLst>
            <pc:docMk/>
            <pc:sldMk cId="1535562114" sldId="2134804316"/>
            <ac:spMk id="57" creationId="{C756E3B5-B399-42BA-852F-3E3A8C571973}"/>
          </ac:spMkLst>
        </pc:spChg>
        <pc:spChg chg="add del mod">
          <ac:chgData name="Mariam Daniela Tristancho Pineda (MISION TEMPORAL LTDA)" userId="a45a17f7-7950-4cb5-bfab-f5c894f959a9" providerId="ADAL" clId="{9D150B60-33B5-4A3E-8123-A67E35AA8D44}" dt="2020-07-27T00:08:11.389" v="10928" actId="1036"/>
          <ac:spMkLst>
            <pc:docMk/>
            <pc:sldMk cId="1535562114" sldId="2134804316"/>
            <ac:spMk id="58" creationId="{87C0C219-147A-4233-AEBD-D8B263DF2912}"/>
          </ac:spMkLst>
        </pc:spChg>
        <pc:spChg chg="add del mod">
          <ac:chgData name="Mariam Daniela Tristancho Pineda (MISION TEMPORAL LTDA)" userId="a45a17f7-7950-4cb5-bfab-f5c894f959a9" providerId="ADAL" clId="{9D150B60-33B5-4A3E-8123-A67E35AA8D44}" dt="2020-07-10T19:45:41.953" v="3773"/>
          <ac:spMkLst>
            <pc:docMk/>
            <pc:sldMk cId="1535562114" sldId="2134804316"/>
            <ac:spMk id="59" creationId="{5468E5AE-6FFC-4FA1-AFCD-7D4DFC68FDF6}"/>
          </ac:spMkLst>
        </pc:spChg>
        <pc:spChg chg="del mod">
          <ac:chgData name="Mariam Daniela Tristancho Pineda (MISION TEMPORAL LTDA)" userId="a45a17f7-7950-4cb5-bfab-f5c894f959a9" providerId="ADAL" clId="{9D150B60-33B5-4A3E-8123-A67E35AA8D44}" dt="2020-07-28T15:04:05.529" v="20011" actId="478"/>
          <ac:spMkLst>
            <pc:docMk/>
            <pc:sldMk cId="1535562114" sldId="2134804316"/>
            <ac:spMk id="59" creationId="{92D28049-3D26-4F44-A770-F5BB7E3C0D5A}"/>
          </ac:spMkLst>
        </pc:spChg>
        <pc:spChg chg="add del mod">
          <ac:chgData name="Mariam Daniela Tristancho Pineda (MISION TEMPORAL LTDA)" userId="a45a17f7-7950-4cb5-bfab-f5c894f959a9" providerId="ADAL" clId="{9D150B60-33B5-4A3E-8123-A67E35AA8D44}" dt="2020-07-27T00:08:11.389" v="10928" actId="1036"/>
          <ac:spMkLst>
            <pc:docMk/>
            <pc:sldMk cId="1535562114" sldId="2134804316"/>
            <ac:spMk id="60" creationId="{416DD046-D9EC-437D-B3C4-49AE6F9E8B1B}"/>
          </ac:spMkLst>
        </pc:spChg>
        <pc:spChg chg="add del mod">
          <ac:chgData name="Mariam Daniela Tristancho Pineda (MISION TEMPORAL LTDA)" userId="a45a17f7-7950-4cb5-bfab-f5c894f959a9" providerId="ADAL" clId="{9D150B60-33B5-4A3E-8123-A67E35AA8D44}" dt="2020-07-27T00:08:11.389" v="10928" actId="1036"/>
          <ac:spMkLst>
            <pc:docMk/>
            <pc:sldMk cId="1535562114" sldId="2134804316"/>
            <ac:spMk id="61" creationId="{7C69D657-65A5-4E1B-8464-4A04E7AFC334}"/>
          </ac:spMkLst>
        </pc:spChg>
        <pc:spChg chg="add del mod">
          <ac:chgData name="Mariam Daniela Tristancho Pineda (MISION TEMPORAL LTDA)" userId="a45a17f7-7950-4cb5-bfab-f5c894f959a9" providerId="ADAL" clId="{9D150B60-33B5-4A3E-8123-A67E35AA8D44}" dt="2020-07-27T00:08:11.389" v="10928" actId="1036"/>
          <ac:spMkLst>
            <pc:docMk/>
            <pc:sldMk cId="1535562114" sldId="2134804316"/>
            <ac:spMk id="62" creationId="{CAD53C17-134A-4DBD-B578-EF435A01FB3F}"/>
          </ac:spMkLst>
        </pc:spChg>
        <pc:spChg chg="mod">
          <ac:chgData name="Mariam Daniela Tristancho Pineda (MISION TEMPORAL LTDA)" userId="a45a17f7-7950-4cb5-bfab-f5c894f959a9" providerId="ADAL" clId="{9D150B60-33B5-4A3E-8123-A67E35AA8D44}" dt="2020-07-27T00:08:11.389" v="10928" actId="1036"/>
          <ac:spMkLst>
            <pc:docMk/>
            <pc:sldMk cId="1535562114" sldId="2134804316"/>
            <ac:spMk id="63" creationId="{FDF3B75C-EF94-43C4-8C4C-4ECAB5FEA69C}"/>
          </ac:spMkLst>
        </pc:spChg>
        <pc:spChg chg="add del mod">
          <ac:chgData name="Mariam Daniela Tristancho Pineda (MISION TEMPORAL LTDA)" userId="a45a17f7-7950-4cb5-bfab-f5c894f959a9" providerId="ADAL" clId="{9D150B60-33B5-4A3E-8123-A67E35AA8D44}" dt="2020-07-28T15:03:47.730" v="20008" actId="1076"/>
          <ac:spMkLst>
            <pc:docMk/>
            <pc:sldMk cId="1535562114" sldId="2134804316"/>
            <ac:spMk id="64" creationId="{4721DFE2-27E5-4FF7-BB21-C56414CFB292}"/>
          </ac:spMkLst>
        </pc:spChg>
        <pc:spChg chg="del mod">
          <ac:chgData name="Mariam Daniela Tristancho Pineda (MISION TEMPORAL LTDA)" userId="a45a17f7-7950-4cb5-bfab-f5c894f959a9" providerId="ADAL" clId="{9D150B60-33B5-4A3E-8123-A67E35AA8D44}" dt="2020-07-10T19:47:41.272" v="3821" actId="478"/>
          <ac:spMkLst>
            <pc:docMk/>
            <pc:sldMk cId="1535562114" sldId="2134804316"/>
            <ac:spMk id="64" creationId="{61CFA38E-1F3E-49A0-A330-E5F97D5B2A01}"/>
          </ac:spMkLst>
        </pc:spChg>
        <pc:spChg chg="del mod">
          <ac:chgData name="Mariam Daniela Tristancho Pineda (MISION TEMPORAL LTDA)" userId="a45a17f7-7950-4cb5-bfab-f5c894f959a9" providerId="ADAL" clId="{9D150B60-33B5-4A3E-8123-A67E35AA8D44}" dt="2020-07-10T19:47:41.272" v="3821" actId="478"/>
          <ac:spMkLst>
            <pc:docMk/>
            <pc:sldMk cId="1535562114" sldId="2134804316"/>
            <ac:spMk id="65" creationId="{E1D02522-5753-4EFB-951A-5755483EDD96}"/>
          </ac:spMkLst>
        </pc:spChg>
        <pc:spChg chg="del mod">
          <ac:chgData name="Mariam Daniela Tristancho Pineda (MISION TEMPORAL LTDA)" userId="a45a17f7-7950-4cb5-bfab-f5c894f959a9" providerId="ADAL" clId="{9D150B60-33B5-4A3E-8123-A67E35AA8D44}" dt="2020-07-10T19:47:41.272" v="3821" actId="478"/>
          <ac:spMkLst>
            <pc:docMk/>
            <pc:sldMk cId="1535562114" sldId="2134804316"/>
            <ac:spMk id="66" creationId="{6F85F403-E123-4C2D-A378-CDAFE968B9D9}"/>
          </ac:spMkLst>
        </pc:spChg>
        <pc:spChg chg="del mod">
          <ac:chgData name="Mariam Daniela Tristancho Pineda (MISION TEMPORAL LTDA)" userId="a45a17f7-7950-4cb5-bfab-f5c894f959a9" providerId="ADAL" clId="{9D150B60-33B5-4A3E-8123-A67E35AA8D44}" dt="2020-07-10T19:47:41.272" v="3821" actId="478"/>
          <ac:spMkLst>
            <pc:docMk/>
            <pc:sldMk cId="1535562114" sldId="2134804316"/>
            <ac:spMk id="67" creationId="{4CC8DF42-E8CE-4AEA-AF20-116C630E45ED}"/>
          </ac:spMkLst>
        </pc:spChg>
        <pc:spChg chg="del mod">
          <ac:chgData name="Mariam Daniela Tristancho Pineda (MISION TEMPORAL LTDA)" userId="a45a17f7-7950-4cb5-bfab-f5c894f959a9" providerId="ADAL" clId="{9D150B60-33B5-4A3E-8123-A67E35AA8D44}" dt="2020-07-10T19:47:41.272" v="3821" actId="478"/>
          <ac:spMkLst>
            <pc:docMk/>
            <pc:sldMk cId="1535562114" sldId="2134804316"/>
            <ac:spMk id="68" creationId="{8B5ED806-B54B-4057-B826-24314EC1F9B8}"/>
          </ac:spMkLst>
        </pc:spChg>
        <pc:spChg chg="del mod">
          <ac:chgData name="Mariam Daniela Tristancho Pineda (MISION TEMPORAL LTDA)" userId="a45a17f7-7950-4cb5-bfab-f5c894f959a9" providerId="ADAL" clId="{9D150B60-33B5-4A3E-8123-A67E35AA8D44}" dt="2020-07-10T19:47:44.088" v="3822" actId="478"/>
          <ac:spMkLst>
            <pc:docMk/>
            <pc:sldMk cId="1535562114" sldId="2134804316"/>
            <ac:spMk id="69" creationId="{5A5074EC-7041-463A-BA61-7944DB963505}"/>
          </ac:spMkLst>
        </pc:spChg>
        <pc:spChg chg="mod">
          <ac:chgData name="Mariam Daniela Tristancho Pineda (MISION TEMPORAL LTDA)" userId="a45a17f7-7950-4cb5-bfab-f5c894f959a9" providerId="ADAL" clId="{9D150B60-33B5-4A3E-8123-A67E35AA8D44}" dt="2020-07-10T19:58:07.289" v="4054" actId="20577"/>
          <ac:spMkLst>
            <pc:docMk/>
            <pc:sldMk cId="1535562114" sldId="2134804316"/>
            <ac:spMk id="70" creationId="{A549087F-0234-4CF2-AA9A-E2B491A99CF5}"/>
          </ac:spMkLst>
        </pc:spChg>
        <pc:spChg chg="add del mod">
          <ac:chgData name="Mariam Daniela Tristancho Pineda (MISION TEMPORAL LTDA)" userId="a45a17f7-7950-4cb5-bfab-f5c894f959a9" providerId="ADAL" clId="{9D150B60-33B5-4A3E-8123-A67E35AA8D44}" dt="2020-07-10T19:45:41.953" v="3773"/>
          <ac:spMkLst>
            <pc:docMk/>
            <pc:sldMk cId="1535562114" sldId="2134804316"/>
            <ac:spMk id="71" creationId="{AE4E9C97-7B60-469B-BC52-D347DAFECD70}"/>
          </ac:spMkLst>
        </pc:spChg>
        <pc:spChg chg="add del mod">
          <ac:chgData name="Mariam Daniela Tristancho Pineda (MISION TEMPORAL LTDA)" userId="a45a17f7-7950-4cb5-bfab-f5c894f959a9" providerId="ADAL" clId="{9D150B60-33B5-4A3E-8123-A67E35AA8D44}" dt="2020-07-10T19:45:41.953" v="3773"/>
          <ac:spMkLst>
            <pc:docMk/>
            <pc:sldMk cId="1535562114" sldId="2134804316"/>
            <ac:spMk id="72" creationId="{5D0D4C4D-47BB-4B80-A277-4F0B888AF340}"/>
          </ac:spMkLst>
        </pc:spChg>
        <pc:spChg chg="add del mod">
          <ac:chgData name="Mariam Daniela Tristancho Pineda (MISION TEMPORAL LTDA)" userId="a45a17f7-7950-4cb5-bfab-f5c894f959a9" providerId="ADAL" clId="{9D150B60-33B5-4A3E-8123-A67E35AA8D44}" dt="2020-07-10T19:45:41.953" v="3773"/>
          <ac:spMkLst>
            <pc:docMk/>
            <pc:sldMk cId="1535562114" sldId="2134804316"/>
            <ac:spMk id="73" creationId="{F1F3B6DC-C09E-47C1-A541-840715D8E621}"/>
          </ac:spMkLst>
        </pc:spChg>
        <pc:spChg chg="add del mod">
          <ac:chgData name="Mariam Daniela Tristancho Pineda (MISION TEMPORAL LTDA)" userId="a45a17f7-7950-4cb5-bfab-f5c894f959a9" providerId="ADAL" clId="{9D150B60-33B5-4A3E-8123-A67E35AA8D44}" dt="2020-07-10T19:45:41.953" v="3773"/>
          <ac:spMkLst>
            <pc:docMk/>
            <pc:sldMk cId="1535562114" sldId="2134804316"/>
            <ac:spMk id="74" creationId="{C97D4B36-2467-4C4B-B30A-AEFCBBE93590}"/>
          </ac:spMkLst>
        </pc:spChg>
        <pc:spChg chg="add del mod">
          <ac:chgData name="Mariam Daniela Tristancho Pineda (MISION TEMPORAL LTDA)" userId="a45a17f7-7950-4cb5-bfab-f5c894f959a9" providerId="ADAL" clId="{9D150B60-33B5-4A3E-8123-A67E35AA8D44}" dt="2020-07-10T19:45:41.953" v="3773"/>
          <ac:spMkLst>
            <pc:docMk/>
            <pc:sldMk cId="1535562114" sldId="2134804316"/>
            <ac:spMk id="75" creationId="{CE660E80-6E6E-457C-BF81-22E41384E9BB}"/>
          </ac:spMkLst>
        </pc:spChg>
        <pc:spChg chg="add del mod">
          <ac:chgData name="Mariam Daniela Tristancho Pineda (MISION TEMPORAL LTDA)" userId="a45a17f7-7950-4cb5-bfab-f5c894f959a9" providerId="ADAL" clId="{9D150B60-33B5-4A3E-8123-A67E35AA8D44}" dt="2020-07-10T19:45:41.953" v="3773"/>
          <ac:spMkLst>
            <pc:docMk/>
            <pc:sldMk cId="1535562114" sldId="2134804316"/>
            <ac:spMk id="76" creationId="{A5446C31-1227-44BB-BF1A-9B1A149A89DE}"/>
          </ac:spMkLst>
        </pc:spChg>
        <pc:spChg chg="add del mod">
          <ac:chgData name="Mariam Daniela Tristancho Pineda (MISION TEMPORAL LTDA)" userId="a45a17f7-7950-4cb5-bfab-f5c894f959a9" providerId="ADAL" clId="{9D150B60-33B5-4A3E-8123-A67E35AA8D44}" dt="2020-07-10T19:45:41.953" v="3773"/>
          <ac:spMkLst>
            <pc:docMk/>
            <pc:sldMk cId="1535562114" sldId="2134804316"/>
            <ac:spMk id="77" creationId="{127C6B95-5F14-4EFB-BE6F-5DAF78C1F911}"/>
          </ac:spMkLst>
        </pc:spChg>
        <pc:spChg chg="add del mod">
          <ac:chgData name="Mariam Daniela Tristancho Pineda (MISION TEMPORAL LTDA)" userId="a45a17f7-7950-4cb5-bfab-f5c894f959a9" providerId="ADAL" clId="{9D150B60-33B5-4A3E-8123-A67E35AA8D44}" dt="2020-07-10T19:45:41.953" v="3773"/>
          <ac:spMkLst>
            <pc:docMk/>
            <pc:sldMk cId="1535562114" sldId="2134804316"/>
            <ac:spMk id="78" creationId="{724BBD8F-5C5B-421E-8AAB-1C7F4B25AD02}"/>
          </ac:spMkLst>
        </pc:spChg>
        <pc:spChg chg="mod ord">
          <ac:chgData name="Mariam Daniela Tristancho Pineda (MISION TEMPORAL LTDA)" userId="a45a17f7-7950-4cb5-bfab-f5c894f959a9" providerId="ADAL" clId="{9D150B60-33B5-4A3E-8123-A67E35AA8D44}" dt="2020-07-27T00:08:11.389" v="10928" actId="1036"/>
          <ac:spMkLst>
            <pc:docMk/>
            <pc:sldMk cId="1535562114" sldId="2134804316"/>
            <ac:spMk id="79" creationId="{7A485175-A5E8-48E7-8A26-808AC78F05FA}"/>
          </ac:spMkLst>
        </pc:spChg>
        <pc:spChg chg="add del mod">
          <ac:chgData name="Mariam Daniela Tristancho Pineda (MISION TEMPORAL LTDA)" userId="a45a17f7-7950-4cb5-bfab-f5c894f959a9" providerId="ADAL" clId="{9D150B60-33B5-4A3E-8123-A67E35AA8D44}" dt="2020-07-10T19:45:41.953" v="3773"/>
          <ac:spMkLst>
            <pc:docMk/>
            <pc:sldMk cId="1535562114" sldId="2134804316"/>
            <ac:spMk id="80" creationId="{46CDD12C-A76C-4B8E-BB4D-BF62C316F747}"/>
          </ac:spMkLst>
        </pc:spChg>
        <pc:spChg chg="add del mod">
          <ac:chgData name="Mariam Daniela Tristancho Pineda (MISION TEMPORAL LTDA)" userId="a45a17f7-7950-4cb5-bfab-f5c894f959a9" providerId="ADAL" clId="{9D150B60-33B5-4A3E-8123-A67E35AA8D44}" dt="2020-07-10T19:45:41.953" v="3773"/>
          <ac:spMkLst>
            <pc:docMk/>
            <pc:sldMk cId="1535562114" sldId="2134804316"/>
            <ac:spMk id="81" creationId="{CF7FC2F8-3431-4BEB-8DEB-39404DD78315}"/>
          </ac:spMkLst>
        </pc:spChg>
        <pc:spChg chg="add del mod">
          <ac:chgData name="Mariam Daniela Tristancho Pineda (MISION TEMPORAL LTDA)" userId="a45a17f7-7950-4cb5-bfab-f5c894f959a9" providerId="ADAL" clId="{9D150B60-33B5-4A3E-8123-A67E35AA8D44}" dt="2020-07-10T19:45:41.953" v="3773"/>
          <ac:spMkLst>
            <pc:docMk/>
            <pc:sldMk cId="1535562114" sldId="2134804316"/>
            <ac:spMk id="82" creationId="{4DC95C2A-BCF3-4355-9EF5-AAE53BD0732A}"/>
          </ac:spMkLst>
        </pc:spChg>
        <pc:spChg chg="add del mod">
          <ac:chgData name="Mariam Daniela Tristancho Pineda (MISION TEMPORAL LTDA)" userId="a45a17f7-7950-4cb5-bfab-f5c894f959a9" providerId="ADAL" clId="{9D150B60-33B5-4A3E-8123-A67E35AA8D44}" dt="2020-07-10T19:45:41.953" v="3773"/>
          <ac:spMkLst>
            <pc:docMk/>
            <pc:sldMk cId="1535562114" sldId="2134804316"/>
            <ac:spMk id="83" creationId="{BAA4342E-A8B2-4831-96C7-5CDDA574687C}"/>
          </ac:spMkLst>
        </pc:spChg>
        <pc:spChg chg="add mod">
          <ac:chgData name="Mariam Daniela Tristancho Pineda (MISION TEMPORAL LTDA)" userId="a45a17f7-7950-4cb5-bfab-f5c894f959a9" providerId="ADAL" clId="{9D150B60-33B5-4A3E-8123-A67E35AA8D44}" dt="2020-07-27T00:08:11.389" v="10928" actId="1036"/>
          <ac:spMkLst>
            <pc:docMk/>
            <pc:sldMk cId="1535562114" sldId="2134804316"/>
            <ac:spMk id="84" creationId="{CD411578-B9DA-48C1-9675-B83281B38E1D}"/>
          </ac:spMkLst>
        </pc:spChg>
        <pc:spChg chg="add mod">
          <ac:chgData name="Mariam Daniela Tristancho Pineda (MISION TEMPORAL LTDA)" userId="a45a17f7-7950-4cb5-bfab-f5c894f959a9" providerId="ADAL" clId="{9D150B60-33B5-4A3E-8123-A67E35AA8D44}" dt="2020-07-27T00:08:11.389" v="10928" actId="1036"/>
          <ac:spMkLst>
            <pc:docMk/>
            <pc:sldMk cId="1535562114" sldId="2134804316"/>
            <ac:spMk id="85" creationId="{3B83D539-5506-49C8-B434-B0636935C2EA}"/>
          </ac:spMkLst>
        </pc:spChg>
        <pc:spChg chg="add mod">
          <ac:chgData name="Mariam Daniela Tristancho Pineda (MISION TEMPORAL LTDA)" userId="a45a17f7-7950-4cb5-bfab-f5c894f959a9" providerId="ADAL" clId="{9D150B60-33B5-4A3E-8123-A67E35AA8D44}" dt="2020-07-27T00:08:11.389" v="10928" actId="1036"/>
          <ac:spMkLst>
            <pc:docMk/>
            <pc:sldMk cId="1535562114" sldId="2134804316"/>
            <ac:spMk id="86" creationId="{C0D8071E-E660-48AA-B1A5-D3608FE927ED}"/>
          </ac:spMkLst>
        </pc:spChg>
        <pc:spChg chg="add mod">
          <ac:chgData name="Mariam Daniela Tristancho Pineda (MISION TEMPORAL LTDA)" userId="a45a17f7-7950-4cb5-bfab-f5c894f959a9" providerId="ADAL" clId="{9D150B60-33B5-4A3E-8123-A67E35AA8D44}" dt="2020-07-27T00:08:11.389" v="10928" actId="1036"/>
          <ac:spMkLst>
            <pc:docMk/>
            <pc:sldMk cId="1535562114" sldId="2134804316"/>
            <ac:spMk id="87" creationId="{7CF57F42-1AA5-43FA-8A49-0BA5001C2100}"/>
          </ac:spMkLst>
        </pc:spChg>
        <pc:spChg chg="add mod">
          <ac:chgData name="Mariam Daniela Tristancho Pineda (MISION TEMPORAL LTDA)" userId="a45a17f7-7950-4cb5-bfab-f5c894f959a9" providerId="ADAL" clId="{9D150B60-33B5-4A3E-8123-A67E35AA8D44}" dt="2020-07-27T00:08:11.389" v="10928" actId="1036"/>
          <ac:spMkLst>
            <pc:docMk/>
            <pc:sldMk cId="1535562114" sldId="2134804316"/>
            <ac:spMk id="88" creationId="{25320169-DFF2-4A5A-BA08-D78D5F6600A9}"/>
          </ac:spMkLst>
        </pc:spChg>
        <pc:spChg chg="add mod">
          <ac:chgData name="Mariam Daniela Tristancho Pineda (MISION TEMPORAL LTDA)" userId="a45a17f7-7950-4cb5-bfab-f5c894f959a9" providerId="ADAL" clId="{9D150B60-33B5-4A3E-8123-A67E35AA8D44}" dt="2020-07-27T00:08:11.389" v="10928" actId="1036"/>
          <ac:spMkLst>
            <pc:docMk/>
            <pc:sldMk cId="1535562114" sldId="2134804316"/>
            <ac:spMk id="89" creationId="{F8119AC5-40E5-43CE-8080-3768092827DB}"/>
          </ac:spMkLst>
        </pc:spChg>
        <pc:spChg chg="add mod">
          <ac:chgData name="Mariam Daniela Tristancho Pineda (MISION TEMPORAL LTDA)" userId="a45a17f7-7950-4cb5-bfab-f5c894f959a9" providerId="ADAL" clId="{9D150B60-33B5-4A3E-8123-A67E35AA8D44}" dt="2020-07-27T00:08:11.389" v="10928" actId="1036"/>
          <ac:spMkLst>
            <pc:docMk/>
            <pc:sldMk cId="1535562114" sldId="2134804316"/>
            <ac:spMk id="90" creationId="{0E28198E-89D7-4349-9D46-33D843ACBC24}"/>
          </ac:spMkLst>
        </pc:spChg>
        <pc:spChg chg="add del mod">
          <ac:chgData name="Mariam Daniela Tristancho Pineda (MISION TEMPORAL LTDA)" userId="a45a17f7-7950-4cb5-bfab-f5c894f959a9" providerId="ADAL" clId="{9D150B60-33B5-4A3E-8123-A67E35AA8D44}" dt="2020-07-10T19:48:31.055" v="3895" actId="478"/>
          <ac:spMkLst>
            <pc:docMk/>
            <pc:sldMk cId="1535562114" sldId="2134804316"/>
            <ac:spMk id="91" creationId="{F9B0B932-04B2-4B4F-BE99-2C7D0957A691}"/>
          </ac:spMkLst>
        </pc:spChg>
        <pc:spChg chg="add mod">
          <ac:chgData name="Mariam Daniela Tristancho Pineda (MISION TEMPORAL LTDA)" userId="a45a17f7-7950-4cb5-bfab-f5c894f959a9" providerId="ADAL" clId="{9D150B60-33B5-4A3E-8123-A67E35AA8D44}" dt="2020-07-27T00:08:11.389" v="10928" actId="1036"/>
          <ac:spMkLst>
            <pc:docMk/>
            <pc:sldMk cId="1535562114" sldId="2134804316"/>
            <ac:spMk id="92" creationId="{B7EA080A-EDD5-466D-9D38-95CA4EC3BCF4}"/>
          </ac:spMkLst>
        </pc:spChg>
        <pc:spChg chg="add mod">
          <ac:chgData name="Mariam Daniela Tristancho Pineda (MISION TEMPORAL LTDA)" userId="a45a17f7-7950-4cb5-bfab-f5c894f959a9" providerId="ADAL" clId="{9D150B60-33B5-4A3E-8123-A67E35AA8D44}" dt="2020-07-27T00:08:11.389" v="10928" actId="1036"/>
          <ac:spMkLst>
            <pc:docMk/>
            <pc:sldMk cId="1535562114" sldId="2134804316"/>
            <ac:spMk id="93" creationId="{8BB92AF4-BAC7-400A-9FE5-29EE61E14890}"/>
          </ac:spMkLst>
        </pc:spChg>
        <pc:spChg chg="add mod">
          <ac:chgData name="Mariam Daniela Tristancho Pineda (MISION TEMPORAL LTDA)" userId="a45a17f7-7950-4cb5-bfab-f5c894f959a9" providerId="ADAL" clId="{9D150B60-33B5-4A3E-8123-A67E35AA8D44}" dt="2020-07-27T00:08:11.389" v="10928" actId="1036"/>
          <ac:spMkLst>
            <pc:docMk/>
            <pc:sldMk cId="1535562114" sldId="2134804316"/>
            <ac:spMk id="94" creationId="{00945104-3316-4EB6-B908-F5C147C17414}"/>
          </ac:spMkLst>
        </pc:spChg>
        <pc:spChg chg="add mod">
          <ac:chgData name="Mariam Daniela Tristancho Pineda (MISION TEMPORAL LTDA)" userId="a45a17f7-7950-4cb5-bfab-f5c894f959a9" providerId="ADAL" clId="{9D150B60-33B5-4A3E-8123-A67E35AA8D44}" dt="2020-07-27T00:08:11.389" v="10928" actId="1036"/>
          <ac:spMkLst>
            <pc:docMk/>
            <pc:sldMk cId="1535562114" sldId="2134804316"/>
            <ac:spMk id="95" creationId="{A732B0EB-1993-47FB-BF91-1012D8D5B830}"/>
          </ac:spMkLst>
        </pc:spChg>
        <pc:spChg chg="add mod">
          <ac:chgData name="Mariam Daniela Tristancho Pineda (MISION TEMPORAL LTDA)" userId="a45a17f7-7950-4cb5-bfab-f5c894f959a9" providerId="ADAL" clId="{9D150B60-33B5-4A3E-8123-A67E35AA8D44}" dt="2020-07-10T19:50:10.101" v="3953" actId="122"/>
          <ac:spMkLst>
            <pc:docMk/>
            <pc:sldMk cId="1535562114" sldId="2134804316"/>
            <ac:spMk id="96" creationId="{AA69991C-DCBF-4FFF-89AB-188B325920D9}"/>
          </ac:spMkLst>
        </pc:spChg>
        <pc:spChg chg="add del mod">
          <ac:chgData name="Mariam Daniela Tristancho Pineda (MISION TEMPORAL LTDA)" userId="a45a17f7-7950-4cb5-bfab-f5c894f959a9" providerId="ADAL" clId="{9D150B60-33B5-4A3E-8123-A67E35AA8D44}" dt="2020-07-10T19:49:36.647" v="3938" actId="478"/>
          <ac:spMkLst>
            <pc:docMk/>
            <pc:sldMk cId="1535562114" sldId="2134804316"/>
            <ac:spMk id="97" creationId="{6DD7CDC4-0CF4-4942-A0A6-4726EA0253EC}"/>
          </ac:spMkLst>
        </pc:spChg>
        <pc:spChg chg="add del mod">
          <ac:chgData name="Mariam Daniela Tristancho Pineda (MISION TEMPORAL LTDA)" userId="a45a17f7-7950-4cb5-bfab-f5c894f959a9" providerId="ADAL" clId="{9D150B60-33B5-4A3E-8123-A67E35AA8D44}" dt="2020-07-10T19:49:35.202" v="3937" actId="478"/>
          <ac:spMkLst>
            <pc:docMk/>
            <pc:sldMk cId="1535562114" sldId="2134804316"/>
            <ac:spMk id="98" creationId="{2DFB1517-7A5B-4B63-A0DD-13D7AF34D78B}"/>
          </ac:spMkLst>
        </pc:spChg>
        <pc:spChg chg="add mod">
          <ac:chgData name="Mariam Daniela Tristancho Pineda (MISION TEMPORAL LTDA)" userId="a45a17f7-7950-4cb5-bfab-f5c894f959a9" providerId="ADAL" clId="{9D150B60-33B5-4A3E-8123-A67E35AA8D44}" dt="2020-07-27T00:08:11.389" v="10928" actId="1036"/>
          <ac:spMkLst>
            <pc:docMk/>
            <pc:sldMk cId="1535562114" sldId="2134804316"/>
            <ac:spMk id="99" creationId="{0DFF0EB6-13FB-4A14-BAA5-40502C26DE9D}"/>
          </ac:spMkLst>
        </pc:spChg>
        <pc:spChg chg="add mod">
          <ac:chgData name="Mariam Daniela Tristancho Pineda (MISION TEMPORAL LTDA)" userId="a45a17f7-7950-4cb5-bfab-f5c894f959a9" providerId="ADAL" clId="{9D150B60-33B5-4A3E-8123-A67E35AA8D44}" dt="2020-07-27T00:08:11.389" v="10928" actId="1036"/>
          <ac:spMkLst>
            <pc:docMk/>
            <pc:sldMk cId="1535562114" sldId="2134804316"/>
            <ac:spMk id="100" creationId="{CB82F4AE-6131-4AC9-882E-ED11EE7B73CE}"/>
          </ac:spMkLst>
        </pc:spChg>
        <pc:spChg chg="add mod">
          <ac:chgData name="Mariam Daniela Tristancho Pineda (MISION TEMPORAL LTDA)" userId="a45a17f7-7950-4cb5-bfab-f5c894f959a9" providerId="ADAL" clId="{9D150B60-33B5-4A3E-8123-A67E35AA8D44}" dt="2020-07-10T19:50:21.186" v="3954" actId="552"/>
          <ac:spMkLst>
            <pc:docMk/>
            <pc:sldMk cId="1535562114" sldId="2134804316"/>
            <ac:spMk id="101" creationId="{66AD7AD1-68F9-4723-9EB5-A48061C756E7}"/>
          </ac:spMkLst>
        </pc:spChg>
        <pc:graphicFrameChg chg="mod modGraphic">
          <ac:chgData name="Mariam Daniela Tristancho Pineda (MISION TEMPORAL LTDA)" userId="a45a17f7-7950-4cb5-bfab-f5c894f959a9" providerId="ADAL" clId="{9D150B60-33B5-4A3E-8123-A67E35AA8D44}" dt="2020-07-27T00:08:11.389" v="10928" actId="1036"/>
          <ac:graphicFrameMkLst>
            <pc:docMk/>
            <pc:sldMk cId="1535562114" sldId="2134804316"/>
            <ac:graphicFrameMk id="7" creationId="{C866CA4D-9ED5-4A67-9BF0-26C15AE2AA2C}"/>
          </ac:graphicFrameMkLst>
        </pc:graphicFrameChg>
        <pc:graphicFrameChg chg="del">
          <ac:chgData name="Mariam Daniela Tristancho Pineda (MISION TEMPORAL LTDA)" userId="a45a17f7-7950-4cb5-bfab-f5c894f959a9" providerId="ADAL" clId="{9D150B60-33B5-4A3E-8123-A67E35AA8D44}" dt="2020-07-10T19:40:00.977" v="3521" actId="478"/>
          <ac:graphicFrameMkLst>
            <pc:docMk/>
            <pc:sldMk cId="1535562114" sldId="2134804316"/>
            <ac:graphicFrameMk id="35" creationId="{D6562056-B40E-47F9-9726-6C4C21F304AB}"/>
          </ac:graphicFrameMkLst>
        </pc:graphicFrameChg>
        <pc:graphicFrameChg chg="add mod modGraphic">
          <ac:chgData name="Mariam Daniela Tristancho Pineda (MISION TEMPORAL LTDA)" userId="a45a17f7-7950-4cb5-bfab-f5c894f959a9" providerId="ADAL" clId="{9D150B60-33B5-4A3E-8123-A67E35AA8D44}" dt="2020-07-28T15:03:06.527" v="19929" actId="20577"/>
          <ac:graphicFrameMkLst>
            <pc:docMk/>
            <pc:sldMk cId="1535562114" sldId="2134804316"/>
            <ac:graphicFrameMk id="46" creationId="{0D626CD9-F4FF-45E4-88CE-52500C2C1600}"/>
          </ac:graphicFrameMkLst>
        </pc:graphicFrameChg>
        <pc:cxnChg chg="mod">
          <ac:chgData name="Mariam Daniela Tristancho Pineda (MISION TEMPORAL LTDA)" userId="a45a17f7-7950-4cb5-bfab-f5c894f959a9" providerId="ADAL" clId="{9D150B60-33B5-4A3E-8123-A67E35AA8D44}" dt="2020-07-27T00:08:30.542" v="10949" actId="1036"/>
          <ac:cxnSpMkLst>
            <pc:docMk/>
            <pc:sldMk cId="1535562114" sldId="2134804316"/>
            <ac:cxnSpMk id="5" creationId="{017DAD00-B855-4E39-8DE1-7636A3DDFC9D}"/>
          </ac:cxnSpMkLst>
        </pc:cxnChg>
      </pc:sldChg>
      <pc:sldChg chg="addSp delSp modSp add del mod">
        <pc:chgData name="Mariam Daniela Tristancho Pineda (MISION TEMPORAL LTDA)" userId="a45a17f7-7950-4cb5-bfab-f5c894f959a9" providerId="ADAL" clId="{9D150B60-33B5-4A3E-8123-A67E35AA8D44}" dt="2020-07-24T20:58:10.919" v="6907" actId="47"/>
        <pc:sldMkLst>
          <pc:docMk/>
          <pc:sldMk cId="1039274809" sldId="2134804317"/>
        </pc:sldMkLst>
        <pc:spChg chg="mod">
          <ac:chgData name="Mariam Daniela Tristancho Pineda (MISION TEMPORAL LTDA)" userId="a45a17f7-7950-4cb5-bfab-f5c894f959a9" providerId="ADAL" clId="{9D150B60-33B5-4A3E-8123-A67E35AA8D44}" dt="2020-07-10T19:52:27.064" v="3979" actId="20577"/>
          <ac:spMkLst>
            <pc:docMk/>
            <pc:sldMk cId="1039274809" sldId="2134804317"/>
            <ac:spMk id="4" creationId="{C47780CB-210E-480D-AF15-355BDC7F6E93}"/>
          </ac:spMkLst>
        </pc:spChg>
        <pc:spChg chg="mod">
          <ac:chgData name="Mariam Daniela Tristancho Pineda (MISION TEMPORAL LTDA)" userId="a45a17f7-7950-4cb5-bfab-f5c894f959a9" providerId="ADAL" clId="{9D150B60-33B5-4A3E-8123-A67E35AA8D44}" dt="2020-07-12T19:09:34.198" v="4484" actId="1035"/>
          <ac:spMkLst>
            <pc:docMk/>
            <pc:sldMk cId="1039274809" sldId="2134804317"/>
            <ac:spMk id="5" creationId="{60144380-CBE4-4263-86E5-F4A7E5CEC0BB}"/>
          </ac:spMkLst>
        </pc:spChg>
        <pc:spChg chg="mod">
          <ac:chgData name="Mariam Daniela Tristancho Pineda (MISION TEMPORAL LTDA)" userId="a45a17f7-7950-4cb5-bfab-f5c894f959a9" providerId="ADAL" clId="{9D150B60-33B5-4A3E-8123-A67E35AA8D44}" dt="2020-07-12T19:09:42.963" v="4506" actId="1036"/>
          <ac:spMkLst>
            <pc:docMk/>
            <pc:sldMk cId="1039274809" sldId="2134804317"/>
            <ac:spMk id="7" creationId="{49F21896-A687-4F29-8499-091C5F1FE377}"/>
          </ac:spMkLst>
        </pc:spChg>
        <pc:spChg chg="del mod">
          <ac:chgData name="Mariam Daniela Tristancho Pineda (MISION TEMPORAL LTDA)" userId="a45a17f7-7950-4cb5-bfab-f5c894f959a9" providerId="ADAL" clId="{9D150B60-33B5-4A3E-8123-A67E35AA8D44}" dt="2020-07-10T20:38:27.309" v="4223" actId="478"/>
          <ac:spMkLst>
            <pc:docMk/>
            <pc:sldMk cId="1039274809" sldId="2134804317"/>
            <ac:spMk id="14" creationId="{0572F48F-01C6-4118-B2F6-94C3B890E625}"/>
          </ac:spMkLst>
        </pc:spChg>
        <pc:spChg chg="add del mod">
          <ac:chgData name="Mariam Daniela Tristancho Pineda (MISION TEMPORAL LTDA)" userId="a45a17f7-7950-4cb5-bfab-f5c894f959a9" providerId="ADAL" clId="{9D150B60-33B5-4A3E-8123-A67E35AA8D44}" dt="2020-07-12T19:07:19.503" v="4442" actId="478"/>
          <ac:spMkLst>
            <pc:docMk/>
            <pc:sldMk cId="1039274809" sldId="2134804317"/>
            <ac:spMk id="17" creationId="{79C491B7-C9E4-4B30-8E72-4B6AC797FB21}"/>
          </ac:spMkLst>
        </pc:spChg>
        <pc:spChg chg="add mod">
          <ac:chgData name="Mariam Daniela Tristancho Pineda (MISION TEMPORAL LTDA)" userId="a45a17f7-7950-4cb5-bfab-f5c894f959a9" providerId="ADAL" clId="{9D150B60-33B5-4A3E-8123-A67E35AA8D44}" dt="2020-07-12T19:10:06.381" v="4520" actId="1038"/>
          <ac:spMkLst>
            <pc:docMk/>
            <pc:sldMk cId="1039274809" sldId="2134804317"/>
            <ac:spMk id="20" creationId="{A4799398-718D-4960-8AC5-B7B6AC61A256}"/>
          </ac:spMkLst>
        </pc:spChg>
        <pc:spChg chg="add mod">
          <ac:chgData name="Mariam Daniela Tristancho Pineda (MISION TEMPORAL LTDA)" userId="a45a17f7-7950-4cb5-bfab-f5c894f959a9" providerId="ADAL" clId="{9D150B60-33B5-4A3E-8123-A67E35AA8D44}" dt="2020-07-12T19:09:48.532" v="4517" actId="1037"/>
          <ac:spMkLst>
            <pc:docMk/>
            <pc:sldMk cId="1039274809" sldId="2134804317"/>
            <ac:spMk id="22" creationId="{DBB85782-B2A6-4E57-8D24-DF9082B57677}"/>
          </ac:spMkLst>
        </pc:spChg>
        <pc:spChg chg="add del mod">
          <ac:chgData name="Mariam Daniela Tristancho Pineda (MISION TEMPORAL LTDA)" userId="a45a17f7-7950-4cb5-bfab-f5c894f959a9" providerId="ADAL" clId="{9D150B60-33B5-4A3E-8123-A67E35AA8D44}" dt="2020-07-24T20:58:07.432" v="6905" actId="478"/>
          <ac:spMkLst>
            <pc:docMk/>
            <pc:sldMk cId="1039274809" sldId="2134804317"/>
            <ac:spMk id="23" creationId="{07BADF69-3F1E-4F88-BE45-83E5F8A3CCE9}"/>
          </ac:spMkLst>
        </pc:spChg>
        <pc:spChg chg="add del mod">
          <ac:chgData name="Mariam Daniela Tristancho Pineda (MISION TEMPORAL LTDA)" userId="a45a17f7-7950-4cb5-bfab-f5c894f959a9" providerId="ADAL" clId="{9D150B60-33B5-4A3E-8123-A67E35AA8D44}" dt="2020-07-24T20:58:09.020" v="6906" actId="478"/>
          <ac:spMkLst>
            <pc:docMk/>
            <pc:sldMk cId="1039274809" sldId="2134804317"/>
            <ac:spMk id="24" creationId="{283CFC48-6661-4058-83C2-7ABAB6AF3C66}"/>
          </ac:spMkLst>
        </pc:spChg>
        <pc:grpChg chg="mod">
          <ac:chgData name="Mariam Daniela Tristancho Pineda (MISION TEMPORAL LTDA)" userId="a45a17f7-7950-4cb5-bfab-f5c894f959a9" providerId="ADAL" clId="{9D150B60-33B5-4A3E-8123-A67E35AA8D44}" dt="2020-07-12T19:09:48.532" v="4517" actId="1037"/>
          <ac:grpSpMkLst>
            <pc:docMk/>
            <pc:sldMk cId="1039274809" sldId="2134804317"/>
            <ac:grpSpMk id="12" creationId="{97A64B71-2068-4384-8243-F4ED1BE3BD64}"/>
          </ac:grpSpMkLst>
        </pc:grpChg>
        <pc:grpChg chg="mod">
          <ac:chgData name="Mariam Daniela Tristancho Pineda (MISION TEMPORAL LTDA)" userId="a45a17f7-7950-4cb5-bfab-f5c894f959a9" providerId="ADAL" clId="{9D150B60-33B5-4A3E-8123-A67E35AA8D44}" dt="2020-07-12T19:10:06.381" v="4520" actId="1038"/>
          <ac:grpSpMkLst>
            <pc:docMk/>
            <pc:sldMk cId="1039274809" sldId="2134804317"/>
            <ac:grpSpMk id="13" creationId="{A8D5E88D-0623-41AE-9881-9D4BA0197AEA}"/>
          </ac:grpSpMkLst>
        </pc:grpChg>
        <pc:grpChg chg="mod">
          <ac:chgData name="Mariam Daniela Tristancho Pineda (MISION TEMPORAL LTDA)" userId="a45a17f7-7950-4cb5-bfab-f5c894f959a9" providerId="ADAL" clId="{9D150B60-33B5-4A3E-8123-A67E35AA8D44}" dt="2020-07-12T19:09:42.963" v="4506" actId="1036"/>
          <ac:grpSpMkLst>
            <pc:docMk/>
            <pc:sldMk cId="1039274809" sldId="2134804317"/>
            <ac:grpSpMk id="16" creationId="{0B2E59AD-3929-43C2-8F9D-A17671E2843E}"/>
          </ac:grpSpMkLst>
        </pc:grpChg>
        <pc:picChg chg="mod">
          <ac:chgData name="Mariam Daniela Tristancho Pineda (MISION TEMPORAL LTDA)" userId="a45a17f7-7950-4cb5-bfab-f5c894f959a9" providerId="ADAL" clId="{9D150B60-33B5-4A3E-8123-A67E35AA8D44}" dt="2020-07-12T19:10:10.474" v="4521" actId="14100"/>
          <ac:picMkLst>
            <pc:docMk/>
            <pc:sldMk cId="1039274809" sldId="2134804317"/>
            <ac:picMk id="21" creationId="{802D394E-E061-44FF-8816-DDC7B1B331B1}"/>
          </ac:picMkLst>
        </pc:picChg>
      </pc:sldChg>
      <pc:sldChg chg="addSp modSp add del mod ord">
        <pc:chgData name="Mariam Daniela Tristancho Pineda (MISION TEMPORAL LTDA)" userId="a45a17f7-7950-4cb5-bfab-f5c894f959a9" providerId="ADAL" clId="{9D150B60-33B5-4A3E-8123-A67E35AA8D44}" dt="2020-07-24T20:56:21.031" v="6791" actId="47"/>
        <pc:sldMkLst>
          <pc:docMk/>
          <pc:sldMk cId="59994284" sldId="2134804318"/>
        </pc:sldMkLst>
        <pc:spChg chg="add mod">
          <ac:chgData name="Mariam Daniela Tristancho Pineda (MISION TEMPORAL LTDA)" userId="a45a17f7-7950-4cb5-bfab-f5c894f959a9" providerId="ADAL" clId="{9D150B60-33B5-4A3E-8123-A67E35AA8D44}" dt="2020-07-10T19:53:15.600" v="4038" actId="1076"/>
          <ac:spMkLst>
            <pc:docMk/>
            <pc:sldMk cId="59994284" sldId="2134804318"/>
            <ac:spMk id="13" creationId="{5B329D4C-5767-4062-8EE1-531737EC5A2A}"/>
          </ac:spMkLst>
        </pc:spChg>
        <pc:spChg chg="mod">
          <ac:chgData name="Mariam Daniela Tristancho Pineda (MISION TEMPORAL LTDA)" userId="a45a17f7-7950-4cb5-bfab-f5c894f959a9" providerId="ADAL" clId="{9D150B60-33B5-4A3E-8123-A67E35AA8D44}" dt="2020-07-12T22:06:53.211" v="4765" actId="14100"/>
          <ac:spMkLst>
            <pc:docMk/>
            <pc:sldMk cId="59994284" sldId="2134804318"/>
            <ac:spMk id="55" creationId="{71D2E868-A54D-4479-B446-29F9C50FDEA5}"/>
          </ac:spMkLst>
        </pc:spChg>
      </pc:sldChg>
      <pc:sldChg chg="add del">
        <pc:chgData name="Mariam Daniela Tristancho Pineda (MISION TEMPORAL LTDA)" userId="a45a17f7-7950-4cb5-bfab-f5c894f959a9" providerId="ADAL" clId="{9D150B60-33B5-4A3E-8123-A67E35AA8D44}" dt="2020-07-24T20:55:52.180" v="6789" actId="47"/>
        <pc:sldMkLst>
          <pc:docMk/>
          <pc:sldMk cId="240968699" sldId="2134804319"/>
        </pc:sldMkLst>
      </pc:sldChg>
      <pc:sldChg chg="modSp add mod">
        <pc:chgData name="Mariam Daniela Tristancho Pineda (MISION TEMPORAL LTDA)" userId="a45a17f7-7950-4cb5-bfab-f5c894f959a9" providerId="ADAL" clId="{9D150B60-33B5-4A3E-8123-A67E35AA8D44}" dt="2020-07-26T17:24:25.631" v="7091" actId="14100"/>
        <pc:sldMkLst>
          <pc:docMk/>
          <pc:sldMk cId="0" sldId="2134804320"/>
        </pc:sldMkLst>
        <pc:spChg chg="mod">
          <ac:chgData name="Mariam Daniela Tristancho Pineda (MISION TEMPORAL LTDA)" userId="a45a17f7-7950-4cb5-bfab-f5c894f959a9" providerId="ADAL" clId="{9D150B60-33B5-4A3E-8123-A67E35AA8D44}" dt="2020-07-26T17:24:23.877" v="7090" actId="1036"/>
          <ac:spMkLst>
            <pc:docMk/>
            <pc:sldMk cId="0" sldId="2134804320"/>
            <ac:spMk id="5" creationId="{8CF3901A-DA0F-48B8-B708-5918F78F0EA5}"/>
          </ac:spMkLst>
        </pc:spChg>
        <pc:spChg chg="mod">
          <ac:chgData name="Mariam Daniela Tristancho Pineda (MISION TEMPORAL LTDA)" userId="a45a17f7-7950-4cb5-bfab-f5c894f959a9" providerId="ADAL" clId="{9D150B60-33B5-4A3E-8123-A67E35AA8D44}" dt="2020-07-26T17:24:23.877" v="7090" actId="1036"/>
          <ac:spMkLst>
            <pc:docMk/>
            <pc:sldMk cId="0" sldId="2134804320"/>
            <ac:spMk id="15" creationId="{DA4E7332-860E-47D7-A6B1-4012C1F0104A}"/>
          </ac:spMkLst>
        </pc:spChg>
        <pc:spChg chg="mod">
          <ac:chgData name="Mariam Daniela Tristancho Pineda (MISION TEMPORAL LTDA)" userId="a45a17f7-7950-4cb5-bfab-f5c894f959a9" providerId="ADAL" clId="{9D150B60-33B5-4A3E-8123-A67E35AA8D44}" dt="2020-07-26T17:24:23.877" v="7090" actId="1036"/>
          <ac:spMkLst>
            <pc:docMk/>
            <pc:sldMk cId="0" sldId="2134804320"/>
            <ac:spMk id="16" creationId="{2F2C18D4-4EDB-479A-8DF4-F1392D977EFB}"/>
          </ac:spMkLst>
        </pc:spChg>
        <pc:spChg chg="mod">
          <ac:chgData name="Mariam Daniela Tristancho Pineda (MISION TEMPORAL LTDA)" userId="a45a17f7-7950-4cb5-bfab-f5c894f959a9" providerId="ADAL" clId="{9D150B60-33B5-4A3E-8123-A67E35AA8D44}" dt="2020-07-26T17:24:23.877" v="7090" actId="1036"/>
          <ac:spMkLst>
            <pc:docMk/>
            <pc:sldMk cId="0" sldId="2134804320"/>
            <ac:spMk id="17" creationId="{0A6626A3-9098-4058-94D4-CDC309A6EA08}"/>
          </ac:spMkLst>
        </pc:spChg>
        <pc:spChg chg="mod">
          <ac:chgData name="Mariam Daniela Tristancho Pineda (MISION TEMPORAL LTDA)" userId="a45a17f7-7950-4cb5-bfab-f5c894f959a9" providerId="ADAL" clId="{9D150B60-33B5-4A3E-8123-A67E35AA8D44}" dt="2020-07-26T17:24:23.877" v="7090" actId="1036"/>
          <ac:spMkLst>
            <pc:docMk/>
            <pc:sldMk cId="0" sldId="2134804320"/>
            <ac:spMk id="18" creationId="{E9C7AABE-F2DC-4492-B19F-B7D1033380BF}"/>
          </ac:spMkLst>
        </pc:spChg>
        <pc:spChg chg="mod">
          <ac:chgData name="Mariam Daniela Tristancho Pineda (MISION TEMPORAL LTDA)" userId="a45a17f7-7950-4cb5-bfab-f5c894f959a9" providerId="ADAL" clId="{9D150B60-33B5-4A3E-8123-A67E35AA8D44}" dt="2020-07-26T17:24:23.877" v="7090" actId="1036"/>
          <ac:spMkLst>
            <pc:docMk/>
            <pc:sldMk cId="0" sldId="2134804320"/>
            <ac:spMk id="19" creationId="{0221CE6A-C661-4AE3-AF65-5C5F18AE96EB}"/>
          </ac:spMkLst>
        </pc:spChg>
        <pc:spChg chg="mod">
          <ac:chgData name="Mariam Daniela Tristancho Pineda (MISION TEMPORAL LTDA)" userId="a45a17f7-7950-4cb5-bfab-f5c894f959a9" providerId="ADAL" clId="{9D150B60-33B5-4A3E-8123-A67E35AA8D44}" dt="2020-07-26T17:24:23.877" v="7090" actId="1036"/>
          <ac:spMkLst>
            <pc:docMk/>
            <pc:sldMk cId="0" sldId="2134804320"/>
            <ac:spMk id="20" creationId="{8EDCB9EC-5CC6-4C88-ABEF-5A221B8F5238}"/>
          </ac:spMkLst>
        </pc:spChg>
        <pc:spChg chg="mod">
          <ac:chgData name="Mariam Daniela Tristancho Pineda (MISION TEMPORAL LTDA)" userId="a45a17f7-7950-4cb5-bfab-f5c894f959a9" providerId="ADAL" clId="{9D150B60-33B5-4A3E-8123-A67E35AA8D44}" dt="2020-07-26T17:24:23.877" v="7090" actId="1036"/>
          <ac:spMkLst>
            <pc:docMk/>
            <pc:sldMk cId="0" sldId="2134804320"/>
            <ac:spMk id="21" creationId="{ADE2FF35-681F-41AC-9CFF-947D4757DEF4}"/>
          </ac:spMkLst>
        </pc:spChg>
        <pc:spChg chg="mod">
          <ac:chgData name="Mariam Daniela Tristancho Pineda (MISION TEMPORAL LTDA)" userId="a45a17f7-7950-4cb5-bfab-f5c894f959a9" providerId="ADAL" clId="{9D150B60-33B5-4A3E-8123-A67E35AA8D44}" dt="2020-07-26T17:24:23.877" v="7090" actId="1036"/>
          <ac:spMkLst>
            <pc:docMk/>
            <pc:sldMk cId="0" sldId="2134804320"/>
            <ac:spMk id="23" creationId="{1AEFDCE6-50AB-4816-B81B-12BE34261789}"/>
          </ac:spMkLst>
        </pc:spChg>
        <pc:spChg chg="mod">
          <ac:chgData name="Mariam Daniela Tristancho Pineda (MISION TEMPORAL LTDA)" userId="a45a17f7-7950-4cb5-bfab-f5c894f959a9" providerId="ADAL" clId="{9D150B60-33B5-4A3E-8123-A67E35AA8D44}" dt="2020-07-26T17:24:23.877" v="7090" actId="1036"/>
          <ac:spMkLst>
            <pc:docMk/>
            <pc:sldMk cId="0" sldId="2134804320"/>
            <ac:spMk id="24" creationId="{C94A8B38-94CE-428D-8226-8CA003757F5F}"/>
          </ac:spMkLst>
        </pc:spChg>
        <pc:spChg chg="mod">
          <ac:chgData name="Mariam Daniela Tristancho Pineda (MISION TEMPORAL LTDA)" userId="a45a17f7-7950-4cb5-bfab-f5c894f959a9" providerId="ADAL" clId="{9D150B60-33B5-4A3E-8123-A67E35AA8D44}" dt="2020-07-26T17:24:23.877" v="7090" actId="1036"/>
          <ac:spMkLst>
            <pc:docMk/>
            <pc:sldMk cId="0" sldId="2134804320"/>
            <ac:spMk id="26" creationId="{9FB5FB30-7750-4BBC-94D1-1648FEE6A2DC}"/>
          </ac:spMkLst>
        </pc:spChg>
        <pc:spChg chg="mod">
          <ac:chgData name="Mariam Daniela Tristancho Pineda (MISION TEMPORAL LTDA)" userId="a45a17f7-7950-4cb5-bfab-f5c894f959a9" providerId="ADAL" clId="{9D150B60-33B5-4A3E-8123-A67E35AA8D44}" dt="2020-07-26T17:24:23.877" v="7090" actId="1036"/>
          <ac:spMkLst>
            <pc:docMk/>
            <pc:sldMk cId="0" sldId="2134804320"/>
            <ac:spMk id="27" creationId="{E0D6C2D6-52A7-4B1E-9824-CA43E9720066}"/>
          </ac:spMkLst>
        </pc:spChg>
        <pc:spChg chg="mod">
          <ac:chgData name="Mariam Daniela Tristancho Pineda (MISION TEMPORAL LTDA)" userId="a45a17f7-7950-4cb5-bfab-f5c894f959a9" providerId="ADAL" clId="{9D150B60-33B5-4A3E-8123-A67E35AA8D44}" dt="2020-07-26T17:24:23.877" v="7090" actId="1036"/>
          <ac:spMkLst>
            <pc:docMk/>
            <pc:sldMk cId="0" sldId="2134804320"/>
            <ac:spMk id="29" creationId="{81F5B260-C58E-4FA9-BA59-AD1CD91A9289}"/>
          </ac:spMkLst>
        </pc:spChg>
        <pc:spChg chg="mod">
          <ac:chgData name="Mariam Daniela Tristancho Pineda (MISION TEMPORAL LTDA)" userId="a45a17f7-7950-4cb5-bfab-f5c894f959a9" providerId="ADAL" clId="{9D150B60-33B5-4A3E-8123-A67E35AA8D44}" dt="2020-07-26T17:24:25.631" v="7091" actId="14100"/>
          <ac:spMkLst>
            <pc:docMk/>
            <pc:sldMk cId="0" sldId="2134804320"/>
            <ac:spMk id="30" creationId="{8D3DD9F5-AB4C-41FB-A836-8C039CCB0F58}"/>
          </ac:spMkLst>
        </pc:spChg>
        <pc:spChg chg="mod">
          <ac:chgData name="Mariam Daniela Tristancho Pineda (MISION TEMPORAL LTDA)" userId="a45a17f7-7950-4cb5-bfab-f5c894f959a9" providerId="ADAL" clId="{9D150B60-33B5-4A3E-8123-A67E35AA8D44}" dt="2020-07-26T17:24:23.877" v="7090" actId="1036"/>
          <ac:spMkLst>
            <pc:docMk/>
            <pc:sldMk cId="0" sldId="2134804320"/>
            <ac:spMk id="31" creationId="{0B7C0A75-5BE4-4EA8-9AFC-EBEFF4F8307C}"/>
          </ac:spMkLst>
        </pc:spChg>
        <pc:spChg chg="mod">
          <ac:chgData name="Mariam Daniela Tristancho Pineda (MISION TEMPORAL LTDA)" userId="a45a17f7-7950-4cb5-bfab-f5c894f959a9" providerId="ADAL" clId="{9D150B60-33B5-4A3E-8123-A67E35AA8D44}" dt="2020-07-26T17:24:23.877" v="7090" actId="1036"/>
          <ac:spMkLst>
            <pc:docMk/>
            <pc:sldMk cId="0" sldId="2134804320"/>
            <ac:spMk id="32" creationId="{645AB5EE-0147-4944-B31C-6C3497699373}"/>
          </ac:spMkLst>
        </pc:spChg>
        <pc:grpChg chg="mod">
          <ac:chgData name="Mariam Daniela Tristancho Pineda (MISION TEMPORAL LTDA)" userId="a45a17f7-7950-4cb5-bfab-f5c894f959a9" providerId="ADAL" clId="{9D150B60-33B5-4A3E-8123-A67E35AA8D44}" dt="2020-07-26T17:24:23.877" v="7090" actId="1036"/>
          <ac:grpSpMkLst>
            <pc:docMk/>
            <pc:sldMk cId="0" sldId="2134804320"/>
            <ac:grpSpMk id="66" creationId="{75950440-8C95-45E6-AE1A-D79FE24EE86A}"/>
          </ac:grpSpMkLst>
        </pc:grpChg>
        <pc:graphicFrameChg chg="mod">
          <ac:chgData name="Mariam Daniela Tristancho Pineda (MISION TEMPORAL LTDA)" userId="a45a17f7-7950-4cb5-bfab-f5c894f959a9" providerId="ADAL" clId="{9D150B60-33B5-4A3E-8123-A67E35AA8D44}" dt="2020-07-26T17:24:23.877" v="7090" actId="1036"/>
          <ac:graphicFrameMkLst>
            <pc:docMk/>
            <pc:sldMk cId="0" sldId="2134804320"/>
            <ac:graphicFrameMk id="4" creationId="{040AF71C-EE79-4F45-8FA1-F2D2C4D30F0B}"/>
          </ac:graphicFrameMkLst>
        </pc:graphicFrameChg>
        <pc:picChg chg="mod">
          <ac:chgData name="Mariam Daniela Tristancho Pineda (MISION TEMPORAL LTDA)" userId="a45a17f7-7950-4cb5-bfab-f5c894f959a9" providerId="ADAL" clId="{9D150B60-33B5-4A3E-8123-A67E35AA8D44}" dt="2020-07-26T17:24:23.877" v="7090" actId="1036"/>
          <ac:picMkLst>
            <pc:docMk/>
            <pc:sldMk cId="0" sldId="2134804320"/>
            <ac:picMk id="35" creationId="{216D6B60-1541-4576-AB0D-91412B4AFAEA}"/>
          </ac:picMkLst>
        </pc:picChg>
        <pc:picChg chg="mod">
          <ac:chgData name="Mariam Daniela Tristancho Pineda (MISION TEMPORAL LTDA)" userId="a45a17f7-7950-4cb5-bfab-f5c894f959a9" providerId="ADAL" clId="{9D150B60-33B5-4A3E-8123-A67E35AA8D44}" dt="2020-07-26T17:24:23.877" v="7090" actId="1036"/>
          <ac:picMkLst>
            <pc:docMk/>
            <pc:sldMk cId="0" sldId="2134804320"/>
            <ac:picMk id="37" creationId="{441D7BAD-2D4C-4986-A50D-647EFBC4908E}"/>
          </ac:picMkLst>
        </pc:picChg>
        <pc:picChg chg="mod">
          <ac:chgData name="Mariam Daniela Tristancho Pineda (MISION TEMPORAL LTDA)" userId="a45a17f7-7950-4cb5-bfab-f5c894f959a9" providerId="ADAL" clId="{9D150B60-33B5-4A3E-8123-A67E35AA8D44}" dt="2020-07-26T17:24:23.877" v="7090" actId="1036"/>
          <ac:picMkLst>
            <pc:docMk/>
            <pc:sldMk cId="0" sldId="2134804320"/>
            <ac:picMk id="39" creationId="{1D19B77A-A193-4CD8-B7AB-7B82DF1CD8FE}"/>
          </ac:picMkLst>
        </pc:picChg>
        <pc:picChg chg="mod">
          <ac:chgData name="Mariam Daniela Tristancho Pineda (MISION TEMPORAL LTDA)" userId="a45a17f7-7950-4cb5-bfab-f5c894f959a9" providerId="ADAL" clId="{9D150B60-33B5-4A3E-8123-A67E35AA8D44}" dt="2020-07-26T17:24:23.877" v="7090" actId="1036"/>
          <ac:picMkLst>
            <pc:docMk/>
            <pc:sldMk cId="0" sldId="2134804320"/>
            <ac:picMk id="45" creationId="{5EC7A788-E441-42E5-A1A0-7C5267476395}"/>
          </ac:picMkLst>
        </pc:picChg>
        <pc:picChg chg="mod">
          <ac:chgData name="Mariam Daniela Tristancho Pineda (MISION TEMPORAL LTDA)" userId="a45a17f7-7950-4cb5-bfab-f5c894f959a9" providerId="ADAL" clId="{9D150B60-33B5-4A3E-8123-A67E35AA8D44}" dt="2020-07-26T17:24:23.877" v="7090" actId="1036"/>
          <ac:picMkLst>
            <pc:docMk/>
            <pc:sldMk cId="0" sldId="2134804320"/>
            <ac:picMk id="47" creationId="{453985D9-2711-495F-88E4-CE8A820E45B2}"/>
          </ac:picMkLst>
        </pc:picChg>
        <pc:picChg chg="mod">
          <ac:chgData name="Mariam Daniela Tristancho Pineda (MISION TEMPORAL LTDA)" userId="a45a17f7-7950-4cb5-bfab-f5c894f959a9" providerId="ADAL" clId="{9D150B60-33B5-4A3E-8123-A67E35AA8D44}" dt="2020-07-26T17:24:23.877" v="7090" actId="1036"/>
          <ac:picMkLst>
            <pc:docMk/>
            <pc:sldMk cId="0" sldId="2134804320"/>
            <ac:picMk id="49" creationId="{9E76D1DA-CD9F-48DE-9F10-69A1E61B160F}"/>
          </ac:picMkLst>
        </pc:picChg>
        <pc:picChg chg="mod">
          <ac:chgData name="Mariam Daniela Tristancho Pineda (MISION TEMPORAL LTDA)" userId="a45a17f7-7950-4cb5-bfab-f5c894f959a9" providerId="ADAL" clId="{9D150B60-33B5-4A3E-8123-A67E35AA8D44}" dt="2020-07-26T17:24:23.877" v="7090" actId="1036"/>
          <ac:picMkLst>
            <pc:docMk/>
            <pc:sldMk cId="0" sldId="2134804320"/>
            <ac:picMk id="51" creationId="{C98FE049-1FF4-4282-B78A-1912EF1CB99A}"/>
          </ac:picMkLst>
        </pc:picChg>
        <pc:picChg chg="mod">
          <ac:chgData name="Mariam Daniela Tristancho Pineda (MISION TEMPORAL LTDA)" userId="a45a17f7-7950-4cb5-bfab-f5c894f959a9" providerId="ADAL" clId="{9D150B60-33B5-4A3E-8123-A67E35AA8D44}" dt="2020-07-26T17:24:23.877" v="7090" actId="1036"/>
          <ac:picMkLst>
            <pc:docMk/>
            <pc:sldMk cId="0" sldId="2134804320"/>
            <ac:picMk id="53" creationId="{B287A14B-ECA3-43D8-87CE-1EDF160BAC5F}"/>
          </ac:picMkLst>
        </pc:picChg>
        <pc:picChg chg="mod">
          <ac:chgData name="Mariam Daniela Tristancho Pineda (MISION TEMPORAL LTDA)" userId="a45a17f7-7950-4cb5-bfab-f5c894f959a9" providerId="ADAL" clId="{9D150B60-33B5-4A3E-8123-A67E35AA8D44}" dt="2020-07-26T17:24:23.877" v="7090" actId="1036"/>
          <ac:picMkLst>
            <pc:docMk/>
            <pc:sldMk cId="0" sldId="2134804320"/>
            <ac:picMk id="55" creationId="{FFDF136A-E6F5-4B36-B060-F34A335FF6DA}"/>
          </ac:picMkLst>
        </pc:picChg>
        <pc:picChg chg="mod">
          <ac:chgData name="Mariam Daniela Tristancho Pineda (MISION TEMPORAL LTDA)" userId="a45a17f7-7950-4cb5-bfab-f5c894f959a9" providerId="ADAL" clId="{9D150B60-33B5-4A3E-8123-A67E35AA8D44}" dt="2020-07-26T17:24:23.877" v="7090" actId="1036"/>
          <ac:picMkLst>
            <pc:docMk/>
            <pc:sldMk cId="0" sldId="2134804320"/>
            <ac:picMk id="57" creationId="{6FEC2C55-0871-496D-90D4-8377F8B7FA3F}"/>
          </ac:picMkLst>
        </pc:picChg>
        <pc:cxnChg chg="mod">
          <ac:chgData name="Mariam Daniela Tristancho Pineda (MISION TEMPORAL LTDA)" userId="a45a17f7-7950-4cb5-bfab-f5c894f959a9" providerId="ADAL" clId="{9D150B60-33B5-4A3E-8123-A67E35AA8D44}" dt="2020-07-26T17:24:23.877" v="7090" actId="1036"/>
          <ac:cxnSpMkLst>
            <pc:docMk/>
            <pc:sldMk cId="0" sldId="2134804320"/>
            <ac:cxnSpMk id="22" creationId="{26EBC158-E975-4168-AC5B-B4628843C99A}"/>
          </ac:cxnSpMkLst>
        </pc:cxnChg>
        <pc:cxnChg chg="mod">
          <ac:chgData name="Mariam Daniela Tristancho Pineda (MISION TEMPORAL LTDA)" userId="a45a17f7-7950-4cb5-bfab-f5c894f959a9" providerId="ADAL" clId="{9D150B60-33B5-4A3E-8123-A67E35AA8D44}" dt="2020-07-26T17:24:23.877" v="7090" actId="1036"/>
          <ac:cxnSpMkLst>
            <pc:docMk/>
            <pc:sldMk cId="0" sldId="2134804320"/>
            <ac:cxnSpMk id="25" creationId="{FDC91C6F-A561-45AF-86D0-4609C217E128}"/>
          </ac:cxnSpMkLst>
        </pc:cxnChg>
        <pc:cxnChg chg="mod">
          <ac:chgData name="Mariam Daniela Tristancho Pineda (MISION TEMPORAL LTDA)" userId="a45a17f7-7950-4cb5-bfab-f5c894f959a9" providerId="ADAL" clId="{9D150B60-33B5-4A3E-8123-A67E35AA8D44}" dt="2020-07-26T17:24:23.877" v="7090" actId="1036"/>
          <ac:cxnSpMkLst>
            <pc:docMk/>
            <pc:sldMk cId="0" sldId="2134804320"/>
            <ac:cxnSpMk id="28" creationId="{39AF9238-6FC4-47E6-B44D-84977842905D}"/>
          </ac:cxnSpMkLst>
        </pc:cxnChg>
      </pc:sldChg>
      <pc:sldChg chg="modSp add mod ord">
        <pc:chgData name="Mariam Daniela Tristancho Pineda (MISION TEMPORAL LTDA)" userId="a45a17f7-7950-4cb5-bfab-f5c894f959a9" providerId="ADAL" clId="{9D150B60-33B5-4A3E-8123-A67E35AA8D44}" dt="2020-07-28T15:07:41.893" v="20052"/>
        <pc:sldMkLst>
          <pc:docMk/>
          <pc:sldMk cId="1900142549" sldId="2134804321"/>
        </pc:sldMkLst>
        <pc:spChg chg="mod">
          <ac:chgData name="Mariam Daniela Tristancho Pineda (MISION TEMPORAL LTDA)" userId="a45a17f7-7950-4cb5-bfab-f5c894f959a9" providerId="ADAL" clId="{9D150B60-33B5-4A3E-8123-A67E35AA8D44}" dt="2020-07-24T20:10:59.892" v="6335" actId="1036"/>
          <ac:spMkLst>
            <pc:docMk/>
            <pc:sldMk cId="1900142549" sldId="2134804321"/>
            <ac:spMk id="11" creationId="{D3244A71-5E34-4A8B-813D-221B8B37C1B0}"/>
          </ac:spMkLst>
        </pc:spChg>
        <pc:spChg chg="mod">
          <ac:chgData name="Mariam Daniela Tristancho Pineda (MISION TEMPORAL LTDA)" userId="a45a17f7-7950-4cb5-bfab-f5c894f959a9" providerId="ADAL" clId="{9D150B60-33B5-4A3E-8123-A67E35AA8D44}" dt="2020-07-24T20:10:59.892" v="6335" actId="1036"/>
          <ac:spMkLst>
            <pc:docMk/>
            <pc:sldMk cId="1900142549" sldId="2134804321"/>
            <ac:spMk id="12" creationId="{791EF7CB-590B-4238-AE33-56CEC8B97974}"/>
          </ac:spMkLst>
        </pc:spChg>
        <pc:spChg chg="mod">
          <ac:chgData name="Mariam Daniela Tristancho Pineda (MISION TEMPORAL LTDA)" userId="a45a17f7-7950-4cb5-bfab-f5c894f959a9" providerId="ADAL" clId="{9D150B60-33B5-4A3E-8123-A67E35AA8D44}" dt="2020-07-24T20:10:59.892" v="6335" actId="1036"/>
          <ac:spMkLst>
            <pc:docMk/>
            <pc:sldMk cId="1900142549" sldId="2134804321"/>
            <ac:spMk id="21" creationId="{FCFE65B7-3A35-4722-84A8-FEC6DADDBA49}"/>
          </ac:spMkLst>
        </pc:spChg>
        <pc:spChg chg="mod">
          <ac:chgData name="Mariam Daniela Tristancho Pineda (MISION TEMPORAL LTDA)" userId="a45a17f7-7950-4cb5-bfab-f5c894f959a9" providerId="ADAL" clId="{9D150B60-33B5-4A3E-8123-A67E35AA8D44}" dt="2020-07-24T20:10:59.892" v="6335" actId="1036"/>
          <ac:spMkLst>
            <pc:docMk/>
            <pc:sldMk cId="1900142549" sldId="2134804321"/>
            <ac:spMk id="23" creationId="{2090C287-4A91-45B9-8277-A5A2EF2B34A0}"/>
          </ac:spMkLst>
        </pc:spChg>
        <pc:spChg chg="mod">
          <ac:chgData name="Mariam Daniela Tristancho Pineda (MISION TEMPORAL LTDA)" userId="a45a17f7-7950-4cb5-bfab-f5c894f959a9" providerId="ADAL" clId="{9D150B60-33B5-4A3E-8123-A67E35AA8D44}" dt="2020-07-24T20:10:59.892" v="6335" actId="1036"/>
          <ac:spMkLst>
            <pc:docMk/>
            <pc:sldMk cId="1900142549" sldId="2134804321"/>
            <ac:spMk id="25" creationId="{8E78EDE9-40A1-48AE-9549-373B04A21BE1}"/>
          </ac:spMkLst>
        </pc:spChg>
        <pc:spChg chg="mod">
          <ac:chgData name="Mariam Daniela Tristancho Pineda (MISION TEMPORAL LTDA)" userId="a45a17f7-7950-4cb5-bfab-f5c894f959a9" providerId="ADAL" clId="{9D150B60-33B5-4A3E-8123-A67E35AA8D44}" dt="2020-07-24T20:10:59.892" v="6335" actId="1036"/>
          <ac:spMkLst>
            <pc:docMk/>
            <pc:sldMk cId="1900142549" sldId="2134804321"/>
            <ac:spMk id="26" creationId="{DDE70F6C-1ADB-475F-BE97-D0A8A27E8FE6}"/>
          </ac:spMkLst>
        </pc:spChg>
        <pc:spChg chg="mod">
          <ac:chgData name="Mariam Daniela Tristancho Pineda (MISION TEMPORAL LTDA)" userId="a45a17f7-7950-4cb5-bfab-f5c894f959a9" providerId="ADAL" clId="{9D150B60-33B5-4A3E-8123-A67E35AA8D44}" dt="2020-07-24T19:56:12.127" v="6000" actId="14100"/>
          <ac:spMkLst>
            <pc:docMk/>
            <pc:sldMk cId="1900142549" sldId="2134804321"/>
            <ac:spMk id="55" creationId="{71D2E868-A54D-4479-B446-29F9C50FDEA5}"/>
          </ac:spMkLst>
        </pc:spChg>
      </pc:sldChg>
      <pc:sldChg chg="modSp add mod ord">
        <pc:chgData name="Mariam Daniela Tristancho Pineda (MISION TEMPORAL LTDA)" userId="a45a17f7-7950-4cb5-bfab-f5c894f959a9" providerId="ADAL" clId="{9D150B60-33B5-4A3E-8123-A67E35AA8D44}" dt="2020-07-28T15:04:21.858" v="20018" actId="20577"/>
        <pc:sldMkLst>
          <pc:docMk/>
          <pc:sldMk cId="2351433242" sldId="2134804322"/>
        </pc:sldMkLst>
        <pc:spChg chg="mod">
          <ac:chgData name="Mariam Daniela Tristancho Pineda (MISION TEMPORAL LTDA)" userId="a45a17f7-7950-4cb5-bfab-f5c894f959a9" providerId="ADAL" clId="{9D150B60-33B5-4A3E-8123-A67E35AA8D44}" dt="2020-07-28T15:04:21.858" v="20018" actId="20577"/>
          <ac:spMkLst>
            <pc:docMk/>
            <pc:sldMk cId="2351433242" sldId="2134804322"/>
            <ac:spMk id="2" creationId="{6431BBCF-96E5-45A7-B7E5-D44090D06329}"/>
          </ac:spMkLst>
        </pc:spChg>
      </pc:sldChg>
      <pc:sldChg chg="addSp delSp modSp add mod ord">
        <pc:chgData name="Mariam Daniela Tristancho Pineda (MISION TEMPORAL LTDA)" userId="a45a17f7-7950-4cb5-bfab-f5c894f959a9" providerId="ADAL" clId="{9D150B60-33B5-4A3E-8123-A67E35AA8D44}" dt="2020-07-28T15:07:00.797" v="20040" actId="478"/>
        <pc:sldMkLst>
          <pc:docMk/>
          <pc:sldMk cId="237599856" sldId="2134804323"/>
        </pc:sldMkLst>
        <pc:spChg chg="mod">
          <ac:chgData name="Mariam Daniela Tristancho Pineda (MISION TEMPORAL LTDA)" userId="a45a17f7-7950-4cb5-bfab-f5c894f959a9" providerId="ADAL" clId="{9D150B60-33B5-4A3E-8123-A67E35AA8D44}" dt="2020-07-27T19:26:33.175" v="11593" actId="1038"/>
          <ac:spMkLst>
            <pc:docMk/>
            <pc:sldMk cId="237599856" sldId="2134804323"/>
            <ac:spMk id="3" creationId="{815B10B7-60B3-4C63-8431-70CC556387C9}"/>
          </ac:spMkLst>
        </pc:spChg>
        <pc:spChg chg="mod">
          <ac:chgData name="Mariam Daniela Tristancho Pineda (MISION TEMPORAL LTDA)" userId="a45a17f7-7950-4cb5-bfab-f5c894f959a9" providerId="ADAL" clId="{9D150B60-33B5-4A3E-8123-A67E35AA8D44}" dt="2020-07-27T19:26:33.175" v="11593" actId="1038"/>
          <ac:spMkLst>
            <pc:docMk/>
            <pc:sldMk cId="237599856" sldId="2134804323"/>
            <ac:spMk id="6" creationId="{7C2A44B1-15E0-4161-B44E-FC754DFB17D2}"/>
          </ac:spMkLst>
        </pc:spChg>
        <pc:spChg chg="add del mod">
          <ac:chgData name="Mariam Daniela Tristancho Pineda (MISION TEMPORAL LTDA)" userId="a45a17f7-7950-4cb5-bfab-f5c894f959a9" providerId="ADAL" clId="{9D150B60-33B5-4A3E-8123-A67E35AA8D44}" dt="2020-07-28T15:07:00.797" v="20040" actId="478"/>
          <ac:spMkLst>
            <pc:docMk/>
            <pc:sldMk cId="237599856" sldId="2134804323"/>
            <ac:spMk id="9" creationId="{FAC19C32-7F25-4FEE-AD34-9A9AEB16554C}"/>
          </ac:spMkLst>
        </pc:spChg>
        <pc:spChg chg="mod">
          <ac:chgData name="Mariam Daniela Tristancho Pineda (MISION TEMPORAL LTDA)" userId="a45a17f7-7950-4cb5-bfab-f5c894f959a9" providerId="ADAL" clId="{9D150B60-33B5-4A3E-8123-A67E35AA8D44}" dt="2020-07-27T19:26:33.175" v="11593" actId="1038"/>
          <ac:spMkLst>
            <pc:docMk/>
            <pc:sldMk cId="237599856" sldId="2134804323"/>
            <ac:spMk id="45" creationId="{FE8ED9F7-3608-4810-95FA-CCA357FF8DD5}"/>
          </ac:spMkLst>
        </pc:spChg>
        <pc:spChg chg="mod">
          <ac:chgData name="Mariam Daniela Tristancho Pineda (MISION TEMPORAL LTDA)" userId="a45a17f7-7950-4cb5-bfab-f5c894f959a9" providerId="ADAL" clId="{9D150B60-33B5-4A3E-8123-A67E35AA8D44}" dt="2020-07-24T20:12:33.909" v="6413" actId="20577"/>
          <ac:spMkLst>
            <pc:docMk/>
            <pc:sldMk cId="237599856" sldId="2134804323"/>
            <ac:spMk id="53" creationId="{F9C857D3-C5F6-4D00-8D9C-646D1DA60918}"/>
          </ac:spMkLst>
        </pc:spChg>
        <pc:spChg chg="mod">
          <ac:chgData name="Mariam Daniela Tristancho Pineda (MISION TEMPORAL LTDA)" userId="a45a17f7-7950-4cb5-bfab-f5c894f959a9" providerId="ADAL" clId="{9D150B60-33B5-4A3E-8123-A67E35AA8D44}" dt="2020-07-26T22:50:21.510" v="9246" actId="1035"/>
          <ac:spMkLst>
            <pc:docMk/>
            <pc:sldMk cId="237599856" sldId="2134804323"/>
            <ac:spMk id="54" creationId="{C38A9719-1AF0-4D7F-AF9E-714FBC133573}"/>
          </ac:spMkLst>
        </pc:spChg>
        <pc:spChg chg="mod">
          <ac:chgData name="Mariam Daniela Tristancho Pineda (MISION TEMPORAL LTDA)" userId="a45a17f7-7950-4cb5-bfab-f5c894f959a9" providerId="ADAL" clId="{9D150B60-33B5-4A3E-8123-A67E35AA8D44}" dt="2020-07-27T19:26:36.868" v="11596" actId="1038"/>
          <ac:spMkLst>
            <pc:docMk/>
            <pc:sldMk cId="237599856" sldId="2134804323"/>
            <ac:spMk id="63" creationId="{4796239E-3DA7-4967-9F6E-F099167EC836}"/>
          </ac:spMkLst>
        </pc:spChg>
        <pc:spChg chg="mod">
          <ac:chgData name="Mariam Daniela Tristancho Pineda (MISION TEMPORAL LTDA)" userId="a45a17f7-7950-4cb5-bfab-f5c894f959a9" providerId="ADAL" clId="{9D150B60-33B5-4A3E-8123-A67E35AA8D44}" dt="2020-07-27T19:26:36.868" v="11596" actId="1038"/>
          <ac:spMkLst>
            <pc:docMk/>
            <pc:sldMk cId="237599856" sldId="2134804323"/>
            <ac:spMk id="64" creationId="{F9F591DC-201B-4D02-9DF4-CBCB981EADB7}"/>
          </ac:spMkLst>
        </pc:spChg>
        <pc:spChg chg="mod">
          <ac:chgData name="Mariam Daniela Tristancho Pineda (MISION TEMPORAL LTDA)" userId="a45a17f7-7950-4cb5-bfab-f5c894f959a9" providerId="ADAL" clId="{9D150B60-33B5-4A3E-8123-A67E35AA8D44}" dt="2020-07-27T19:26:36.868" v="11596" actId="1038"/>
          <ac:spMkLst>
            <pc:docMk/>
            <pc:sldMk cId="237599856" sldId="2134804323"/>
            <ac:spMk id="65" creationId="{5A36F5CD-AEE3-490C-B6F2-EF1B7270AF1D}"/>
          </ac:spMkLst>
        </pc:spChg>
        <pc:spChg chg="mod">
          <ac:chgData name="Mariam Daniela Tristancho Pineda (MISION TEMPORAL LTDA)" userId="a45a17f7-7950-4cb5-bfab-f5c894f959a9" providerId="ADAL" clId="{9D150B60-33B5-4A3E-8123-A67E35AA8D44}" dt="2020-07-27T19:26:36.868" v="11596" actId="1038"/>
          <ac:spMkLst>
            <pc:docMk/>
            <pc:sldMk cId="237599856" sldId="2134804323"/>
            <ac:spMk id="66" creationId="{BA307E93-786D-4DBD-8CF1-E61FC7ABCE7E}"/>
          </ac:spMkLst>
        </pc:spChg>
        <pc:spChg chg="mod">
          <ac:chgData name="Mariam Daniela Tristancho Pineda (MISION TEMPORAL LTDA)" userId="a45a17f7-7950-4cb5-bfab-f5c894f959a9" providerId="ADAL" clId="{9D150B60-33B5-4A3E-8123-A67E35AA8D44}" dt="2020-07-27T19:26:33.175" v="11593" actId="1038"/>
          <ac:spMkLst>
            <pc:docMk/>
            <pc:sldMk cId="237599856" sldId="2134804323"/>
            <ac:spMk id="79" creationId="{3E0B78C6-ABEB-4B0B-882E-9C0544772F94}"/>
          </ac:spMkLst>
        </pc:spChg>
        <pc:spChg chg="mod">
          <ac:chgData name="Mariam Daniela Tristancho Pineda (MISION TEMPORAL LTDA)" userId="a45a17f7-7950-4cb5-bfab-f5c894f959a9" providerId="ADAL" clId="{9D150B60-33B5-4A3E-8123-A67E35AA8D44}" dt="2020-07-27T19:26:33.175" v="11593" actId="1038"/>
          <ac:spMkLst>
            <pc:docMk/>
            <pc:sldMk cId="237599856" sldId="2134804323"/>
            <ac:spMk id="81" creationId="{CD1A0964-34FB-4EA7-8C35-CE65C810D6AC}"/>
          </ac:spMkLst>
        </pc:spChg>
        <pc:spChg chg="mod">
          <ac:chgData name="Mariam Daniela Tristancho Pineda (MISION TEMPORAL LTDA)" userId="a45a17f7-7950-4cb5-bfab-f5c894f959a9" providerId="ADAL" clId="{9D150B60-33B5-4A3E-8123-A67E35AA8D44}" dt="2020-07-27T19:26:33.175" v="11593" actId="1038"/>
          <ac:spMkLst>
            <pc:docMk/>
            <pc:sldMk cId="237599856" sldId="2134804323"/>
            <ac:spMk id="82" creationId="{F356276F-95A8-4D9D-A3D9-51171A0292F7}"/>
          </ac:spMkLst>
        </pc:spChg>
        <pc:spChg chg="mod">
          <ac:chgData name="Mariam Daniela Tristancho Pineda (MISION TEMPORAL LTDA)" userId="a45a17f7-7950-4cb5-bfab-f5c894f959a9" providerId="ADAL" clId="{9D150B60-33B5-4A3E-8123-A67E35AA8D44}" dt="2020-07-27T19:26:33.175" v="11593" actId="1038"/>
          <ac:spMkLst>
            <pc:docMk/>
            <pc:sldMk cId="237599856" sldId="2134804323"/>
            <ac:spMk id="83" creationId="{9CF15579-D302-4765-9A3D-59D9D3268728}"/>
          </ac:spMkLst>
        </pc:spChg>
        <pc:spChg chg="mod">
          <ac:chgData name="Mariam Daniela Tristancho Pineda (MISION TEMPORAL LTDA)" userId="a45a17f7-7950-4cb5-bfab-f5c894f959a9" providerId="ADAL" clId="{9D150B60-33B5-4A3E-8123-A67E35AA8D44}" dt="2020-07-27T19:26:36.868" v="11596" actId="1038"/>
          <ac:spMkLst>
            <pc:docMk/>
            <pc:sldMk cId="237599856" sldId="2134804323"/>
            <ac:spMk id="87" creationId="{4F692C59-8D2F-4FFE-830F-BFEDC83BCE04}"/>
          </ac:spMkLst>
        </pc:spChg>
        <pc:spChg chg="mod">
          <ac:chgData name="Mariam Daniela Tristancho Pineda (MISION TEMPORAL LTDA)" userId="a45a17f7-7950-4cb5-bfab-f5c894f959a9" providerId="ADAL" clId="{9D150B60-33B5-4A3E-8123-A67E35AA8D44}" dt="2020-07-27T19:26:33.175" v="11593" actId="1038"/>
          <ac:spMkLst>
            <pc:docMk/>
            <pc:sldMk cId="237599856" sldId="2134804323"/>
            <ac:spMk id="93" creationId="{B1148C48-4923-4588-8501-96393458387E}"/>
          </ac:spMkLst>
        </pc:spChg>
        <pc:spChg chg="mod">
          <ac:chgData name="Mariam Daniela Tristancho Pineda (MISION TEMPORAL LTDA)" userId="a45a17f7-7950-4cb5-bfab-f5c894f959a9" providerId="ADAL" clId="{9D150B60-33B5-4A3E-8123-A67E35AA8D44}" dt="2020-07-27T19:26:33.175" v="11593" actId="1038"/>
          <ac:spMkLst>
            <pc:docMk/>
            <pc:sldMk cId="237599856" sldId="2134804323"/>
            <ac:spMk id="96" creationId="{829F7E72-DAD7-40B9-8C11-1089E367CAD9}"/>
          </ac:spMkLst>
        </pc:spChg>
        <pc:spChg chg="mod">
          <ac:chgData name="Mariam Daniela Tristancho Pineda (MISION TEMPORAL LTDA)" userId="a45a17f7-7950-4cb5-bfab-f5c894f959a9" providerId="ADAL" clId="{9D150B60-33B5-4A3E-8123-A67E35AA8D44}" dt="2020-07-27T19:26:33.175" v="11593" actId="1038"/>
          <ac:spMkLst>
            <pc:docMk/>
            <pc:sldMk cId="237599856" sldId="2134804323"/>
            <ac:spMk id="97" creationId="{99300021-C267-43BD-A0F5-B3ECE622345E}"/>
          </ac:spMkLst>
        </pc:spChg>
        <pc:spChg chg="mod">
          <ac:chgData name="Mariam Daniela Tristancho Pineda (MISION TEMPORAL LTDA)" userId="a45a17f7-7950-4cb5-bfab-f5c894f959a9" providerId="ADAL" clId="{9D150B60-33B5-4A3E-8123-A67E35AA8D44}" dt="2020-07-27T19:26:33.175" v="11593" actId="1038"/>
          <ac:spMkLst>
            <pc:docMk/>
            <pc:sldMk cId="237599856" sldId="2134804323"/>
            <ac:spMk id="98" creationId="{FAA5344A-03ED-4377-83F9-54D8886FB3FE}"/>
          </ac:spMkLst>
        </pc:spChg>
        <pc:spChg chg="mod">
          <ac:chgData name="Mariam Daniela Tristancho Pineda (MISION TEMPORAL LTDA)" userId="a45a17f7-7950-4cb5-bfab-f5c894f959a9" providerId="ADAL" clId="{9D150B60-33B5-4A3E-8123-A67E35AA8D44}" dt="2020-07-27T19:26:33.175" v="11593" actId="1038"/>
          <ac:spMkLst>
            <pc:docMk/>
            <pc:sldMk cId="237599856" sldId="2134804323"/>
            <ac:spMk id="99" creationId="{90CC82AC-D82E-4F89-AC67-093894759099}"/>
          </ac:spMkLst>
        </pc:spChg>
        <pc:spChg chg="mod">
          <ac:chgData name="Mariam Daniela Tristancho Pineda (MISION TEMPORAL LTDA)" userId="a45a17f7-7950-4cb5-bfab-f5c894f959a9" providerId="ADAL" clId="{9D150B60-33B5-4A3E-8123-A67E35AA8D44}" dt="2020-07-27T19:26:33.175" v="11593" actId="1038"/>
          <ac:spMkLst>
            <pc:docMk/>
            <pc:sldMk cId="237599856" sldId="2134804323"/>
            <ac:spMk id="100" creationId="{1835F856-5B59-4AFF-86DE-2F0968B76CF7}"/>
          </ac:spMkLst>
        </pc:spChg>
        <pc:spChg chg="mod">
          <ac:chgData name="Mariam Daniela Tristancho Pineda (MISION TEMPORAL LTDA)" userId="a45a17f7-7950-4cb5-bfab-f5c894f959a9" providerId="ADAL" clId="{9D150B60-33B5-4A3E-8123-A67E35AA8D44}" dt="2020-07-27T19:26:33.175" v="11593" actId="1038"/>
          <ac:spMkLst>
            <pc:docMk/>
            <pc:sldMk cId="237599856" sldId="2134804323"/>
            <ac:spMk id="101" creationId="{49D67282-150B-4946-8141-C97F6E42DE54}"/>
          </ac:spMkLst>
        </pc:spChg>
        <pc:spChg chg="mod">
          <ac:chgData name="Mariam Daniela Tristancho Pineda (MISION TEMPORAL LTDA)" userId="a45a17f7-7950-4cb5-bfab-f5c894f959a9" providerId="ADAL" clId="{9D150B60-33B5-4A3E-8123-A67E35AA8D44}" dt="2020-07-27T19:26:33.175" v="11593" actId="1038"/>
          <ac:spMkLst>
            <pc:docMk/>
            <pc:sldMk cId="237599856" sldId="2134804323"/>
            <ac:spMk id="102" creationId="{101F3273-AA10-47F1-9872-07AD50130DF5}"/>
          </ac:spMkLst>
        </pc:spChg>
        <pc:spChg chg="mod">
          <ac:chgData name="Mariam Daniela Tristancho Pineda (MISION TEMPORAL LTDA)" userId="a45a17f7-7950-4cb5-bfab-f5c894f959a9" providerId="ADAL" clId="{9D150B60-33B5-4A3E-8123-A67E35AA8D44}" dt="2020-07-27T19:26:33.175" v="11593" actId="1038"/>
          <ac:spMkLst>
            <pc:docMk/>
            <pc:sldMk cId="237599856" sldId="2134804323"/>
            <ac:spMk id="103" creationId="{BDBCDC72-F935-45A4-AE31-C045019965AF}"/>
          </ac:spMkLst>
        </pc:spChg>
        <pc:spChg chg="mod">
          <ac:chgData name="Mariam Daniela Tristancho Pineda (MISION TEMPORAL LTDA)" userId="a45a17f7-7950-4cb5-bfab-f5c894f959a9" providerId="ADAL" clId="{9D150B60-33B5-4A3E-8123-A67E35AA8D44}" dt="2020-07-27T19:26:33.175" v="11593" actId="1038"/>
          <ac:spMkLst>
            <pc:docMk/>
            <pc:sldMk cId="237599856" sldId="2134804323"/>
            <ac:spMk id="104" creationId="{0326A105-08B6-409E-9596-07BD7645DEAE}"/>
          </ac:spMkLst>
        </pc:spChg>
        <pc:spChg chg="mod">
          <ac:chgData name="Mariam Daniela Tristancho Pineda (MISION TEMPORAL LTDA)" userId="a45a17f7-7950-4cb5-bfab-f5c894f959a9" providerId="ADAL" clId="{9D150B60-33B5-4A3E-8123-A67E35AA8D44}" dt="2020-07-27T19:26:33.175" v="11593" actId="1038"/>
          <ac:spMkLst>
            <pc:docMk/>
            <pc:sldMk cId="237599856" sldId="2134804323"/>
            <ac:spMk id="105" creationId="{DC633C75-4D21-4E37-ABEB-B69D06C0A224}"/>
          </ac:spMkLst>
        </pc:spChg>
        <pc:spChg chg="mod">
          <ac:chgData name="Mariam Daniela Tristancho Pineda (MISION TEMPORAL LTDA)" userId="a45a17f7-7950-4cb5-bfab-f5c894f959a9" providerId="ADAL" clId="{9D150B60-33B5-4A3E-8123-A67E35AA8D44}" dt="2020-07-27T19:26:33.175" v="11593" actId="1038"/>
          <ac:spMkLst>
            <pc:docMk/>
            <pc:sldMk cId="237599856" sldId="2134804323"/>
            <ac:spMk id="106" creationId="{8BF155F6-9EE4-4410-BB22-DEE4B18E9FEF}"/>
          </ac:spMkLst>
        </pc:spChg>
        <pc:spChg chg="mod">
          <ac:chgData name="Mariam Daniela Tristancho Pineda (MISION TEMPORAL LTDA)" userId="a45a17f7-7950-4cb5-bfab-f5c894f959a9" providerId="ADAL" clId="{9D150B60-33B5-4A3E-8123-A67E35AA8D44}" dt="2020-07-27T19:26:33.175" v="11593" actId="1038"/>
          <ac:spMkLst>
            <pc:docMk/>
            <pc:sldMk cId="237599856" sldId="2134804323"/>
            <ac:spMk id="107" creationId="{4802A65C-C4BA-49C6-A107-DC404BE5C336}"/>
          </ac:spMkLst>
        </pc:spChg>
        <pc:spChg chg="mod">
          <ac:chgData name="Mariam Daniela Tristancho Pineda (MISION TEMPORAL LTDA)" userId="a45a17f7-7950-4cb5-bfab-f5c894f959a9" providerId="ADAL" clId="{9D150B60-33B5-4A3E-8123-A67E35AA8D44}" dt="2020-07-27T19:26:33.175" v="11593" actId="1038"/>
          <ac:spMkLst>
            <pc:docMk/>
            <pc:sldMk cId="237599856" sldId="2134804323"/>
            <ac:spMk id="108" creationId="{E7417F2C-4445-4433-AA31-1B1D9A1C89B3}"/>
          </ac:spMkLst>
        </pc:spChg>
        <pc:spChg chg="mod">
          <ac:chgData name="Mariam Daniela Tristancho Pineda (MISION TEMPORAL LTDA)" userId="a45a17f7-7950-4cb5-bfab-f5c894f959a9" providerId="ADAL" clId="{9D150B60-33B5-4A3E-8123-A67E35AA8D44}" dt="2020-07-27T19:26:36.868" v="11596" actId="1038"/>
          <ac:spMkLst>
            <pc:docMk/>
            <pc:sldMk cId="237599856" sldId="2134804323"/>
            <ac:spMk id="109" creationId="{E32505D0-F6B1-4BAC-8C30-CBB276E7E2F6}"/>
          </ac:spMkLst>
        </pc:spChg>
        <pc:spChg chg="mod">
          <ac:chgData name="Mariam Daniela Tristancho Pineda (MISION TEMPORAL LTDA)" userId="a45a17f7-7950-4cb5-bfab-f5c894f959a9" providerId="ADAL" clId="{9D150B60-33B5-4A3E-8123-A67E35AA8D44}" dt="2020-07-27T19:26:36.868" v="11596" actId="1038"/>
          <ac:spMkLst>
            <pc:docMk/>
            <pc:sldMk cId="237599856" sldId="2134804323"/>
            <ac:spMk id="110" creationId="{C4BDDB09-A082-47BC-A695-67536065B8D3}"/>
          </ac:spMkLst>
        </pc:spChg>
        <pc:spChg chg="mod">
          <ac:chgData name="Mariam Daniela Tristancho Pineda (MISION TEMPORAL LTDA)" userId="a45a17f7-7950-4cb5-bfab-f5c894f959a9" providerId="ADAL" clId="{9D150B60-33B5-4A3E-8123-A67E35AA8D44}" dt="2020-07-27T19:26:36.868" v="11596" actId="1038"/>
          <ac:spMkLst>
            <pc:docMk/>
            <pc:sldMk cId="237599856" sldId="2134804323"/>
            <ac:spMk id="111" creationId="{32D80E2C-FD8D-4E1E-94A9-A7F6D2EBD411}"/>
          </ac:spMkLst>
        </pc:spChg>
        <pc:grpChg chg="mod">
          <ac:chgData name="Mariam Daniela Tristancho Pineda (MISION TEMPORAL LTDA)" userId="a45a17f7-7950-4cb5-bfab-f5c894f959a9" providerId="ADAL" clId="{9D150B60-33B5-4A3E-8123-A67E35AA8D44}" dt="2020-07-27T19:26:36.868" v="11596" actId="1038"/>
          <ac:grpSpMkLst>
            <pc:docMk/>
            <pc:sldMk cId="237599856" sldId="2134804323"/>
            <ac:grpSpMk id="8" creationId="{3789B696-87EB-4468-8579-5D6FCB42CE02}"/>
          </ac:grpSpMkLst>
        </pc:grpChg>
      </pc:sldChg>
      <pc:sldChg chg="addSp modSp add del mod">
        <pc:chgData name="Mariam Daniela Tristancho Pineda (MISION TEMPORAL LTDA)" userId="a45a17f7-7950-4cb5-bfab-f5c894f959a9" providerId="ADAL" clId="{9D150B60-33B5-4A3E-8123-A67E35AA8D44}" dt="2020-07-26T22:50:13.501" v="9241" actId="47"/>
        <pc:sldMkLst>
          <pc:docMk/>
          <pc:sldMk cId="2461600132" sldId="2134804324"/>
        </pc:sldMkLst>
        <pc:spChg chg="add mod">
          <ac:chgData name="Mariam Daniela Tristancho Pineda (MISION TEMPORAL LTDA)" userId="a45a17f7-7950-4cb5-bfab-f5c894f959a9" providerId="ADAL" clId="{9D150B60-33B5-4A3E-8123-A67E35AA8D44}" dt="2020-07-24T19:59:18.813" v="6129" actId="1076"/>
          <ac:spMkLst>
            <pc:docMk/>
            <pc:sldMk cId="2461600132" sldId="2134804324"/>
            <ac:spMk id="3" creationId="{9244F1BE-EB60-4BDA-A8E7-8D01DE0F3CB6}"/>
          </ac:spMkLst>
        </pc:spChg>
      </pc:sldChg>
      <pc:sldChg chg="addSp modSp add del mod">
        <pc:chgData name="Mariam Daniela Tristancho Pineda (MISION TEMPORAL LTDA)" userId="a45a17f7-7950-4cb5-bfab-f5c894f959a9" providerId="ADAL" clId="{9D150B60-33B5-4A3E-8123-A67E35AA8D44}" dt="2020-07-27T19:27:59.939" v="11600" actId="47"/>
        <pc:sldMkLst>
          <pc:docMk/>
          <pc:sldMk cId="2542659491" sldId="2134804325"/>
        </pc:sldMkLst>
        <pc:spChg chg="add mod">
          <ac:chgData name="Mariam Daniela Tristancho Pineda (MISION TEMPORAL LTDA)" userId="a45a17f7-7950-4cb5-bfab-f5c894f959a9" providerId="ADAL" clId="{9D150B60-33B5-4A3E-8123-A67E35AA8D44}" dt="2020-07-24T20:29:36.571" v="6533" actId="1035"/>
          <ac:spMkLst>
            <pc:docMk/>
            <pc:sldMk cId="2542659491" sldId="2134804325"/>
            <ac:spMk id="3" creationId="{93180580-A902-4CF1-B0DD-998AB2B1B68A}"/>
          </ac:spMkLst>
        </pc:spChg>
        <pc:spChg chg="mod">
          <ac:chgData name="Mariam Daniela Tristancho Pineda (MISION TEMPORAL LTDA)" userId="a45a17f7-7950-4cb5-bfab-f5c894f959a9" providerId="ADAL" clId="{9D150B60-33B5-4A3E-8123-A67E35AA8D44}" dt="2020-07-26T22:50:41.164" v="9250" actId="20577"/>
          <ac:spMkLst>
            <pc:docMk/>
            <pc:sldMk cId="2542659491" sldId="2134804325"/>
            <ac:spMk id="4" creationId="{C47780CB-210E-480D-AF15-355BDC7F6E93}"/>
          </ac:spMkLst>
        </pc:spChg>
        <pc:spChg chg="mod">
          <ac:chgData name="Mariam Daniela Tristancho Pineda (MISION TEMPORAL LTDA)" userId="a45a17f7-7950-4cb5-bfab-f5c894f959a9" providerId="ADAL" clId="{9D150B60-33B5-4A3E-8123-A67E35AA8D44}" dt="2020-07-24T20:13:13.708" v="6439" actId="1037"/>
          <ac:spMkLst>
            <pc:docMk/>
            <pc:sldMk cId="2542659491" sldId="2134804325"/>
            <ac:spMk id="5" creationId="{60144380-CBE4-4263-86E5-F4A7E5CEC0BB}"/>
          </ac:spMkLst>
        </pc:spChg>
        <pc:spChg chg="mod">
          <ac:chgData name="Mariam Daniela Tristancho Pineda (MISION TEMPORAL LTDA)" userId="a45a17f7-7950-4cb5-bfab-f5c894f959a9" providerId="ADAL" clId="{9D150B60-33B5-4A3E-8123-A67E35AA8D44}" dt="2020-07-24T20:29:39.858" v="6536" actId="1035"/>
          <ac:spMkLst>
            <pc:docMk/>
            <pc:sldMk cId="2542659491" sldId="2134804325"/>
            <ac:spMk id="7" creationId="{49F21896-A687-4F29-8499-091C5F1FE377}"/>
          </ac:spMkLst>
        </pc:spChg>
        <pc:spChg chg="add mod">
          <ac:chgData name="Mariam Daniela Tristancho Pineda (MISION TEMPORAL LTDA)" userId="a45a17f7-7950-4cb5-bfab-f5c894f959a9" providerId="ADAL" clId="{9D150B60-33B5-4A3E-8123-A67E35AA8D44}" dt="2020-07-24T20:28:21.501" v="6518" actId="108"/>
          <ac:spMkLst>
            <pc:docMk/>
            <pc:sldMk cId="2542659491" sldId="2134804325"/>
            <ac:spMk id="9" creationId="{FB8A692F-1CB8-4202-A06A-17197631DDA3}"/>
          </ac:spMkLst>
        </pc:spChg>
        <pc:spChg chg="add mod">
          <ac:chgData name="Mariam Daniela Tristancho Pineda (MISION TEMPORAL LTDA)" userId="a45a17f7-7950-4cb5-bfab-f5c894f959a9" providerId="ADAL" clId="{9D150B60-33B5-4A3E-8123-A67E35AA8D44}" dt="2020-07-24T20:26:16.850" v="6469" actId="14100"/>
          <ac:spMkLst>
            <pc:docMk/>
            <pc:sldMk cId="2542659491" sldId="2134804325"/>
            <ac:spMk id="11" creationId="{D414658E-6AD2-4173-AACD-FFB8C5F8FD95}"/>
          </ac:spMkLst>
        </pc:spChg>
        <pc:spChg chg="add mod">
          <ac:chgData name="Mariam Daniela Tristancho Pineda (MISION TEMPORAL LTDA)" userId="a45a17f7-7950-4cb5-bfab-f5c894f959a9" providerId="ADAL" clId="{9D150B60-33B5-4A3E-8123-A67E35AA8D44}" dt="2020-07-24T20:29:54.360" v="6557" actId="1076"/>
          <ac:spMkLst>
            <pc:docMk/>
            <pc:sldMk cId="2542659491" sldId="2134804325"/>
            <ac:spMk id="14" creationId="{E2BBC100-A3E5-49DA-85DA-FD959C42EB27}"/>
          </ac:spMkLst>
        </pc:spChg>
        <pc:grpChg chg="mod">
          <ac:chgData name="Mariam Daniela Tristancho Pineda (MISION TEMPORAL LTDA)" userId="a45a17f7-7950-4cb5-bfab-f5c894f959a9" providerId="ADAL" clId="{9D150B60-33B5-4A3E-8123-A67E35AA8D44}" dt="2020-07-24T20:26:16.850" v="6469" actId="14100"/>
          <ac:grpSpMkLst>
            <pc:docMk/>
            <pc:sldMk cId="2542659491" sldId="2134804325"/>
            <ac:grpSpMk id="12" creationId="{97A64B71-2068-4384-8243-F4ED1BE3BD64}"/>
          </ac:grpSpMkLst>
        </pc:grpChg>
        <pc:grpChg chg="mod">
          <ac:chgData name="Mariam Daniela Tristancho Pineda (MISION TEMPORAL LTDA)" userId="a45a17f7-7950-4cb5-bfab-f5c894f959a9" providerId="ADAL" clId="{9D150B60-33B5-4A3E-8123-A67E35AA8D44}" dt="2020-07-24T20:26:33.217" v="6499" actId="1076"/>
          <ac:grpSpMkLst>
            <pc:docMk/>
            <pc:sldMk cId="2542659491" sldId="2134804325"/>
            <ac:grpSpMk id="13" creationId="{A8D5E88D-0623-41AE-9881-9D4BA0197AEA}"/>
          </ac:grpSpMkLst>
        </pc:grpChg>
        <pc:grpChg chg="mod">
          <ac:chgData name="Mariam Daniela Tristancho Pineda (MISION TEMPORAL LTDA)" userId="a45a17f7-7950-4cb5-bfab-f5c894f959a9" providerId="ADAL" clId="{9D150B60-33B5-4A3E-8123-A67E35AA8D44}" dt="2020-07-24T20:26:46.433" v="6502" actId="14100"/>
          <ac:grpSpMkLst>
            <pc:docMk/>
            <pc:sldMk cId="2542659491" sldId="2134804325"/>
            <ac:grpSpMk id="16" creationId="{0B2E59AD-3929-43C2-8F9D-A17671E2843E}"/>
          </ac:grpSpMkLst>
        </pc:grpChg>
        <pc:picChg chg="mod">
          <ac:chgData name="Mariam Daniela Tristancho Pineda (MISION TEMPORAL LTDA)" userId="a45a17f7-7950-4cb5-bfab-f5c894f959a9" providerId="ADAL" clId="{9D150B60-33B5-4A3E-8123-A67E35AA8D44}" dt="2020-07-24T20:26:38.512" v="6500" actId="1076"/>
          <ac:picMkLst>
            <pc:docMk/>
            <pc:sldMk cId="2542659491" sldId="2134804325"/>
            <ac:picMk id="21" creationId="{802D394E-E061-44FF-8816-DDC7B1B331B1}"/>
          </ac:picMkLst>
        </pc:picChg>
      </pc:sldChg>
      <pc:sldChg chg="addSp delSp modSp add mod ord">
        <pc:chgData name="Mariam Daniela Tristancho Pineda (MISION TEMPORAL LTDA)" userId="a45a17f7-7950-4cb5-bfab-f5c894f959a9" providerId="ADAL" clId="{9D150B60-33B5-4A3E-8123-A67E35AA8D44}" dt="2020-07-28T15:06:41.870" v="20037"/>
        <pc:sldMkLst>
          <pc:docMk/>
          <pc:sldMk cId="2408337444" sldId="2134804326"/>
        </pc:sldMkLst>
        <pc:spChg chg="mod">
          <ac:chgData name="Mariam Daniela Tristancho Pineda (MISION TEMPORAL LTDA)" userId="a45a17f7-7950-4cb5-bfab-f5c894f959a9" providerId="ADAL" clId="{9D150B60-33B5-4A3E-8123-A67E35AA8D44}" dt="2020-07-26T22:41:41.983" v="9104" actId="1076"/>
          <ac:spMkLst>
            <pc:docMk/>
            <pc:sldMk cId="2408337444" sldId="2134804326"/>
            <ac:spMk id="3" creationId="{31514E04-D9F2-4C9D-BB7C-0BB641AFCD5E}"/>
          </ac:spMkLst>
        </pc:spChg>
        <pc:spChg chg="mod">
          <ac:chgData name="Mariam Daniela Tristancho Pineda (MISION TEMPORAL LTDA)" userId="a45a17f7-7950-4cb5-bfab-f5c894f959a9" providerId="ADAL" clId="{9D150B60-33B5-4A3E-8123-A67E35AA8D44}" dt="2020-07-26T22:40:47.153" v="9051" actId="13926"/>
          <ac:spMkLst>
            <pc:docMk/>
            <pc:sldMk cId="2408337444" sldId="2134804326"/>
            <ac:spMk id="4" creationId="{9B0CE30D-625A-4CD9-98D4-3AF33243D194}"/>
          </ac:spMkLst>
        </pc:spChg>
        <pc:spChg chg="add del mod">
          <ac:chgData name="Mariam Daniela Tristancho Pineda (MISION TEMPORAL LTDA)" userId="a45a17f7-7950-4cb5-bfab-f5c894f959a9" providerId="ADAL" clId="{9D150B60-33B5-4A3E-8123-A67E35AA8D44}" dt="2020-07-26T22:40:52.207" v="9053" actId="478"/>
          <ac:spMkLst>
            <pc:docMk/>
            <pc:sldMk cId="2408337444" sldId="2134804326"/>
            <ac:spMk id="6" creationId="{D2EDED2C-23BD-4BE9-9D70-FEEB4B39AC14}"/>
          </ac:spMkLst>
        </pc:spChg>
        <pc:spChg chg="add mod">
          <ac:chgData name="Mariam Daniela Tristancho Pineda (MISION TEMPORAL LTDA)" userId="a45a17f7-7950-4cb5-bfab-f5c894f959a9" providerId="ADAL" clId="{9D150B60-33B5-4A3E-8123-A67E35AA8D44}" dt="2020-07-26T22:45:06.959" v="9127" actId="1076"/>
          <ac:spMkLst>
            <pc:docMk/>
            <pc:sldMk cId="2408337444" sldId="2134804326"/>
            <ac:spMk id="8" creationId="{B46B11CB-ECE9-4DC1-8D5A-3D4191E846CB}"/>
          </ac:spMkLst>
        </pc:spChg>
        <pc:spChg chg="add mod">
          <ac:chgData name="Mariam Daniela Tristancho Pineda (MISION TEMPORAL LTDA)" userId="a45a17f7-7950-4cb5-bfab-f5c894f959a9" providerId="ADAL" clId="{9D150B60-33B5-4A3E-8123-A67E35AA8D44}" dt="2020-07-26T22:45:06.959" v="9127" actId="1076"/>
          <ac:spMkLst>
            <pc:docMk/>
            <pc:sldMk cId="2408337444" sldId="2134804326"/>
            <ac:spMk id="9" creationId="{8108DFDE-B635-4D5C-BEB3-6C6B91F33414}"/>
          </ac:spMkLst>
        </pc:spChg>
        <pc:spChg chg="add mod">
          <ac:chgData name="Mariam Daniela Tristancho Pineda (MISION TEMPORAL LTDA)" userId="a45a17f7-7950-4cb5-bfab-f5c894f959a9" providerId="ADAL" clId="{9D150B60-33B5-4A3E-8123-A67E35AA8D44}" dt="2020-07-26T22:49:41.006" v="9169" actId="1076"/>
          <ac:spMkLst>
            <pc:docMk/>
            <pc:sldMk cId="2408337444" sldId="2134804326"/>
            <ac:spMk id="11" creationId="{C00D8317-CDBE-463E-BBC1-98FBC7DF74D6}"/>
          </ac:spMkLst>
        </pc:spChg>
        <pc:spChg chg="add mod">
          <ac:chgData name="Mariam Daniela Tristancho Pineda (MISION TEMPORAL LTDA)" userId="a45a17f7-7950-4cb5-bfab-f5c894f959a9" providerId="ADAL" clId="{9D150B60-33B5-4A3E-8123-A67E35AA8D44}" dt="2020-07-26T22:49:41.006" v="9169" actId="1076"/>
          <ac:spMkLst>
            <pc:docMk/>
            <pc:sldMk cId="2408337444" sldId="2134804326"/>
            <ac:spMk id="13" creationId="{C9BF5F0A-B4B2-496C-A56A-E128A1D82393}"/>
          </ac:spMkLst>
        </pc:spChg>
        <pc:spChg chg="add mod">
          <ac:chgData name="Mariam Daniela Tristancho Pineda (MISION TEMPORAL LTDA)" userId="a45a17f7-7950-4cb5-bfab-f5c894f959a9" providerId="ADAL" clId="{9D150B60-33B5-4A3E-8123-A67E35AA8D44}" dt="2020-07-26T22:49:00.426" v="9168" actId="12789"/>
          <ac:spMkLst>
            <pc:docMk/>
            <pc:sldMk cId="2408337444" sldId="2134804326"/>
            <ac:spMk id="14" creationId="{EF03CAF6-DF53-4F57-8A93-EC5A4AD2CF09}"/>
          </ac:spMkLst>
        </pc:spChg>
        <pc:spChg chg="add mod">
          <ac:chgData name="Mariam Daniela Tristancho Pineda (MISION TEMPORAL LTDA)" userId="a45a17f7-7950-4cb5-bfab-f5c894f959a9" providerId="ADAL" clId="{9D150B60-33B5-4A3E-8123-A67E35AA8D44}" dt="2020-07-26T22:50:11.565" v="9240" actId="1076"/>
          <ac:spMkLst>
            <pc:docMk/>
            <pc:sldMk cId="2408337444" sldId="2134804326"/>
            <ac:spMk id="15" creationId="{2A6E3A58-0C9F-484B-9BBC-E5AE156B83E3}"/>
          </ac:spMkLst>
        </pc:spChg>
        <pc:spChg chg="mod">
          <ac:chgData name="Mariam Daniela Tristancho Pineda (MISION TEMPORAL LTDA)" userId="a45a17f7-7950-4cb5-bfab-f5c894f959a9" providerId="ADAL" clId="{9D150B60-33B5-4A3E-8123-A67E35AA8D44}" dt="2020-07-26T22:40:36.847" v="9050" actId="20577"/>
          <ac:spMkLst>
            <pc:docMk/>
            <pc:sldMk cId="2408337444" sldId="2134804326"/>
            <ac:spMk id="20" creationId="{92C8D133-E6D8-4045-B204-E026C5621093}"/>
          </ac:spMkLst>
        </pc:spChg>
        <pc:spChg chg="add del mod">
          <ac:chgData name="Mariam Daniela Tristancho Pineda (MISION TEMPORAL LTDA)" userId="a45a17f7-7950-4cb5-bfab-f5c894f959a9" providerId="ADAL" clId="{9D150B60-33B5-4A3E-8123-A67E35AA8D44}" dt="2020-07-26T22:46:55.714" v="9151" actId="13926"/>
          <ac:spMkLst>
            <pc:docMk/>
            <pc:sldMk cId="2408337444" sldId="2134804326"/>
            <ac:spMk id="33" creationId="{257A51C8-EB6E-4CAA-8ED7-3E4E7C0B3A8A}"/>
          </ac:spMkLst>
        </pc:spChg>
        <pc:spChg chg="mod">
          <ac:chgData name="Mariam Daniela Tristancho Pineda (MISION TEMPORAL LTDA)" userId="a45a17f7-7950-4cb5-bfab-f5c894f959a9" providerId="ADAL" clId="{9D150B60-33B5-4A3E-8123-A67E35AA8D44}" dt="2020-07-26T22:41:50.864" v="9108" actId="20577"/>
          <ac:spMkLst>
            <pc:docMk/>
            <pc:sldMk cId="2408337444" sldId="2134804326"/>
            <ac:spMk id="36" creationId="{25CCB3F9-8A57-42B5-B0AC-56F5E0EDACF5}"/>
          </ac:spMkLst>
        </pc:spChg>
        <pc:spChg chg="mod">
          <ac:chgData name="Mariam Daniela Tristancho Pineda (MISION TEMPORAL LTDA)" userId="a45a17f7-7950-4cb5-bfab-f5c894f959a9" providerId="ADAL" clId="{9D150B60-33B5-4A3E-8123-A67E35AA8D44}" dt="2020-07-26T22:41:52.938" v="9110" actId="20577"/>
          <ac:spMkLst>
            <pc:docMk/>
            <pc:sldMk cId="2408337444" sldId="2134804326"/>
            <ac:spMk id="38" creationId="{3552541D-17C8-4822-9A1D-90A0C0B5AD8E}"/>
          </ac:spMkLst>
        </pc:spChg>
        <pc:spChg chg="mod">
          <ac:chgData name="Mariam Daniela Tristancho Pineda (MISION TEMPORAL LTDA)" userId="a45a17f7-7950-4cb5-bfab-f5c894f959a9" providerId="ADAL" clId="{9D150B60-33B5-4A3E-8123-A67E35AA8D44}" dt="2020-07-26T22:49:00.426" v="9168" actId="12789"/>
          <ac:spMkLst>
            <pc:docMk/>
            <pc:sldMk cId="2408337444" sldId="2134804326"/>
            <ac:spMk id="40" creationId="{25EFF114-9C03-4A67-908C-727B85061D72}"/>
          </ac:spMkLst>
        </pc:spChg>
        <pc:spChg chg="mod">
          <ac:chgData name="Mariam Daniela Tristancho Pineda (MISION TEMPORAL LTDA)" userId="a45a17f7-7950-4cb5-bfab-f5c894f959a9" providerId="ADAL" clId="{9D150B60-33B5-4A3E-8123-A67E35AA8D44}" dt="2020-07-26T22:42:15.306" v="9117" actId="20577"/>
          <ac:spMkLst>
            <pc:docMk/>
            <pc:sldMk cId="2408337444" sldId="2134804326"/>
            <ac:spMk id="41" creationId="{F04142FF-DA42-4442-8692-4F397E7AEFE4}"/>
          </ac:spMkLst>
        </pc:spChg>
        <pc:spChg chg="mod">
          <ac:chgData name="Mariam Daniela Tristancho Pineda (MISION TEMPORAL LTDA)" userId="a45a17f7-7950-4cb5-bfab-f5c894f959a9" providerId="ADAL" clId="{9D150B60-33B5-4A3E-8123-A67E35AA8D44}" dt="2020-07-26T22:46:55.714" v="9151" actId="13926"/>
          <ac:spMkLst>
            <pc:docMk/>
            <pc:sldMk cId="2408337444" sldId="2134804326"/>
            <ac:spMk id="44" creationId="{4B1A9C8A-FFC0-483B-B825-ED5EF0C388A9}"/>
          </ac:spMkLst>
        </pc:spChg>
        <pc:spChg chg="del">
          <ac:chgData name="Mariam Daniela Tristancho Pineda (MISION TEMPORAL LTDA)" userId="a45a17f7-7950-4cb5-bfab-f5c894f959a9" providerId="ADAL" clId="{9D150B60-33B5-4A3E-8123-A67E35AA8D44}" dt="2020-07-26T22:48:43.806" v="9162" actId="478"/>
          <ac:spMkLst>
            <pc:docMk/>
            <pc:sldMk cId="2408337444" sldId="2134804326"/>
            <ac:spMk id="50" creationId="{5456FCCF-17A3-4C09-BB8D-FFC3C7379B53}"/>
          </ac:spMkLst>
        </pc:spChg>
        <pc:spChg chg="mod">
          <ac:chgData name="Mariam Daniela Tristancho Pineda (MISION TEMPORAL LTDA)" userId="a45a17f7-7950-4cb5-bfab-f5c894f959a9" providerId="ADAL" clId="{9D150B60-33B5-4A3E-8123-A67E35AA8D44}" dt="2020-07-26T22:41:55.242" v="9111" actId="20577"/>
          <ac:spMkLst>
            <pc:docMk/>
            <pc:sldMk cId="2408337444" sldId="2134804326"/>
            <ac:spMk id="58" creationId="{87C0C219-147A-4233-AEBD-D8B263DF2912}"/>
          </ac:spMkLst>
        </pc:spChg>
        <pc:spChg chg="mod">
          <ac:chgData name="Mariam Daniela Tristancho Pineda (MISION TEMPORAL LTDA)" userId="a45a17f7-7950-4cb5-bfab-f5c894f959a9" providerId="ADAL" clId="{9D150B60-33B5-4A3E-8123-A67E35AA8D44}" dt="2020-07-26T22:49:00.426" v="9168" actId="12789"/>
          <ac:spMkLst>
            <pc:docMk/>
            <pc:sldMk cId="2408337444" sldId="2134804326"/>
            <ac:spMk id="60" creationId="{416DD046-D9EC-437D-B3C4-49AE6F9E8B1B}"/>
          </ac:spMkLst>
        </pc:spChg>
        <pc:spChg chg="mod">
          <ac:chgData name="Mariam Daniela Tristancho Pineda (MISION TEMPORAL LTDA)" userId="a45a17f7-7950-4cb5-bfab-f5c894f959a9" providerId="ADAL" clId="{9D150B60-33B5-4A3E-8123-A67E35AA8D44}" dt="2020-07-26T22:46:55.714" v="9151" actId="13926"/>
          <ac:spMkLst>
            <pc:docMk/>
            <pc:sldMk cId="2408337444" sldId="2134804326"/>
            <ac:spMk id="61" creationId="{7C69D657-65A5-4E1B-8464-4A04E7AFC334}"/>
          </ac:spMkLst>
        </pc:spChg>
        <pc:spChg chg="mod">
          <ac:chgData name="Mariam Daniela Tristancho Pineda (MISION TEMPORAL LTDA)" userId="a45a17f7-7950-4cb5-bfab-f5c894f959a9" providerId="ADAL" clId="{9D150B60-33B5-4A3E-8123-A67E35AA8D44}" dt="2020-07-26T22:49:00.426" v="9168" actId="12789"/>
          <ac:spMkLst>
            <pc:docMk/>
            <pc:sldMk cId="2408337444" sldId="2134804326"/>
            <ac:spMk id="62" creationId="{CAD53C17-134A-4DBD-B578-EF435A01FB3F}"/>
          </ac:spMkLst>
        </pc:spChg>
        <pc:spChg chg="mod">
          <ac:chgData name="Mariam Daniela Tristancho Pineda (MISION TEMPORAL LTDA)" userId="a45a17f7-7950-4cb5-bfab-f5c894f959a9" providerId="ADAL" clId="{9D150B60-33B5-4A3E-8123-A67E35AA8D44}" dt="2020-07-26T22:48:30.391" v="9161" actId="20577"/>
          <ac:spMkLst>
            <pc:docMk/>
            <pc:sldMk cId="2408337444" sldId="2134804326"/>
            <ac:spMk id="64" creationId="{61CFA38E-1F3E-49A0-A330-E5F97D5B2A01}"/>
          </ac:spMkLst>
        </pc:spChg>
        <pc:spChg chg="mod">
          <ac:chgData name="Mariam Daniela Tristancho Pineda (MISION TEMPORAL LTDA)" userId="a45a17f7-7950-4cb5-bfab-f5c894f959a9" providerId="ADAL" clId="{9D150B60-33B5-4A3E-8123-A67E35AA8D44}" dt="2020-07-26T22:47:54.181" v="9160" actId="208"/>
          <ac:spMkLst>
            <pc:docMk/>
            <pc:sldMk cId="2408337444" sldId="2134804326"/>
            <ac:spMk id="65" creationId="{E1D02522-5753-4EFB-951A-5755483EDD96}"/>
          </ac:spMkLst>
        </pc:spChg>
        <pc:spChg chg="mod">
          <ac:chgData name="Mariam Daniela Tristancho Pineda (MISION TEMPORAL LTDA)" userId="a45a17f7-7950-4cb5-bfab-f5c894f959a9" providerId="ADAL" clId="{9D150B60-33B5-4A3E-8123-A67E35AA8D44}" dt="2020-07-26T22:41:58.567" v="9114" actId="20577"/>
          <ac:spMkLst>
            <pc:docMk/>
            <pc:sldMk cId="2408337444" sldId="2134804326"/>
            <ac:spMk id="66" creationId="{6F85F403-E123-4C2D-A378-CDAFE968B9D9}"/>
          </ac:spMkLst>
        </pc:spChg>
        <pc:spChg chg="mod">
          <ac:chgData name="Mariam Daniela Tristancho Pineda (MISION TEMPORAL LTDA)" userId="a45a17f7-7950-4cb5-bfab-f5c894f959a9" providerId="ADAL" clId="{9D150B60-33B5-4A3E-8123-A67E35AA8D44}" dt="2020-07-26T22:42:00.760" v="9115" actId="20577"/>
          <ac:spMkLst>
            <pc:docMk/>
            <pc:sldMk cId="2408337444" sldId="2134804326"/>
            <ac:spMk id="67" creationId="{4CC8DF42-E8CE-4AEA-AF20-116C630E45ED}"/>
          </ac:spMkLst>
        </pc:spChg>
        <pc:spChg chg="add del mod">
          <ac:chgData name="Mariam Daniela Tristancho Pineda (MISION TEMPORAL LTDA)" userId="a45a17f7-7950-4cb5-bfab-f5c894f959a9" providerId="ADAL" clId="{9D150B60-33B5-4A3E-8123-A67E35AA8D44}" dt="2020-07-26T22:46:55.714" v="9151" actId="13926"/>
          <ac:spMkLst>
            <pc:docMk/>
            <pc:sldMk cId="2408337444" sldId="2134804326"/>
            <ac:spMk id="68" creationId="{8B5ED806-B54B-4057-B826-24314EC1F9B8}"/>
          </ac:spMkLst>
        </pc:spChg>
        <pc:spChg chg="add del mod">
          <ac:chgData name="Mariam Daniela Tristancho Pineda (MISION TEMPORAL LTDA)" userId="a45a17f7-7950-4cb5-bfab-f5c894f959a9" providerId="ADAL" clId="{9D150B60-33B5-4A3E-8123-A67E35AA8D44}" dt="2020-07-26T22:46:55.714" v="9151" actId="13926"/>
          <ac:spMkLst>
            <pc:docMk/>
            <pc:sldMk cId="2408337444" sldId="2134804326"/>
            <ac:spMk id="69" creationId="{5A5074EC-7041-463A-BA61-7944DB963505}"/>
          </ac:spMkLst>
        </pc:spChg>
        <pc:spChg chg="mod">
          <ac:chgData name="Mariam Daniela Tristancho Pineda (MISION TEMPORAL LTDA)" userId="a45a17f7-7950-4cb5-bfab-f5c894f959a9" providerId="ADAL" clId="{9D150B60-33B5-4A3E-8123-A67E35AA8D44}" dt="2020-07-26T22:49:51.158" v="9172" actId="1076"/>
          <ac:spMkLst>
            <pc:docMk/>
            <pc:sldMk cId="2408337444" sldId="2134804326"/>
            <ac:spMk id="70" creationId="{A549087F-0234-4CF2-AA9A-E2B491A99CF5}"/>
          </ac:spMkLst>
        </pc:spChg>
        <pc:graphicFrameChg chg="mod modGraphic">
          <ac:chgData name="Mariam Daniela Tristancho Pineda (MISION TEMPORAL LTDA)" userId="a45a17f7-7950-4cb5-bfab-f5c894f959a9" providerId="ADAL" clId="{9D150B60-33B5-4A3E-8123-A67E35AA8D44}" dt="2020-07-26T22:45:55.100" v="9138"/>
          <ac:graphicFrameMkLst>
            <pc:docMk/>
            <pc:sldMk cId="2408337444" sldId="2134804326"/>
            <ac:graphicFrameMk id="7" creationId="{C866CA4D-9ED5-4A67-9BF0-26C15AE2AA2C}"/>
          </ac:graphicFrameMkLst>
        </pc:graphicFrameChg>
        <pc:graphicFrameChg chg="mod modGraphic">
          <ac:chgData name="Mariam Daniela Tristancho Pineda (MISION TEMPORAL LTDA)" userId="a45a17f7-7950-4cb5-bfab-f5c894f959a9" providerId="ADAL" clId="{9D150B60-33B5-4A3E-8123-A67E35AA8D44}" dt="2020-07-26T22:46:05.860" v="9142"/>
          <ac:graphicFrameMkLst>
            <pc:docMk/>
            <pc:sldMk cId="2408337444" sldId="2134804326"/>
            <ac:graphicFrameMk id="35" creationId="{D6562056-B40E-47F9-9726-6C4C21F304AB}"/>
          </ac:graphicFrameMkLst>
        </pc:graphicFrameChg>
      </pc:sldChg>
      <pc:sldChg chg="modSp add mod ord">
        <pc:chgData name="Mariam Daniela Tristancho Pineda (MISION TEMPORAL LTDA)" userId="a45a17f7-7950-4cb5-bfab-f5c894f959a9" providerId="ADAL" clId="{9D150B60-33B5-4A3E-8123-A67E35AA8D44}" dt="2020-07-28T15:06:41.870" v="20037"/>
        <pc:sldMkLst>
          <pc:docMk/>
          <pc:sldMk cId="2042427796" sldId="2134804327"/>
        </pc:sldMkLst>
        <pc:spChg chg="mod">
          <ac:chgData name="Mariam Daniela Tristancho Pineda (MISION TEMPORAL LTDA)" userId="a45a17f7-7950-4cb5-bfab-f5c894f959a9" providerId="ADAL" clId="{9D150B60-33B5-4A3E-8123-A67E35AA8D44}" dt="2020-07-27T00:09:06.549" v="10964" actId="20577"/>
          <ac:spMkLst>
            <pc:docMk/>
            <pc:sldMk cId="2042427796" sldId="2134804327"/>
            <ac:spMk id="2" creationId="{6431BBCF-96E5-45A7-B7E5-D44090D06329}"/>
          </ac:spMkLst>
        </pc:spChg>
      </pc:sldChg>
      <pc:sldChg chg="addSp delSp modSp add mod ord">
        <pc:chgData name="Mariam Daniela Tristancho Pineda (MISION TEMPORAL LTDA)" userId="a45a17f7-7950-4cb5-bfab-f5c894f959a9" providerId="ADAL" clId="{9D150B60-33B5-4A3E-8123-A67E35AA8D44}" dt="2020-07-28T15:06:41.870" v="20037"/>
        <pc:sldMkLst>
          <pc:docMk/>
          <pc:sldMk cId="989237730" sldId="2134804328"/>
        </pc:sldMkLst>
        <pc:spChg chg="mod">
          <ac:chgData name="Mariam Daniela Tristancho Pineda (MISION TEMPORAL LTDA)" userId="a45a17f7-7950-4cb5-bfab-f5c894f959a9" providerId="ADAL" clId="{9D150B60-33B5-4A3E-8123-A67E35AA8D44}" dt="2020-07-26T22:57:45.933" v="9525" actId="1076"/>
          <ac:spMkLst>
            <pc:docMk/>
            <pc:sldMk cId="989237730" sldId="2134804328"/>
            <ac:spMk id="2" creationId="{3A93B487-116E-4767-AA0D-CAE2A460FBE4}"/>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3" creationId="{815B10B7-60B3-4C63-8431-70CC556387C9}"/>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7" creationId="{3D1CC3C6-86B8-4C63-8E71-D0134CCD9234}"/>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45" creationId="{FE8ED9F7-3608-4810-95FA-CCA357FF8DD5}"/>
          </ac:spMkLst>
        </pc:spChg>
        <pc:spChg chg="mod">
          <ac:chgData name="Mariam Daniela Tristancho Pineda (MISION TEMPORAL LTDA)" userId="a45a17f7-7950-4cb5-bfab-f5c894f959a9" providerId="ADAL" clId="{9D150B60-33B5-4A3E-8123-A67E35AA8D44}" dt="2020-07-24T20:31:42.329" v="6614" actId="14100"/>
          <ac:spMkLst>
            <pc:docMk/>
            <pc:sldMk cId="989237730" sldId="2134804328"/>
            <ac:spMk id="53" creationId="{F9C857D3-C5F6-4D00-8D9C-646D1DA60918}"/>
          </ac:spMkLst>
        </pc:spChg>
        <pc:spChg chg="del mod">
          <ac:chgData name="Mariam Daniela Tristancho Pineda (MISION TEMPORAL LTDA)" userId="a45a17f7-7950-4cb5-bfab-f5c894f959a9" providerId="ADAL" clId="{9D150B60-33B5-4A3E-8123-A67E35AA8D44}" dt="2020-07-28T01:22:31.232" v="17806" actId="478"/>
          <ac:spMkLst>
            <pc:docMk/>
            <pc:sldMk cId="989237730" sldId="2134804328"/>
            <ac:spMk id="54" creationId="{C38A9719-1AF0-4D7F-AF9E-714FBC133573}"/>
          </ac:spMkLst>
        </pc:spChg>
        <pc:spChg chg="del">
          <ac:chgData name="Mariam Daniela Tristancho Pineda (MISION TEMPORAL LTDA)" userId="a45a17f7-7950-4cb5-bfab-f5c894f959a9" providerId="ADAL" clId="{9D150B60-33B5-4A3E-8123-A67E35AA8D44}" dt="2020-07-24T20:31:46.390" v="6615" actId="478"/>
          <ac:spMkLst>
            <pc:docMk/>
            <pc:sldMk cId="989237730" sldId="2134804328"/>
            <ac:spMk id="55" creationId="{85D53F76-686D-4A72-AADE-29F52C16B998}"/>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58" creationId="{E6D03367-02FA-4C09-A1D0-4464E4F7E710}"/>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61" creationId="{764D0CBB-54CC-4430-9C4E-1B552509132B}"/>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62" creationId="{C85845BD-B08A-4D10-8B88-81CDE9DBFBFE}"/>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64" creationId="{AE15C554-F764-4619-82F7-F10293C663D3}"/>
          </ac:spMkLst>
        </pc:spChg>
        <pc:spChg chg="mod">
          <ac:chgData name="Mariam Daniela Tristancho Pineda (MISION TEMPORAL LTDA)" userId="a45a17f7-7950-4cb5-bfab-f5c894f959a9" providerId="ADAL" clId="{9D150B60-33B5-4A3E-8123-A67E35AA8D44}" dt="2020-07-26T23:16:56.235" v="9580" actId="1076"/>
          <ac:spMkLst>
            <pc:docMk/>
            <pc:sldMk cId="989237730" sldId="2134804328"/>
            <ac:spMk id="67" creationId="{F06D4F54-9D6A-4AEA-BF90-3162C0CA1DF8}"/>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68" creationId="{2923FEA3-7171-49FB-8ADC-F47C8ACBA2C6}"/>
          </ac:spMkLst>
        </pc:spChg>
        <pc:spChg chg="mod">
          <ac:chgData name="Mariam Daniela Tristancho Pineda (MISION TEMPORAL LTDA)" userId="a45a17f7-7950-4cb5-bfab-f5c894f959a9" providerId="ADAL" clId="{9D150B60-33B5-4A3E-8123-A67E35AA8D44}" dt="2020-07-28T01:22:39.161" v="17817" actId="1035"/>
          <ac:spMkLst>
            <pc:docMk/>
            <pc:sldMk cId="989237730" sldId="2134804328"/>
            <ac:spMk id="72" creationId="{BD1E5C80-3227-46CA-A568-92F51433BA55}"/>
          </ac:spMkLst>
        </pc:spChg>
        <pc:spChg chg="mod">
          <ac:chgData name="Mariam Daniela Tristancho Pineda (MISION TEMPORAL LTDA)" userId="a45a17f7-7950-4cb5-bfab-f5c894f959a9" providerId="ADAL" clId="{9D150B60-33B5-4A3E-8123-A67E35AA8D44}" dt="2020-07-28T01:22:39.161" v="17817" actId="1035"/>
          <ac:spMkLst>
            <pc:docMk/>
            <pc:sldMk cId="989237730" sldId="2134804328"/>
            <ac:spMk id="73" creationId="{7A04DAA5-3E59-44FB-9606-3D6B4015B5ED}"/>
          </ac:spMkLst>
        </pc:spChg>
        <pc:spChg chg="mod">
          <ac:chgData name="Mariam Daniela Tristancho Pineda (MISION TEMPORAL LTDA)" userId="a45a17f7-7950-4cb5-bfab-f5c894f959a9" providerId="ADAL" clId="{9D150B60-33B5-4A3E-8123-A67E35AA8D44}" dt="2020-07-28T01:22:39.161" v="17817" actId="1035"/>
          <ac:spMkLst>
            <pc:docMk/>
            <pc:sldMk cId="989237730" sldId="2134804328"/>
            <ac:spMk id="77" creationId="{9721516C-B27D-4339-904E-3F1D6938297A}"/>
          </ac:spMkLst>
        </pc:spChg>
        <pc:spChg chg="mod">
          <ac:chgData name="Mariam Daniela Tristancho Pineda (MISION TEMPORAL LTDA)" userId="a45a17f7-7950-4cb5-bfab-f5c894f959a9" providerId="ADAL" clId="{9D150B60-33B5-4A3E-8123-A67E35AA8D44}" dt="2020-07-28T01:22:39.161" v="17817" actId="1035"/>
          <ac:spMkLst>
            <pc:docMk/>
            <pc:sldMk cId="989237730" sldId="2134804328"/>
            <ac:spMk id="78" creationId="{8BC2A296-4C17-4A26-8BB8-5A75F4870CDD}"/>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79" creationId="{3E0B78C6-ABEB-4B0B-882E-9C0544772F94}"/>
          </ac:spMkLst>
        </pc:spChg>
        <pc:spChg chg="add del">
          <ac:chgData name="Mariam Daniela Tristancho Pineda (MISION TEMPORAL LTDA)" userId="a45a17f7-7950-4cb5-bfab-f5c894f959a9" providerId="ADAL" clId="{9D150B60-33B5-4A3E-8123-A67E35AA8D44}" dt="2020-07-24T20:46:42.561" v="6692" actId="478"/>
          <ac:spMkLst>
            <pc:docMk/>
            <pc:sldMk cId="989237730" sldId="2134804328"/>
            <ac:spMk id="80" creationId="{91C5F8FF-F497-4EE0-A936-8267ECA07B11}"/>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81" creationId="{CD1A0964-34FB-4EA7-8C35-CE65C810D6AC}"/>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82" creationId="{F356276F-95A8-4D9D-A3D9-51171A0292F7}"/>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83" creationId="{9CF15579-D302-4765-9A3D-59D9D3268728}"/>
          </ac:spMkLst>
        </pc:spChg>
        <pc:spChg chg="mod">
          <ac:chgData name="Mariam Daniela Tristancho Pineda (MISION TEMPORAL LTDA)" userId="a45a17f7-7950-4cb5-bfab-f5c894f959a9" providerId="ADAL" clId="{9D150B60-33B5-4A3E-8123-A67E35AA8D44}" dt="2020-07-26T22:58:21.803" v="9541" actId="1035"/>
          <ac:spMkLst>
            <pc:docMk/>
            <pc:sldMk cId="989237730" sldId="2134804328"/>
            <ac:spMk id="84" creationId="{293DBAF3-3942-4C58-8A63-D4484E215E20}"/>
          </ac:spMkLst>
        </pc:spChg>
        <pc:spChg chg="mod">
          <ac:chgData name="Mariam Daniela Tristancho Pineda (MISION TEMPORAL LTDA)" userId="a45a17f7-7950-4cb5-bfab-f5c894f959a9" providerId="ADAL" clId="{9D150B60-33B5-4A3E-8123-A67E35AA8D44}" dt="2020-07-26T22:58:10.879" v="9536" actId="1076"/>
          <ac:spMkLst>
            <pc:docMk/>
            <pc:sldMk cId="989237730" sldId="2134804328"/>
            <ac:spMk id="85" creationId="{63D8D3CF-6945-47A8-9893-D38BC41C621B}"/>
          </ac:spMkLst>
        </pc:spChg>
        <pc:spChg chg="mod">
          <ac:chgData name="Mariam Daniela Tristancho Pineda (MISION TEMPORAL LTDA)" userId="a45a17f7-7950-4cb5-bfab-f5c894f959a9" providerId="ADAL" clId="{9D150B60-33B5-4A3E-8123-A67E35AA8D44}" dt="2020-07-26T22:58:10.879" v="9536" actId="1076"/>
          <ac:spMkLst>
            <pc:docMk/>
            <pc:sldMk cId="989237730" sldId="2134804328"/>
            <ac:spMk id="86" creationId="{7696A978-4362-4DE3-8C58-0F58608C4AA6}"/>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87" creationId="{88421DA7-D9AE-4018-B9E5-BD7395AC03B6}"/>
          </ac:spMkLst>
        </pc:spChg>
        <pc:spChg chg="mod">
          <ac:chgData name="Mariam Daniela Tristancho Pineda (MISION TEMPORAL LTDA)" userId="a45a17f7-7950-4cb5-bfab-f5c894f959a9" providerId="ADAL" clId="{9D150B60-33B5-4A3E-8123-A67E35AA8D44}" dt="2020-07-26T22:58:10.879" v="9536" actId="1076"/>
          <ac:spMkLst>
            <pc:docMk/>
            <pc:sldMk cId="989237730" sldId="2134804328"/>
            <ac:spMk id="88" creationId="{4D68A9B0-25D8-4EF1-8A57-0A2AD1C1D741}"/>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89" creationId="{6289F00A-3F01-4C9E-B42A-A0571012FEC9}"/>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90" creationId="{4ACE3251-4E46-4B0B-B4A4-0740495BA2E4}"/>
          </ac:spMkLst>
        </pc:spChg>
        <pc:spChg chg="mod">
          <ac:chgData name="Mariam Daniela Tristancho Pineda (MISION TEMPORAL LTDA)" userId="a45a17f7-7950-4cb5-bfab-f5c894f959a9" providerId="ADAL" clId="{9D150B60-33B5-4A3E-8123-A67E35AA8D44}" dt="2020-07-26T22:58:10.879" v="9536" actId="1076"/>
          <ac:spMkLst>
            <pc:docMk/>
            <pc:sldMk cId="989237730" sldId="2134804328"/>
            <ac:spMk id="91" creationId="{232CC050-3BFF-4FBB-A326-2B3CF9176A99}"/>
          </ac:spMkLst>
        </pc:spChg>
        <pc:spChg chg="mod">
          <ac:chgData name="Mariam Daniela Tristancho Pineda (MISION TEMPORAL LTDA)" userId="a45a17f7-7950-4cb5-bfab-f5c894f959a9" providerId="ADAL" clId="{9D150B60-33B5-4A3E-8123-A67E35AA8D44}" dt="2020-07-26T22:58:10.879" v="9536" actId="1076"/>
          <ac:spMkLst>
            <pc:docMk/>
            <pc:sldMk cId="989237730" sldId="2134804328"/>
            <ac:spMk id="92" creationId="{34C98F8E-3ADE-42ED-8EB5-8A3C0E1BF7B0}"/>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93" creationId="{F17624A2-19F6-4CD4-84A8-82988E02FD63}"/>
          </ac:spMkLst>
        </pc:spChg>
        <pc:spChg chg="mod">
          <ac:chgData name="Mariam Daniela Tristancho Pineda (MISION TEMPORAL LTDA)" userId="a45a17f7-7950-4cb5-bfab-f5c894f959a9" providerId="ADAL" clId="{9D150B60-33B5-4A3E-8123-A67E35AA8D44}" dt="2020-07-26T22:58:10.879" v="9536" actId="1076"/>
          <ac:spMkLst>
            <pc:docMk/>
            <pc:sldMk cId="989237730" sldId="2134804328"/>
            <ac:spMk id="94" creationId="{03C660BC-2A9C-4D5D-9487-318B90C03E97}"/>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96" creationId="{A964A428-8E47-464A-BE0A-BE27280FDD95}"/>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97" creationId="{99300021-C267-43BD-A0F5-B3ECE622345E}"/>
          </ac:spMkLst>
        </pc:spChg>
        <pc:spChg chg="add del">
          <ac:chgData name="Mariam Daniela Tristancho Pineda (MISION TEMPORAL LTDA)" userId="a45a17f7-7950-4cb5-bfab-f5c894f959a9" providerId="ADAL" clId="{9D150B60-33B5-4A3E-8123-A67E35AA8D44}" dt="2020-07-24T20:38:42.225" v="6649" actId="478"/>
          <ac:spMkLst>
            <pc:docMk/>
            <pc:sldMk cId="989237730" sldId="2134804328"/>
            <ac:spMk id="98" creationId="{02B6E786-545E-4967-841B-2D4F45B1C3F0}"/>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99" creationId="{90CC82AC-D82E-4F89-AC67-093894759099}"/>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100" creationId="{1835F856-5B59-4AFF-86DE-2F0968B76CF7}"/>
          </ac:spMkLst>
        </pc:spChg>
        <pc:spChg chg="add del mod">
          <ac:chgData name="Mariam Daniela Tristancho Pineda (MISION TEMPORAL LTDA)" userId="a45a17f7-7950-4cb5-bfab-f5c894f959a9" providerId="ADAL" clId="{9D150B60-33B5-4A3E-8123-A67E35AA8D44}" dt="2020-07-24T20:38:43.132" v="6650" actId="478"/>
          <ac:spMkLst>
            <pc:docMk/>
            <pc:sldMk cId="989237730" sldId="2134804328"/>
            <ac:spMk id="101" creationId="{E8F5A912-4889-431B-A319-AE81BCDB93F9}"/>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102" creationId="{101F3273-AA10-47F1-9872-07AD50130DF5}"/>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103" creationId="{BDBCDC72-F935-45A4-AE31-C045019965AF}"/>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104" creationId="{0326A105-08B6-409E-9596-07BD7645DEAE}"/>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105" creationId="{DC633C75-4D21-4E37-ABEB-B69D06C0A224}"/>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106" creationId="{8BF155F6-9EE4-4410-BB22-DEE4B18E9FEF}"/>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107" creationId="{4802A65C-C4BA-49C6-A107-DC404BE5C336}"/>
          </ac:spMkLst>
        </pc:spChg>
        <pc:spChg chg="mod">
          <ac:chgData name="Mariam Daniela Tristancho Pineda (MISION TEMPORAL LTDA)" userId="a45a17f7-7950-4cb5-bfab-f5c894f959a9" providerId="ADAL" clId="{9D150B60-33B5-4A3E-8123-A67E35AA8D44}" dt="2020-07-26T22:57:57.081" v="9535" actId="1035"/>
          <ac:spMkLst>
            <pc:docMk/>
            <pc:sldMk cId="989237730" sldId="2134804328"/>
            <ac:spMk id="108" creationId="{E7417F2C-4445-4433-AA31-1B1D9A1C89B3}"/>
          </ac:spMkLst>
        </pc:spChg>
        <pc:spChg chg="del">
          <ac:chgData name="Mariam Daniela Tristancho Pineda (MISION TEMPORAL LTDA)" userId="a45a17f7-7950-4cb5-bfab-f5c894f959a9" providerId="ADAL" clId="{9D150B60-33B5-4A3E-8123-A67E35AA8D44}" dt="2020-07-24T20:38:29.738" v="6641" actId="478"/>
          <ac:spMkLst>
            <pc:docMk/>
            <pc:sldMk cId="989237730" sldId="2134804328"/>
            <ac:spMk id="109" creationId="{DFFCA1E6-D909-4840-9CFC-E113E9944FE8}"/>
          </ac:spMkLst>
        </pc:spChg>
        <pc:spChg chg="mod">
          <ac:chgData name="Mariam Daniela Tristancho Pineda (MISION TEMPORAL LTDA)" userId="a45a17f7-7950-4cb5-bfab-f5c894f959a9" providerId="ADAL" clId="{9D150B60-33B5-4A3E-8123-A67E35AA8D44}" dt="2020-07-24T20:41:58.616" v="6686"/>
          <ac:spMkLst>
            <pc:docMk/>
            <pc:sldMk cId="989237730" sldId="2134804328"/>
            <ac:spMk id="111" creationId="{B54F30E5-1C94-4021-B46C-FEDB66D95B4A}"/>
          </ac:spMkLst>
        </pc:spChg>
        <pc:spChg chg="mod">
          <ac:chgData name="Mariam Daniela Tristancho Pineda (MISION TEMPORAL LTDA)" userId="a45a17f7-7950-4cb5-bfab-f5c894f959a9" providerId="ADAL" clId="{9D150B60-33B5-4A3E-8123-A67E35AA8D44}" dt="2020-07-24T20:41:58.616" v="6686"/>
          <ac:spMkLst>
            <pc:docMk/>
            <pc:sldMk cId="989237730" sldId="2134804328"/>
            <ac:spMk id="112" creationId="{E6B99FFD-7EC4-43A2-BFEC-10533D0163DB}"/>
          </ac:spMkLst>
        </pc:spChg>
        <pc:spChg chg="mod">
          <ac:chgData name="Mariam Daniela Tristancho Pineda (MISION TEMPORAL LTDA)" userId="a45a17f7-7950-4cb5-bfab-f5c894f959a9" providerId="ADAL" clId="{9D150B60-33B5-4A3E-8123-A67E35AA8D44}" dt="2020-07-24T20:46:41.420" v="6691"/>
          <ac:spMkLst>
            <pc:docMk/>
            <pc:sldMk cId="989237730" sldId="2134804328"/>
            <ac:spMk id="114" creationId="{32D5FDDB-87B1-4423-B8C6-B8C054475F64}"/>
          </ac:spMkLst>
        </pc:spChg>
        <pc:spChg chg="mod">
          <ac:chgData name="Mariam Daniela Tristancho Pineda (MISION TEMPORAL LTDA)" userId="a45a17f7-7950-4cb5-bfab-f5c894f959a9" providerId="ADAL" clId="{9D150B60-33B5-4A3E-8123-A67E35AA8D44}" dt="2020-07-24T20:46:41.420" v="6691"/>
          <ac:spMkLst>
            <pc:docMk/>
            <pc:sldMk cId="989237730" sldId="2134804328"/>
            <ac:spMk id="115" creationId="{47FBBE71-8B95-4473-B8D1-F15BEF30E5E3}"/>
          </ac:spMkLst>
        </pc:spChg>
        <pc:spChg chg="mod">
          <ac:chgData name="Mariam Daniela Tristancho Pineda (MISION TEMPORAL LTDA)" userId="a45a17f7-7950-4cb5-bfab-f5c894f959a9" providerId="ADAL" clId="{9D150B60-33B5-4A3E-8123-A67E35AA8D44}" dt="2020-07-26T22:58:10.879" v="9536" actId="1076"/>
          <ac:spMkLst>
            <pc:docMk/>
            <pc:sldMk cId="989237730" sldId="2134804328"/>
            <ac:spMk id="117" creationId="{8960734A-1053-42D2-BD72-6674DCCE6A97}"/>
          </ac:spMkLst>
        </pc:spChg>
        <pc:spChg chg="mod">
          <ac:chgData name="Mariam Daniela Tristancho Pineda (MISION TEMPORAL LTDA)" userId="a45a17f7-7950-4cb5-bfab-f5c894f959a9" providerId="ADAL" clId="{9D150B60-33B5-4A3E-8123-A67E35AA8D44}" dt="2020-07-26T22:58:10.879" v="9536" actId="1076"/>
          <ac:spMkLst>
            <pc:docMk/>
            <pc:sldMk cId="989237730" sldId="2134804328"/>
            <ac:spMk id="118" creationId="{C77431EE-A761-4323-B75F-692D4CAEC462}"/>
          </ac:spMkLst>
        </pc:spChg>
        <pc:spChg chg="mod">
          <ac:chgData name="Mariam Daniela Tristancho Pineda (MISION TEMPORAL LTDA)" userId="a45a17f7-7950-4cb5-bfab-f5c894f959a9" providerId="ADAL" clId="{9D150B60-33B5-4A3E-8123-A67E35AA8D44}" dt="2020-07-26T22:58:10.879" v="9536" actId="1076"/>
          <ac:spMkLst>
            <pc:docMk/>
            <pc:sldMk cId="989237730" sldId="2134804328"/>
            <ac:spMk id="119" creationId="{A66DDFF6-8990-4632-9B16-3852035C81BA}"/>
          </ac:spMkLst>
        </pc:spChg>
        <pc:spChg chg="mod">
          <ac:chgData name="Mariam Daniela Tristancho Pineda (MISION TEMPORAL LTDA)" userId="a45a17f7-7950-4cb5-bfab-f5c894f959a9" providerId="ADAL" clId="{9D150B60-33B5-4A3E-8123-A67E35AA8D44}" dt="2020-07-26T22:58:10.879" v="9536" actId="1076"/>
          <ac:spMkLst>
            <pc:docMk/>
            <pc:sldMk cId="989237730" sldId="2134804328"/>
            <ac:spMk id="122" creationId="{F92D7973-FA2F-45B1-8D65-1BB666EE24DD}"/>
          </ac:spMkLst>
        </pc:spChg>
        <pc:spChg chg="mod">
          <ac:chgData name="Mariam Daniela Tristancho Pineda (MISION TEMPORAL LTDA)" userId="a45a17f7-7950-4cb5-bfab-f5c894f959a9" providerId="ADAL" clId="{9D150B60-33B5-4A3E-8123-A67E35AA8D44}" dt="2020-07-26T22:58:10.879" v="9536" actId="1076"/>
          <ac:spMkLst>
            <pc:docMk/>
            <pc:sldMk cId="989237730" sldId="2134804328"/>
            <ac:spMk id="123" creationId="{7DBB833A-DFE0-4BC0-96CD-50EEB2A468C0}"/>
          </ac:spMkLst>
        </pc:spChg>
        <pc:spChg chg="mod">
          <ac:chgData name="Mariam Daniela Tristancho Pineda (MISION TEMPORAL LTDA)" userId="a45a17f7-7950-4cb5-bfab-f5c894f959a9" providerId="ADAL" clId="{9D150B60-33B5-4A3E-8123-A67E35AA8D44}" dt="2020-07-26T22:58:10.879" v="9536" actId="1076"/>
          <ac:spMkLst>
            <pc:docMk/>
            <pc:sldMk cId="989237730" sldId="2134804328"/>
            <ac:spMk id="124" creationId="{70AA3071-CACE-4F35-8B87-AC8A0604DE78}"/>
          </ac:spMkLst>
        </pc:spChg>
        <pc:spChg chg="mod">
          <ac:chgData name="Mariam Daniela Tristancho Pineda (MISION TEMPORAL LTDA)" userId="a45a17f7-7950-4cb5-bfab-f5c894f959a9" providerId="ADAL" clId="{9D150B60-33B5-4A3E-8123-A67E35AA8D44}" dt="2020-07-26T22:58:10.879" v="9536" actId="1076"/>
          <ac:spMkLst>
            <pc:docMk/>
            <pc:sldMk cId="989237730" sldId="2134804328"/>
            <ac:spMk id="125" creationId="{A228DE91-C702-4290-AF8E-D7ED7818436F}"/>
          </ac:spMkLst>
        </pc:spChg>
        <pc:spChg chg="mod">
          <ac:chgData name="Mariam Daniela Tristancho Pineda (MISION TEMPORAL LTDA)" userId="a45a17f7-7950-4cb5-bfab-f5c894f959a9" providerId="ADAL" clId="{9D150B60-33B5-4A3E-8123-A67E35AA8D44}" dt="2020-07-26T22:58:10.879" v="9536" actId="1076"/>
          <ac:spMkLst>
            <pc:docMk/>
            <pc:sldMk cId="989237730" sldId="2134804328"/>
            <ac:spMk id="126" creationId="{01563260-A3C9-427B-975A-EFC567A75841}"/>
          </ac:spMkLst>
        </pc:spChg>
        <pc:spChg chg="del mod">
          <ac:chgData name="Mariam Daniela Tristancho Pineda (MISION TEMPORAL LTDA)" userId="a45a17f7-7950-4cb5-bfab-f5c894f959a9" providerId="ADAL" clId="{9D150B60-33B5-4A3E-8123-A67E35AA8D44}" dt="2020-07-28T01:22:34.319" v="17809" actId="478"/>
          <ac:spMkLst>
            <pc:docMk/>
            <pc:sldMk cId="989237730" sldId="2134804328"/>
            <ac:spMk id="140" creationId="{2062ABD7-3E18-481C-BE0F-59304E710CAD}"/>
          </ac:spMkLst>
        </pc:spChg>
        <pc:spChg chg="mod">
          <ac:chgData name="Mariam Daniela Tristancho Pineda (MISION TEMPORAL LTDA)" userId="a45a17f7-7950-4cb5-bfab-f5c894f959a9" providerId="ADAL" clId="{9D150B60-33B5-4A3E-8123-A67E35AA8D44}" dt="2020-07-28T01:22:39.161" v="17817" actId="1035"/>
          <ac:spMkLst>
            <pc:docMk/>
            <pc:sldMk cId="989237730" sldId="2134804328"/>
            <ac:spMk id="146" creationId="{D86974CC-32BF-439F-A6E2-D1E82520294D}"/>
          </ac:spMkLst>
        </pc:spChg>
        <pc:grpChg chg="mod">
          <ac:chgData name="Mariam Daniela Tristancho Pineda (MISION TEMPORAL LTDA)" userId="a45a17f7-7950-4cb5-bfab-f5c894f959a9" providerId="ADAL" clId="{9D150B60-33B5-4A3E-8123-A67E35AA8D44}" dt="2020-07-26T22:57:57.081" v="9535" actId="1035"/>
          <ac:grpSpMkLst>
            <pc:docMk/>
            <pc:sldMk cId="989237730" sldId="2134804328"/>
            <ac:grpSpMk id="8" creationId="{759C52C5-703D-4870-9137-829E845561BE}"/>
          </ac:grpSpMkLst>
        </pc:grpChg>
        <pc:grpChg chg="mod">
          <ac:chgData name="Mariam Daniela Tristancho Pineda (MISION TEMPORAL LTDA)" userId="a45a17f7-7950-4cb5-bfab-f5c894f959a9" providerId="ADAL" clId="{9D150B60-33B5-4A3E-8123-A67E35AA8D44}" dt="2020-07-28T01:22:39.161" v="17817" actId="1035"/>
          <ac:grpSpMkLst>
            <pc:docMk/>
            <pc:sldMk cId="989237730" sldId="2134804328"/>
            <ac:grpSpMk id="9" creationId="{A8EBFE34-3DDE-4B0B-BE9C-1B8C29F9070A}"/>
          </ac:grpSpMkLst>
        </pc:grpChg>
        <pc:grpChg chg="mod">
          <ac:chgData name="Mariam Daniela Tristancho Pineda (MISION TEMPORAL LTDA)" userId="a45a17f7-7950-4cb5-bfab-f5c894f959a9" providerId="ADAL" clId="{9D150B60-33B5-4A3E-8123-A67E35AA8D44}" dt="2020-07-26T22:57:57.081" v="9535" actId="1035"/>
          <ac:grpSpMkLst>
            <pc:docMk/>
            <pc:sldMk cId="989237730" sldId="2134804328"/>
            <ac:grpSpMk id="10" creationId="{9DAE2930-4D6F-4898-B60C-A3C43818E595}"/>
          </ac:grpSpMkLst>
        </pc:grpChg>
        <pc:grpChg chg="add del mod">
          <ac:chgData name="Mariam Daniela Tristancho Pineda (MISION TEMPORAL LTDA)" userId="a45a17f7-7950-4cb5-bfab-f5c894f959a9" providerId="ADAL" clId="{9D150B60-33B5-4A3E-8123-A67E35AA8D44}" dt="2020-07-24T20:42:12.718" v="6689"/>
          <ac:grpSpMkLst>
            <pc:docMk/>
            <pc:sldMk cId="989237730" sldId="2134804328"/>
            <ac:grpSpMk id="110" creationId="{1527F660-7EE6-498B-B793-7D1AE9FF17A8}"/>
          </ac:grpSpMkLst>
        </pc:grpChg>
        <pc:grpChg chg="add mod">
          <ac:chgData name="Mariam Daniela Tristancho Pineda (MISION TEMPORAL LTDA)" userId="a45a17f7-7950-4cb5-bfab-f5c894f959a9" providerId="ADAL" clId="{9D150B60-33B5-4A3E-8123-A67E35AA8D44}" dt="2020-07-26T22:57:57.081" v="9535" actId="1035"/>
          <ac:grpSpMkLst>
            <pc:docMk/>
            <pc:sldMk cId="989237730" sldId="2134804328"/>
            <ac:grpSpMk id="113" creationId="{61A283E2-5EEB-4B40-8DED-CCA11C71DE0C}"/>
          </ac:grpSpMkLst>
        </pc:grpChg>
        <pc:graphicFrameChg chg="add del mod modGraphic">
          <ac:chgData name="Mariam Daniela Tristancho Pineda (MISION TEMPORAL LTDA)" userId="a45a17f7-7950-4cb5-bfab-f5c894f959a9" providerId="ADAL" clId="{9D150B60-33B5-4A3E-8123-A67E35AA8D44}" dt="2020-07-24T20:40:24.050" v="6682" actId="478"/>
          <ac:graphicFrameMkLst>
            <pc:docMk/>
            <pc:sldMk cId="989237730" sldId="2134804328"/>
            <ac:graphicFrameMk id="11" creationId="{D30093B6-F11A-4CED-9A75-6F4CD56391DC}"/>
          </ac:graphicFrameMkLst>
        </pc:graphicFrameChg>
        <pc:cxnChg chg="del mod">
          <ac:chgData name="Mariam Daniela Tristancho Pineda (MISION TEMPORAL LTDA)" userId="a45a17f7-7950-4cb5-bfab-f5c894f959a9" providerId="ADAL" clId="{9D150B60-33B5-4A3E-8123-A67E35AA8D44}" dt="2020-07-28T01:22:32.113" v="17807" actId="478"/>
          <ac:cxnSpMkLst>
            <pc:docMk/>
            <pc:sldMk cId="989237730" sldId="2134804328"/>
            <ac:cxnSpMk id="95" creationId="{992CCE25-00CE-4C15-881A-068C6B1A3F0E}"/>
          </ac:cxnSpMkLst>
        </pc:cxnChg>
      </pc:sldChg>
      <pc:sldChg chg="addSp delSp modSp add mod ord">
        <pc:chgData name="Mariam Daniela Tristancho Pineda (MISION TEMPORAL LTDA)" userId="a45a17f7-7950-4cb5-bfab-f5c894f959a9" providerId="ADAL" clId="{9D150B60-33B5-4A3E-8123-A67E35AA8D44}" dt="2020-07-28T15:07:15.879" v="20044" actId="2084"/>
        <pc:sldMkLst>
          <pc:docMk/>
          <pc:sldMk cId="1974979659" sldId="2134804329"/>
        </pc:sldMkLst>
        <pc:spChg chg="mod">
          <ac:chgData name="Mariam Daniela Tristancho Pineda (MISION TEMPORAL LTDA)" userId="a45a17f7-7950-4cb5-bfab-f5c894f959a9" providerId="ADAL" clId="{9D150B60-33B5-4A3E-8123-A67E35AA8D44}" dt="2020-07-28T01:22:22.642" v="17805" actId="1036"/>
          <ac:spMkLst>
            <pc:docMk/>
            <pc:sldMk cId="1974979659" sldId="2134804329"/>
            <ac:spMk id="3" creationId="{31514E04-D9F2-4C9D-BB7C-0BB641AFCD5E}"/>
          </ac:spMkLst>
        </pc:spChg>
        <pc:spChg chg="del">
          <ac:chgData name="Mariam Daniela Tristancho Pineda (MISION TEMPORAL LTDA)" userId="a45a17f7-7950-4cb5-bfab-f5c894f959a9" providerId="ADAL" clId="{9D150B60-33B5-4A3E-8123-A67E35AA8D44}" dt="2020-07-26T22:56:40.414" v="9497" actId="478"/>
          <ac:spMkLst>
            <pc:docMk/>
            <pc:sldMk cId="1974979659" sldId="2134804329"/>
            <ac:spMk id="4" creationId="{9B0CE30D-625A-4CD9-98D4-3AF33243D194}"/>
          </ac:spMkLst>
        </pc:spChg>
        <pc:spChg chg="del">
          <ac:chgData name="Mariam Daniela Tristancho Pineda (MISION TEMPORAL LTDA)" userId="a45a17f7-7950-4cb5-bfab-f5c894f959a9" providerId="ADAL" clId="{9D150B60-33B5-4A3E-8123-A67E35AA8D44}" dt="2020-07-26T22:53:14.715" v="9329" actId="478"/>
          <ac:spMkLst>
            <pc:docMk/>
            <pc:sldMk cId="1974979659" sldId="2134804329"/>
            <ac:spMk id="6" creationId="{D2EDED2C-23BD-4BE9-9D70-FEEB4B39AC14}"/>
          </ac:spMkLst>
        </pc:spChg>
        <pc:spChg chg="add mod">
          <ac:chgData name="Mariam Daniela Tristancho Pineda (MISION TEMPORAL LTDA)" userId="a45a17f7-7950-4cb5-bfab-f5c894f959a9" providerId="ADAL" clId="{9D150B60-33B5-4A3E-8123-A67E35AA8D44}" dt="2020-07-28T01:22:22.642" v="17805" actId="1036"/>
          <ac:spMkLst>
            <pc:docMk/>
            <pc:sldMk cId="1974979659" sldId="2134804329"/>
            <ac:spMk id="8" creationId="{F2988D2D-D64B-45A9-A560-E27D5203E405}"/>
          </ac:spMkLst>
        </pc:spChg>
        <pc:spChg chg="add mod">
          <ac:chgData name="Mariam Daniela Tristancho Pineda (MISION TEMPORAL LTDA)" userId="a45a17f7-7950-4cb5-bfab-f5c894f959a9" providerId="ADAL" clId="{9D150B60-33B5-4A3E-8123-A67E35AA8D44}" dt="2020-07-28T01:22:22.642" v="17805" actId="1036"/>
          <ac:spMkLst>
            <pc:docMk/>
            <pc:sldMk cId="1974979659" sldId="2134804329"/>
            <ac:spMk id="9" creationId="{AB65707C-85B8-4BAC-8D94-8AD6A75232B4}"/>
          </ac:spMkLst>
        </pc:spChg>
        <pc:spChg chg="mod">
          <ac:chgData name="Mariam Daniela Tristancho Pineda (MISION TEMPORAL LTDA)" userId="a45a17f7-7950-4cb5-bfab-f5c894f959a9" providerId="ADAL" clId="{9D150B60-33B5-4A3E-8123-A67E35AA8D44}" dt="2020-07-28T01:22:22.642" v="17805" actId="1036"/>
          <ac:spMkLst>
            <pc:docMk/>
            <pc:sldMk cId="1974979659" sldId="2134804329"/>
            <ac:spMk id="10" creationId="{810E18BD-2955-4DB2-AEDB-386E84418C6C}"/>
          </ac:spMkLst>
        </pc:spChg>
        <pc:spChg chg="add mod">
          <ac:chgData name="Mariam Daniela Tristancho Pineda (MISION TEMPORAL LTDA)" userId="a45a17f7-7950-4cb5-bfab-f5c894f959a9" providerId="ADAL" clId="{9D150B60-33B5-4A3E-8123-A67E35AA8D44}" dt="2020-07-28T01:22:22.642" v="17805" actId="1036"/>
          <ac:spMkLst>
            <pc:docMk/>
            <pc:sldMk cId="1974979659" sldId="2134804329"/>
            <ac:spMk id="11" creationId="{AACDF64F-9960-49F6-997C-7E2CE9283EED}"/>
          </ac:spMkLst>
        </pc:spChg>
        <pc:spChg chg="mod">
          <ac:chgData name="Mariam Daniela Tristancho Pineda (MISION TEMPORAL LTDA)" userId="a45a17f7-7950-4cb5-bfab-f5c894f959a9" providerId="ADAL" clId="{9D150B60-33B5-4A3E-8123-A67E35AA8D44}" dt="2020-07-28T01:22:22.642" v="17805" actId="1036"/>
          <ac:spMkLst>
            <pc:docMk/>
            <pc:sldMk cId="1974979659" sldId="2134804329"/>
            <ac:spMk id="12" creationId="{96C9E76C-8C7F-489D-82CB-B2BD03852707}"/>
          </ac:spMkLst>
        </pc:spChg>
        <pc:spChg chg="add mod">
          <ac:chgData name="Mariam Daniela Tristancho Pineda (MISION TEMPORAL LTDA)" userId="a45a17f7-7950-4cb5-bfab-f5c894f959a9" providerId="ADAL" clId="{9D150B60-33B5-4A3E-8123-A67E35AA8D44}" dt="2020-07-28T01:22:22.642" v="17805" actId="1036"/>
          <ac:spMkLst>
            <pc:docMk/>
            <pc:sldMk cId="1974979659" sldId="2134804329"/>
            <ac:spMk id="13" creationId="{7DE19D7D-D57B-4BB4-9307-9D6DCB84C83A}"/>
          </ac:spMkLst>
        </pc:spChg>
        <pc:spChg chg="add mod">
          <ac:chgData name="Mariam Daniela Tristancho Pineda (MISION TEMPORAL LTDA)" userId="a45a17f7-7950-4cb5-bfab-f5c894f959a9" providerId="ADAL" clId="{9D150B60-33B5-4A3E-8123-A67E35AA8D44}" dt="2020-07-28T01:22:22.642" v="17805" actId="1036"/>
          <ac:spMkLst>
            <pc:docMk/>
            <pc:sldMk cId="1974979659" sldId="2134804329"/>
            <ac:spMk id="14" creationId="{42691D1D-DB81-4134-9FAA-E7307E03AFFC}"/>
          </ac:spMkLst>
        </pc:spChg>
        <pc:spChg chg="add mod">
          <ac:chgData name="Mariam Daniela Tristancho Pineda (MISION TEMPORAL LTDA)" userId="a45a17f7-7950-4cb5-bfab-f5c894f959a9" providerId="ADAL" clId="{9D150B60-33B5-4A3E-8123-A67E35AA8D44}" dt="2020-07-28T01:22:22.642" v="17805" actId="1036"/>
          <ac:spMkLst>
            <pc:docMk/>
            <pc:sldMk cId="1974979659" sldId="2134804329"/>
            <ac:spMk id="15" creationId="{0BE8A931-3B0D-4E75-A819-AFB2C2D6CE0D}"/>
          </ac:spMkLst>
        </pc:spChg>
        <pc:spChg chg="add mod">
          <ac:chgData name="Mariam Daniela Tristancho Pineda (MISION TEMPORAL LTDA)" userId="a45a17f7-7950-4cb5-bfab-f5c894f959a9" providerId="ADAL" clId="{9D150B60-33B5-4A3E-8123-A67E35AA8D44}" dt="2020-07-28T01:22:22.642" v="17805" actId="1036"/>
          <ac:spMkLst>
            <pc:docMk/>
            <pc:sldMk cId="1974979659" sldId="2134804329"/>
            <ac:spMk id="16" creationId="{785AD5AA-05E3-4CDA-B9F9-5A414517CC2D}"/>
          </ac:spMkLst>
        </pc:spChg>
        <pc:spChg chg="add del mod">
          <ac:chgData name="Mariam Daniela Tristancho Pineda (MISION TEMPORAL LTDA)" userId="a45a17f7-7950-4cb5-bfab-f5c894f959a9" providerId="ADAL" clId="{9D150B60-33B5-4A3E-8123-A67E35AA8D44}" dt="2020-07-28T15:07:12.969" v="20042" actId="478"/>
          <ac:spMkLst>
            <pc:docMk/>
            <pc:sldMk cId="1974979659" sldId="2134804329"/>
            <ac:spMk id="17" creationId="{85104DE4-C401-48CE-A145-585F63D41638}"/>
          </ac:spMkLst>
        </pc:spChg>
        <pc:spChg chg="add del mod">
          <ac:chgData name="Mariam Daniela Tristancho Pineda (MISION TEMPORAL LTDA)" userId="a45a17f7-7950-4cb5-bfab-f5c894f959a9" providerId="ADAL" clId="{9D150B60-33B5-4A3E-8123-A67E35AA8D44}" dt="2020-07-28T15:07:13.816" v="20043" actId="478"/>
          <ac:spMkLst>
            <pc:docMk/>
            <pc:sldMk cId="1974979659" sldId="2134804329"/>
            <ac:spMk id="18" creationId="{67FCC5F4-0F21-4673-AC93-00D7EEF28358}"/>
          </ac:spMkLst>
        </pc:spChg>
        <pc:spChg chg="mod">
          <ac:chgData name="Mariam Daniela Tristancho Pineda (MISION TEMPORAL LTDA)" userId="a45a17f7-7950-4cb5-bfab-f5c894f959a9" providerId="ADAL" clId="{9D150B60-33B5-4A3E-8123-A67E35AA8D44}" dt="2020-07-28T01:22:22.642" v="17805" actId="1036"/>
          <ac:spMkLst>
            <pc:docMk/>
            <pc:sldMk cId="1974979659" sldId="2134804329"/>
            <ac:spMk id="19" creationId="{CE9667FC-2EDF-4F30-B9FB-41AC4BCA57C5}"/>
          </ac:spMkLst>
        </pc:spChg>
        <pc:spChg chg="mod">
          <ac:chgData name="Mariam Daniela Tristancho Pineda (MISION TEMPORAL LTDA)" userId="a45a17f7-7950-4cb5-bfab-f5c894f959a9" providerId="ADAL" clId="{9D150B60-33B5-4A3E-8123-A67E35AA8D44}" dt="2020-07-26T22:52:39.112" v="9326" actId="20577"/>
          <ac:spMkLst>
            <pc:docMk/>
            <pc:sldMk cId="1974979659" sldId="2134804329"/>
            <ac:spMk id="20" creationId="{92C8D133-E6D8-4045-B204-E026C5621093}"/>
          </ac:spMkLst>
        </pc:spChg>
        <pc:spChg chg="del">
          <ac:chgData name="Mariam Daniela Tristancho Pineda (MISION TEMPORAL LTDA)" userId="a45a17f7-7950-4cb5-bfab-f5c894f959a9" providerId="ADAL" clId="{9D150B60-33B5-4A3E-8123-A67E35AA8D44}" dt="2020-07-26T22:53:22.870" v="9330" actId="478"/>
          <ac:spMkLst>
            <pc:docMk/>
            <pc:sldMk cId="1974979659" sldId="2134804329"/>
            <ac:spMk id="33" creationId="{257A51C8-EB6E-4CAA-8ED7-3E4E7C0B3A8A}"/>
          </ac:spMkLst>
        </pc:spChg>
        <pc:spChg chg="del">
          <ac:chgData name="Mariam Daniela Tristancho Pineda (MISION TEMPORAL LTDA)" userId="a45a17f7-7950-4cb5-bfab-f5c894f959a9" providerId="ADAL" clId="{9D150B60-33B5-4A3E-8123-A67E35AA8D44}" dt="2020-07-26T22:53:22.870" v="9330" actId="478"/>
          <ac:spMkLst>
            <pc:docMk/>
            <pc:sldMk cId="1974979659" sldId="2134804329"/>
            <ac:spMk id="36" creationId="{25CCB3F9-8A57-42B5-B0AC-56F5E0EDACF5}"/>
          </ac:spMkLst>
        </pc:spChg>
        <pc:spChg chg="del">
          <ac:chgData name="Mariam Daniela Tristancho Pineda (MISION TEMPORAL LTDA)" userId="a45a17f7-7950-4cb5-bfab-f5c894f959a9" providerId="ADAL" clId="{9D150B60-33B5-4A3E-8123-A67E35AA8D44}" dt="2020-07-26T22:53:22.870" v="9330" actId="478"/>
          <ac:spMkLst>
            <pc:docMk/>
            <pc:sldMk cId="1974979659" sldId="2134804329"/>
            <ac:spMk id="37" creationId="{50BFBD21-058C-4134-A883-5F522F8B0B76}"/>
          </ac:spMkLst>
        </pc:spChg>
        <pc:spChg chg="mod">
          <ac:chgData name="Mariam Daniela Tristancho Pineda (MISION TEMPORAL LTDA)" userId="a45a17f7-7950-4cb5-bfab-f5c894f959a9" providerId="ADAL" clId="{9D150B60-33B5-4A3E-8123-A67E35AA8D44}" dt="2020-07-28T01:22:22.642" v="17805" actId="1036"/>
          <ac:spMkLst>
            <pc:docMk/>
            <pc:sldMk cId="1974979659" sldId="2134804329"/>
            <ac:spMk id="38" creationId="{3552541D-17C8-4822-9A1D-90A0C0B5AD8E}"/>
          </ac:spMkLst>
        </pc:spChg>
        <pc:spChg chg="mod">
          <ac:chgData name="Mariam Daniela Tristancho Pineda (MISION TEMPORAL LTDA)" userId="a45a17f7-7950-4cb5-bfab-f5c894f959a9" providerId="ADAL" clId="{9D150B60-33B5-4A3E-8123-A67E35AA8D44}" dt="2020-07-28T01:22:22.642" v="17805" actId="1036"/>
          <ac:spMkLst>
            <pc:docMk/>
            <pc:sldMk cId="1974979659" sldId="2134804329"/>
            <ac:spMk id="40" creationId="{25EFF114-9C03-4A67-908C-727B85061D72}"/>
          </ac:spMkLst>
        </pc:spChg>
        <pc:spChg chg="del">
          <ac:chgData name="Mariam Daniela Tristancho Pineda (MISION TEMPORAL LTDA)" userId="a45a17f7-7950-4cb5-bfab-f5c894f959a9" providerId="ADAL" clId="{9D150B60-33B5-4A3E-8123-A67E35AA8D44}" dt="2020-07-26T22:53:22.870" v="9330" actId="478"/>
          <ac:spMkLst>
            <pc:docMk/>
            <pc:sldMk cId="1974979659" sldId="2134804329"/>
            <ac:spMk id="41" creationId="{F04142FF-DA42-4442-8692-4F397E7AEFE4}"/>
          </ac:spMkLst>
        </pc:spChg>
        <pc:spChg chg="mod">
          <ac:chgData name="Mariam Daniela Tristancho Pineda (MISION TEMPORAL LTDA)" userId="a45a17f7-7950-4cb5-bfab-f5c894f959a9" providerId="ADAL" clId="{9D150B60-33B5-4A3E-8123-A67E35AA8D44}" dt="2020-07-28T01:22:22.642" v="17805" actId="1036"/>
          <ac:spMkLst>
            <pc:docMk/>
            <pc:sldMk cId="1974979659" sldId="2134804329"/>
            <ac:spMk id="44" creationId="{4B1A9C8A-FFC0-483B-B825-ED5EF0C388A9}"/>
          </ac:spMkLst>
        </pc:spChg>
        <pc:spChg chg="del mod">
          <ac:chgData name="Mariam Daniela Tristancho Pineda (MISION TEMPORAL LTDA)" userId="a45a17f7-7950-4cb5-bfab-f5c894f959a9" providerId="ADAL" clId="{9D150B60-33B5-4A3E-8123-A67E35AA8D44}" dt="2020-07-26T22:53:50.521" v="9380" actId="478"/>
          <ac:spMkLst>
            <pc:docMk/>
            <pc:sldMk cId="1974979659" sldId="2134804329"/>
            <ac:spMk id="45" creationId="{8E8CD834-7B34-47C9-9BE7-09ECA14BFCEB}"/>
          </ac:spMkLst>
        </pc:spChg>
        <pc:spChg chg="del mod">
          <ac:chgData name="Mariam Daniela Tristancho Pineda (MISION TEMPORAL LTDA)" userId="a45a17f7-7950-4cb5-bfab-f5c894f959a9" providerId="ADAL" clId="{9D150B60-33B5-4A3E-8123-A67E35AA8D44}" dt="2020-07-26T22:54:38.970" v="9390" actId="478"/>
          <ac:spMkLst>
            <pc:docMk/>
            <pc:sldMk cId="1974979659" sldId="2134804329"/>
            <ac:spMk id="47" creationId="{137B0C4F-8471-4337-954D-6AECA53DF9C2}"/>
          </ac:spMkLst>
        </pc:spChg>
        <pc:spChg chg="del mod">
          <ac:chgData name="Mariam Daniela Tristancho Pineda (MISION TEMPORAL LTDA)" userId="a45a17f7-7950-4cb5-bfab-f5c894f959a9" providerId="ADAL" clId="{9D150B60-33B5-4A3E-8123-A67E35AA8D44}" dt="2020-07-26T22:54:43.876" v="9393" actId="478"/>
          <ac:spMkLst>
            <pc:docMk/>
            <pc:sldMk cId="1974979659" sldId="2134804329"/>
            <ac:spMk id="50" creationId="{5456FCCF-17A3-4C09-BB8D-FFC3C7379B53}"/>
          </ac:spMkLst>
        </pc:spChg>
        <pc:spChg chg="mod">
          <ac:chgData name="Mariam Daniela Tristancho Pineda (MISION TEMPORAL LTDA)" userId="a45a17f7-7950-4cb5-bfab-f5c894f959a9" providerId="ADAL" clId="{9D150B60-33B5-4A3E-8123-A67E35AA8D44}" dt="2020-07-28T01:22:22.642" v="17805" actId="1036"/>
          <ac:spMkLst>
            <pc:docMk/>
            <pc:sldMk cId="1974979659" sldId="2134804329"/>
            <ac:spMk id="51" creationId="{C0A2318E-3E25-4819-8017-0D802266D8BE}"/>
          </ac:spMkLst>
        </pc:spChg>
        <pc:spChg chg="mod">
          <ac:chgData name="Mariam Daniela Tristancho Pineda (MISION TEMPORAL LTDA)" userId="a45a17f7-7950-4cb5-bfab-f5c894f959a9" providerId="ADAL" clId="{9D150B60-33B5-4A3E-8123-A67E35AA8D44}" dt="2020-07-28T01:22:22.642" v="17805" actId="1036"/>
          <ac:spMkLst>
            <pc:docMk/>
            <pc:sldMk cId="1974979659" sldId="2134804329"/>
            <ac:spMk id="52" creationId="{FC3592D3-9AB1-446B-A099-2A5C49525B49}"/>
          </ac:spMkLst>
        </pc:spChg>
        <pc:spChg chg="del mod">
          <ac:chgData name="Mariam Daniela Tristancho Pineda (MISION TEMPORAL LTDA)" userId="a45a17f7-7950-4cb5-bfab-f5c894f959a9" providerId="ADAL" clId="{9D150B60-33B5-4A3E-8123-A67E35AA8D44}" dt="2020-07-26T22:54:38.970" v="9390" actId="478"/>
          <ac:spMkLst>
            <pc:docMk/>
            <pc:sldMk cId="1974979659" sldId="2134804329"/>
            <ac:spMk id="54" creationId="{18FCD16F-84E8-4671-A091-C0264D480522}"/>
          </ac:spMkLst>
        </pc:spChg>
        <pc:spChg chg="del mod">
          <ac:chgData name="Mariam Daniela Tristancho Pineda (MISION TEMPORAL LTDA)" userId="a45a17f7-7950-4cb5-bfab-f5c894f959a9" providerId="ADAL" clId="{9D150B60-33B5-4A3E-8123-A67E35AA8D44}" dt="2020-07-26T22:55:55.680" v="9457" actId="478"/>
          <ac:spMkLst>
            <pc:docMk/>
            <pc:sldMk cId="1974979659" sldId="2134804329"/>
            <ac:spMk id="55" creationId="{24B43721-8F2C-4416-AF8D-9AB7CA3936C4}"/>
          </ac:spMkLst>
        </pc:spChg>
        <pc:spChg chg="del mod">
          <ac:chgData name="Mariam Daniela Tristancho Pineda (MISION TEMPORAL LTDA)" userId="a45a17f7-7950-4cb5-bfab-f5c894f959a9" providerId="ADAL" clId="{9D150B60-33B5-4A3E-8123-A67E35AA8D44}" dt="2020-07-26T22:54:38.970" v="9390" actId="478"/>
          <ac:spMkLst>
            <pc:docMk/>
            <pc:sldMk cId="1974979659" sldId="2134804329"/>
            <ac:spMk id="58" creationId="{87C0C219-147A-4233-AEBD-D8B263DF2912}"/>
          </ac:spMkLst>
        </pc:spChg>
        <pc:spChg chg="del mod">
          <ac:chgData name="Mariam Daniela Tristancho Pineda (MISION TEMPORAL LTDA)" userId="a45a17f7-7950-4cb5-bfab-f5c894f959a9" providerId="ADAL" clId="{9D150B60-33B5-4A3E-8123-A67E35AA8D44}" dt="2020-07-26T22:54:41.817" v="9391" actId="478"/>
          <ac:spMkLst>
            <pc:docMk/>
            <pc:sldMk cId="1974979659" sldId="2134804329"/>
            <ac:spMk id="60" creationId="{416DD046-D9EC-437D-B3C4-49AE6F9E8B1B}"/>
          </ac:spMkLst>
        </pc:spChg>
        <pc:spChg chg="del mod">
          <ac:chgData name="Mariam Daniela Tristancho Pineda (MISION TEMPORAL LTDA)" userId="a45a17f7-7950-4cb5-bfab-f5c894f959a9" providerId="ADAL" clId="{9D150B60-33B5-4A3E-8123-A67E35AA8D44}" dt="2020-07-26T22:54:38.970" v="9390" actId="478"/>
          <ac:spMkLst>
            <pc:docMk/>
            <pc:sldMk cId="1974979659" sldId="2134804329"/>
            <ac:spMk id="61" creationId="{7C69D657-65A5-4E1B-8464-4A04E7AFC334}"/>
          </ac:spMkLst>
        </pc:spChg>
        <pc:spChg chg="del mod">
          <ac:chgData name="Mariam Daniela Tristancho Pineda (MISION TEMPORAL LTDA)" userId="a45a17f7-7950-4cb5-bfab-f5c894f959a9" providerId="ADAL" clId="{9D150B60-33B5-4A3E-8123-A67E35AA8D44}" dt="2020-07-26T22:54:43.334" v="9392" actId="478"/>
          <ac:spMkLst>
            <pc:docMk/>
            <pc:sldMk cId="1974979659" sldId="2134804329"/>
            <ac:spMk id="62" creationId="{CAD53C17-134A-4DBD-B578-EF435A01FB3F}"/>
          </ac:spMkLst>
        </pc:spChg>
        <pc:spChg chg="mod">
          <ac:chgData name="Mariam Daniela Tristancho Pineda (MISION TEMPORAL LTDA)" userId="a45a17f7-7950-4cb5-bfab-f5c894f959a9" providerId="ADAL" clId="{9D150B60-33B5-4A3E-8123-A67E35AA8D44}" dt="2020-07-28T01:22:22.642" v="17805" actId="1036"/>
          <ac:spMkLst>
            <pc:docMk/>
            <pc:sldMk cId="1974979659" sldId="2134804329"/>
            <ac:spMk id="63" creationId="{FDF3B75C-EF94-43C4-8C4C-4ECAB5FEA69C}"/>
          </ac:spMkLst>
        </pc:spChg>
        <pc:spChg chg="del mod">
          <ac:chgData name="Mariam Daniela Tristancho Pineda (MISION TEMPORAL LTDA)" userId="a45a17f7-7950-4cb5-bfab-f5c894f959a9" providerId="ADAL" clId="{9D150B60-33B5-4A3E-8123-A67E35AA8D44}" dt="2020-07-26T22:55:55.680" v="9457" actId="478"/>
          <ac:spMkLst>
            <pc:docMk/>
            <pc:sldMk cId="1974979659" sldId="2134804329"/>
            <ac:spMk id="64" creationId="{61CFA38E-1F3E-49A0-A330-E5F97D5B2A01}"/>
          </ac:spMkLst>
        </pc:spChg>
        <pc:spChg chg="del mod">
          <ac:chgData name="Mariam Daniela Tristancho Pineda (MISION TEMPORAL LTDA)" userId="a45a17f7-7950-4cb5-bfab-f5c894f959a9" providerId="ADAL" clId="{9D150B60-33B5-4A3E-8123-A67E35AA8D44}" dt="2020-07-26T22:56:00.237" v="9458" actId="478"/>
          <ac:spMkLst>
            <pc:docMk/>
            <pc:sldMk cId="1974979659" sldId="2134804329"/>
            <ac:spMk id="65" creationId="{E1D02522-5753-4EFB-951A-5755483EDD96}"/>
          </ac:spMkLst>
        </pc:spChg>
        <pc:spChg chg="del mod">
          <ac:chgData name="Mariam Daniela Tristancho Pineda (MISION TEMPORAL LTDA)" userId="a45a17f7-7950-4cb5-bfab-f5c894f959a9" providerId="ADAL" clId="{9D150B60-33B5-4A3E-8123-A67E35AA8D44}" dt="2020-07-26T22:55:55.680" v="9457" actId="478"/>
          <ac:spMkLst>
            <pc:docMk/>
            <pc:sldMk cId="1974979659" sldId="2134804329"/>
            <ac:spMk id="66" creationId="{6F85F403-E123-4C2D-A378-CDAFE968B9D9}"/>
          </ac:spMkLst>
        </pc:spChg>
        <pc:spChg chg="del mod">
          <ac:chgData name="Mariam Daniela Tristancho Pineda (MISION TEMPORAL LTDA)" userId="a45a17f7-7950-4cb5-bfab-f5c894f959a9" providerId="ADAL" clId="{9D150B60-33B5-4A3E-8123-A67E35AA8D44}" dt="2020-07-26T22:56:00.237" v="9458" actId="478"/>
          <ac:spMkLst>
            <pc:docMk/>
            <pc:sldMk cId="1974979659" sldId="2134804329"/>
            <ac:spMk id="67" creationId="{4CC8DF42-E8CE-4AEA-AF20-116C630E45ED}"/>
          </ac:spMkLst>
        </pc:spChg>
        <pc:spChg chg="del mod">
          <ac:chgData name="Mariam Daniela Tristancho Pineda (MISION TEMPORAL LTDA)" userId="a45a17f7-7950-4cb5-bfab-f5c894f959a9" providerId="ADAL" clId="{9D150B60-33B5-4A3E-8123-A67E35AA8D44}" dt="2020-07-26T22:55:55.680" v="9457" actId="478"/>
          <ac:spMkLst>
            <pc:docMk/>
            <pc:sldMk cId="1974979659" sldId="2134804329"/>
            <ac:spMk id="68" creationId="{8B5ED806-B54B-4057-B826-24314EC1F9B8}"/>
          </ac:spMkLst>
        </pc:spChg>
        <pc:spChg chg="del mod">
          <ac:chgData name="Mariam Daniela Tristancho Pineda (MISION TEMPORAL LTDA)" userId="a45a17f7-7950-4cb5-bfab-f5c894f959a9" providerId="ADAL" clId="{9D150B60-33B5-4A3E-8123-A67E35AA8D44}" dt="2020-07-26T22:56:00.237" v="9458" actId="478"/>
          <ac:spMkLst>
            <pc:docMk/>
            <pc:sldMk cId="1974979659" sldId="2134804329"/>
            <ac:spMk id="69" creationId="{5A5074EC-7041-463A-BA61-7944DB963505}"/>
          </ac:spMkLst>
        </pc:spChg>
        <pc:spChg chg="del mod">
          <ac:chgData name="Mariam Daniela Tristancho Pineda (MISION TEMPORAL LTDA)" userId="a45a17f7-7950-4cb5-bfab-f5c894f959a9" providerId="ADAL" clId="{9D150B60-33B5-4A3E-8123-A67E35AA8D44}" dt="2020-07-26T22:56:43.781" v="9499" actId="478"/>
          <ac:spMkLst>
            <pc:docMk/>
            <pc:sldMk cId="1974979659" sldId="2134804329"/>
            <ac:spMk id="70" creationId="{A549087F-0234-4CF2-AA9A-E2B491A99CF5}"/>
          </ac:spMkLst>
        </pc:spChg>
        <pc:spChg chg="mod">
          <ac:chgData name="Mariam Daniela Tristancho Pineda (MISION TEMPORAL LTDA)" userId="a45a17f7-7950-4cb5-bfab-f5c894f959a9" providerId="ADAL" clId="{9D150B60-33B5-4A3E-8123-A67E35AA8D44}" dt="2020-07-28T01:22:22.642" v="17805" actId="1036"/>
          <ac:spMkLst>
            <pc:docMk/>
            <pc:sldMk cId="1974979659" sldId="2134804329"/>
            <ac:spMk id="79" creationId="{7A485175-A5E8-48E7-8A26-808AC78F05FA}"/>
          </ac:spMkLst>
        </pc:spChg>
        <pc:graphicFrameChg chg="mod modGraphic">
          <ac:chgData name="Mariam Daniela Tristancho Pineda (MISION TEMPORAL LTDA)" userId="a45a17f7-7950-4cb5-bfab-f5c894f959a9" providerId="ADAL" clId="{9D150B60-33B5-4A3E-8123-A67E35AA8D44}" dt="2020-07-28T01:22:22.642" v="17805" actId="1036"/>
          <ac:graphicFrameMkLst>
            <pc:docMk/>
            <pc:sldMk cId="1974979659" sldId="2134804329"/>
            <ac:graphicFrameMk id="7" creationId="{C866CA4D-9ED5-4A67-9BF0-26C15AE2AA2C}"/>
          </ac:graphicFrameMkLst>
        </pc:graphicFrameChg>
        <pc:graphicFrameChg chg="mod modGraphic">
          <ac:chgData name="Mariam Daniela Tristancho Pineda (MISION TEMPORAL LTDA)" userId="a45a17f7-7950-4cb5-bfab-f5c894f959a9" providerId="ADAL" clId="{9D150B60-33B5-4A3E-8123-A67E35AA8D44}" dt="2020-07-28T15:07:15.879" v="20044" actId="2084"/>
          <ac:graphicFrameMkLst>
            <pc:docMk/>
            <pc:sldMk cId="1974979659" sldId="2134804329"/>
            <ac:graphicFrameMk id="35" creationId="{D6562056-B40E-47F9-9726-6C4C21F304AB}"/>
          </ac:graphicFrameMkLst>
        </pc:graphicFrameChg>
        <pc:cxnChg chg="mod">
          <ac:chgData name="Mariam Daniela Tristancho Pineda (MISION TEMPORAL LTDA)" userId="a45a17f7-7950-4cb5-bfab-f5c894f959a9" providerId="ADAL" clId="{9D150B60-33B5-4A3E-8123-A67E35AA8D44}" dt="2020-07-28T01:22:22.642" v="17805" actId="1036"/>
          <ac:cxnSpMkLst>
            <pc:docMk/>
            <pc:sldMk cId="1974979659" sldId="2134804329"/>
            <ac:cxnSpMk id="5" creationId="{017DAD00-B855-4E39-8DE1-7636A3DDFC9D}"/>
          </ac:cxnSpMkLst>
        </pc:cxnChg>
      </pc:sldChg>
      <pc:sldChg chg="modSp add mod ord">
        <pc:chgData name="Mariam Daniela Tristancho Pineda (MISION TEMPORAL LTDA)" userId="a45a17f7-7950-4cb5-bfab-f5c894f959a9" providerId="ADAL" clId="{9D150B60-33B5-4A3E-8123-A67E35AA8D44}" dt="2020-07-28T15:01:03.530" v="19893"/>
        <pc:sldMkLst>
          <pc:docMk/>
          <pc:sldMk cId="240968699" sldId="2134804330"/>
        </pc:sldMkLst>
        <pc:spChg chg="mod">
          <ac:chgData name="Mariam Daniela Tristancho Pineda (MISION TEMPORAL LTDA)" userId="a45a17f7-7950-4cb5-bfab-f5c894f959a9" providerId="ADAL" clId="{9D150B60-33B5-4A3E-8123-A67E35AA8D44}" dt="2020-07-27T19:30:29.346" v="11623" actId="693"/>
          <ac:spMkLst>
            <pc:docMk/>
            <pc:sldMk cId="240968699" sldId="2134804330"/>
            <ac:spMk id="97" creationId="{99300021-C267-43BD-A0F5-B3ECE622345E}"/>
          </ac:spMkLst>
        </pc:spChg>
        <pc:spChg chg="mod">
          <ac:chgData name="Mariam Daniela Tristancho Pineda (MISION TEMPORAL LTDA)" userId="a45a17f7-7950-4cb5-bfab-f5c894f959a9" providerId="ADAL" clId="{9D150B60-33B5-4A3E-8123-A67E35AA8D44}" dt="2020-07-28T01:01:38.663" v="17311" actId="14100"/>
          <ac:spMkLst>
            <pc:docMk/>
            <pc:sldMk cId="240968699" sldId="2134804330"/>
            <ac:spMk id="135" creationId="{C1823568-A421-4254-9106-BAEB76F16B72}"/>
          </ac:spMkLst>
        </pc:spChg>
        <pc:spChg chg="mod">
          <ac:chgData name="Mariam Daniela Tristancho Pineda (MISION TEMPORAL LTDA)" userId="a45a17f7-7950-4cb5-bfab-f5c894f959a9" providerId="ADAL" clId="{9D150B60-33B5-4A3E-8123-A67E35AA8D44}" dt="2020-07-27T19:30:29.346" v="11623" actId="693"/>
          <ac:spMkLst>
            <pc:docMk/>
            <pc:sldMk cId="240968699" sldId="2134804330"/>
            <ac:spMk id="147" creationId="{28985963-B271-4E6A-83C5-F3A62A87E6BA}"/>
          </ac:spMkLst>
        </pc:spChg>
      </pc:sldChg>
      <pc:sldChg chg="modSp add mod ord">
        <pc:chgData name="Mariam Daniela Tristancho Pineda (MISION TEMPORAL LTDA)" userId="a45a17f7-7950-4cb5-bfab-f5c894f959a9" providerId="ADAL" clId="{9D150B60-33B5-4A3E-8123-A67E35AA8D44}" dt="2020-07-28T15:01:03.530" v="19893"/>
        <pc:sldMkLst>
          <pc:docMk/>
          <pc:sldMk cId="1202002608" sldId="2134804331"/>
        </pc:sldMkLst>
        <pc:spChg chg="mod">
          <ac:chgData name="Mariam Daniela Tristancho Pineda (MISION TEMPORAL LTDA)" userId="a45a17f7-7950-4cb5-bfab-f5c894f959a9" providerId="ADAL" clId="{9D150B60-33B5-4A3E-8123-A67E35AA8D44}" dt="2020-07-27T19:30:59.975" v="11626" actId="208"/>
          <ac:spMkLst>
            <pc:docMk/>
            <pc:sldMk cId="1202002608" sldId="2134804331"/>
            <ac:spMk id="11" creationId="{184C2B9E-D3B9-49BD-8620-C63A684282DB}"/>
          </ac:spMkLst>
        </pc:spChg>
        <pc:spChg chg="mod">
          <ac:chgData name="Mariam Daniela Tristancho Pineda (MISION TEMPORAL LTDA)" userId="a45a17f7-7950-4cb5-bfab-f5c894f959a9" providerId="ADAL" clId="{9D150B60-33B5-4A3E-8123-A67E35AA8D44}" dt="2020-07-28T01:23:27.481" v="17819" actId="1038"/>
          <ac:spMkLst>
            <pc:docMk/>
            <pc:sldMk cId="1202002608" sldId="2134804331"/>
            <ac:spMk id="14" creationId="{88D540A9-A2F6-4BF9-A7FE-8600061D0F6A}"/>
          </ac:spMkLst>
        </pc:spChg>
        <pc:spChg chg="mod">
          <ac:chgData name="Mariam Daniela Tristancho Pineda (MISION TEMPORAL LTDA)" userId="a45a17f7-7950-4cb5-bfab-f5c894f959a9" providerId="ADAL" clId="{9D150B60-33B5-4A3E-8123-A67E35AA8D44}" dt="2020-07-28T01:23:27.481" v="17819" actId="1038"/>
          <ac:spMkLst>
            <pc:docMk/>
            <pc:sldMk cId="1202002608" sldId="2134804331"/>
            <ac:spMk id="15" creationId="{3AE6683F-3E42-4515-BD41-D3AAD3584C87}"/>
          </ac:spMkLst>
        </pc:spChg>
        <pc:spChg chg="mod">
          <ac:chgData name="Mariam Daniela Tristancho Pineda (MISION TEMPORAL LTDA)" userId="a45a17f7-7950-4cb5-bfab-f5c894f959a9" providerId="ADAL" clId="{9D150B60-33B5-4A3E-8123-A67E35AA8D44}" dt="2020-07-27T19:30:41.760" v="11624" actId="208"/>
          <ac:spMkLst>
            <pc:docMk/>
            <pc:sldMk cId="1202002608" sldId="2134804331"/>
            <ac:spMk id="38" creationId="{13852665-B2E4-439B-9954-9CB9C58718D8}"/>
          </ac:spMkLst>
        </pc:spChg>
        <pc:spChg chg="mod">
          <ac:chgData name="Mariam Daniela Tristancho Pineda (MISION TEMPORAL LTDA)" userId="a45a17f7-7950-4cb5-bfab-f5c894f959a9" providerId="ADAL" clId="{9D150B60-33B5-4A3E-8123-A67E35AA8D44}" dt="2020-07-27T19:32:02.128" v="11637" actId="693"/>
          <ac:spMkLst>
            <pc:docMk/>
            <pc:sldMk cId="1202002608" sldId="2134804331"/>
            <ac:spMk id="47" creationId="{08837AB5-D97B-420C-BCF2-789F49683794}"/>
          </ac:spMkLst>
        </pc:spChg>
        <pc:spChg chg="mod">
          <ac:chgData name="Mariam Daniela Tristancho Pineda (MISION TEMPORAL LTDA)" userId="a45a17f7-7950-4cb5-bfab-f5c894f959a9" providerId="ADAL" clId="{9D150B60-33B5-4A3E-8123-A67E35AA8D44}" dt="2020-07-28T01:23:27.481" v="17819" actId="1038"/>
          <ac:spMkLst>
            <pc:docMk/>
            <pc:sldMk cId="1202002608" sldId="2134804331"/>
            <ac:spMk id="49" creationId="{A35CEBA9-131C-44AD-A845-A68EC946AFBA}"/>
          </ac:spMkLst>
        </pc:spChg>
        <pc:spChg chg="mod">
          <ac:chgData name="Mariam Daniela Tristancho Pineda (MISION TEMPORAL LTDA)" userId="a45a17f7-7950-4cb5-bfab-f5c894f959a9" providerId="ADAL" clId="{9D150B60-33B5-4A3E-8123-A67E35AA8D44}" dt="2020-07-27T19:31:49.479" v="11634" actId="208"/>
          <ac:spMkLst>
            <pc:docMk/>
            <pc:sldMk cId="1202002608" sldId="2134804331"/>
            <ac:spMk id="54" creationId="{CB039B06-B703-45C8-82C0-18631771D81F}"/>
          </ac:spMkLst>
        </pc:spChg>
        <pc:spChg chg="mod">
          <ac:chgData name="Mariam Daniela Tristancho Pineda (MISION TEMPORAL LTDA)" userId="a45a17f7-7950-4cb5-bfab-f5c894f959a9" providerId="ADAL" clId="{9D150B60-33B5-4A3E-8123-A67E35AA8D44}" dt="2020-07-27T19:32:02.128" v="11637" actId="693"/>
          <ac:spMkLst>
            <pc:docMk/>
            <pc:sldMk cId="1202002608" sldId="2134804331"/>
            <ac:spMk id="62" creationId="{BAD8AC49-F484-4980-AAD5-672795A58DC5}"/>
          </ac:spMkLst>
        </pc:spChg>
        <pc:spChg chg="mod">
          <ac:chgData name="Mariam Daniela Tristancho Pineda (MISION TEMPORAL LTDA)" userId="a45a17f7-7950-4cb5-bfab-f5c894f959a9" providerId="ADAL" clId="{9D150B60-33B5-4A3E-8123-A67E35AA8D44}" dt="2020-07-28T01:23:27.481" v="17819" actId="1038"/>
          <ac:spMkLst>
            <pc:docMk/>
            <pc:sldMk cId="1202002608" sldId="2134804331"/>
            <ac:spMk id="71" creationId="{957CBAF9-7655-4A51-9450-50545E04AD44}"/>
          </ac:spMkLst>
        </pc:spChg>
        <pc:spChg chg="mod">
          <ac:chgData name="Mariam Daniela Tristancho Pineda (MISION TEMPORAL LTDA)" userId="a45a17f7-7950-4cb5-bfab-f5c894f959a9" providerId="ADAL" clId="{9D150B60-33B5-4A3E-8123-A67E35AA8D44}" dt="2020-07-27T19:31:29.666" v="11632" actId="693"/>
          <ac:spMkLst>
            <pc:docMk/>
            <pc:sldMk cId="1202002608" sldId="2134804331"/>
            <ac:spMk id="97" creationId="{99300021-C267-43BD-A0F5-B3ECE622345E}"/>
          </ac:spMkLst>
        </pc:spChg>
        <pc:spChg chg="mod">
          <ac:chgData name="Mariam Daniela Tristancho Pineda (MISION TEMPORAL LTDA)" userId="a45a17f7-7950-4cb5-bfab-f5c894f959a9" providerId="ADAL" clId="{9D150B60-33B5-4A3E-8123-A67E35AA8D44}" dt="2020-07-27T19:29:33.945" v="11611" actId="20577"/>
          <ac:spMkLst>
            <pc:docMk/>
            <pc:sldMk cId="1202002608" sldId="2134804331"/>
            <ac:spMk id="135" creationId="{C1823568-A421-4254-9106-BAEB76F16B72}"/>
          </ac:spMkLst>
        </pc:spChg>
      </pc:sldChg>
      <pc:sldChg chg="modSp add mod ord">
        <pc:chgData name="Mariam Daniela Tristancho Pineda (MISION TEMPORAL LTDA)" userId="a45a17f7-7950-4cb5-bfab-f5c894f959a9" providerId="ADAL" clId="{9D150B60-33B5-4A3E-8123-A67E35AA8D44}" dt="2020-07-28T15:01:03.530" v="19893"/>
        <pc:sldMkLst>
          <pc:docMk/>
          <pc:sldMk cId="4044430387" sldId="2134804332"/>
        </pc:sldMkLst>
        <pc:spChg chg="mod">
          <ac:chgData name="Mariam Daniela Tristancho Pineda (MISION TEMPORAL LTDA)" userId="a45a17f7-7950-4cb5-bfab-f5c894f959a9" providerId="ADAL" clId="{9D150B60-33B5-4A3E-8123-A67E35AA8D44}" dt="2020-07-27T19:32:50.368" v="11638" actId="208"/>
          <ac:spMkLst>
            <pc:docMk/>
            <pc:sldMk cId="4044430387" sldId="2134804332"/>
            <ac:spMk id="7" creationId="{A050DA32-C215-4F0A-ACAB-695843B199F5}"/>
          </ac:spMkLst>
        </pc:spChg>
        <pc:spChg chg="mod">
          <ac:chgData name="Mariam Daniela Tristancho Pineda (MISION TEMPORAL LTDA)" userId="a45a17f7-7950-4cb5-bfab-f5c894f959a9" providerId="ADAL" clId="{9D150B60-33B5-4A3E-8123-A67E35AA8D44}" dt="2020-07-27T19:32:50.368" v="11638" actId="208"/>
          <ac:spMkLst>
            <pc:docMk/>
            <pc:sldMk cId="4044430387" sldId="2134804332"/>
            <ac:spMk id="49" creationId="{E470E608-DE91-49F1-B012-DE560AC3DFC9}"/>
          </ac:spMkLst>
        </pc:spChg>
        <pc:spChg chg="mod">
          <ac:chgData name="Mariam Daniela Tristancho Pineda (MISION TEMPORAL LTDA)" userId="a45a17f7-7950-4cb5-bfab-f5c894f959a9" providerId="ADAL" clId="{9D150B60-33B5-4A3E-8123-A67E35AA8D44}" dt="2020-07-27T19:32:55.927" v="11640" actId="208"/>
          <ac:spMkLst>
            <pc:docMk/>
            <pc:sldMk cId="4044430387" sldId="2134804332"/>
            <ac:spMk id="89" creationId="{78E51770-F801-49A4-B7E4-98D680A50D5D}"/>
          </ac:spMkLst>
        </pc:spChg>
        <pc:spChg chg="mod">
          <ac:chgData name="Mariam Daniela Tristancho Pineda (MISION TEMPORAL LTDA)" userId="a45a17f7-7950-4cb5-bfab-f5c894f959a9" providerId="ADAL" clId="{9D150B60-33B5-4A3E-8123-A67E35AA8D44}" dt="2020-07-27T19:32:55.927" v="11640" actId="208"/>
          <ac:spMkLst>
            <pc:docMk/>
            <pc:sldMk cId="4044430387" sldId="2134804332"/>
            <ac:spMk id="103" creationId="{47CDDAFF-8DCC-4B35-9FE7-57D6B6DB23D4}"/>
          </ac:spMkLst>
        </pc:spChg>
        <pc:spChg chg="mod">
          <ac:chgData name="Mariam Daniela Tristancho Pineda (MISION TEMPORAL LTDA)" userId="a45a17f7-7950-4cb5-bfab-f5c894f959a9" providerId="ADAL" clId="{9D150B60-33B5-4A3E-8123-A67E35AA8D44}" dt="2020-07-27T19:32:50.368" v="11638" actId="208"/>
          <ac:spMkLst>
            <pc:docMk/>
            <pc:sldMk cId="4044430387" sldId="2134804332"/>
            <ac:spMk id="109" creationId="{56717B0D-A5CF-4165-984E-31F6C44AA676}"/>
          </ac:spMkLst>
        </pc:spChg>
        <pc:spChg chg="mod">
          <ac:chgData name="Mariam Daniela Tristancho Pineda (MISION TEMPORAL LTDA)" userId="a45a17f7-7950-4cb5-bfab-f5c894f959a9" providerId="ADAL" clId="{9D150B60-33B5-4A3E-8123-A67E35AA8D44}" dt="2020-07-27T19:32:50.368" v="11638" actId="208"/>
          <ac:spMkLst>
            <pc:docMk/>
            <pc:sldMk cId="4044430387" sldId="2134804332"/>
            <ac:spMk id="112" creationId="{257606EF-5BB9-4EA0-8BD7-F8519A29B19F}"/>
          </ac:spMkLst>
        </pc:spChg>
        <pc:spChg chg="mod">
          <ac:chgData name="Mariam Daniela Tristancho Pineda (MISION TEMPORAL LTDA)" userId="a45a17f7-7950-4cb5-bfab-f5c894f959a9" providerId="ADAL" clId="{9D150B60-33B5-4A3E-8123-A67E35AA8D44}" dt="2020-07-27T19:32:50.368" v="11638" actId="208"/>
          <ac:spMkLst>
            <pc:docMk/>
            <pc:sldMk cId="4044430387" sldId="2134804332"/>
            <ac:spMk id="114" creationId="{18318F6E-FDF5-466F-8FC2-D4038054E523}"/>
          </ac:spMkLst>
        </pc:spChg>
        <pc:spChg chg="mod">
          <ac:chgData name="Mariam Daniela Tristancho Pineda (MISION TEMPORAL LTDA)" userId="a45a17f7-7950-4cb5-bfab-f5c894f959a9" providerId="ADAL" clId="{9D150B60-33B5-4A3E-8123-A67E35AA8D44}" dt="2020-07-27T19:32:50.368" v="11638" actId="208"/>
          <ac:spMkLst>
            <pc:docMk/>
            <pc:sldMk cId="4044430387" sldId="2134804332"/>
            <ac:spMk id="120" creationId="{8BFF1E86-A1DD-436B-B9A3-CC645BA93C19}"/>
          </ac:spMkLst>
        </pc:spChg>
        <pc:spChg chg="mod">
          <ac:chgData name="Mariam Daniela Tristancho Pineda (MISION TEMPORAL LTDA)" userId="a45a17f7-7950-4cb5-bfab-f5c894f959a9" providerId="ADAL" clId="{9D150B60-33B5-4A3E-8123-A67E35AA8D44}" dt="2020-07-27T19:32:50.368" v="11638" actId="208"/>
          <ac:spMkLst>
            <pc:docMk/>
            <pc:sldMk cId="4044430387" sldId="2134804332"/>
            <ac:spMk id="122" creationId="{B8505047-1817-461A-9139-B9E5DFE62916}"/>
          </ac:spMkLst>
        </pc:spChg>
        <pc:spChg chg="mod">
          <ac:chgData name="Mariam Daniela Tristancho Pineda (MISION TEMPORAL LTDA)" userId="a45a17f7-7950-4cb5-bfab-f5c894f959a9" providerId="ADAL" clId="{9D150B60-33B5-4A3E-8123-A67E35AA8D44}" dt="2020-07-27T19:30:09.217" v="11620" actId="207"/>
          <ac:spMkLst>
            <pc:docMk/>
            <pc:sldMk cId="4044430387" sldId="2134804332"/>
            <ac:spMk id="135" creationId="{C1823568-A421-4254-9106-BAEB76F16B72}"/>
          </ac:spMkLst>
        </pc:spChg>
      </pc:sldChg>
      <pc:sldChg chg="modSp add mod ord">
        <pc:chgData name="Mariam Daniela Tristancho Pineda (MISION TEMPORAL LTDA)" userId="a45a17f7-7950-4cb5-bfab-f5c894f959a9" providerId="ADAL" clId="{9D150B60-33B5-4A3E-8123-A67E35AA8D44}" dt="2020-07-28T15:01:03.530" v="19893"/>
        <pc:sldMkLst>
          <pc:docMk/>
          <pc:sldMk cId="1832843023" sldId="2134804333"/>
        </pc:sldMkLst>
        <pc:spChg chg="mod">
          <ac:chgData name="Mariam Daniela Tristancho Pineda (MISION TEMPORAL LTDA)" userId="a45a17f7-7950-4cb5-bfab-f5c894f959a9" providerId="ADAL" clId="{9D150B60-33B5-4A3E-8123-A67E35AA8D44}" dt="2020-07-27T19:33:53.387" v="11647" actId="208"/>
          <ac:spMkLst>
            <pc:docMk/>
            <pc:sldMk cId="1832843023" sldId="2134804333"/>
            <ac:spMk id="6" creationId="{86C90260-4432-439E-A036-9D4593264927}"/>
          </ac:spMkLst>
        </pc:spChg>
        <pc:spChg chg="mod">
          <ac:chgData name="Mariam Daniela Tristancho Pineda (MISION TEMPORAL LTDA)" userId="a45a17f7-7950-4cb5-bfab-f5c894f959a9" providerId="ADAL" clId="{9D150B60-33B5-4A3E-8123-A67E35AA8D44}" dt="2020-07-27T19:33:53.387" v="11647" actId="208"/>
          <ac:spMkLst>
            <pc:docMk/>
            <pc:sldMk cId="1832843023" sldId="2134804333"/>
            <ac:spMk id="7" creationId="{10A9BD64-6D9E-4D54-A8D6-0C3F6E2D8914}"/>
          </ac:spMkLst>
        </pc:spChg>
        <pc:spChg chg="mod">
          <ac:chgData name="Mariam Daniela Tristancho Pineda (MISION TEMPORAL LTDA)" userId="a45a17f7-7950-4cb5-bfab-f5c894f959a9" providerId="ADAL" clId="{9D150B60-33B5-4A3E-8123-A67E35AA8D44}" dt="2020-07-27T19:33:25.537" v="11644" actId="208"/>
          <ac:spMkLst>
            <pc:docMk/>
            <pc:sldMk cId="1832843023" sldId="2134804333"/>
            <ac:spMk id="49" creationId="{E470E608-DE91-49F1-B012-DE560AC3DFC9}"/>
          </ac:spMkLst>
        </pc:spChg>
        <pc:spChg chg="mod">
          <ac:chgData name="Mariam Daniela Tristancho Pineda (MISION TEMPORAL LTDA)" userId="a45a17f7-7950-4cb5-bfab-f5c894f959a9" providerId="ADAL" clId="{9D150B60-33B5-4A3E-8123-A67E35AA8D44}" dt="2020-07-27T19:33:57.535" v="11648" actId="208"/>
          <ac:spMkLst>
            <pc:docMk/>
            <pc:sldMk cId="1832843023" sldId="2134804333"/>
            <ac:spMk id="54" creationId="{1FF40470-AE5D-40B6-A080-8184B6939CF7}"/>
          </ac:spMkLst>
        </pc:spChg>
        <pc:spChg chg="mod">
          <ac:chgData name="Mariam Daniela Tristancho Pineda (MISION TEMPORAL LTDA)" userId="a45a17f7-7950-4cb5-bfab-f5c894f959a9" providerId="ADAL" clId="{9D150B60-33B5-4A3E-8123-A67E35AA8D44}" dt="2020-07-27T19:33:15.295" v="11642" actId="208"/>
          <ac:spMkLst>
            <pc:docMk/>
            <pc:sldMk cId="1832843023" sldId="2134804333"/>
            <ac:spMk id="60" creationId="{8B92E9C2-67D1-43CB-B344-CE2A72E1D3AE}"/>
          </ac:spMkLst>
        </pc:spChg>
        <pc:spChg chg="mod">
          <ac:chgData name="Mariam Daniela Tristancho Pineda (MISION TEMPORAL LTDA)" userId="a45a17f7-7950-4cb5-bfab-f5c894f959a9" providerId="ADAL" clId="{9D150B60-33B5-4A3E-8123-A67E35AA8D44}" dt="2020-07-27T19:34:18.299" v="11651" actId="1582"/>
          <ac:spMkLst>
            <pc:docMk/>
            <pc:sldMk cId="1832843023" sldId="2134804333"/>
            <ac:spMk id="62" creationId="{BAD8AC49-F484-4980-AAD5-672795A58DC5}"/>
          </ac:spMkLst>
        </pc:spChg>
        <pc:spChg chg="mod">
          <ac:chgData name="Mariam Daniela Tristancho Pineda (MISION TEMPORAL LTDA)" userId="a45a17f7-7950-4cb5-bfab-f5c894f959a9" providerId="ADAL" clId="{9D150B60-33B5-4A3E-8123-A67E35AA8D44}" dt="2020-07-27T19:33:15.295" v="11642" actId="208"/>
          <ac:spMkLst>
            <pc:docMk/>
            <pc:sldMk cId="1832843023" sldId="2134804333"/>
            <ac:spMk id="68" creationId="{394C5A4E-A967-4FCC-957D-2A12FA7E3183}"/>
          </ac:spMkLst>
        </pc:spChg>
        <pc:spChg chg="mod">
          <ac:chgData name="Mariam Daniela Tristancho Pineda (MISION TEMPORAL LTDA)" userId="a45a17f7-7950-4cb5-bfab-f5c894f959a9" providerId="ADAL" clId="{9D150B60-33B5-4A3E-8123-A67E35AA8D44}" dt="2020-07-28T01:02:04.143" v="17312" actId="1076"/>
          <ac:spMkLst>
            <pc:docMk/>
            <pc:sldMk cId="1832843023" sldId="2134804333"/>
            <ac:spMk id="84" creationId="{293DBAF3-3942-4C58-8A63-D4484E215E20}"/>
          </ac:spMkLst>
        </pc:spChg>
        <pc:spChg chg="mod">
          <ac:chgData name="Mariam Daniela Tristancho Pineda (MISION TEMPORAL LTDA)" userId="a45a17f7-7950-4cb5-bfab-f5c894f959a9" providerId="ADAL" clId="{9D150B60-33B5-4A3E-8123-A67E35AA8D44}" dt="2020-07-28T01:02:04.143" v="17312" actId="1076"/>
          <ac:spMkLst>
            <pc:docMk/>
            <pc:sldMk cId="1832843023" sldId="2134804333"/>
            <ac:spMk id="86" creationId="{7696A978-4362-4DE3-8C58-0F58608C4AA6}"/>
          </ac:spMkLst>
        </pc:spChg>
        <pc:spChg chg="mod">
          <ac:chgData name="Mariam Daniela Tristancho Pineda (MISION TEMPORAL LTDA)" userId="a45a17f7-7950-4cb5-bfab-f5c894f959a9" providerId="ADAL" clId="{9D150B60-33B5-4A3E-8123-A67E35AA8D44}" dt="2020-07-27T19:33:25.537" v="11644" actId="208"/>
          <ac:spMkLst>
            <pc:docMk/>
            <pc:sldMk cId="1832843023" sldId="2134804333"/>
            <ac:spMk id="89" creationId="{78E51770-F801-49A4-B7E4-98D680A50D5D}"/>
          </ac:spMkLst>
        </pc:spChg>
        <pc:spChg chg="mod">
          <ac:chgData name="Mariam Daniela Tristancho Pineda (MISION TEMPORAL LTDA)" userId="a45a17f7-7950-4cb5-bfab-f5c894f959a9" providerId="ADAL" clId="{9D150B60-33B5-4A3E-8123-A67E35AA8D44}" dt="2020-07-27T19:33:31.599" v="11645" actId="208"/>
          <ac:spMkLst>
            <pc:docMk/>
            <pc:sldMk cId="1832843023" sldId="2134804333"/>
            <ac:spMk id="103" creationId="{47CDDAFF-8DCC-4B35-9FE7-57D6B6DB23D4}"/>
          </ac:spMkLst>
        </pc:spChg>
        <pc:spChg chg="mod">
          <ac:chgData name="Mariam Daniela Tristancho Pineda (MISION TEMPORAL LTDA)" userId="a45a17f7-7950-4cb5-bfab-f5c894f959a9" providerId="ADAL" clId="{9D150B60-33B5-4A3E-8123-A67E35AA8D44}" dt="2020-07-27T19:33:25.537" v="11644" actId="208"/>
          <ac:spMkLst>
            <pc:docMk/>
            <pc:sldMk cId="1832843023" sldId="2134804333"/>
            <ac:spMk id="109" creationId="{56717B0D-A5CF-4165-984E-31F6C44AA676}"/>
          </ac:spMkLst>
        </pc:spChg>
        <pc:spChg chg="mod">
          <ac:chgData name="Mariam Daniela Tristancho Pineda (MISION TEMPORAL LTDA)" userId="a45a17f7-7950-4cb5-bfab-f5c894f959a9" providerId="ADAL" clId="{9D150B60-33B5-4A3E-8123-A67E35AA8D44}" dt="2020-07-28T01:02:04.143" v="17312" actId="1076"/>
          <ac:spMkLst>
            <pc:docMk/>
            <pc:sldMk cId="1832843023" sldId="2134804333"/>
            <ac:spMk id="117" creationId="{8960734A-1053-42D2-BD72-6674DCCE6A97}"/>
          </ac:spMkLst>
        </pc:spChg>
        <pc:spChg chg="mod">
          <ac:chgData name="Mariam Daniela Tristancho Pineda (MISION TEMPORAL LTDA)" userId="a45a17f7-7950-4cb5-bfab-f5c894f959a9" providerId="ADAL" clId="{9D150B60-33B5-4A3E-8123-A67E35AA8D44}" dt="2020-07-28T01:02:04.143" v="17312" actId="1076"/>
          <ac:spMkLst>
            <pc:docMk/>
            <pc:sldMk cId="1832843023" sldId="2134804333"/>
            <ac:spMk id="118" creationId="{C77431EE-A761-4323-B75F-692D4CAEC462}"/>
          </ac:spMkLst>
        </pc:spChg>
        <pc:spChg chg="mod">
          <ac:chgData name="Mariam Daniela Tristancho Pineda (MISION TEMPORAL LTDA)" userId="a45a17f7-7950-4cb5-bfab-f5c894f959a9" providerId="ADAL" clId="{9D150B60-33B5-4A3E-8123-A67E35AA8D44}" dt="2020-07-28T01:02:04.143" v="17312" actId="1076"/>
          <ac:spMkLst>
            <pc:docMk/>
            <pc:sldMk cId="1832843023" sldId="2134804333"/>
            <ac:spMk id="119" creationId="{A66DDFF6-8990-4632-9B16-3852035C81BA}"/>
          </ac:spMkLst>
        </pc:spChg>
        <pc:spChg chg="mod">
          <ac:chgData name="Mariam Daniela Tristancho Pineda (MISION TEMPORAL LTDA)" userId="a45a17f7-7950-4cb5-bfab-f5c894f959a9" providerId="ADAL" clId="{9D150B60-33B5-4A3E-8123-A67E35AA8D44}" dt="2020-07-28T00:28:05.671" v="16232" actId="207"/>
          <ac:spMkLst>
            <pc:docMk/>
            <pc:sldMk cId="1832843023" sldId="2134804333"/>
            <ac:spMk id="135" creationId="{C1823568-A421-4254-9106-BAEB76F16B72}"/>
          </ac:spMkLst>
        </pc:spChg>
        <pc:grpChg chg="mod">
          <ac:chgData name="Mariam Daniela Tristancho Pineda (MISION TEMPORAL LTDA)" userId="a45a17f7-7950-4cb5-bfab-f5c894f959a9" providerId="ADAL" clId="{9D150B60-33B5-4A3E-8123-A67E35AA8D44}" dt="2020-07-28T01:02:04.143" v="17312" actId="1076"/>
          <ac:grpSpMkLst>
            <pc:docMk/>
            <pc:sldMk cId="1832843023" sldId="2134804333"/>
            <ac:grpSpMk id="14" creationId="{49391088-76C7-4581-ABD3-84E3FFFD3B30}"/>
          </ac:grpSpMkLst>
        </pc:grpChg>
        <pc:grpChg chg="mod">
          <ac:chgData name="Mariam Daniela Tristancho Pineda (MISION TEMPORAL LTDA)" userId="a45a17f7-7950-4cb5-bfab-f5c894f959a9" providerId="ADAL" clId="{9D150B60-33B5-4A3E-8123-A67E35AA8D44}" dt="2020-07-28T01:02:04.143" v="17312" actId="1076"/>
          <ac:grpSpMkLst>
            <pc:docMk/>
            <pc:sldMk cId="1832843023" sldId="2134804333"/>
            <ac:grpSpMk id="27" creationId="{FBDB43F5-C0DD-4746-9873-93A29FDB9EFF}"/>
          </ac:grpSpMkLst>
        </pc:grpChg>
        <pc:grpChg chg="mod">
          <ac:chgData name="Mariam Daniela Tristancho Pineda (MISION TEMPORAL LTDA)" userId="a45a17f7-7950-4cb5-bfab-f5c894f959a9" providerId="ADAL" clId="{9D150B60-33B5-4A3E-8123-A67E35AA8D44}" dt="2020-07-28T01:02:04.143" v="17312" actId="1076"/>
          <ac:grpSpMkLst>
            <pc:docMk/>
            <pc:sldMk cId="1832843023" sldId="2134804333"/>
            <ac:grpSpMk id="50" creationId="{33C5D268-10D8-49D7-8DB6-0A27006658D7}"/>
          </ac:grpSpMkLst>
        </pc:grpChg>
        <pc:grpChg chg="mod">
          <ac:chgData name="Mariam Daniela Tristancho Pineda (MISION TEMPORAL LTDA)" userId="a45a17f7-7950-4cb5-bfab-f5c894f959a9" providerId="ADAL" clId="{9D150B60-33B5-4A3E-8123-A67E35AA8D44}" dt="2020-07-28T01:02:04.143" v="17312" actId="1076"/>
          <ac:grpSpMkLst>
            <pc:docMk/>
            <pc:sldMk cId="1832843023" sldId="2134804333"/>
            <ac:grpSpMk id="56" creationId="{F4EC4EF0-7190-4E9B-8549-5101761B6B1E}"/>
          </ac:grpSpMkLst>
        </pc:grpChg>
        <pc:grpChg chg="mod">
          <ac:chgData name="Mariam Daniela Tristancho Pineda (MISION TEMPORAL LTDA)" userId="a45a17f7-7950-4cb5-bfab-f5c894f959a9" providerId="ADAL" clId="{9D150B60-33B5-4A3E-8123-A67E35AA8D44}" dt="2020-07-28T01:02:04.143" v="17312" actId="1076"/>
          <ac:grpSpMkLst>
            <pc:docMk/>
            <pc:sldMk cId="1832843023" sldId="2134804333"/>
            <ac:grpSpMk id="64" creationId="{31798F15-706D-45E0-A3B0-893CC2623D99}"/>
          </ac:grpSpMkLst>
        </pc:grpChg>
        <pc:grpChg chg="mod">
          <ac:chgData name="Mariam Daniela Tristancho Pineda (MISION TEMPORAL LTDA)" userId="a45a17f7-7950-4cb5-bfab-f5c894f959a9" providerId="ADAL" clId="{9D150B60-33B5-4A3E-8123-A67E35AA8D44}" dt="2020-07-28T01:02:04.143" v="17312" actId="1076"/>
          <ac:grpSpMkLst>
            <pc:docMk/>
            <pc:sldMk cId="1832843023" sldId="2134804333"/>
            <ac:grpSpMk id="75" creationId="{077A4C80-B6E4-40B6-B2DC-9B42ECFBED08}"/>
          </ac:grpSpMkLst>
        </pc:grpChg>
      </pc:sldChg>
      <pc:sldChg chg="modSp add mod ord">
        <pc:chgData name="Mariam Daniela Tristancho Pineda (MISION TEMPORAL LTDA)" userId="a45a17f7-7950-4cb5-bfab-f5c894f959a9" providerId="ADAL" clId="{9D150B60-33B5-4A3E-8123-A67E35AA8D44}" dt="2020-07-28T15:01:03.530" v="19893"/>
        <pc:sldMkLst>
          <pc:docMk/>
          <pc:sldMk cId="2329099191" sldId="2134804334"/>
        </pc:sldMkLst>
        <pc:spChg chg="mod">
          <ac:chgData name="Mariam Daniela Tristancho Pineda (MISION TEMPORAL LTDA)" userId="a45a17f7-7950-4cb5-bfab-f5c894f959a9" providerId="ADAL" clId="{9D150B60-33B5-4A3E-8123-A67E35AA8D44}" dt="2020-07-28T00:15:23.276" v="15796" actId="113"/>
          <ac:spMkLst>
            <pc:docMk/>
            <pc:sldMk cId="2329099191" sldId="2134804334"/>
            <ac:spMk id="86" creationId="{7696A978-4362-4DE3-8C58-0F58608C4AA6}"/>
          </ac:spMkLst>
        </pc:spChg>
        <pc:spChg chg="mod">
          <ac:chgData name="Mariam Daniela Tristancho Pineda (MISION TEMPORAL LTDA)" userId="a45a17f7-7950-4cb5-bfab-f5c894f959a9" providerId="ADAL" clId="{9D150B60-33B5-4A3E-8123-A67E35AA8D44}" dt="2020-07-27T19:34:33.032" v="11655" actId="207"/>
          <ac:spMkLst>
            <pc:docMk/>
            <pc:sldMk cId="2329099191" sldId="2134804334"/>
            <ac:spMk id="135" creationId="{C1823568-A421-4254-9106-BAEB76F16B72}"/>
          </ac:spMkLst>
        </pc:spChg>
      </pc:sldChg>
      <pc:sldChg chg="addSp delSp modSp add mod ord">
        <pc:chgData name="Mariam Daniela Tristancho Pineda (MISION TEMPORAL LTDA)" userId="a45a17f7-7950-4cb5-bfab-f5c894f959a9" providerId="ADAL" clId="{9D150B60-33B5-4A3E-8123-A67E35AA8D44}" dt="2020-07-28T15:01:03.530" v="19893"/>
        <pc:sldMkLst>
          <pc:docMk/>
          <pc:sldMk cId="997806465" sldId="2134804335"/>
        </pc:sldMkLst>
        <pc:spChg chg="mod">
          <ac:chgData name="Mariam Daniela Tristancho Pineda (MISION TEMPORAL LTDA)" userId="a45a17f7-7950-4cb5-bfab-f5c894f959a9" providerId="ADAL" clId="{9D150B60-33B5-4A3E-8123-A67E35AA8D44}" dt="2020-07-27T19:40:29.294" v="11813" actId="1037"/>
          <ac:spMkLst>
            <pc:docMk/>
            <pc:sldMk cId="997806465" sldId="2134804335"/>
            <ac:spMk id="3" creationId="{815B10B7-60B3-4C63-8431-70CC556387C9}"/>
          </ac:spMkLst>
        </pc:spChg>
        <pc:spChg chg="add mod">
          <ac:chgData name="Mariam Daniela Tristancho Pineda (MISION TEMPORAL LTDA)" userId="a45a17f7-7950-4cb5-bfab-f5c894f959a9" providerId="ADAL" clId="{9D150B60-33B5-4A3E-8123-A67E35AA8D44}" dt="2020-07-27T19:42:10.129" v="11880" actId="208"/>
          <ac:spMkLst>
            <pc:docMk/>
            <pc:sldMk cId="997806465" sldId="2134804335"/>
            <ac:spMk id="6" creationId="{0CD98A5D-4754-4786-990D-B12D06A1270A}"/>
          </ac:spMkLst>
        </pc:spChg>
        <pc:spChg chg="add del mod">
          <ac:chgData name="Mariam Daniela Tristancho Pineda (MISION TEMPORAL LTDA)" userId="a45a17f7-7950-4cb5-bfab-f5c894f959a9" providerId="ADAL" clId="{9D150B60-33B5-4A3E-8123-A67E35AA8D44}" dt="2020-07-27T19:38:42.103" v="11773" actId="478"/>
          <ac:spMkLst>
            <pc:docMk/>
            <pc:sldMk cId="997806465" sldId="2134804335"/>
            <ac:spMk id="7" creationId="{2223C98A-7D9B-49AC-925C-F6BD7B75E0A9}"/>
          </ac:spMkLst>
        </pc:spChg>
        <pc:spChg chg="del mod">
          <ac:chgData name="Mariam Daniela Tristancho Pineda (MISION TEMPORAL LTDA)" userId="a45a17f7-7950-4cb5-bfab-f5c894f959a9" providerId="ADAL" clId="{9D150B60-33B5-4A3E-8123-A67E35AA8D44}" dt="2020-07-24T21:00:03.955" v="7042" actId="478"/>
          <ac:spMkLst>
            <pc:docMk/>
            <pc:sldMk cId="997806465" sldId="2134804335"/>
            <ac:spMk id="7" creationId="{5F9B1E71-580F-4E7C-9DF1-2DFC90AFEE34}"/>
          </ac:spMkLst>
        </pc:spChg>
        <pc:spChg chg="del">
          <ac:chgData name="Mariam Daniela Tristancho Pineda (MISION TEMPORAL LTDA)" userId="a45a17f7-7950-4cb5-bfab-f5c894f959a9" providerId="ADAL" clId="{9D150B60-33B5-4A3E-8123-A67E35AA8D44}" dt="2020-07-24T21:01:28.121" v="7064" actId="478"/>
          <ac:spMkLst>
            <pc:docMk/>
            <pc:sldMk cId="997806465" sldId="2134804335"/>
            <ac:spMk id="12" creationId="{54411719-0D48-4E09-865F-F0B937E53A16}"/>
          </ac:spMkLst>
        </pc:spChg>
        <pc:spChg chg="add mod">
          <ac:chgData name="Mariam Daniela Tristancho Pineda (MISION TEMPORAL LTDA)" userId="a45a17f7-7950-4cb5-bfab-f5c894f959a9" providerId="ADAL" clId="{9D150B60-33B5-4A3E-8123-A67E35AA8D44}" dt="2020-07-27T19:40:29.294" v="11813" actId="1037"/>
          <ac:spMkLst>
            <pc:docMk/>
            <pc:sldMk cId="997806465" sldId="2134804335"/>
            <ac:spMk id="13" creationId="{AEA9A67C-1F4B-4E19-9DBD-B1E12EB37465}"/>
          </ac:spMkLst>
        </pc:spChg>
        <pc:spChg chg="add mod">
          <ac:chgData name="Mariam Daniela Tristancho Pineda (MISION TEMPORAL LTDA)" userId="a45a17f7-7950-4cb5-bfab-f5c894f959a9" providerId="ADAL" clId="{9D150B60-33B5-4A3E-8123-A67E35AA8D44}" dt="2020-07-27T19:42:10.129" v="11880" actId="208"/>
          <ac:spMkLst>
            <pc:docMk/>
            <pc:sldMk cId="997806465" sldId="2134804335"/>
            <ac:spMk id="15" creationId="{3C746AF5-F53B-4C8F-8FE1-9515D2C222F3}"/>
          </ac:spMkLst>
        </pc:spChg>
        <pc:spChg chg="add mod">
          <ac:chgData name="Mariam Daniela Tristancho Pineda (MISION TEMPORAL LTDA)" userId="a45a17f7-7950-4cb5-bfab-f5c894f959a9" providerId="ADAL" clId="{9D150B60-33B5-4A3E-8123-A67E35AA8D44}" dt="2020-07-27T19:40:29.294" v="11813" actId="1037"/>
          <ac:spMkLst>
            <pc:docMk/>
            <pc:sldMk cId="997806465" sldId="2134804335"/>
            <ac:spMk id="17" creationId="{E28CF9EE-7057-4671-8471-F5AAB489FC3D}"/>
          </ac:spMkLst>
        </pc:spChg>
        <pc:spChg chg="add del mod">
          <ac:chgData name="Mariam Daniela Tristancho Pineda (MISION TEMPORAL LTDA)" userId="a45a17f7-7950-4cb5-bfab-f5c894f959a9" providerId="ADAL" clId="{9D150B60-33B5-4A3E-8123-A67E35AA8D44}" dt="2020-07-24T21:05:25.836" v="7069" actId="478"/>
          <ac:spMkLst>
            <pc:docMk/>
            <pc:sldMk cId="997806465" sldId="2134804335"/>
            <ac:spMk id="18" creationId="{49DA2260-9FC5-4714-AB44-741BCE13F9E6}"/>
          </ac:spMkLst>
        </pc:spChg>
        <pc:spChg chg="add mod">
          <ac:chgData name="Mariam Daniela Tristancho Pineda (MISION TEMPORAL LTDA)" userId="a45a17f7-7950-4cb5-bfab-f5c894f959a9" providerId="ADAL" clId="{9D150B60-33B5-4A3E-8123-A67E35AA8D44}" dt="2020-07-27T19:41:04.917" v="11864" actId="1037"/>
          <ac:spMkLst>
            <pc:docMk/>
            <pc:sldMk cId="997806465" sldId="2134804335"/>
            <ac:spMk id="19" creationId="{29B43B0B-4ADF-4336-B509-25E00EC7C6BB}"/>
          </ac:spMkLst>
        </pc:spChg>
        <pc:spChg chg="mod">
          <ac:chgData name="Mariam Daniela Tristancho Pineda (MISION TEMPORAL LTDA)" userId="a45a17f7-7950-4cb5-bfab-f5c894f959a9" providerId="ADAL" clId="{9D150B60-33B5-4A3E-8123-A67E35AA8D44}" dt="2020-07-27T19:41:38.460" v="11878" actId="693"/>
          <ac:spMkLst>
            <pc:docMk/>
            <pc:sldMk cId="997806465" sldId="2134804335"/>
            <ac:spMk id="21" creationId="{6DF582FE-4ED3-41AC-A715-CB130A94E54C}"/>
          </ac:spMkLst>
        </pc:spChg>
        <pc:spChg chg="mod">
          <ac:chgData name="Mariam Daniela Tristancho Pineda (MISION TEMPORAL LTDA)" userId="a45a17f7-7950-4cb5-bfab-f5c894f959a9" providerId="ADAL" clId="{9D150B60-33B5-4A3E-8123-A67E35AA8D44}" dt="2020-07-27T19:41:04.917" v="11864" actId="1037"/>
          <ac:spMkLst>
            <pc:docMk/>
            <pc:sldMk cId="997806465" sldId="2134804335"/>
            <ac:spMk id="22" creationId="{E652DC89-A856-4D57-8E2C-B61602C127E1}"/>
          </ac:spMkLst>
        </pc:spChg>
        <pc:spChg chg="add del mod">
          <ac:chgData name="Mariam Daniela Tristancho Pineda (MISION TEMPORAL LTDA)" userId="a45a17f7-7950-4cb5-bfab-f5c894f959a9" providerId="ADAL" clId="{9D150B60-33B5-4A3E-8123-A67E35AA8D44}" dt="2020-07-27T19:37:00.325" v="11660" actId="478"/>
          <ac:spMkLst>
            <pc:docMk/>
            <pc:sldMk cId="997806465" sldId="2134804335"/>
            <ac:spMk id="40" creationId="{D7318207-3D8A-4BDF-BC74-EB4CB33BC867}"/>
          </ac:spMkLst>
        </pc:spChg>
        <pc:spChg chg="add del mod">
          <ac:chgData name="Mariam Daniela Tristancho Pineda (MISION TEMPORAL LTDA)" userId="a45a17f7-7950-4cb5-bfab-f5c894f959a9" providerId="ADAL" clId="{9D150B60-33B5-4A3E-8123-A67E35AA8D44}" dt="2020-07-27T19:37:00.325" v="11660" actId="478"/>
          <ac:spMkLst>
            <pc:docMk/>
            <pc:sldMk cId="997806465" sldId="2134804335"/>
            <ac:spMk id="41" creationId="{3B040B91-7AFC-4DF5-87AC-6C12DC474E05}"/>
          </ac:spMkLst>
        </pc:spChg>
        <pc:spChg chg="mod">
          <ac:chgData name="Mariam Daniela Tristancho Pineda (MISION TEMPORAL LTDA)" userId="a45a17f7-7950-4cb5-bfab-f5c894f959a9" providerId="ADAL" clId="{9D150B60-33B5-4A3E-8123-A67E35AA8D44}" dt="2020-07-24T20:59:02.521" v="6998"/>
          <ac:spMkLst>
            <pc:docMk/>
            <pc:sldMk cId="997806465" sldId="2134804335"/>
            <ac:spMk id="43" creationId="{0EA671BA-C913-40BB-82E3-CB186B4E6A4E}"/>
          </ac:spMkLst>
        </pc:spChg>
        <pc:spChg chg="mod">
          <ac:chgData name="Mariam Daniela Tristancho Pineda (MISION TEMPORAL LTDA)" userId="a45a17f7-7950-4cb5-bfab-f5c894f959a9" providerId="ADAL" clId="{9D150B60-33B5-4A3E-8123-A67E35AA8D44}" dt="2020-07-24T20:59:02.521" v="6998"/>
          <ac:spMkLst>
            <pc:docMk/>
            <pc:sldMk cId="997806465" sldId="2134804335"/>
            <ac:spMk id="44" creationId="{85699342-AE75-4650-AE1E-902F82A9C41A}"/>
          </ac:spMkLst>
        </pc:spChg>
        <pc:spChg chg="mod">
          <ac:chgData name="Mariam Daniela Tristancho Pineda (MISION TEMPORAL LTDA)" userId="a45a17f7-7950-4cb5-bfab-f5c894f959a9" providerId="ADAL" clId="{9D150B60-33B5-4A3E-8123-A67E35AA8D44}" dt="2020-07-24T20:59:02.521" v="6998"/>
          <ac:spMkLst>
            <pc:docMk/>
            <pc:sldMk cId="997806465" sldId="2134804335"/>
            <ac:spMk id="45" creationId="{AE693636-DC98-4E4B-B3C2-A1F34C7AF4A3}"/>
          </ac:spMkLst>
        </pc:spChg>
        <pc:spChg chg="mod">
          <ac:chgData name="Mariam Daniela Tristancho Pineda (MISION TEMPORAL LTDA)" userId="a45a17f7-7950-4cb5-bfab-f5c894f959a9" providerId="ADAL" clId="{9D150B60-33B5-4A3E-8123-A67E35AA8D44}" dt="2020-07-24T20:59:02.521" v="6998"/>
          <ac:spMkLst>
            <pc:docMk/>
            <pc:sldMk cId="997806465" sldId="2134804335"/>
            <ac:spMk id="46" creationId="{27FFBB6D-A941-47A7-89A9-261B9C3E9C5C}"/>
          </ac:spMkLst>
        </pc:spChg>
        <pc:spChg chg="mod">
          <ac:chgData name="Mariam Daniela Tristancho Pineda (MISION TEMPORAL LTDA)" userId="a45a17f7-7950-4cb5-bfab-f5c894f959a9" providerId="ADAL" clId="{9D150B60-33B5-4A3E-8123-A67E35AA8D44}" dt="2020-07-27T19:41:24.912" v="11874" actId="20577"/>
          <ac:spMkLst>
            <pc:docMk/>
            <pc:sldMk cId="997806465" sldId="2134804335"/>
            <ac:spMk id="49" creationId="{C0197DAE-A62A-4F3E-9B20-3A2EF1F5519D}"/>
          </ac:spMkLst>
        </pc:spChg>
        <pc:spChg chg="mod">
          <ac:chgData name="Mariam Daniela Tristancho Pineda (MISION TEMPORAL LTDA)" userId="a45a17f7-7950-4cb5-bfab-f5c894f959a9" providerId="ADAL" clId="{9D150B60-33B5-4A3E-8123-A67E35AA8D44}" dt="2020-07-24T20:59:41.578" v="7023"/>
          <ac:spMkLst>
            <pc:docMk/>
            <pc:sldMk cId="997806465" sldId="2134804335"/>
            <ac:spMk id="50" creationId="{A7057143-C85B-44EE-92F1-EC9A480F7497}"/>
          </ac:spMkLst>
        </pc:spChg>
        <pc:spChg chg="mod">
          <ac:chgData name="Mariam Daniela Tristancho Pineda (MISION TEMPORAL LTDA)" userId="a45a17f7-7950-4cb5-bfab-f5c894f959a9" providerId="ADAL" clId="{9D150B60-33B5-4A3E-8123-A67E35AA8D44}" dt="2020-07-28T00:15:33.950" v="15800" actId="1035"/>
          <ac:spMkLst>
            <pc:docMk/>
            <pc:sldMk cId="997806465" sldId="2134804335"/>
            <ac:spMk id="84" creationId="{293DBAF3-3942-4C58-8A63-D4484E215E20}"/>
          </ac:spMkLst>
        </pc:spChg>
        <pc:spChg chg="mod">
          <ac:chgData name="Mariam Daniela Tristancho Pineda (MISION TEMPORAL LTDA)" userId="a45a17f7-7950-4cb5-bfab-f5c894f959a9" providerId="ADAL" clId="{9D150B60-33B5-4A3E-8123-A67E35AA8D44}" dt="2020-07-28T00:15:17.857" v="15795" actId="113"/>
          <ac:spMkLst>
            <pc:docMk/>
            <pc:sldMk cId="997806465" sldId="2134804335"/>
            <ac:spMk id="86" creationId="{7696A978-4362-4DE3-8C58-0F58608C4AA6}"/>
          </ac:spMkLst>
        </pc:spChg>
        <pc:spChg chg="mod">
          <ac:chgData name="Mariam Daniela Tristancho Pineda (MISION TEMPORAL LTDA)" userId="a45a17f7-7950-4cb5-bfab-f5c894f959a9" providerId="ADAL" clId="{9D150B60-33B5-4A3E-8123-A67E35AA8D44}" dt="2020-07-27T19:41:22.154" v="11870" actId="20577"/>
          <ac:spMkLst>
            <pc:docMk/>
            <pc:sldMk cId="997806465" sldId="2134804335"/>
            <ac:spMk id="91" creationId="{232CC050-3BFF-4FBB-A326-2B3CF9176A99}"/>
          </ac:spMkLst>
        </pc:spChg>
        <pc:spChg chg="mod">
          <ac:chgData name="Mariam Daniela Tristancho Pineda (MISION TEMPORAL LTDA)" userId="a45a17f7-7950-4cb5-bfab-f5c894f959a9" providerId="ADAL" clId="{9D150B60-33B5-4A3E-8123-A67E35AA8D44}" dt="2020-07-27T19:40:29.294" v="11813" actId="1037"/>
          <ac:spMkLst>
            <pc:docMk/>
            <pc:sldMk cId="997806465" sldId="2134804335"/>
            <ac:spMk id="97" creationId="{99300021-C267-43BD-A0F5-B3ECE622345E}"/>
          </ac:spMkLst>
        </pc:spChg>
        <pc:spChg chg="mod">
          <ac:chgData name="Mariam Daniela Tristancho Pineda (MISION TEMPORAL LTDA)" userId="a45a17f7-7950-4cb5-bfab-f5c894f959a9" providerId="ADAL" clId="{9D150B60-33B5-4A3E-8123-A67E35AA8D44}" dt="2020-07-28T00:15:38.882" v="15805" actId="1036"/>
          <ac:spMkLst>
            <pc:docMk/>
            <pc:sldMk cId="997806465" sldId="2134804335"/>
            <ac:spMk id="117" creationId="{8960734A-1053-42D2-BD72-6674DCCE6A97}"/>
          </ac:spMkLst>
        </pc:spChg>
        <pc:spChg chg="mod">
          <ac:chgData name="Mariam Daniela Tristancho Pineda (MISION TEMPORAL LTDA)" userId="a45a17f7-7950-4cb5-bfab-f5c894f959a9" providerId="ADAL" clId="{9D150B60-33B5-4A3E-8123-A67E35AA8D44}" dt="2020-07-28T00:15:38.882" v="15805" actId="1036"/>
          <ac:spMkLst>
            <pc:docMk/>
            <pc:sldMk cId="997806465" sldId="2134804335"/>
            <ac:spMk id="118" creationId="{C77431EE-A761-4323-B75F-692D4CAEC462}"/>
          </ac:spMkLst>
        </pc:spChg>
        <pc:spChg chg="mod">
          <ac:chgData name="Mariam Daniela Tristancho Pineda (MISION TEMPORAL LTDA)" userId="a45a17f7-7950-4cb5-bfab-f5c894f959a9" providerId="ADAL" clId="{9D150B60-33B5-4A3E-8123-A67E35AA8D44}" dt="2020-07-28T00:15:38.882" v="15805" actId="1036"/>
          <ac:spMkLst>
            <pc:docMk/>
            <pc:sldMk cId="997806465" sldId="2134804335"/>
            <ac:spMk id="119" creationId="{A66DDFF6-8990-4632-9B16-3852035C81BA}"/>
          </ac:spMkLst>
        </pc:spChg>
        <pc:spChg chg="mod">
          <ac:chgData name="Mariam Daniela Tristancho Pineda (MISION TEMPORAL LTDA)" userId="a45a17f7-7950-4cb5-bfab-f5c894f959a9" providerId="ADAL" clId="{9D150B60-33B5-4A3E-8123-A67E35AA8D44}" dt="2020-07-24T21:03:21.879" v="7068" actId="14100"/>
          <ac:spMkLst>
            <pc:docMk/>
            <pc:sldMk cId="997806465" sldId="2134804335"/>
            <ac:spMk id="122" creationId="{F92D7973-FA2F-45B1-8D65-1BB666EE24DD}"/>
          </ac:spMkLst>
        </pc:spChg>
        <pc:spChg chg="mod">
          <ac:chgData name="Mariam Daniela Tristancho Pineda (MISION TEMPORAL LTDA)" userId="a45a17f7-7950-4cb5-bfab-f5c894f959a9" providerId="ADAL" clId="{9D150B60-33B5-4A3E-8123-A67E35AA8D44}" dt="2020-07-28T13:29:48.066" v="19144" actId="20577"/>
          <ac:spMkLst>
            <pc:docMk/>
            <pc:sldMk cId="997806465" sldId="2134804335"/>
            <ac:spMk id="135" creationId="{C1823568-A421-4254-9106-BAEB76F16B72}"/>
          </ac:spMkLst>
        </pc:spChg>
        <pc:spChg chg="mod">
          <ac:chgData name="Mariam Daniela Tristancho Pineda (MISION TEMPORAL LTDA)" userId="a45a17f7-7950-4cb5-bfab-f5c894f959a9" providerId="ADAL" clId="{9D150B60-33B5-4A3E-8123-A67E35AA8D44}" dt="2020-07-27T19:40:29.294" v="11813" actId="1037"/>
          <ac:spMkLst>
            <pc:docMk/>
            <pc:sldMk cId="997806465" sldId="2134804335"/>
            <ac:spMk id="147" creationId="{28985963-B271-4E6A-83C5-F3A62A87E6BA}"/>
          </ac:spMkLst>
        </pc:spChg>
        <pc:spChg chg="mod">
          <ac:chgData name="Mariam Daniela Tristancho Pineda (MISION TEMPORAL LTDA)" userId="a45a17f7-7950-4cb5-bfab-f5c894f959a9" providerId="ADAL" clId="{9D150B60-33B5-4A3E-8123-A67E35AA8D44}" dt="2020-07-27T19:40:29.294" v="11813" actId="1037"/>
          <ac:spMkLst>
            <pc:docMk/>
            <pc:sldMk cId="997806465" sldId="2134804335"/>
            <ac:spMk id="156" creationId="{D69C9D48-D741-473B-B9DB-21F11F279802}"/>
          </ac:spMkLst>
        </pc:spChg>
        <pc:spChg chg="del mod">
          <ac:chgData name="Mariam Daniela Tristancho Pineda (MISION TEMPORAL LTDA)" userId="a45a17f7-7950-4cb5-bfab-f5c894f959a9" providerId="ADAL" clId="{9D150B60-33B5-4A3E-8123-A67E35AA8D44}" dt="2020-07-24T20:59:50.184" v="7027" actId="478"/>
          <ac:spMkLst>
            <pc:docMk/>
            <pc:sldMk cId="997806465" sldId="2134804335"/>
            <ac:spMk id="164" creationId="{017B2A88-B738-413B-82B2-A287FE0FC4EF}"/>
          </ac:spMkLst>
        </pc:spChg>
        <pc:grpChg chg="del mod">
          <ac:chgData name="Mariam Daniela Tristancho Pineda (MISION TEMPORAL LTDA)" userId="a45a17f7-7950-4cb5-bfab-f5c894f959a9" providerId="ADAL" clId="{9D150B60-33B5-4A3E-8123-A67E35AA8D44}" dt="2020-07-24T21:00:10.727" v="7045" actId="478"/>
          <ac:grpSpMkLst>
            <pc:docMk/>
            <pc:sldMk cId="997806465" sldId="2134804335"/>
            <ac:grpSpMk id="14" creationId="{F9B624AC-D760-4747-9E53-02B94BF6FD12}"/>
          </ac:grpSpMkLst>
        </pc:grpChg>
        <pc:grpChg chg="mod">
          <ac:chgData name="Mariam Daniela Tristancho Pineda (MISION TEMPORAL LTDA)" userId="a45a17f7-7950-4cb5-bfab-f5c894f959a9" providerId="ADAL" clId="{9D150B60-33B5-4A3E-8123-A67E35AA8D44}" dt="2020-07-28T00:15:36.670" v="15803" actId="1036"/>
          <ac:grpSpMkLst>
            <pc:docMk/>
            <pc:sldMk cId="997806465" sldId="2134804335"/>
            <ac:grpSpMk id="16" creationId="{C2A3B512-7A1C-4FAF-A81F-067631C52819}"/>
          </ac:grpSpMkLst>
        </pc:grpChg>
        <pc:grpChg chg="del">
          <ac:chgData name="Mariam Daniela Tristancho Pineda (MISION TEMPORAL LTDA)" userId="a45a17f7-7950-4cb5-bfab-f5c894f959a9" providerId="ADAL" clId="{9D150B60-33B5-4A3E-8123-A67E35AA8D44}" dt="2020-07-24T21:01:07.141" v="7056" actId="478"/>
          <ac:grpSpMkLst>
            <pc:docMk/>
            <pc:sldMk cId="997806465" sldId="2134804335"/>
            <ac:grpSpMk id="28" creationId="{2AEE4E67-C0FA-4308-BDBD-87AF29BE81B0}"/>
          </ac:grpSpMkLst>
        </pc:grpChg>
        <pc:grpChg chg="del">
          <ac:chgData name="Mariam Daniela Tristancho Pineda (MISION TEMPORAL LTDA)" userId="a45a17f7-7950-4cb5-bfab-f5c894f959a9" providerId="ADAL" clId="{9D150B60-33B5-4A3E-8123-A67E35AA8D44}" dt="2020-07-24T21:00:42.182" v="7052" actId="478"/>
          <ac:grpSpMkLst>
            <pc:docMk/>
            <pc:sldMk cId="997806465" sldId="2134804335"/>
            <ac:grpSpMk id="32" creationId="{EF33476E-57EC-4B24-BF48-38DA777DD938}"/>
          </ac:grpSpMkLst>
        </pc:grpChg>
        <pc:grpChg chg="del">
          <ac:chgData name="Mariam Daniela Tristancho Pineda (MISION TEMPORAL LTDA)" userId="a45a17f7-7950-4cb5-bfab-f5c894f959a9" providerId="ADAL" clId="{9D150B60-33B5-4A3E-8123-A67E35AA8D44}" dt="2020-07-27T19:37:29.072" v="11696" actId="478"/>
          <ac:grpSpMkLst>
            <pc:docMk/>
            <pc:sldMk cId="997806465" sldId="2134804335"/>
            <ac:grpSpMk id="37" creationId="{33A4F641-6F0E-462A-898E-0641B151AA65}"/>
          </ac:grpSpMkLst>
        </pc:grpChg>
        <pc:grpChg chg="add del mod">
          <ac:chgData name="Mariam Daniela Tristancho Pineda (MISION TEMPORAL LTDA)" userId="a45a17f7-7950-4cb5-bfab-f5c894f959a9" providerId="ADAL" clId="{9D150B60-33B5-4A3E-8123-A67E35AA8D44}" dt="2020-07-24T21:01:00.820" v="7055" actId="478"/>
          <ac:grpSpMkLst>
            <pc:docMk/>
            <pc:sldMk cId="997806465" sldId="2134804335"/>
            <ac:grpSpMk id="42" creationId="{F126DA2F-814A-4759-848D-E95B5BAB8576}"/>
          </ac:grpSpMkLst>
        </pc:grpChg>
        <pc:grpChg chg="add mod">
          <ac:chgData name="Mariam Daniela Tristancho Pineda (MISION TEMPORAL LTDA)" userId="a45a17f7-7950-4cb5-bfab-f5c894f959a9" providerId="ADAL" clId="{9D150B60-33B5-4A3E-8123-A67E35AA8D44}" dt="2020-07-28T00:15:36.670" v="15803" actId="1036"/>
          <ac:grpSpMkLst>
            <pc:docMk/>
            <pc:sldMk cId="997806465" sldId="2134804335"/>
            <ac:grpSpMk id="48" creationId="{BF9B7369-5424-4681-AAA3-C537D0F863B5}"/>
          </ac:grpSpMkLst>
        </pc:grpChg>
      </pc:sldChg>
      <pc:sldChg chg="modSp add del mod">
        <pc:chgData name="Mariam Daniela Tristancho Pineda (MISION TEMPORAL LTDA)" userId="a45a17f7-7950-4cb5-bfab-f5c894f959a9" providerId="ADAL" clId="{9D150B60-33B5-4A3E-8123-A67E35AA8D44}" dt="2020-07-26T23:16:49.650" v="9572"/>
        <pc:sldMkLst>
          <pc:docMk/>
          <pc:sldMk cId="297803076" sldId="2134804336"/>
        </pc:sldMkLst>
        <pc:spChg chg="mod">
          <ac:chgData name="Mariam Daniela Tristancho Pineda (MISION TEMPORAL LTDA)" userId="a45a17f7-7950-4cb5-bfab-f5c894f959a9" providerId="ADAL" clId="{9D150B60-33B5-4A3E-8123-A67E35AA8D44}" dt="2020-07-26T23:16:49.407" v="9571" actId="20577"/>
          <ac:spMkLst>
            <pc:docMk/>
            <pc:sldMk cId="297803076" sldId="2134804336"/>
            <ac:spMk id="135" creationId="{C1823568-A421-4254-9106-BAEB76F16B72}"/>
          </ac:spMkLst>
        </pc:spChg>
      </pc:sldChg>
      <pc:sldChg chg="addSp delSp modSp add mod ord">
        <pc:chgData name="Mariam Daniela Tristancho Pineda (MISION TEMPORAL LTDA)" userId="a45a17f7-7950-4cb5-bfab-f5c894f959a9" providerId="ADAL" clId="{9D150B60-33B5-4A3E-8123-A67E35AA8D44}" dt="2020-07-28T15:01:03.530" v="19893"/>
        <pc:sldMkLst>
          <pc:docMk/>
          <pc:sldMk cId="827790441" sldId="2134804336"/>
        </pc:sldMkLst>
        <pc:spChg chg="mod">
          <ac:chgData name="Mariam Daniela Tristancho Pineda (MISION TEMPORAL LTDA)" userId="a45a17f7-7950-4cb5-bfab-f5c894f959a9" providerId="ADAL" clId="{9D150B60-33B5-4A3E-8123-A67E35AA8D44}" dt="2020-07-27T19:45:59.465" v="12075" actId="1038"/>
          <ac:spMkLst>
            <pc:docMk/>
            <pc:sldMk cId="827790441" sldId="2134804336"/>
            <ac:spMk id="3" creationId="{815B10B7-60B3-4C63-8431-70CC556387C9}"/>
          </ac:spMkLst>
        </pc:spChg>
        <pc:spChg chg="del">
          <ac:chgData name="Mariam Daniela Tristancho Pineda (MISION TEMPORAL LTDA)" userId="a45a17f7-7950-4cb5-bfab-f5c894f959a9" providerId="ADAL" clId="{9D150B60-33B5-4A3E-8123-A67E35AA8D44}" dt="2020-07-26T23:23:52.554" v="9640" actId="478"/>
          <ac:spMkLst>
            <pc:docMk/>
            <pc:sldMk cId="827790441" sldId="2134804336"/>
            <ac:spMk id="6" creationId="{0CD98A5D-4754-4786-990D-B12D06A1270A}"/>
          </ac:spMkLst>
        </pc:spChg>
        <pc:spChg chg="add mod">
          <ac:chgData name="Mariam Daniela Tristancho Pineda (MISION TEMPORAL LTDA)" userId="a45a17f7-7950-4cb5-bfab-f5c894f959a9" providerId="ADAL" clId="{9D150B60-33B5-4A3E-8123-A67E35AA8D44}" dt="2020-07-27T19:45:59.465" v="12075" actId="1038"/>
          <ac:spMkLst>
            <pc:docMk/>
            <pc:sldMk cId="827790441" sldId="2134804336"/>
            <ac:spMk id="6" creationId="{CFDD94B0-11A5-4B79-A8C5-458B99EBF741}"/>
          </ac:spMkLst>
        </pc:spChg>
        <pc:spChg chg="add mod">
          <ac:chgData name="Mariam Daniela Tristancho Pineda (MISION TEMPORAL LTDA)" userId="a45a17f7-7950-4cb5-bfab-f5c894f959a9" providerId="ADAL" clId="{9D150B60-33B5-4A3E-8123-A67E35AA8D44}" dt="2020-07-27T19:45:59.465" v="12075" actId="1038"/>
          <ac:spMkLst>
            <pc:docMk/>
            <pc:sldMk cId="827790441" sldId="2134804336"/>
            <ac:spMk id="7" creationId="{2DD37304-F780-4D00-8578-4660EB8B73BC}"/>
          </ac:spMkLst>
        </pc:spChg>
        <pc:spChg chg="add mod">
          <ac:chgData name="Mariam Daniela Tristancho Pineda (MISION TEMPORAL LTDA)" userId="a45a17f7-7950-4cb5-bfab-f5c894f959a9" providerId="ADAL" clId="{9D150B60-33B5-4A3E-8123-A67E35AA8D44}" dt="2020-07-27T19:45:59.465" v="12075" actId="1038"/>
          <ac:spMkLst>
            <pc:docMk/>
            <pc:sldMk cId="827790441" sldId="2134804336"/>
            <ac:spMk id="8" creationId="{7290B7A8-9A60-4455-B01E-A7B6E8A853F9}"/>
          </ac:spMkLst>
        </pc:spChg>
        <pc:spChg chg="add mod">
          <ac:chgData name="Mariam Daniela Tristancho Pineda (MISION TEMPORAL LTDA)" userId="a45a17f7-7950-4cb5-bfab-f5c894f959a9" providerId="ADAL" clId="{9D150B60-33B5-4A3E-8123-A67E35AA8D44}" dt="2020-07-27T19:45:59.465" v="12075" actId="1038"/>
          <ac:spMkLst>
            <pc:docMk/>
            <pc:sldMk cId="827790441" sldId="2134804336"/>
            <ac:spMk id="9" creationId="{A59A6142-78A7-4551-AC12-F1B5BB83E030}"/>
          </ac:spMkLst>
        </pc:spChg>
        <pc:spChg chg="add mod">
          <ac:chgData name="Mariam Daniela Tristancho Pineda (MISION TEMPORAL LTDA)" userId="a45a17f7-7950-4cb5-bfab-f5c894f959a9" providerId="ADAL" clId="{9D150B60-33B5-4A3E-8123-A67E35AA8D44}" dt="2020-07-27T19:45:59.465" v="12075" actId="1038"/>
          <ac:spMkLst>
            <pc:docMk/>
            <pc:sldMk cId="827790441" sldId="2134804336"/>
            <ac:spMk id="10" creationId="{3008CF17-98A5-48F4-8930-25B91D8D10B0}"/>
          </ac:spMkLst>
        </pc:spChg>
        <pc:spChg chg="add mod">
          <ac:chgData name="Mariam Daniela Tristancho Pineda (MISION TEMPORAL LTDA)" userId="a45a17f7-7950-4cb5-bfab-f5c894f959a9" providerId="ADAL" clId="{9D150B60-33B5-4A3E-8123-A67E35AA8D44}" dt="2020-07-27T19:44:18.654" v="12019" actId="20577"/>
          <ac:spMkLst>
            <pc:docMk/>
            <pc:sldMk cId="827790441" sldId="2134804336"/>
            <ac:spMk id="11" creationId="{2BDCFDBC-AD6F-45F7-A082-F9EECA923983}"/>
          </ac:spMkLst>
        </pc:spChg>
        <pc:spChg chg="mod">
          <ac:chgData name="Mariam Daniela Tristancho Pineda (MISION TEMPORAL LTDA)" userId="a45a17f7-7950-4cb5-bfab-f5c894f959a9" providerId="ADAL" clId="{9D150B60-33B5-4A3E-8123-A67E35AA8D44}" dt="2020-07-27T19:45:59.465" v="12075" actId="1038"/>
          <ac:spMkLst>
            <pc:docMk/>
            <pc:sldMk cId="827790441" sldId="2134804336"/>
            <ac:spMk id="13" creationId="{AEA9A67C-1F4B-4E19-9DBD-B1E12EB37465}"/>
          </ac:spMkLst>
        </pc:spChg>
        <pc:spChg chg="del">
          <ac:chgData name="Mariam Daniela Tristancho Pineda (MISION TEMPORAL LTDA)" userId="a45a17f7-7950-4cb5-bfab-f5c894f959a9" providerId="ADAL" clId="{9D150B60-33B5-4A3E-8123-A67E35AA8D44}" dt="2020-07-26T23:24:08.712" v="9645" actId="478"/>
          <ac:spMkLst>
            <pc:docMk/>
            <pc:sldMk cId="827790441" sldId="2134804336"/>
            <ac:spMk id="15" creationId="{3C746AF5-F53B-4C8F-8FE1-9515D2C222F3}"/>
          </ac:spMkLst>
        </pc:spChg>
        <pc:spChg chg="del">
          <ac:chgData name="Mariam Daniela Tristancho Pineda (MISION TEMPORAL LTDA)" userId="a45a17f7-7950-4cb5-bfab-f5c894f959a9" providerId="ADAL" clId="{9D150B60-33B5-4A3E-8123-A67E35AA8D44}" dt="2020-07-26T23:24:08.147" v="9644" actId="478"/>
          <ac:spMkLst>
            <pc:docMk/>
            <pc:sldMk cId="827790441" sldId="2134804336"/>
            <ac:spMk id="17" creationId="{E28CF9EE-7057-4671-8471-F5AAB489FC3D}"/>
          </ac:spMkLst>
        </pc:spChg>
        <pc:spChg chg="del">
          <ac:chgData name="Mariam Daniela Tristancho Pineda (MISION TEMPORAL LTDA)" userId="a45a17f7-7950-4cb5-bfab-f5c894f959a9" providerId="ADAL" clId="{9D150B60-33B5-4A3E-8123-A67E35AA8D44}" dt="2020-07-26T23:24:49.704" v="9693" actId="478"/>
          <ac:spMkLst>
            <pc:docMk/>
            <pc:sldMk cId="827790441" sldId="2134804336"/>
            <ac:spMk id="19" creationId="{29B43B0B-4ADF-4336-B509-25E00EC7C6BB}"/>
          </ac:spMkLst>
        </pc:spChg>
        <pc:spChg chg="mod">
          <ac:chgData name="Mariam Daniela Tristancho Pineda (MISION TEMPORAL LTDA)" userId="a45a17f7-7950-4cb5-bfab-f5c894f959a9" providerId="ADAL" clId="{9D150B60-33B5-4A3E-8123-A67E35AA8D44}" dt="2020-07-27T19:45:59.465" v="12075" actId="1038"/>
          <ac:spMkLst>
            <pc:docMk/>
            <pc:sldMk cId="827790441" sldId="2134804336"/>
            <ac:spMk id="21" creationId="{6DF582FE-4ED3-41AC-A715-CB130A94E54C}"/>
          </ac:spMkLst>
        </pc:spChg>
        <pc:spChg chg="mod">
          <ac:chgData name="Mariam Daniela Tristancho Pineda (MISION TEMPORAL LTDA)" userId="a45a17f7-7950-4cb5-bfab-f5c894f959a9" providerId="ADAL" clId="{9D150B60-33B5-4A3E-8123-A67E35AA8D44}" dt="2020-07-27T19:45:59.465" v="12075" actId="1038"/>
          <ac:spMkLst>
            <pc:docMk/>
            <pc:sldMk cId="827790441" sldId="2134804336"/>
            <ac:spMk id="22" creationId="{E652DC89-A856-4D57-8E2C-B61602C127E1}"/>
          </ac:spMkLst>
        </pc:spChg>
        <pc:spChg chg="mod">
          <ac:chgData name="Mariam Daniela Tristancho Pineda (MISION TEMPORAL LTDA)" userId="a45a17f7-7950-4cb5-bfab-f5c894f959a9" providerId="ADAL" clId="{9D150B60-33B5-4A3E-8123-A67E35AA8D44}" dt="2020-07-27T19:44:30.632" v="12027" actId="20577"/>
          <ac:spMkLst>
            <pc:docMk/>
            <pc:sldMk cId="827790441" sldId="2134804336"/>
            <ac:spMk id="39" creationId="{5FAD9D39-0163-48A2-AB90-B7B2E4C2CCC8}"/>
          </ac:spMkLst>
        </pc:spChg>
        <pc:spChg chg="del">
          <ac:chgData name="Mariam Daniela Tristancho Pineda (MISION TEMPORAL LTDA)" userId="a45a17f7-7950-4cb5-bfab-f5c894f959a9" providerId="ADAL" clId="{9D150B60-33B5-4A3E-8123-A67E35AA8D44}" dt="2020-07-26T23:23:35.816" v="9638" actId="478"/>
          <ac:spMkLst>
            <pc:docMk/>
            <pc:sldMk cId="827790441" sldId="2134804336"/>
            <ac:spMk id="40" creationId="{D7318207-3D8A-4BDF-BC74-EB4CB33BC867}"/>
          </ac:spMkLst>
        </pc:spChg>
        <pc:spChg chg="del">
          <ac:chgData name="Mariam Daniela Tristancho Pineda (MISION TEMPORAL LTDA)" userId="a45a17f7-7950-4cb5-bfab-f5c894f959a9" providerId="ADAL" clId="{9D150B60-33B5-4A3E-8123-A67E35AA8D44}" dt="2020-07-26T23:23:35.816" v="9638" actId="478"/>
          <ac:spMkLst>
            <pc:docMk/>
            <pc:sldMk cId="827790441" sldId="2134804336"/>
            <ac:spMk id="41" creationId="{3B040B91-7AFC-4DF5-87AC-6C12DC474E05}"/>
          </ac:spMkLst>
        </pc:spChg>
        <pc:spChg chg="mod">
          <ac:chgData name="Mariam Daniela Tristancho Pineda (MISION TEMPORAL LTDA)" userId="a45a17f7-7950-4cb5-bfab-f5c894f959a9" providerId="ADAL" clId="{9D150B60-33B5-4A3E-8123-A67E35AA8D44}" dt="2020-07-27T19:44:27.724" v="12023" actId="20577"/>
          <ac:spMkLst>
            <pc:docMk/>
            <pc:sldMk cId="827790441" sldId="2134804336"/>
            <ac:spMk id="49" creationId="{C0197DAE-A62A-4F3E-9B20-3A2EF1F5519D}"/>
          </ac:spMkLst>
        </pc:spChg>
        <pc:spChg chg="mod">
          <ac:chgData name="Mariam Daniela Tristancho Pineda (MISION TEMPORAL LTDA)" userId="a45a17f7-7950-4cb5-bfab-f5c894f959a9" providerId="ADAL" clId="{9D150B60-33B5-4A3E-8123-A67E35AA8D44}" dt="2020-07-26T23:26:14.334" v="9800" actId="1035"/>
          <ac:spMkLst>
            <pc:docMk/>
            <pc:sldMk cId="827790441" sldId="2134804336"/>
            <ac:spMk id="50" creationId="{A7057143-C85B-44EE-92F1-EC9A480F7497}"/>
          </ac:spMkLst>
        </pc:spChg>
        <pc:spChg chg="mod">
          <ac:chgData name="Mariam Daniela Tristancho Pineda (MISION TEMPORAL LTDA)" userId="a45a17f7-7950-4cb5-bfab-f5c894f959a9" providerId="ADAL" clId="{9D150B60-33B5-4A3E-8123-A67E35AA8D44}" dt="2020-07-26T23:26:57.826" v="9860" actId="1076"/>
          <ac:spMkLst>
            <pc:docMk/>
            <pc:sldMk cId="827790441" sldId="2134804336"/>
            <ac:spMk id="84" creationId="{293DBAF3-3942-4C58-8A63-D4484E215E20}"/>
          </ac:spMkLst>
        </pc:spChg>
        <pc:spChg chg="mod">
          <ac:chgData name="Mariam Daniela Tristancho Pineda (MISION TEMPORAL LTDA)" userId="a45a17f7-7950-4cb5-bfab-f5c894f959a9" providerId="ADAL" clId="{9D150B60-33B5-4A3E-8123-A67E35AA8D44}" dt="2020-07-28T00:15:05.511" v="15791" actId="113"/>
          <ac:spMkLst>
            <pc:docMk/>
            <pc:sldMk cId="827790441" sldId="2134804336"/>
            <ac:spMk id="86" creationId="{7696A978-4362-4DE3-8C58-0F58608C4AA6}"/>
          </ac:spMkLst>
        </pc:spChg>
        <pc:spChg chg="mod">
          <ac:chgData name="Mariam Daniela Tristancho Pineda (MISION TEMPORAL LTDA)" userId="a45a17f7-7950-4cb5-bfab-f5c894f959a9" providerId="ADAL" clId="{9D150B60-33B5-4A3E-8123-A67E35AA8D44}" dt="2020-07-27T19:45:59.465" v="12075" actId="1038"/>
          <ac:spMkLst>
            <pc:docMk/>
            <pc:sldMk cId="827790441" sldId="2134804336"/>
            <ac:spMk id="97" creationId="{99300021-C267-43BD-A0F5-B3ECE622345E}"/>
          </ac:spMkLst>
        </pc:spChg>
        <pc:spChg chg="mod">
          <ac:chgData name="Mariam Daniela Tristancho Pineda (MISION TEMPORAL LTDA)" userId="a45a17f7-7950-4cb5-bfab-f5c894f959a9" providerId="ADAL" clId="{9D150B60-33B5-4A3E-8123-A67E35AA8D44}" dt="2020-07-26T23:27:30.095" v="9886" actId="1037"/>
          <ac:spMkLst>
            <pc:docMk/>
            <pc:sldMk cId="827790441" sldId="2134804336"/>
            <ac:spMk id="117" creationId="{8960734A-1053-42D2-BD72-6674DCCE6A97}"/>
          </ac:spMkLst>
        </pc:spChg>
        <pc:spChg chg="mod">
          <ac:chgData name="Mariam Daniela Tristancho Pineda (MISION TEMPORAL LTDA)" userId="a45a17f7-7950-4cb5-bfab-f5c894f959a9" providerId="ADAL" clId="{9D150B60-33B5-4A3E-8123-A67E35AA8D44}" dt="2020-07-26T23:27:37.106" v="9888" actId="408"/>
          <ac:spMkLst>
            <pc:docMk/>
            <pc:sldMk cId="827790441" sldId="2134804336"/>
            <ac:spMk id="118" creationId="{C77431EE-A761-4323-B75F-692D4CAEC462}"/>
          </ac:spMkLst>
        </pc:spChg>
        <pc:spChg chg="mod">
          <ac:chgData name="Mariam Daniela Tristancho Pineda (MISION TEMPORAL LTDA)" userId="a45a17f7-7950-4cb5-bfab-f5c894f959a9" providerId="ADAL" clId="{9D150B60-33B5-4A3E-8123-A67E35AA8D44}" dt="2020-07-26T23:27:34.431" v="9887" actId="465"/>
          <ac:spMkLst>
            <pc:docMk/>
            <pc:sldMk cId="827790441" sldId="2134804336"/>
            <ac:spMk id="119" creationId="{A66DDFF6-8990-4632-9B16-3852035C81BA}"/>
          </ac:spMkLst>
        </pc:spChg>
        <pc:spChg chg="mod">
          <ac:chgData name="Mariam Daniela Tristancho Pineda (MISION TEMPORAL LTDA)" userId="a45a17f7-7950-4cb5-bfab-f5c894f959a9" providerId="ADAL" clId="{9D150B60-33B5-4A3E-8123-A67E35AA8D44}" dt="2020-07-27T19:45:01.429" v="12054" actId="20577"/>
          <ac:spMkLst>
            <pc:docMk/>
            <pc:sldMk cId="827790441" sldId="2134804336"/>
            <ac:spMk id="135" creationId="{C1823568-A421-4254-9106-BAEB76F16B72}"/>
          </ac:spMkLst>
        </pc:spChg>
        <pc:spChg chg="mod">
          <ac:chgData name="Mariam Daniela Tristancho Pineda (MISION TEMPORAL LTDA)" userId="a45a17f7-7950-4cb5-bfab-f5c894f959a9" providerId="ADAL" clId="{9D150B60-33B5-4A3E-8123-A67E35AA8D44}" dt="2020-07-27T19:45:59.465" v="12075" actId="1038"/>
          <ac:spMkLst>
            <pc:docMk/>
            <pc:sldMk cId="827790441" sldId="2134804336"/>
            <ac:spMk id="147" creationId="{28985963-B271-4E6A-83C5-F3A62A87E6BA}"/>
          </ac:spMkLst>
        </pc:spChg>
        <pc:spChg chg="mod">
          <ac:chgData name="Mariam Daniela Tristancho Pineda (MISION TEMPORAL LTDA)" userId="a45a17f7-7950-4cb5-bfab-f5c894f959a9" providerId="ADAL" clId="{9D150B60-33B5-4A3E-8123-A67E35AA8D44}" dt="2020-07-27T19:45:59.465" v="12075" actId="1038"/>
          <ac:spMkLst>
            <pc:docMk/>
            <pc:sldMk cId="827790441" sldId="2134804336"/>
            <ac:spMk id="156" creationId="{D69C9D48-D741-473B-B9DB-21F11F279802}"/>
          </ac:spMkLst>
        </pc:spChg>
        <pc:grpChg chg="del">
          <ac:chgData name="Mariam Daniela Tristancho Pineda (MISION TEMPORAL LTDA)" userId="a45a17f7-7950-4cb5-bfab-f5c894f959a9" providerId="ADAL" clId="{9D150B60-33B5-4A3E-8123-A67E35AA8D44}" dt="2020-07-26T23:24:21.740" v="9670" actId="478"/>
          <ac:grpSpMkLst>
            <pc:docMk/>
            <pc:sldMk cId="827790441" sldId="2134804336"/>
            <ac:grpSpMk id="16" creationId="{C2A3B512-7A1C-4FAF-A81F-067631C52819}"/>
          </ac:grpSpMkLst>
        </pc:grpChg>
        <pc:grpChg chg="mod">
          <ac:chgData name="Mariam Daniela Tristancho Pineda (MISION TEMPORAL LTDA)" userId="a45a17f7-7950-4cb5-bfab-f5c894f959a9" providerId="ADAL" clId="{9D150B60-33B5-4A3E-8123-A67E35AA8D44}" dt="2020-07-26T23:27:24.717" v="9882" actId="1036"/>
          <ac:grpSpMkLst>
            <pc:docMk/>
            <pc:sldMk cId="827790441" sldId="2134804336"/>
            <ac:grpSpMk id="37" creationId="{33A4F641-6F0E-462A-898E-0641B151AA65}"/>
          </ac:grpSpMkLst>
        </pc:grpChg>
        <pc:grpChg chg="mod">
          <ac:chgData name="Mariam Daniela Tristancho Pineda (MISION TEMPORAL LTDA)" userId="a45a17f7-7950-4cb5-bfab-f5c894f959a9" providerId="ADAL" clId="{9D150B60-33B5-4A3E-8123-A67E35AA8D44}" dt="2020-07-26T23:27:24.717" v="9882" actId="1036"/>
          <ac:grpSpMkLst>
            <pc:docMk/>
            <pc:sldMk cId="827790441" sldId="2134804336"/>
            <ac:grpSpMk id="48" creationId="{BF9B7369-5424-4681-AAA3-C537D0F863B5}"/>
          </ac:grpSpMkLst>
        </pc:grpChg>
      </pc:sldChg>
      <pc:sldChg chg="addSp delSp modSp add mod ord">
        <pc:chgData name="Mariam Daniela Tristancho Pineda (MISION TEMPORAL LTDA)" userId="a45a17f7-7950-4cb5-bfab-f5c894f959a9" providerId="ADAL" clId="{9D150B60-33B5-4A3E-8123-A67E35AA8D44}" dt="2020-07-28T15:01:03.530" v="19893"/>
        <pc:sldMkLst>
          <pc:docMk/>
          <pc:sldMk cId="3396100439" sldId="2134804337"/>
        </pc:sldMkLst>
        <pc:spChg chg="mod">
          <ac:chgData name="Mariam Daniela Tristancho Pineda (MISION TEMPORAL LTDA)" userId="a45a17f7-7950-4cb5-bfab-f5c894f959a9" providerId="ADAL" clId="{9D150B60-33B5-4A3E-8123-A67E35AA8D44}" dt="2020-07-27T19:58:23.176" v="12564" actId="1035"/>
          <ac:spMkLst>
            <pc:docMk/>
            <pc:sldMk cId="3396100439" sldId="2134804337"/>
            <ac:spMk id="3" creationId="{815B10B7-60B3-4C63-8431-70CC556387C9}"/>
          </ac:spMkLst>
        </pc:spChg>
        <pc:spChg chg="add mod">
          <ac:chgData name="Mariam Daniela Tristancho Pineda (MISION TEMPORAL LTDA)" userId="a45a17f7-7950-4cb5-bfab-f5c894f959a9" providerId="ADAL" clId="{9D150B60-33B5-4A3E-8123-A67E35AA8D44}" dt="2020-07-27T19:58:23.176" v="12564" actId="1035"/>
          <ac:spMkLst>
            <pc:docMk/>
            <pc:sldMk cId="3396100439" sldId="2134804337"/>
            <ac:spMk id="6" creationId="{4BD45A74-756A-4BD2-A61F-C4804F955B32}"/>
          </ac:spMkLst>
        </pc:spChg>
        <pc:spChg chg="del mod">
          <ac:chgData name="Mariam Daniela Tristancho Pineda (MISION TEMPORAL LTDA)" userId="a45a17f7-7950-4cb5-bfab-f5c894f959a9" providerId="ADAL" clId="{9D150B60-33B5-4A3E-8123-A67E35AA8D44}" dt="2020-07-26T23:29:28.809" v="9930" actId="478"/>
          <ac:spMkLst>
            <pc:docMk/>
            <pc:sldMk cId="3396100439" sldId="2134804337"/>
            <ac:spMk id="7" creationId="{2DD37304-F780-4D00-8578-4660EB8B73BC}"/>
          </ac:spMkLst>
        </pc:spChg>
        <pc:spChg chg="add mod ord">
          <ac:chgData name="Mariam Daniela Tristancho Pineda (MISION TEMPORAL LTDA)" userId="a45a17f7-7950-4cb5-bfab-f5c894f959a9" providerId="ADAL" clId="{9D150B60-33B5-4A3E-8123-A67E35AA8D44}" dt="2020-07-27T19:58:23.176" v="12564" actId="1035"/>
          <ac:spMkLst>
            <pc:docMk/>
            <pc:sldMk cId="3396100439" sldId="2134804337"/>
            <ac:spMk id="7" creationId="{5BB1043D-9A90-43C6-BCE8-E8686C0B75E6}"/>
          </ac:spMkLst>
        </pc:spChg>
        <pc:spChg chg="add mod">
          <ac:chgData name="Mariam Daniela Tristancho Pineda (MISION TEMPORAL LTDA)" userId="a45a17f7-7950-4cb5-bfab-f5c894f959a9" providerId="ADAL" clId="{9D150B60-33B5-4A3E-8123-A67E35AA8D44}" dt="2020-07-27T19:57:20.285" v="12502" actId="164"/>
          <ac:spMkLst>
            <pc:docMk/>
            <pc:sldMk cId="3396100439" sldId="2134804337"/>
            <ac:spMk id="8" creationId="{04E03E9B-25E7-4174-8132-CD2E4F3F4ECF}"/>
          </ac:spMkLst>
        </pc:spChg>
        <pc:spChg chg="del mod">
          <ac:chgData name="Mariam Daniela Tristancho Pineda (MISION TEMPORAL LTDA)" userId="a45a17f7-7950-4cb5-bfab-f5c894f959a9" providerId="ADAL" clId="{9D150B60-33B5-4A3E-8123-A67E35AA8D44}" dt="2020-07-26T23:29:28.809" v="9930" actId="478"/>
          <ac:spMkLst>
            <pc:docMk/>
            <pc:sldMk cId="3396100439" sldId="2134804337"/>
            <ac:spMk id="8" creationId="{7290B7A8-9A60-4455-B01E-A7B6E8A853F9}"/>
          </ac:spMkLst>
        </pc:spChg>
        <pc:spChg chg="add mod">
          <ac:chgData name="Mariam Daniela Tristancho Pineda (MISION TEMPORAL LTDA)" userId="a45a17f7-7950-4cb5-bfab-f5c894f959a9" providerId="ADAL" clId="{9D150B60-33B5-4A3E-8123-A67E35AA8D44}" dt="2020-07-27T19:58:23.176" v="12564" actId="1035"/>
          <ac:spMkLst>
            <pc:docMk/>
            <pc:sldMk cId="3396100439" sldId="2134804337"/>
            <ac:spMk id="9" creationId="{C4008514-F4D9-48F0-9D49-2B5F1B4FABAC}"/>
          </ac:spMkLst>
        </pc:spChg>
        <pc:spChg chg="add del mod">
          <ac:chgData name="Mariam Daniela Tristancho Pineda (MISION TEMPORAL LTDA)" userId="a45a17f7-7950-4cb5-bfab-f5c894f959a9" providerId="ADAL" clId="{9D150B60-33B5-4A3E-8123-A67E35AA8D44}" dt="2020-07-26T23:32:41.483" v="10057" actId="478"/>
          <ac:spMkLst>
            <pc:docMk/>
            <pc:sldMk cId="3396100439" sldId="2134804337"/>
            <ac:spMk id="10" creationId="{9917792E-ED60-4446-B293-0BF1449958B3}"/>
          </ac:spMkLst>
        </pc:spChg>
        <pc:spChg chg="add mod">
          <ac:chgData name="Mariam Daniela Tristancho Pineda (MISION TEMPORAL LTDA)" userId="a45a17f7-7950-4cb5-bfab-f5c894f959a9" providerId="ADAL" clId="{9D150B60-33B5-4A3E-8123-A67E35AA8D44}" dt="2020-07-27T19:57:20.285" v="12502" actId="164"/>
          <ac:spMkLst>
            <pc:docMk/>
            <pc:sldMk cId="3396100439" sldId="2134804337"/>
            <ac:spMk id="10" creationId="{BAEAA11C-2087-4293-A342-F40370054769}"/>
          </ac:spMkLst>
        </pc:spChg>
        <pc:spChg chg="add mod">
          <ac:chgData name="Mariam Daniela Tristancho Pineda (MISION TEMPORAL LTDA)" userId="a45a17f7-7950-4cb5-bfab-f5c894f959a9" providerId="ADAL" clId="{9D150B60-33B5-4A3E-8123-A67E35AA8D44}" dt="2020-07-27T19:58:23.176" v="12564" actId="1035"/>
          <ac:spMkLst>
            <pc:docMk/>
            <pc:sldMk cId="3396100439" sldId="2134804337"/>
            <ac:spMk id="11" creationId="{772CA61D-742C-45F0-BAFA-0F3B90176E98}"/>
          </ac:spMkLst>
        </pc:spChg>
        <pc:spChg chg="add mod">
          <ac:chgData name="Mariam Daniela Tristancho Pineda (MISION TEMPORAL LTDA)" userId="a45a17f7-7950-4cb5-bfab-f5c894f959a9" providerId="ADAL" clId="{9D150B60-33B5-4A3E-8123-A67E35AA8D44}" dt="2020-07-27T19:58:23.176" v="12564" actId="1035"/>
          <ac:spMkLst>
            <pc:docMk/>
            <pc:sldMk cId="3396100439" sldId="2134804337"/>
            <ac:spMk id="12" creationId="{7F3CEC4C-7588-4B74-823D-9CF22E2DAD79}"/>
          </ac:spMkLst>
        </pc:spChg>
        <pc:spChg chg="add mod">
          <ac:chgData name="Mariam Daniela Tristancho Pineda (MISION TEMPORAL LTDA)" userId="a45a17f7-7950-4cb5-bfab-f5c894f959a9" providerId="ADAL" clId="{9D150B60-33B5-4A3E-8123-A67E35AA8D44}" dt="2020-07-27T19:58:44.611" v="12566" actId="14100"/>
          <ac:spMkLst>
            <pc:docMk/>
            <pc:sldMk cId="3396100439" sldId="2134804337"/>
            <ac:spMk id="13" creationId="{6228884F-A0F8-4DF2-85C2-C4B92D5A8A77}"/>
          </ac:spMkLst>
        </pc:spChg>
        <pc:spChg chg="del mod">
          <ac:chgData name="Mariam Daniela Tristancho Pineda (MISION TEMPORAL LTDA)" userId="a45a17f7-7950-4cb5-bfab-f5c894f959a9" providerId="ADAL" clId="{9D150B60-33B5-4A3E-8123-A67E35AA8D44}" dt="2020-07-26T23:29:28.809" v="9930" actId="478"/>
          <ac:spMkLst>
            <pc:docMk/>
            <pc:sldMk cId="3396100439" sldId="2134804337"/>
            <ac:spMk id="13" creationId="{AEA9A67C-1F4B-4E19-9DBD-B1E12EB37465}"/>
          </ac:spMkLst>
        </pc:spChg>
        <pc:spChg chg="add mod">
          <ac:chgData name="Mariam Daniela Tristancho Pineda (MISION TEMPORAL LTDA)" userId="a45a17f7-7950-4cb5-bfab-f5c894f959a9" providerId="ADAL" clId="{9D150B60-33B5-4A3E-8123-A67E35AA8D44}" dt="2020-07-27T19:56:49.321" v="12494" actId="1076"/>
          <ac:spMkLst>
            <pc:docMk/>
            <pc:sldMk cId="3396100439" sldId="2134804337"/>
            <ac:spMk id="14" creationId="{46F7B6A0-E0D5-4D7B-9309-36A548429509}"/>
          </ac:spMkLst>
        </pc:spChg>
        <pc:spChg chg="add del mod">
          <ac:chgData name="Mariam Daniela Tristancho Pineda (MISION TEMPORAL LTDA)" userId="a45a17f7-7950-4cb5-bfab-f5c894f959a9" providerId="ADAL" clId="{9D150B60-33B5-4A3E-8123-A67E35AA8D44}" dt="2020-07-26T23:32:32.962" v="10056" actId="478"/>
          <ac:spMkLst>
            <pc:docMk/>
            <pc:sldMk cId="3396100439" sldId="2134804337"/>
            <ac:spMk id="14" creationId="{BBE6952F-5CAF-4C9C-B945-5ED4CDECC7A5}"/>
          </ac:spMkLst>
        </pc:spChg>
        <pc:spChg chg="add mod">
          <ac:chgData name="Mariam Daniela Tristancho Pineda (MISION TEMPORAL LTDA)" userId="a45a17f7-7950-4cb5-bfab-f5c894f959a9" providerId="ADAL" clId="{9D150B60-33B5-4A3E-8123-A67E35AA8D44}" dt="2020-07-27T19:58:23.176" v="12564" actId="1035"/>
          <ac:spMkLst>
            <pc:docMk/>
            <pc:sldMk cId="3396100439" sldId="2134804337"/>
            <ac:spMk id="15" creationId="{62B74417-9DDC-43EE-A726-A2B51719A76E}"/>
          </ac:spMkLst>
        </pc:spChg>
        <pc:spChg chg="add mod">
          <ac:chgData name="Mariam Daniela Tristancho Pineda (MISION TEMPORAL LTDA)" userId="a45a17f7-7950-4cb5-bfab-f5c894f959a9" providerId="ADAL" clId="{9D150B60-33B5-4A3E-8123-A67E35AA8D44}" dt="2020-07-27T19:58:23.176" v="12564" actId="1035"/>
          <ac:spMkLst>
            <pc:docMk/>
            <pc:sldMk cId="3396100439" sldId="2134804337"/>
            <ac:spMk id="16" creationId="{BBFAD0BD-54FF-43F3-B1BD-AD87C3FE7182}"/>
          </ac:spMkLst>
        </pc:spChg>
        <pc:spChg chg="add mod">
          <ac:chgData name="Mariam Daniela Tristancho Pineda (MISION TEMPORAL LTDA)" userId="a45a17f7-7950-4cb5-bfab-f5c894f959a9" providerId="ADAL" clId="{9D150B60-33B5-4A3E-8123-A67E35AA8D44}" dt="2020-07-27T19:58:23.176" v="12564" actId="1035"/>
          <ac:spMkLst>
            <pc:docMk/>
            <pc:sldMk cId="3396100439" sldId="2134804337"/>
            <ac:spMk id="17" creationId="{86A1E7C4-4E11-4F2F-8053-7E78A6509E45}"/>
          </ac:spMkLst>
        </pc:spChg>
        <pc:spChg chg="add mod">
          <ac:chgData name="Mariam Daniela Tristancho Pineda (MISION TEMPORAL LTDA)" userId="a45a17f7-7950-4cb5-bfab-f5c894f959a9" providerId="ADAL" clId="{9D150B60-33B5-4A3E-8123-A67E35AA8D44}" dt="2020-07-27T19:58:23.176" v="12564" actId="1035"/>
          <ac:spMkLst>
            <pc:docMk/>
            <pc:sldMk cId="3396100439" sldId="2134804337"/>
            <ac:spMk id="18" creationId="{2CBADE6D-1357-4956-98FE-882CB8F1AE15}"/>
          </ac:spMkLst>
        </pc:spChg>
        <pc:spChg chg="add del mod">
          <ac:chgData name="Mariam Daniela Tristancho Pineda (MISION TEMPORAL LTDA)" userId="a45a17f7-7950-4cb5-bfab-f5c894f959a9" providerId="ADAL" clId="{9D150B60-33B5-4A3E-8123-A67E35AA8D44}" dt="2020-07-26T23:33:49.070" v="10126" actId="478"/>
          <ac:spMkLst>
            <pc:docMk/>
            <pc:sldMk cId="3396100439" sldId="2134804337"/>
            <ac:spMk id="19" creationId="{4D2D331F-B972-401C-9C0A-23075A4685E4}"/>
          </ac:spMkLst>
        </pc:spChg>
        <pc:spChg chg="add mod">
          <ac:chgData name="Mariam Daniela Tristancho Pineda (MISION TEMPORAL LTDA)" userId="a45a17f7-7950-4cb5-bfab-f5c894f959a9" providerId="ADAL" clId="{9D150B60-33B5-4A3E-8123-A67E35AA8D44}" dt="2020-07-27T19:58:23.176" v="12564" actId="1035"/>
          <ac:spMkLst>
            <pc:docMk/>
            <pc:sldMk cId="3396100439" sldId="2134804337"/>
            <ac:spMk id="20" creationId="{5B6FAFEF-D75A-41DE-AC4B-45789181D623}"/>
          </ac:spMkLst>
        </pc:spChg>
        <pc:spChg chg="mod">
          <ac:chgData name="Mariam Daniela Tristancho Pineda (MISION TEMPORAL LTDA)" userId="a45a17f7-7950-4cb5-bfab-f5c894f959a9" providerId="ADAL" clId="{9D150B60-33B5-4A3E-8123-A67E35AA8D44}" dt="2020-07-27T19:58:23.176" v="12564" actId="1035"/>
          <ac:spMkLst>
            <pc:docMk/>
            <pc:sldMk cId="3396100439" sldId="2134804337"/>
            <ac:spMk id="21" creationId="{6DF582FE-4ED3-41AC-A715-CB130A94E54C}"/>
          </ac:spMkLst>
        </pc:spChg>
        <pc:spChg chg="del mod">
          <ac:chgData name="Mariam Daniela Tristancho Pineda (MISION TEMPORAL LTDA)" userId="a45a17f7-7950-4cb5-bfab-f5c894f959a9" providerId="ADAL" clId="{9D150B60-33B5-4A3E-8123-A67E35AA8D44}" dt="2020-07-27T19:50:33.344" v="12242" actId="478"/>
          <ac:spMkLst>
            <pc:docMk/>
            <pc:sldMk cId="3396100439" sldId="2134804337"/>
            <ac:spMk id="22" creationId="{E652DC89-A856-4D57-8E2C-B61602C127E1}"/>
          </ac:spMkLst>
        </pc:spChg>
        <pc:spChg chg="add mod">
          <ac:chgData name="Mariam Daniela Tristancho Pineda (MISION TEMPORAL LTDA)" userId="a45a17f7-7950-4cb5-bfab-f5c894f959a9" providerId="ADAL" clId="{9D150B60-33B5-4A3E-8123-A67E35AA8D44}" dt="2020-07-27T19:58:23.176" v="12564" actId="1035"/>
          <ac:spMkLst>
            <pc:docMk/>
            <pc:sldMk cId="3396100439" sldId="2134804337"/>
            <ac:spMk id="23" creationId="{A396F205-286C-47F5-B29D-C5952F03BF6F}"/>
          </ac:spMkLst>
        </pc:spChg>
        <pc:spChg chg="add mod">
          <ac:chgData name="Mariam Daniela Tristancho Pineda (MISION TEMPORAL LTDA)" userId="a45a17f7-7950-4cb5-bfab-f5c894f959a9" providerId="ADAL" clId="{9D150B60-33B5-4A3E-8123-A67E35AA8D44}" dt="2020-07-27T19:58:38.182" v="12565" actId="164"/>
          <ac:spMkLst>
            <pc:docMk/>
            <pc:sldMk cId="3396100439" sldId="2134804337"/>
            <ac:spMk id="24" creationId="{D596017A-217C-4030-AA0C-1C29D35BFF67}"/>
          </ac:spMkLst>
        </pc:spChg>
        <pc:spChg chg="mod">
          <ac:chgData name="Mariam Daniela Tristancho Pineda (MISION TEMPORAL LTDA)" userId="a45a17f7-7950-4cb5-bfab-f5c894f959a9" providerId="ADAL" clId="{9D150B60-33B5-4A3E-8123-A67E35AA8D44}" dt="2020-07-28T00:16:19.721" v="15809" actId="1038"/>
          <ac:spMkLst>
            <pc:docMk/>
            <pc:sldMk cId="3396100439" sldId="2134804337"/>
            <ac:spMk id="27" creationId="{910DCB24-1C9B-45BE-9592-B8EC86E558A4}"/>
          </ac:spMkLst>
        </pc:spChg>
        <pc:spChg chg="mod">
          <ac:chgData name="Mariam Daniela Tristancho Pineda (MISION TEMPORAL LTDA)" userId="a45a17f7-7950-4cb5-bfab-f5c894f959a9" providerId="ADAL" clId="{9D150B60-33B5-4A3E-8123-A67E35AA8D44}" dt="2020-07-26T23:29:24.456" v="9929"/>
          <ac:spMkLst>
            <pc:docMk/>
            <pc:sldMk cId="3396100439" sldId="2134804337"/>
            <ac:spMk id="28" creationId="{4A0F0E28-A961-4260-8BB9-16809CE2E13A}"/>
          </ac:spMkLst>
        </pc:spChg>
        <pc:spChg chg="mod">
          <ac:chgData name="Mariam Daniela Tristancho Pineda (MISION TEMPORAL LTDA)" userId="a45a17f7-7950-4cb5-bfab-f5c894f959a9" providerId="ADAL" clId="{9D150B60-33B5-4A3E-8123-A67E35AA8D44}" dt="2020-07-26T23:30:35.997" v="9938" actId="20577"/>
          <ac:spMkLst>
            <pc:docMk/>
            <pc:sldMk cId="3396100439" sldId="2134804337"/>
            <ac:spMk id="32" creationId="{112CF6BB-B57E-4E30-BDB8-A663AA382E62}"/>
          </ac:spMkLst>
        </pc:spChg>
        <pc:spChg chg="mod">
          <ac:chgData name="Mariam Daniela Tristancho Pineda (MISION TEMPORAL LTDA)" userId="a45a17f7-7950-4cb5-bfab-f5c894f959a9" providerId="ADAL" clId="{9D150B60-33B5-4A3E-8123-A67E35AA8D44}" dt="2020-07-28T00:16:28.069" v="15818" actId="1038"/>
          <ac:spMkLst>
            <pc:docMk/>
            <pc:sldMk cId="3396100439" sldId="2134804337"/>
            <ac:spMk id="33" creationId="{99A98136-5ADE-4ACF-97B1-9869591C8748}"/>
          </ac:spMkLst>
        </pc:spChg>
        <pc:spChg chg="mod">
          <ac:chgData name="Mariam Daniela Tristancho Pineda (MISION TEMPORAL LTDA)" userId="a45a17f7-7950-4cb5-bfab-f5c894f959a9" providerId="ADAL" clId="{9D150B60-33B5-4A3E-8123-A67E35AA8D44}" dt="2020-07-26T23:33:11.747" v="10082" actId="20577"/>
          <ac:spMkLst>
            <pc:docMk/>
            <pc:sldMk cId="3396100439" sldId="2134804337"/>
            <ac:spMk id="38" creationId="{A70D06D3-12BC-4CDA-B9D7-EEF1588242C9}"/>
          </ac:spMkLst>
        </pc:spChg>
        <pc:spChg chg="mod">
          <ac:chgData name="Mariam Daniela Tristancho Pineda (MISION TEMPORAL LTDA)" userId="a45a17f7-7950-4cb5-bfab-f5c894f959a9" providerId="ADAL" clId="{9D150B60-33B5-4A3E-8123-A67E35AA8D44}" dt="2020-07-28T00:16:25.286" v="15815" actId="1038"/>
          <ac:spMkLst>
            <pc:docMk/>
            <pc:sldMk cId="3396100439" sldId="2134804337"/>
            <ac:spMk id="39" creationId="{5FAD9D39-0163-48A2-AB90-B7B2E4C2CCC8}"/>
          </ac:spMkLst>
        </pc:spChg>
        <pc:spChg chg="mod">
          <ac:chgData name="Mariam Daniela Tristancho Pineda (MISION TEMPORAL LTDA)" userId="a45a17f7-7950-4cb5-bfab-f5c894f959a9" providerId="ADAL" clId="{9D150B60-33B5-4A3E-8123-A67E35AA8D44}" dt="2020-07-28T00:16:22.498" v="15812" actId="1038"/>
          <ac:spMkLst>
            <pc:docMk/>
            <pc:sldMk cId="3396100439" sldId="2134804337"/>
            <ac:spMk id="47" creationId="{F3DF7E95-E8CD-4D4B-91D9-C76F52367762}"/>
          </ac:spMkLst>
        </pc:spChg>
        <pc:spChg chg="mod">
          <ac:chgData name="Mariam Daniela Tristancho Pineda (MISION TEMPORAL LTDA)" userId="a45a17f7-7950-4cb5-bfab-f5c894f959a9" providerId="ADAL" clId="{9D150B60-33B5-4A3E-8123-A67E35AA8D44}" dt="2020-07-26T23:31:19.470" v="10030" actId="1035"/>
          <ac:spMkLst>
            <pc:docMk/>
            <pc:sldMk cId="3396100439" sldId="2134804337"/>
            <ac:spMk id="49" creationId="{C0197DAE-A62A-4F3E-9B20-3A2EF1F5519D}"/>
          </ac:spMkLst>
        </pc:spChg>
        <pc:spChg chg="mod">
          <ac:chgData name="Mariam Daniela Tristancho Pineda (MISION TEMPORAL LTDA)" userId="a45a17f7-7950-4cb5-bfab-f5c894f959a9" providerId="ADAL" clId="{9D150B60-33B5-4A3E-8123-A67E35AA8D44}" dt="2020-07-26T23:31:05.146" v="9973" actId="20577"/>
          <ac:spMkLst>
            <pc:docMk/>
            <pc:sldMk cId="3396100439" sldId="2134804337"/>
            <ac:spMk id="50" creationId="{A7057143-C85B-44EE-92F1-EC9A480F7497}"/>
          </ac:spMkLst>
        </pc:spChg>
        <pc:spChg chg="mod">
          <ac:chgData name="Mariam Daniela Tristancho Pineda (MISION TEMPORAL LTDA)" userId="a45a17f7-7950-4cb5-bfab-f5c894f959a9" providerId="ADAL" clId="{9D150B60-33B5-4A3E-8123-A67E35AA8D44}" dt="2020-07-26T23:32:50.122" v="10059"/>
          <ac:spMkLst>
            <pc:docMk/>
            <pc:sldMk cId="3396100439" sldId="2134804337"/>
            <ac:spMk id="51" creationId="{434F470C-E23A-4F38-ABE9-7C1C6300E6CB}"/>
          </ac:spMkLst>
        </pc:spChg>
        <pc:spChg chg="mod">
          <ac:chgData name="Mariam Daniela Tristancho Pineda (MISION TEMPORAL LTDA)" userId="a45a17f7-7950-4cb5-bfab-f5c894f959a9" providerId="ADAL" clId="{9D150B60-33B5-4A3E-8123-A67E35AA8D44}" dt="2020-07-27T19:50:47.348" v="12246" actId="1076"/>
          <ac:spMkLst>
            <pc:docMk/>
            <pc:sldMk cId="3396100439" sldId="2134804337"/>
            <ac:spMk id="84" creationId="{293DBAF3-3942-4C58-8A63-D4484E215E20}"/>
          </ac:spMkLst>
        </pc:spChg>
        <pc:spChg chg="mod">
          <ac:chgData name="Mariam Daniela Tristancho Pineda (MISION TEMPORAL LTDA)" userId="a45a17f7-7950-4cb5-bfab-f5c894f959a9" providerId="ADAL" clId="{9D150B60-33B5-4A3E-8123-A67E35AA8D44}" dt="2020-07-28T00:28:21.678" v="16261" actId="20577"/>
          <ac:spMkLst>
            <pc:docMk/>
            <pc:sldMk cId="3396100439" sldId="2134804337"/>
            <ac:spMk id="86" creationId="{7696A978-4362-4DE3-8C58-0F58608C4AA6}"/>
          </ac:spMkLst>
        </pc:spChg>
        <pc:spChg chg="mod">
          <ac:chgData name="Mariam Daniela Tristancho Pineda (MISION TEMPORAL LTDA)" userId="a45a17f7-7950-4cb5-bfab-f5c894f959a9" providerId="ADAL" clId="{9D150B60-33B5-4A3E-8123-A67E35AA8D44}" dt="2020-07-27T19:58:23.176" v="12564" actId="1035"/>
          <ac:spMkLst>
            <pc:docMk/>
            <pc:sldMk cId="3396100439" sldId="2134804337"/>
            <ac:spMk id="97" creationId="{99300021-C267-43BD-A0F5-B3ECE622345E}"/>
          </ac:spMkLst>
        </pc:spChg>
        <pc:spChg chg="mod">
          <ac:chgData name="Mariam Daniela Tristancho Pineda (MISION TEMPORAL LTDA)" userId="a45a17f7-7950-4cb5-bfab-f5c894f959a9" providerId="ADAL" clId="{9D150B60-33B5-4A3E-8123-A67E35AA8D44}" dt="2020-07-28T00:16:33.096" v="15821" actId="1036"/>
          <ac:spMkLst>
            <pc:docMk/>
            <pc:sldMk cId="3396100439" sldId="2134804337"/>
            <ac:spMk id="117" creationId="{8960734A-1053-42D2-BD72-6674DCCE6A97}"/>
          </ac:spMkLst>
        </pc:spChg>
        <pc:spChg chg="mod">
          <ac:chgData name="Mariam Daniela Tristancho Pineda (MISION TEMPORAL LTDA)" userId="a45a17f7-7950-4cb5-bfab-f5c894f959a9" providerId="ADAL" clId="{9D150B60-33B5-4A3E-8123-A67E35AA8D44}" dt="2020-07-28T00:16:33.096" v="15821" actId="1036"/>
          <ac:spMkLst>
            <pc:docMk/>
            <pc:sldMk cId="3396100439" sldId="2134804337"/>
            <ac:spMk id="118" creationId="{C77431EE-A761-4323-B75F-692D4CAEC462}"/>
          </ac:spMkLst>
        </pc:spChg>
        <pc:spChg chg="mod">
          <ac:chgData name="Mariam Daniela Tristancho Pineda (MISION TEMPORAL LTDA)" userId="a45a17f7-7950-4cb5-bfab-f5c894f959a9" providerId="ADAL" clId="{9D150B60-33B5-4A3E-8123-A67E35AA8D44}" dt="2020-07-28T00:16:33.096" v="15821" actId="1036"/>
          <ac:spMkLst>
            <pc:docMk/>
            <pc:sldMk cId="3396100439" sldId="2134804337"/>
            <ac:spMk id="119" creationId="{A66DDFF6-8990-4632-9B16-3852035C81BA}"/>
          </ac:spMkLst>
        </pc:spChg>
        <pc:spChg chg="mod">
          <ac:chgData name="Mariam Daniela Tristancho Pineda (MISION TEMPORAL LTDA)" userId="a45a17f7-7950-4cb5-bfab-f5c894f959a9" providerId="ADAL" clId="{9D150B60-33B5-4A3E-8123-A67E35AA8D44}" dt="2020-07-28T01:02:51.659" v="17314" actId="20577"/>
          <ac:spMkLst>
            <pc:docMk/>
            <pc:sldMk cId="3396100439" sldId="2134804337"/>
            <ac:spMk id="135" creationId="{C1823568-A421-4254-9106-BAEB76F16B72}"/>
          </ac:spMkLst>
        </pc:spChg>
        <pc:spChg chg="mod">
          <ac:chgData name="Mariam Daniela Tristancho Pineda (MISION TEMPORAL LTDA)" userId="a45a17f7-7950-4cb5-bfab-f5c894f959a9" providerId="ADAL" clId="{9D150B60-33B5-4A3E-8123-A67E35AA8D44}" dt="2020-07-27T19:58:23.176" v="12564" actId="1035"/>
          <ac:spMkLst>
            <pc:docMk/>
            <pc:sldMk cId="3396100439" sldId="2134804337"/>
            <ac:spMk id="147" creationId="{28985963-B271-4E6A-83C5-F3A62A87E6BA}"/>
          </ac:spMkLst>
        </pc:spChg>
        <pc:spChg chg="del mod">
          <ac:chgData name="Mariam Daniela Tristancho Pineda (MISION TEMPORAL LTDA)" userId="a45a17f7-7950-4cb5-bfab-f5c894f959a9" providerId="ADAL" clId="{9D150B60-33B5-4A3E-8123-A67E35AA8D44}" dt="2020-07-27T19:50:33.344" v="12242" actId="478"/>
          <ac:spMkLst>
            <pc:docMk/>
            <pc:sldMk cId="3396100439" sldId="2134804337"/>
            <ac:spMk id="156" creationId="{D69C9D48-D741-473B-B9DB-21F11F279802}"/>
          </ac:spMkLst>
        </pc:spChg>
        <pc:grpChg chg="add mod">
          <ac:chgData name="Mariam Daniela Tristancho Pineda (MISION TEMPORAL LTDA)" userId="a45a17f7-7950-4cb5-bfab-f5c894f959a9" providerId="ADAL" clId="{9D150B60-33B5-4A3E-8123-A67E35AA8D44}" dt="2020-07-27T19:57:37.354" v="12544" actId="1076"/>
          <ac:grpSpMkLst>
            <pc:docMk/>
            <pc:sldMk cId="3396100439" sldId="2134804337"/>
            <ac:grpSpMk id="19" creationId="{61C64EE8-FBB3-47C1-B4B0-BE60C5801CC2}"/>
          </ac:grpSpMkLst>
        </pc:grpChg>
        <pc:grpChg chg="add mod">
          <ac:chgData name="Mariam Daniela Tristancho Pineda (MISION TEMPORAL LTDA)" userId="a45a17f7-7950-4cb5-bfab-f5c894f959a9" providerId="ADAL" clId="{9D150B60-33B5-4A3E-8123-A67E35AA8D44}" dt="2020-07-27T19:58:38.182" v="12565" actId="164"/>
          <ac:grpSpMkLst>
            <pc:docMk/>
            <pc:sldMk cId="3396100439" sldId="2134804337"/>
            <ac:grpSpMk id="25" creationId="{7BD04A0F-6044-44FB-A15C-87C578771698}"/>
          </ac:grpSpMkLst>
        </pc:grpChg>
        <pc:grpChg chg="add mod">
          <ac:chgData name="Mariam Daniela Tristancho Pineda (MISION TEMPORAL LTDA)" userId="a45a17f7-7950-4cb5-bfab-f5c894f959a9" providerId="ADAL" clId="{9D150B60-33B5-4A3E-8123-A67E35AA8D44}" dt="2020-07-27T19:57:29.422" v="12520" actId="1037"/>
          <ac:grpSpMkLst>
            <pc:docMk/>
            <pc:sldMk cId="3396100439" sldId="2134804337"/>
            <ac:grpSpMk id="26" creationId="{5B1CDA9C-37CE-441A-94E7-5A5F38503613}"/>
          </ac:grpSpMkLst>
        </pc:grpChg>
        <pc:grpChg chg="add mod">
          <ac:chgData name="Mariam Daniela Tristancho Pineda (MISION TEMPORAL LTDA)" userId="a45a17f7-7950-4cb5-bfab-f5c894f959a9" providerId="ADAL" clId="{9D150B60-33B5-4A3E-8123-A67E35AA8D44}" dt="2020-07-27T19:57:33.855" v="12543" actId="1038"/>
          <ac:grpSpMkLst>
            <pc:docMk/>
            <pc:sldMk cId="3396100439" sldId="2134804337"/>
            <ac:grpSpMk id="31" creationId="{A0B07E6C-42EA-42D4-BF18-74CF8467911A}"/>
          </ac:grpSpMkLst>
        </pc:grpChg>
        <pc:grpChg chg="mod">
          <ac:chgData name="Mariam Daniela Tristancho Pineda (MISION TEMPORAL LTDA)" userId="a45a17f7-7950-4cb5-bfab-f5c894f959a9" providerId="ADAL" clId="{9D150B60-33B5-4A3E-8123-A67E35AA8D44}" dt="2020-07-27T19:57:33.855" v="12543" actId="1038"/>
          <ac:grpSpMkLst>
            <pc:docMk/>
            <pc:sldMk cId="3396100439" sldId="2134804337"/>
            <ac:grpSpMk id="37" creationId="{33A4F641-6F0E-462A-898E-0641B151AA65}"/>
          </ac:grpSpMkLst>
        </pc:grpChg>
        <pc:grpChg chg="add mod">
          <ac:chgData name="Mariam Daniela Tristancho Pineda (MISION TEMPORAL LTDA)" userId="a45a17f7-7950-4cb5-bfab-f5c894f959a9" providerId="ADAL" clId="{9D150B60-33B5-4A3E-8123-A67E35AA8D44}" dt="2020-07-27T19:57:29.422" v="12520" actId="1037"/>
          <ac:grpSpMkLst>
            <pc:docMk/>
            <pc:sldMk cId="3396100439" sldId="2134804337"/>
            <ac:grpSpMk id="46" creationId="{650AB62D-A12A-45DF-8E31-BF8EC5C56E7C}"/>
          </ac:grpSpMkLst>
        </pc:grpChg>
        <pc:grpChg chg="del mod">
          <ac:chgData name="Mariam Daniela Tristancho Pineda (MISION TEMPORAL LTDA)" userId="a45a17f7-7950-4cb5-bfab-f5c894f959a9" providerId="ADAL" clId="{9D150B60-33B5-4A3E-8123-A67E35AA8D44}" dt="2020-07-26T23:32:42.280" v="10058" actId="478"/>
          <ac:grpSpMkLst>
            <pc:docMk/>
            <pc:sldMk cId="3396100439" sldId="2134804337"/>
            <ac:grpSpMk id="48" creationId="{BF9B7369-5424-4681-AAA3-C537D0F863B5}"/>
          </ac:grpSpMkLst>
        </pc:grpChg>
      </pc:sldChg>
      <pc:sldChg chg="modSp add mod ord">
        <pc:chgData name="Mariam Daniela Tristancho Pineda (MISION TEMPORAL LTDA)" userId="a45a17f7-7950-4cb5-bfab-f5c894f959a9" providerId="ADAL" clId="{9D150B60-33B5-4A3E-8123-A67E35AA8D44}" dt="2020-07-28T15:04:53.786" v="20024" actId="20577"/>
        <pc:sldMkLst>
          <pc:docMk/>
          <pc:sldMk cId="1847407210" sldId="2134804338"/>
        </pc:sldMkLst>
        <pc:spChg chg="mod">
          <ac:chgData name="Mariam Daniela Tristancho Pineda (MISION TEMPORAL LTDA)" userId="a45a17f7-7950-4cb5-bfab-f5c894f959a9" providerId="ADAL" clId="{9D150B60-33B5-4A3E-8123-A67E35AA8D44}" dt="2020-07-28T15:04:53.786" v="20024" actId="20577"/>
          <ac:spMkLst>
            <pc:docMk/>
            <pc:sldMk cId="1847407210" sldId="2134804338"/>
            <ac:spMk id="2" creationId="{6431BBCF-96E5-45A7-B7E5-D44090D06329}"/>
          </ac:spMkLst>
        </pc:spChg>
      </pc:sldChg>
      <pc:sldChg chg="addSp delSp modSp add mod ord">
        <pc:chgData name="Mariam Daniela Tristancho Pineda (MISION TEMPORAL LTDA)" userId="a45a17f7-7950-4cb5-bfab-f5c894f959a9" providerId="ADAL" clId="{9D150B60-33B5-4A3E-8123-A67E35AA8D44}" dt="2020-07-28T20:02:57.794" v="20080" actId="207"/>
        <pc:sldMkLst>
          <pc:docMk/>
          <pc:sldMk cId="1922339588" sldId="2134804339"/>
        </pc:sldMkLst>
        <pc:spChg chg="mod">
          <ac:chgData name="Mariam Daniela Tristancho Pineda (MISION TEMPORAL LTDA)" userId="a45a17f7-7950-4cb5-bfab-f5c894f959a9" providerId="ADAL" clId="{9D150B60-33B5-4A3E-8123-A67E35AA8D44}" dt="2020-07-26T23:45:41.638" v="10610" actId="1076"/>
          <ac:spMkLst>
            <pc:docMk/>
            <pc:sldMk cId="1922339588" sldId="2134804339"/>
            <ac:spMk id="3" creationId="{31514E04-D9F2-4C9D-BB7C-0BB641AFCD5E}"/>
          </ac:spMkLst>
        </pc:spChg>
        <pc:spChg chg="mod">
          <ac:chgData name="Mariam Daniela Tristancho Pineda (MISION TEMPORAL LTDA)" userId="a45a17f7-7950-4cb5-bfab-f5c894f959a9" providerId="ADAL" clId="{9D150B60-33B5-4A3E-8123-A67E35AA8D44}" dt="2020-07-27T00:01:00.619" v="10716" actId="1076"/>
          <ac:spMkLst>
            <pc:docMk/>
            <pc:sldMk cId="1922339588" sldId="2134804339"/>
            <ac:spMk id="4" creationId="{9B0CE30D-625A-4CD9-98D4-3AF33243D194}"/>
          </ac:spMkLst>
        </pc:spChg>
        <pc:spChg chg="del mod">
          <ac:chgData name="Mariam Daniela Tristancho Pineda (MISION TEMPORAL LTDA)" userId="a45a17f7-7950-4cb5-bfab-f5c894f959a9" providerId="ADAL" clId="{9D150B60-33B5-4A3E-8123-A67E35AA8D44}" dt="2020-07-27T00:01:16.024" v="10721" actId="478"/>
          <ac:spMkLst>
            <pc:docMk/>
            <pc:sldMk cId="1922339588" sldId="2134804339"/>
            <ac:spMk id="8" creationId="{8297F929-C1B1-480C-B41F-11DADC46CD00}"/>
          </ac:spMkLst>
        </pc:spChg>
        <pc:spChg chg="add mod">
          <ac:chgData name="Mariam Daniela Tristancho Pineda (MISION TEMPORAL LTDA)" userId="a45a17f7-7950-4cb5-bfab-f5c894f959a9" providerId="ADAL" clId="{9D150B60-33B5-4A3E-8123-A67E35AA8D44}" dt="2020-07-26T23:55:44.059" v="10650" actId="20577"/>
          <ac:spMkLst>
            <pc:docMk/>
            <pc:sldMk cId="1922339588" sldId="2134804339"/>
            <ac:spMk id="11" creationId="{369347C8-E390-4234-A000-2BD5D7F47A0D}"/>
          </ac:spMkLst>
        </pc:spChg>
        <pc:spChg chg="mod">
          <ac:chgData name="Mariam Daniela Tristancho Pineda (MISION TEMPORAL LTDA)" userId="a45a17f7-7950-4cb5-bfab-f5c894f959a9" providerId="ADAL" clId="{9D150B60-33B5-4A3E-8123-A67E35AA8D44}" dt="2020-07-26T23:55:14.749" v="10646" actId="20577"/>
          <ac:spMkLst>
            <pc:docMk/>
            <pc:sldMk cId="1922339588" sldId="2134804339"/>
            <ac:spMk id="12" creationId="{96C9E76C-8C7F-489D-82CB-B2BD03852707}"/>
          </ac:spMkLst>
        </pc:spChg>
        <pc:spChg chg="del">
          <ac:chgData name="Mariam Daniela Tristancho Pineda (MISION TEMPORAL LTDA)" userId="a45a17f7-7950-4cb5-bfab-f5c894f959a9" providerId="ADAL" clId="{9D150B60-33B5-4A3E-8123-A67E35AA8D44}" dt="2020-07-26T23:59:58.859" v="10704" actId="478"/>
          <ac:spMkLst>
            <pc:docMk/>
            <pc:sldMk cId="1922339588" sldId="2134804339"/>
            <ac:spMk id="14" creationId="{D1DAE228-949A-4D89-BEA5-C97D123F5CC4}"/>
          </ac:spMkLst>
        </pc:spChg>
        <pc:spChg chg="add mod">
          <ac:chgData name="Mariam Daniela Tristancho Pineda (MISION TEMPORAL LTDA)" userId="a45a17f7-7950-4cb5-bfab-f5c894f959a9" providerId="ADAL" clId="{9D150B60-33B5-4A3E-8123-A67E35AA8D44}" dt="2020-07-26T23:56:10.612" v="10654" actId="1076"/>
          <ac:spMkLst>
            <pc:docMk/>
            <pc:sldMk cId="1922339588" sldId="2134804339"/>
            <ac:spMk id="15" creationId="{2D957BE4-455A-4A77-BB3D-B544CDFE4CEE}"/>
          </ac:spMkLst>
        </pc:spChg>
        <pc:spChg chg="add mod">
          <ac:chgData name="Mariam Daniela Tristancho Pineda (MISION TEMPORAL LTDA)" userId="a45a17f7-7950-4cb5-bfab-f5c894f959a9" providerId="ADAL" clId="{9D150B60-33B5-4A3E-8123-A67E35AA8D44}" dt="2020-07-26T23:56:19.331" v="10655" actId="20577"/>
          <ac:spMkLst>
            <pc:docMk/>
            <pc:sldMk cId="1922339588" sldId="2134804339"/>
            <ac:spMk id="16" creationId="{39920083-3661-4B17-BD82-A7C567EAC10C}"/>
          </ac:spMkLst>
        </pc:spChg>
        <pc:spChg chg="add mod">
          <ac:chgData name="Mariam Daniela Tristancho Pineda (MISION TEMPORAL LTDA)" userId="a45a17f7-7950-4cb5-bfab-f5c894f959a9" providerId="ADAL" clId="{9D150B60-33B5-4A3E-8123-A67E35AA8D44}" dt="2020-07-26T23:57:17.416" v="10676" actId="1076"/>
          <ac:spMkLst>
            <pc:docMk/>
            <pc:sldMk cId="1922339588" sldId="2134804339"/>
            <ac:spMk id="17" creationId="{D90DAF45-BBA9-4FE0-889F-2B61DCDCAFD3}"/>
          </ac:spMkLst>
        </pc:spChg>
        <pc:spChg chg="add mod">
          <ac:chgData name="Mariam Daniela Tristancho Pineda (MISION TEMPORAL LTDA)" userId="a45a17f7-7950-4cb5-bfab-f5c894f959a9" providerId="ADAL" clId="{9D150B60-33B5-4A3E-8123-A67E35AA8D44}" dt="2020-07-26T23:58:07.149" v="10682" actId="1076"/>
          <ac:spMkLst>
            <pc:docMk/>
            <pc:sldMk cId="1922339588" sldId="2134804339"/>
            <ac:spMk id="18" creationId="{6B4295C0-BACB-421F-9250-D16FB2AE03B5}"/>
          </ac:spMkLst>
        </pc:spChg>
        <pc:spChg chg="mod">
          <ac:chgData name="Mariam Daniela Tristancho Pineda (MISION TEMPORAL LTDA)" userId="a45a17f7-7950-4cb5-bfab-f5c894f959a9" providerId="ADAL" clId="{9D150B60-33B5-4A3E-8123-A67E35AA8D44}" dt="2020-07-27T00:07:48.834" v="10860" actId="20577"/>
          <ac:spMkLst>
            <pc:docMk/>
            <pc:sldMk cId="1922339588" sldId="2134804339"/>
            <ac:spMk id="20" creationId="{92C8D133-E6D8-4045-B204-E026C5621093}"/>
          </ac:spMkLst>
        </pc:spChg>
        <pc:spChg chg="add mod">
          <ac:chgData name="Mariam Daniela Tristancho Pineda (MISION TEMPORAL LTDA)" userId="a45a17f7-7950-4cb5-bfab-f5c894f959a9" providerId="ADAL" clId="{9D150B60-33B5-4A3E-8123-A67E35AA8D44}" dt="2020-07-26T23:58:07.149" v="10682" actId="1076"/>
          <ac:spMkLst>
            <pc:docMk/>
            <pc:sldMk cId="1922339588" sldId="2134804339"/>
            <ac:spMk id="22" creationId="{3C9B90E0-D56E-406C-86C5-9047F0CF725A}"/>
          </ac:spMkLst>
        </pc:spChg>
        <pc:spChg chg="add mod">
          <ac:chgData name="Mariam Daniela Tristancho Pineda (MISION TEMPORAL LTDA)" userId="a45a17f7-7950-4cb5-bfab-f5c894f959a9" providerId="ADAL" clId="{9D150B60-33B5-4A3E-8123-A67E35AA8D44}" dt="2020-07-26T23:58:32.203" v="10689" actId="1076"/>
          <ac:spMkLst>
            <pc:docMk/>
            <pc:sldMk cId="1922339588" sldId="2134804339"/>
            <ac:spMk id="23" creationId="{DC7A8F7C-C0FB-409A-A2BF-E6C8DE621ABC}"/>
          </ac:spMkLst>
        </pc:spChg>
        <pc:spChg chg="add mod">
          <ac:chgData name="Mariam Daniela Tristancho Pineda (MISION TEMPORAL LTDA)" userId="a45a17f7-7950-4cb5-bfab-f5c894f959a9" providerId="ADAL" clId="{9D150B60-33B5-4A3E-8123-A67E35AA8D44}" dt="2020-07-26T23:59:00.932" v="10692" actId="1076"/>
          <ac:spMkLst>
            <pc:docMk/>
            <pc:sldMk cId="1922339588" sldId="2134804339"/>
            <ac:spMk id="24" creationId="{0F469F31-E58F-42FF-AC27-8A11BEC21E1D}"/>
          </ac:spMkLst>
        </pc:spChg>
        <pc:spChg chg="add mod">
          <ac:chgData name="Mariam Daniela Tristancho Pineda (MISION TEMPORAL LTDA)" userId="a45a17f7-7950-4cb5-bfab-f5c894f959a9" providerId="ADAL" clId="{9D150B60-33B5-4A3E-8123-A67E35AA8D44}" dt="2020-07-26T23:59:20.678" v="10696" actId="1076"/>
          <ac:spMkLst>
            <pc:docMk/>
            <pc:sldMk cId="1922339588" sldId="2134804339"/>
            <ac:spMk id="25" creationId="{BBAEF50B-2618-44D3-B61E-C295E72EF8E0}"/>
          </ac:spMkLst>
        </pc:spChg>
        <pc:spChg chg="add mod">
          <ac:chgData name="Mariam Daniela Tristancho Pineda (MISION TEMPORAL LTDA)" userId="a45a17f7-7950-4cb5-bfab-f5c894f959a9" providerId="ADAL" clId="{9D150B60-33B5-4A3E-8123-A67E35AA8D44}" dt="2020-07-26T23:59:27.327" v="10697" actId="20577"/>
          <ac:spMkLst>
            <pc:docMk/>
            <pc:sldMk cId="1922339588" sldId="2134804339"/>
            <ac:spMk id="26" creationId="{DB8C8FEE-D364-473B-990C-8D0B3A2AFE29}"/>
          </ac:spMkLst>
        </pc:spChg>
        <pc:spChg chg="add mod">
          <ac:chgData name="Mariam Daniela Tristancho Pineda (MISION TEMPORAL LTDA)" userId="a45a17f7-7950-4cb5-bfab-f5c894f959a9" providerId="ADAL" clId="{9D150B60-33B5-4A3E-8123-A67E35AA8D44}" dt="2020-07-26T23:59:41.581" v="10700" actId="1076"/>
          <ac:spMkLst>
            <pc:docMk/>
            <pc:sldMk cId="1922339588" sldId="2134804339"/>
            <ac:spMk id="27" creationId="{FEFB62FD-9D39-4B50-AF59-543E1F673FE5}"/>
          </ac:spMkLst>
        </pc:spChg>
        <pc:spChg chg="add mod">
          <ac:chgData name="Mariam Daniela Tristancho Pineda (MISION TEMPORAL LTDA)" userId="a45a17f7-7950-4cb5-bfab-f5c894f959a9" providerId="ADAL" clId="{9D150B60-33B5-4A3E-8123-A67E35AA8D44}" dt="2020-07-27T00:00:03.220" v="10706" actId="1076"/>
          <ac:spMkLst>
            <pc:docMk/>
            <pc:sldMk cId="1922339588" sldId="2134804339"/>
            <ac:spMk id="28" creationId="{0CDAE9E7-CD85-4317-A660-8F35EC859697}"/>
          </ac:spMkLst>
        </pc:spChg>
        <pc:spChg chg="add mod">
          <ac:chgData name="Mariam Daniela Tristancho Pineda (MISION TEMPORAL LTDA)" userId="a45a17f7-7950-4cb5-bfab-f5c894f959a9" providerId="ADAL" clId="{9D150B60-33B5-4A3E-8123-A67E35AA8D44}" dt="2020-07-27T00:01:11.853" v="10719" actId="1076"/>
          <ac:spMkLst>
            <pc:docMk/>
            <pc:sldMk cId="1922339588" sldId="2134804339"/>
            <ac:spMk id="29" creationId="{D3BCCD8F-3AD4-43D4-B822-044615DD1C54}"/>
          </ac:spMkLst>
        </pc:spChg>
        <pc:spChg chg="add del mod topLvl">
          <ac:chgData name="Mariam Daniela Tristancho Pineda (MISION TEMPORAL LTDA)" userId="a45a17f7-7950-4cb5-bfab-f5c894f959a9" providerId="ADAL" clId="{9D150B60-33B5-4A3E-8123-A67E35AA8D44}" dt="2020-07-28T15:05:31.419" v="20033" actId="478"/>
          <ac:spMkLst>
            <pc:docMk/>
            <pc:sldMk cId="1922339588" sldId="2134804339"/>
            <ac:spMk id="31" creationId="{33815D25-A2E7-49EE-9E0D-F73DC7260CB1}"/>
          </ac:spMkLst>
        </pc:spChg>
        <pc:spChg chg="add del mod topLvl">
          <ac:chgData name="Mariam Daniela Tristancho Pineda (MISION TEMPORAL LTDA)" userId="a45a17f7-7950-4cb5-bfab-f5c894f959a9" providerId="ADAL" clId="{9D150B60-33B5-4A3E-8123-A67E35AA8D44}" dt="2020-07-28T15:05:25.412" v="20029" actId="478"/>
          <ac:spMkLst>
            <pc:docMk/>
            <pc:sldMk cId="1922339588" sldId="2134804339"/>
            <ac:spMk id="32" creationId="{9A29FA08-D6F1-4C83-8BD8-FB503F5B1235}"/>
          </ac:spMkLst>
        </pc:spChg>
        <pc:spChg chg="add del mod">
          <ac:chgData name="Mariam Daniela Tristancho Pineda (MISION TEMPORAL LTDA)" userId="a45a17f7-7950-4cb5-bfab-f5c894f959a9" providerId="ADAL" clId="{9D150B60-33B5-4A3E-8123-A67E35AA8D44}" dt="2020-07-27T00:02:38.646" v="10749" actId="22"/>
          <ac:spMkLst>
            <pc:docMk/>
            <pc:sldMk cId="1922339588" sldId="2134804339"/>
            <ac:spMk id="34" creationId="{BBD92782-FABA-40B1-BB07-2529D3228D40}"/>
          </ac:spMkLst>
        </pc:spChg>
        <pc:spChg chg="add del mod">
          <ac:chgData name="Mariam Daniela Tristancho Pineda (MISION TEMPORAL LTDA)" userId="a45a17f7-7950-4cb5-bfab-f5c894f959a9" providerId="ADAL" clId="{9D150B60-33B5-4A3E-8123-A67E35AA8D44}" dt="2020-07-27T00:02:38.646" v="10749" actId="22"/>
          <ac:spMkLst>
            <pc:docMk/>
            <pc:sldMk cId="1922339588" sldId="2134804339"/>
            <ac:spMk id="35" creationId="{DDF0291A-83D6-4EF7-8003-E489CE4A7F3A}"/>
          </ac:spMkLst>
        </pc:spChg>
        <pc:spChg chg="mod">
          <ac:chgData name="Mariam Daniela Tristancho Pineda (MISION TEMPORAL LTDA)" userId="a45a17f7-7950-4cb5-bfab-f5c894f959a9" providerId="ADAL" clId="{9D150B60-33B5-4A3E-8123-A67E35AA8D44}" dt="2020-07-26T23:56:29.947" v="10656" actId="20577"/>
          <ac:spMkLst>
            <pc:docMk/>
            <pc:sldMk cId="1922339588" sldId="2134804339"/>
            <ac:spMk id="36" creationId="{25CCB3F9-8A57-42B5-B0AC-56F5E0EDACF5}"/>
          </ac:spMkLst>
        </pc:spChg>
        <pc:spChg chg="del">
          <ac:chgData name="Mariam Daniela Tristancho Pineda (MISION TEMPORAL LTDA)" userId="a45a17f7-7950-4cb5-bfab-f5c894f959a9" providerId="ADAL" clId="{9D150B60-33B5-4A3E-8123-A67E35AA8D44}" dt="2020-07-26T23:56:05.791" v="10653" actId="478"/>
          <ac:spMkLst>
            <pc:docMk/>
            <pc:sldMk cId="1922339588" sldId="2134804339"/>
            <ac:spMk id="38" creationId="{3552541D-17C8-4822-9A1D-90A0C0B5AD8E}"/>
          </ac:spMkLst>
        </pc:spChg>
        <pc:spChg chg="mod">
          <ac:chgData name="Mariam Daniela Tristancho Pineda (MISION TEMPORAL LTDA)" userId="a45a17f7-7950-4cb5-bfab-f5c894f959a9" providerId="ADAL" clId="{9D150B60-33B5-4A3E-8123-A67E35AA8D44}" dt="2020-07-26T23:56:42.298" v="10659" actId="20577"/>
          <ac:spMkLst>
            <pc:docMk/>
            <pc:sldMk cId="1922339588" sldId="2134804339"/>
            <ac:spMk id="41" creationId="{F04142FF-DA42-4442-8692-4F397E7AEFE4}"/>
          </ac:spMkLst>
        </pc:spChg>
        <pc:spChg chg="add del mod">
          <ac:chgData name="Mariam Daniela Tristancho Pineda (MISION TEMPORAL LTDA)" userId="a45a17f7-7950-4cb5-bfab-f5c894f959a9" providerId="ADAL" clId="{9D150B60-33B5-4A3E-8123-A67E35AA8D44}" dt="2020-07-27T00:03:44.443" v="10787" actId="22"/>
          <ac:spMkLst>
            <pc:docMk/>
            <pc:sldMk cId="1922339588" sldId="2134804339"/>
            <ac:spMk id="42" creationId="{5C6DE543-8368-4B7C-B6AB-D11F36B2987F}"/>
          </ac:spMkLst>
        </pc:spChg>
        <pc:spChg chg="mod">
          <ac:chgData name="Mariam Daniela Tristancho Pineda (MISION TEMPORAL LTDA)" userId="a45a17f7-7950-4cb5-bfab-f5c894f959a9" providerId="ADAL" clId="{9D150B60-33B5-4A3E-8123-A67E35AA8D44}" dt="2020-07-26T23:57:01.118" v="10671" actId="20577"/>
          <ac:spMkLst>
            <pc:docMk/>
            <pc:sldMk cId="1922339588" sldId="2134804339"/>
            <ac:spMk id="44" creationId="{4B1A9C8A-FFC0-483B-B825-ED5EF0C388A9}"/>
          </ac:spMkLst>
        </pc:spChg>
        <pc:spChg chg="mod">
          <ac:chgData name="Mariam Daniela Tristancho Pineda (MISION TEMPORAL LTDA)" userId="a45a17f7-7950-4cb5-bfab-f5c894f959a9" providerId="ADAL" clId="{9D150B60-33B5-4A3E-8123-A67E35AA8D44}" dt="2020-07-26T23:58:18.287" v="10684" actId="20577"/>
          <ac:spMkLst>
            <pc:docMk/>
            <pc:sldMk cId="1922339588" sldId="2134804339"/>
            <ac:spMk id="47" creationId="{137B0C4F-8471-4337-954D-6AECA53DF9C2}"/>
          </ac:spMkLst>
        </pc:spChg>
        <pc:spChg chg="del">
          <ac:chgData name="Mariam Daniela Tristancho Pineda (MISION TEMPORAL LTDA)" userId="a45a17f7-7950-4cb5-bfab-f5c894f959a9" providerId="ADAL" clId="{9D150B60-33B5-4A3E-8123-A67E35AA8D44}" dt="2020-07-26T23:55:38.180" v="10647" actId="478"/>
          <ac:spMkLst>
            <pc:docMk/>
            <pc:sldMk cId="1922339588" sldId="2134804339"/>
            <ac:spMk id="49" creationId="{428A637F-3262-4326-AF06-59FAD81C88BA}"/>
          </ac:spMkLst>
        </pc:spChg>
        <pc:spChg chg="del">
          <ac:chgData name="Mariam Daniela Tristancho Pineda (MISION TEMPORAL LTDA)" userId="a45a17f7-7950-4cb5-bfab-f5c894f959a9" providerId="ADAL" clId="{9D150B60-33B5-4A3E-8123-A67E35AA8D44}" dt="2020-07-27T00:00:44.435" v="10710" actId="478"/>
          <ac:spMkLst>
            <pc:docMk/>
            <pc:sldMk cId="1922339588" sldId="2134804339"/>
            <ac:spMk id="55" creationId="{BC0C9A28-E300-47A2-9068-752C5AD96311}"/>
          </ac:spMkLst>
        </pc:spChg>
        <pc:spChg chg="del">
          <ac:chgData name="Mariam Daniela Tristancho Pineda (MISION TEMPORAL LTDA)" userId="a45a17f7-7950-4cb5-bfab-f5c894f959a9" providerId="ADAL" clId="{9D150B60-33B5-4A3E-8123-A67E35AA8D44}" dt="2020-07-26T23:57:12.327" v="10674" actId="478"/>
          <ac:spMkLst>
            <pc:docMk/>
            <pc:sldMk cId="1922339588" sldId="2134804339"/>
            <ac:spMk id="56" creationId="{C16E047E-B58C-48A8-8CD8-BB364156BA52}"/>
          </ac:spMkLst>
        </pc:spChg>
        <pc:spChg chg="del mod">
          <ac:chgData name="Mariam Daniela Tristancho Pineda (MISION TEMPORAL LTDA)" userId="a45a17f7-7950-4cb5-bfab-f5c894f959a9" providerId="ADAL" clId="{9D150B60-33B5-4A3E-8123-A67E35AA8D44}" dt="2020-07-26T23:57:10.338" v="10673" actId="478"/>
          <ac:spMkLst>
            <pc:docMk/>
            <pc:sldMk cId="1922339588" sldId="2134804339"/>
            <ac:spMk id="57" creationId="{C756E3B5-B399-42BA-852F-3E3A8C571973}"/>
          </ac:spMkLst>
        </pc:spChg>
        <pc:spChg chg="mod">
          <ac:chgData name="Mariam Daniela Tristancho Pineda (MISION TEMPORAL LTDA)" userId="a45a17f7-7950-4cb5-bfab-f5c894f959a9" providerId="ADAL" clId="{9D150B60-33B5-4A3E-8123-A67E35AA8D44}" dt="2020-07-26T23:58:10.299" v="10683" actId="20577"/>
          <ac:spMkLst>
            <pc:docMk/>
            <pc:sldMk cId="1922339588" sldId="2134804339"/>
            <ac:spMk id="58" creationId="{87C0C219-147A-4233-AEBD-D8B263DF2912}"/>
          </ac:spMkLst>
        </pc:spChg>
        <pc:spChg chg="del mod">
          <ac:chgData name="Mariam Daniela Tristancho Pineda (MISION TEMPORAL LTDA)" userId="a45a17f7-7950-4cb5-bfab-f5c894f959a9" providerId="ADAL" clId="{9D150B60-33B5-4A3E-8123-A67E35AA8D44}" dt="2020-07-27T00:01:15.346" v="10720" actId="478"/>
          <ac:spMkLst>
            <pc:docMk/>
            <pc:sldMk cId="1922339588" sldId="2134804339"/>
            <ac:spMk id="59" creationId="{92D28049-3D26-4F44-A770-F5BB7E3C0D5A}"/>
          </ac:spMkLst>
        </pc:spChg>
        <pc:spChg chg="del">
          <ac:chgData name="Mariam Daniela Tristancho Pineda (MISION TEMPORAL LTDA)" userId="a45a17f7-7950-4cb5-bfab-f5c894f959a9" providerId="ADAL" clId="{9D150B60-33B5-4A3E-8123-A67E35AA8D44}" dt="2020-07-26T23:58:02.988" v="10681" actId="478"/>
          <ac:spMkLst>
            <pc:docMk/>
            <pc:sldMk cId="1922339588" sldId="2134804339"/>
            <ac:spMk id="60" creationId="{416DD046-D9EC-437D-B3C4-49AE6F9E8B1B}"/>
          </ac:spMkLst>
        </pc:spChg>
        <pc:spChg chg="mod">
          <ac:chgData name="Mariam Daniela Tristancho Pineda (MISION TEMPORAL LTDA)" userId="a45a17f7-7950-4cb5-bfab-f5c894f959a9" providerId="ADAL" clId="{9D150B60-33B5-4A3E-8123-A67E35AA8D44}" dt="2020-07-26T23:58:19.881" v="10686" actId="20577"/>
          <ac:spMkLst>
            <pc:docMk/>
            <pc:sldMk cId="1922339588" sldId="2134804339"/>
            <ac:spMk id="61" creationId="{7C69D657-65A5-4E1B-8464-4A04E7AFC334}"/>
          </ac:spMkLst>
        </pc:spChg>
        <pc:spChg chg="del mod">
          <ac:chgData name="Mariam Daniela Tristancho Pineda (MISION TEMPORAL LTDA)" userId="a45a17f7-7950-4cb5-bfab-f5c894f959a9" providerId="ADAL" clId="{9D150B60-33B5-4A3E-8123-A67E35AA8D44}" dt="2020-07-26T23:58:25.683" v="10687" actId="478"/>
          <ac:spMkLst>
            <pc:docMk/>
            <pc:sldMk cId="1922339588" sldId="2134804339"/>
            <ac:spMk id="84" creationId="{CD411578-B9DA-48C1-9675-B83281B38E1D}"/>
          </ac:spMkLst>
        </pc:spChg>
        <pc:spChg chg="del mod">
          <ac:chgData name="Mariam Daniela Tristancho Pineda (MISION TEMPORAL LTDA)" userId="a45a17f7-7950-4cb5-bfab-f5c894f959a9" providerId="ADAL" clId="{9D150B60-33B5-4A3E-8123-A67E35AA8D44}" dt="2020-07-26T23:58:25.683" v="10687" actId="478"/>
          <ac:spMkLst>
            <pc:docMk/>
            <pc:sldMk cId="1922339588" sldId="2134804339"/>
            <ac:spMk id="85" creationId="{3B83D539-5506-49C8-B434-B0636935C2EA}"/>
          </ac:spMkLst>
        </pc:spChg>
        <pc:spChg chg="mod">
          <ac:chgData name="Mariam Daniela Tristancho Pineda (MISION TEMPORAL LTDA)" userId="a45a17f7-7950-4cb5-bfab-f5c894f959a9" providerId="ADAL" clId="{9D150B60-33B5-4A3E-8123-A67E35AA8D44}" dt="2020-07-26T23:59:15.247" v="10694" actId="20577"/>
          <ac:spMkLst>
            <pc:docMk/>
            <pc:sldMk cId="1922339588" sldId="2134804339"/>
            <ac:spMk id="88" creationId="{25320169-DFF2-4A5A-BA08-D78D5F6600A9}"/>
          </ac:spMkLst>
        </pc:spChg>
        <pc:spChg chg="del">
          <ac:chgData name="Mariam Daniela Tristancho Pineda (MISION TEMPORAL LTDA)" userId="a45a17f7-7950-4cb5-bfab-f5c894f959a9" providerId="ADAL" clId="{9D150B60-33B5-4A3E-8123-A67E35AA8D44}" dt="2020-07-26T23:58:56.137" v="10690" actId="478"/>
          <ac:spMkLst>
            <pc:docMk/>
            <pc:sldMk cId="1922339588" sldId="2134804339"/>
            <ac:spMk id="90" creationId="{0E28198E-89D7-4349-9D46-33D843ACBC24}"/>
          </ac:spMkLst>
        </pc:spChg>
        <pc:spChg chg="add del mod">
          <ac:chgData name="Mariam Daniela Tristancho Pineda (MISION TEMPORAL LTDA)" userId="a45a17f7-7950-4cb5-bfab-f5c894f959a9" providerId="ADAL" clId="{9D150B60-33B5-4A3E-8123-A67E35AA8D44}" dt="2020-07-26T23:59:56.591" v="10703" actId="20577"/>
          <ac:spMkLst>
            <pc:docMk/>
            <pc:sldMk cId="1922339588" sldId="2134804339"/>
            <ac:spMk id="93" creationId="{8BB92AF4-BAC7-400A-9FE5-29EE61E14890}"/>
          </ac:spMkLst>
        </pc:spChg>
        <pc:spChg chg="del">
          <ac:chgData name="Mariam Daniela Tristancho Pineda (MISION TEMPORAL LTDA)" userId="a45a17f7-7950-4cb5-bfab-f5c894f959a9" providerId="ADAL" clId="{9D150B60-33B5-4A3E-8123-A67E35AA8D44}" dt="2020-07-26T23:59:09.917" v="10693" actId="478"/>
          <ac:spMkLst>
            <pc:docMk/>
            <pc:sldMk cId="1922339588" sldId="2134804339"/>
            <ac:spMk id="95" creationId="{A732B0EB-1993-47FB-BF91-1012D8D5B830}"/>
          </ac:spMkLst>
        </pc:spChg>
        <pc:spChg chg="del">
          <ac:chgData name="Mariam Daniela Tristancho Pineda (MISION TEMPORAL LTDA)" userId="a45a17f7-7950-4cb5-bfab-f5c894f959a9" providerId="ADAL" clId="{9D150B60-33B5-4A3E-8123-A67E35AA8D44}" dt="2020-07-26T23:59:35.670" v="10698" actId="478"/>
          <ac:spMkLst>
            <pc:docMk/>
            <pc:sldMk cId="1922339588" sldId="2134804339"/>
            <ac:spMk id="99" creationId="{0DFF0EB6-13FB-4A14-BAA5-40502C26DE9D}"/>
          </ac:spMkLst>
        </pc:spChg>
        <pc:spChg chg="del">
          <ac:chgData name="Mariam Daniela Tristancho Pineda (MISION TEMPORAL LTDA)" userId="a45a17f7-7950-4cb5-bfab-f5c894f959a9" providerId="ADAL" clId="{9D150B60-33B5-4A3E-8123-A67E35AA8D44}" dt="2020-07-26T23:59:35.670" v="10698" actId="478"/>
          <ac:spMkLst>
            <pc:docMk/>
            <pc:sldMk cId="1922339588" sldId="2134804339"/>
            <ac:spMk id="100" creationId="{CB82F4AE-6131-4AC9-882E-ED11EE7B73CE}"/>
          </ac:spMkLst>
        </pc:spChg>
        <pc:spChg chg="del mod topLvl">
          <ac:chgData name="Mariam Daniela Tristancho Pineda (MISION TEMPORAL LTDA)" userId="a45a17f7-7950-4cb5-bfab-f5c894f959a9" providerId="ADAL" clId="{9D150B60-33B5-4A3E-8123-A67E35AA8D44}" dt="2020-07-28T15:05:31.419" v="20033" actId="478"/>
          <ac:spMkLst>
            <pc:docMk/>
            <pc:sldMk cId="1922339588" sldId="2134804339"/>
            <ac:spMk id="103" creationId="{7343743D-CA35-4478-B169-D2B5E17DFF4C}"/>
          </ac:spMkLst>
        </pc:spChg>
        <pc:spChg chg="del mod topLvl">
          <ac:chgData name="Mariam Daniela Tristancho Pineda (MISION TEMPORAL LTDA)" userId="a45a17f7-7950-4cb5-bfab-f5c894f959a9" providerId="ADAL" clId="{9D150B60-33B5-4A3E-8123-A67E35AA8D44}" dt="2020-07-28T15:05:31.419" v="20033" actId="478"/>
          <ac:spMkLst>
            <pc:docMk/>
            <pc:sldMk cId="1922339588" sldId="2134804339"/>
            <ac:spMk id="104" creationId="{3F3C693D-E21B-4B80-B7ED-F44D55754E96}"/>
          </ac:spMkLst>
        </pc:spChg>
        <pc:spChg chg="mod topLvl">
          <ac:chgData name="Mariam Daniela Tristancho Pineda (MISION TEMPORAL LTDA)" userId="a45a17f7-7950-4cb5-bfab-f5c894f959a9" providerId="ADAL" clId="{9D150B60-33B5-4A3E-8123-A67E35AA8D44}" dt="2020-07-27T00:05:34.928" v="10809" actId="164"/>
          <ac:spMkLst>
            <pc:docMk/>
            <pc:sldMk cId="1922339588" sldId="2134804339"/>
            <ac:spMk id="106" creationId="{E035A392-D2FE-42ED-A77E-F790E9068ADC}"/>
          </ac:spMkLst>
        </pc:spChg>
        <pc:spChg chg="mod topLvl">
          <ac:chgData name="Mariam Daniela Tristancho Pineda (MISION TEMPORAL LTDA)" userId="a45a17f7-7950-4cb5-bfab-f5c894f959a9" providerId="ADAL" clId="{9D150B60-33B5-4A3E-8123-A67E35AA8D44}" dt="2020-07-27T00:05:34.928" v="10809" actId="164"/>
          <ac:spMkLst>
            <pc:docMk/>
            <pc:sldMk cId="1922339588" sldId="2134804339"/>
            <ac:spMk id="107" creationId="{2E2D6748-9C7C-4727-AAF2-4ABB89A1052D}"/>
          </ac:spMkLst>
        </pc:spChg>
        <pc:spChg chg="mod topLvl">
          <ac:chgData name="Mariam Daniela Tristancho Pineda (MISION TEMPORAL LTDA)" userId="a45a17f7-7950-4cb5-bfab-f5c894f959a9" providerId="ADAL" clId="{9D150B60-33B5-4A3E-8123-A67E35AA8D44}" dt="2020-07-28T15:05:40.729" v="20035" actId="1076"/>
          <ac:spMkLst>
            <pc:docMk/>
            <pc:sldMk cId="1922339588" sldId="2134804339"/>
            <ac:spMk id="110" creationId="{EA8DE01B-9DBA-4FFD-8F33-5E3C211E0235}"/>
          </ac:spMkLst>
        </pc:spChg>
        <pc:spChg chg="mod topLvl">
          <ac:chgData name="Mariam Daniela Tristancho Pineda (MISION TEMPORAL LTDA)" userId="a45a17f7-7950-4cb5-bfab-f5c894f959a9" providerId="ADAL" clId="{9D150B60-33B5-4A3E-8123-A67E35AA8D44}" dt="2020-07-28T15:05:40.729" v="20035" actId="1076"/>
          <ac:spMkLst>
            <pc:docMk/>
            <pc:sldMk cId="1922339588" sldId="2134804339"/>
            <ac:spMk id="111" creationId="{0584C2A1-F208-4EF4-B35E-A13F567E7748}"/>
          </ac:spMkLst>
        </pc:spChg>
        <pc:spChg chg="mod topLvl">
          <ac:chgData name="Mariam Daniela Tristancho Pineda (MISION TEMPORAL LTDA)" userId="a45a17f7-7950-4cb5-bfab-f5c894f959a9" providerId="ADAL" clId="{9D150B60-33B5-4A3E-8123-A67E35AA8D44}" dt="2020-07-28T20:02:57.794" v="20080" actId="207"/>
          <ac:spMkLst>
            <pc:docMk/>
            <pc:sldMk cId="1922339588" sldId="2134804339"/>
            <ac:spMk id="113" creationId="{68C79E44-944B-4ED7-B5A1-6558BBCE4EC6}"/>
          </ac:spMkLst>
        </pc:spChg>
        <pc:spChg chg="mod topLvl">
          <ac:chgData name="Mariam Daniela Tristancho Pineda (MISION TEMPORAL LTDA)" userId="a45a17f7-7950-4cb5-bfab-f5c894f959a9" providerId="ADAL" clId="{9D150B60-33B5-4A3E-8123-A67E35AA8D44}" dt="2020-07-28T15:05:40.729" v="20035" actId="1076"/>
          <ac:spMkLst>
            <pc:docMk/>
            <pc:sldMk cId="1922339588" sldId="2134804339"/>
            <ac:spMk id="114" creationId="{80BC0FD4-937D-475D-ABCF-698168B2BE8D}"/>
          </ac:spMkLst>
        </pc:spChg>
        <pc:grpChg chg="add del mod">
          <ac:chgData name="Mariam Daniela Tristancho Pineda (MISION TEMPORAL LTDA)" userId="a45a17f7-7950-4cb5-bfab-f5c894f959a9" providerId="ADAL" clId="{9D150B60-33B5-4A3E-8123-A67E35AA8D44}" dt="2020-07-27T00:05:15.204" v="10806" actId="165"/>
          <ac:grpSpMkLst>
            <pc:docMk/>
            <pc:sldMk cId="1922339588" sldId="2134804339"/>
            <ac:grpSpMk id="39" creationId="{C339A8E5-F972-4A11-B152-B67E1DF43203}"/>
          </ac:grpSpMkLst>
        </pc:grpChg>
        <pc:grpChg chg="add del mod">
          <ac:chgData name="Mariam Daniela Tristancho Pineda (MISION TEMPORAL LTDA)" userId="a45a17f7-7950-4cb5-bfab-f5c894f959a9" providerId="ADAL" clId="{9D150B60-33B5-4A3E-8123-A67E35AA8D44}" dt="2020-07-28T15:05:29.267" v="20032" actId="165"/>
          <ac:grpSpMkLst>
            <pc:docMk/>
            <pc:sldMk cId="1922339588" sldId="2134804339"/>
            <ac:grpSpMk id="50" creationId="{4253AEFC-C817-486B-9CB2-F7DEC0389719}"/>
          </ac:grpSpMkLst>
        </pc:grpChg>
        <pc:grpChg chg="add del mod">
          <ac:chgData name="Mariam Daniela Tristancho Pineda (MISION TEMPORAL LTDA)" userId="a45a17f7-7950-4cb5-bfab-f5c894f959a9" providerId="ADAL" clId="{9D150B60-33B5-4A3E-8123-A67E35AA8D44}" dt="2020-07-27T00:05:15.204" v="10806" actId="165"/>
          <ac:grpSpMkLst>
            <pc:docMk/>
            <pc:sldMk cId="1922339588" sldId="2134804339"/>
            <ac:grpSpMk id="102" creationId="{C13AE359-FABB-4DD6-8259-294C86F5E59B}"/>
          </ac:grpSpMkLst>
        </pc:grpChg>
        <pc:grpChg chg="add del mod">
          <ac:chgData name="Mariam Daniela Tristancho Pineda (MISION TEMPORAL LTDA)" userId="a45a17f7-7950-4cb5-bfab-f5c894f959a9" providerId="ADAL" clId="{9D150B60-33B5-4A3E-8123-A67E35AA8D44}" dt="2020-07-27T00:05:15.204" v="10806" actId="165"/>
          <ac:grpSpMkLst>
            <pc:docMk/>
            <pc:sldMk cId="1922339588" sldId="2134804339"/>
            <ac:grpSpMk id="105" creationId="{F350B119-7090-487A-B671-C11DC05E1CFE}"/>
          </ac:grpSpMkLst>
        </pc:grpChg>
        <pc:grpChg chg="add del mod">
          <ac:chgData name="Mariam Daniela Tristancho Pineda (MISION TEMPORAL LTDA)" userId="a45a17f7-7950-4cb5-bfab-f5c894f959a9" providerId="ADAL" clId="{9D150B60-33B5-4A3E-8123-A67E35AA8D44}" dt="2020-07-27T00:05:15.204" v="10806" actId="165"/>
          <ac:grpSpMkLst>
            <pc:docMk/>
            <pc:sldMk cId="1922339588" sldId="2134804339"/>
            <ac:grpSpMk id="109" creationId="{D6FFA1EC-E066-4A3B-A4DE-F057E61C315C}"/>
          </ac:grpSpMkLst>
        </pc:grpChg>
        <pc:grpChg chg="add del mod">
          <ac:chgData name="Mariam Daniela Tristancho Pineda (MISION TEMPORAL LTDA)" userId="a45a17f7-7950-4cb5-bfab-f5c894f959a9" providerId="ADAL" clId="{9D150B60-33B5-4A3E-8123-A67E35AA8D44}" dt="2020-07-27T00:05:15.204" v="10806" actId="165"/>
          <ac:grpSpMkLst>
            <pc:docMk/>
            <pc:sldMk cId="1922339588" sldId="2134804339"/>
            <ac:grpSpMk id="112" creationId="{425BE3BF-59D6-44A9-B858-8343D3D084E9}"/>
          </ac:grpSpMkLst>
        </pc:grpChg>
        <pc:graphicFrameChg chg="add mod modGraphic">
          <ac:chgData name="Mariam Daniela Tristancho Pineda (MISION TEMPORAL LTDA)" userId="a45a17f7-7950-4cb5-bfab-f5c894f959a9" providerId="ADAL" clId="{9D150B60-33B5-4A3E-8123-A67E35AA8D44}" dt="2020-07-28T20:02:53.647" v="20079" actId="207"/>
          <ac:graphicFrameMkLst>
            <pc:docMk/>
            <pc:sldMk cId="1922339588" sldId="2134804339"/>
            <ac:graphicFrameMk id="6" creationId="{55A3C4F2-9AF1-4081-BD13-26D94B00509A}"/>
          </ac:graphicFrameMkLst>
        </pc:graphicFrameChg>
        <pc:graphicFrameChg chg="del">
          <ac:chgData name="Mariam Daniela Tristancho Pineda (MISION TEMPORAL LTDA)" userId="a45a17f7-7950-4cb5-bfab-f5c894f959a9" providerId="ADAL" clId="{9D150B60-33B5-4A3E-8123-A67E35AA8D44}" dt="2020-07-26T23:45:47.080" v="10611" actId="478"/>
          <ac:graphicFrameMkLst>
            <pc:docMk/>
            <pc:sldMk cId="1922339588" sldId="2134804339"/>
            <ac:graphicFrameMk id="7" creationId="{C866CA4D-9ED5-4A67-9BF0-26C15AE2AA2C}"/>
          </ac:graphicFrameMkLst>
        </pc:graphicFrameChg>
        <pc:graphicFrameChg chg="add mod modGraphic">
          <ac:chgData name="Mariam Daniela Tristancho Pineda (MISION TEMPORAL LTDA)" userId="a45a17f7-7950-4cb5-bfab-f5c894f959a9" providerId="ADAL" clId="{9D150B60-33B5-4A3E-8123-A67E35AA8D44}" dt="2020-07-28T15:05:22.225" v="20028" actId="207"/>
          <ac:graphicFrameMkLst>
            <pc:docMk/>
            <pc:sldMk cId="1922339588" sldId="2134804339"/>
            <ac:graphicFrameMk id="9" creationId="{6080D7D3-5082-435E-BDF1-D2115CE124C8}"/>
          </ac:graphicFrameMkLst>
        </pc:graphicFrameChg>
        <pc:graphicFrameChg chg="add del mod modGraphic">
          <ac:chgData name="Mariam Daniela Tristancho Pineda (MISION TEMPORAL LTDA)" userId="a45a17f7-7950-4cb5-bfab-f5c894f959a9" providerId="ADAL" clId="{9D150B60-33B5-4A3E-8123-A67E35AA8D44}" dt="2020-07-27T00:04:17.665" v="10798" actId="478"/>
          <ac:graphicFrameMkLst>
            <pc:docMk/>
            <pc:sldMk cId="1922339588" sldId="2134804339"/>
            <ac:graphicFrameMk id="30" creationId="{F3A8294B-FA47-494D-80B3-A76E8D340B2E}"/>
          </ac:graphicFrameMkLst>
        </pc:graphicFrameChg>
        <pc:graphicFrameChg chg="del">
          <ac:chgData name="Mariam Daniela Tristancho Pineda (MISION TEMPORAL LTDA)" userId="a45a17f7-7950-4cb5-bfab-f5c894f959a9" providerId="ADAL" clId="{9D150B60-33B5-4A3E-8123-A67E35AA8D44}" dt="2020-07-26T23:46:12.975" v="10626" actId="478"/>
          <ac:graphicFrameMkLst>
            <pc:docMk/>
            <pc:sldMk cId="1922339588" sldId="2134804339"/>
            <ac:graphicFrameMk id="46" creationId="{0D626CD9-F4FF-45E4-88CE-52500C2C1600}"/>
          </ac:graphicFrameMkLst>
        </pc:graphicFrameChg>
      </pc:sldChg>
      <pc:sldChg chg="addSp delSp modSp add mod ord">
        <pc:chgData name="Mariam Daniela Tristancho Pineda (MISION TEMPORAL LTDA)" userId="a45a17f7-7950-4cb5-bfab-f5c894f959a9" providerId="ADAL" clId="{9D150B60-33B5-4A3E-8123-A67E35AA8D44}" dt="2020-07-28T15:01:03.530" v="19893"/>
        <pc:sldMkLst>
          <pc:docMk/>
          <pc:sldMk cId="3318311001" sldId="2134804340"/>
        </pc:sldMkLst>
        <pc:spChg chg="mod">
          <ac:chgData name="Mariam Daniela Tristancho Pineda (MISION TEMPORAL LTDA)" userId="a45a17f7-7950-4cb5-bfab-f5c894f959a9" providerId="ADAL" clId="{9D150B60-33B5-4A3E-8123-A67E35AA8D44}" dt="2020-07-27T20:10:10.373" v="12788" actId="1038"/>
          <ac:spMkLst>
            <pc:docMk/>
            <pc:sldMk cId="3318311001" sldId="2134804340"/>
            <ac:spMk id="3" creationId="{815B10B7-60B3-4C63-8431-70CC556387C9}"/>
          </ac:spMkLst>
        </pc:spChg>
        <pc:spChg chg="del mod">
          <ac:chgData name="Mariam Daniela Tristancho Pineda (MISION TEMPORAL LTDA)" userId="a45a17f7-7950-4cb5-bfab-f5c894f959a9" providerId="ADAL" clId="{9D150B60-33B5-4A3E-8123-A67E35AA8D44}" dt="2020-07-27T20:01:07.535" v="12617" actId="478"/>
          <ac:spMkLst>
            <pc:docMk/>
            <pc:sldMk cId="3318311001" sldId="2134804340"/>
            <ac:spMk id="6" creationId="{4BD45A74-756A-4BD2-A61F-C4804F955B32}"/>
          </ac:spMkLst>
        </pc:spChg>
        <pc:spChg chg="del mod">
          <ac:chgData name="Mariam Daniela Tristancho Pineda (MISION TEMPORAL LTDA)" userId="a45a17f7-7950-4cb5-bfab-f5c894f959a9" providerId="ADAL" clId="{9D150B60-33B5-4A3E-8123-A67E35AA8D44}" dt="2020-07-27T20:01:07.535" v="12617" actId="478"/>
          <ac:spMkLst>
            <pc:docMk/>
            <pc:sldMk cId="3318311001" sldId="2134804340"/>
            <ac:spMk id="7" creationId="{5BB1043D-9A90-43C6-BCE8-E8686C0B75E6}"/>
          </ac:spMkLst>
        </pc:spChg>
        <pc:spChg chg="del mod">
          <ac:chgData name="Mariam Daniela Tristancho Pineda (MISION TEMPORAL LTDA)" userId="a45a17f7-7950-4cb5-bfab-f5c894f959a9" providerId="ADAL" clId="{9D150B60-33B5-4A3E-8123-A67E35AA8D44}" dt="2020-07-27T20:01:07.535" v="12617" actId="478"/>
          <ac:spMkLst>
            <pc:docMk/>
            <pc:sldMk cId="3318311001" sldId="2134804340"/>
            <ac:spMk id="9" creationId="{C4008514-F4D9-48F0-9D49-2B5F1B4FABAC}"/>
          </ac:spMkLst>
        </pc:spChg>
        <pc:spChg chg="mod">
          <ac:chgData name="Mariam Daniela Tristancho Pineda (MISION TEMPORAL LTDA)" userId="a45a17f7-7950-4cb5-bfab-f5c894f959a9" providerId="ADAL" clId="{9D150B60-33B5-4A3E-8123-A67E35AA8D44}" dt="2020-07-27T20:10:20.720" v="12789" actId="12788"/>
          <ac:spMkLst>
            <pc:docMk/>
            <pc:sldMk cId="3318311001" sldId="2134804340"/>
            <ac:spMk id="11" creationId="{772CA61D-742C-45F0-BAFA-0F3B90176E98}"/>
          </ac:spMkLst>
        </pc:spChg>
        <pc:spChg chg="mod">
          <ac:chgData name="Mariam Daniela Tristancho Pineda (MISION TEMPORAL LTDA)" userId="a45a17f7-7950-4cb5-bfab-f5c894f959a9" providerId="ADAL" clId="{9D150B60-33B5-4A3E-8123-A67E35AA8D44}" dt="2020-07-27T20:10:30.119" v="12793" actId="1038"/>
          <ac:spMkLst>
            <pc:docMk/>
            <pc:sldMk cId="3318311001" sldId="2134804340"/>
            <ac:spMk id="12" creationId="{7F3CEC4C-7588-4B74-823D-9CF22E2DAD79}"/>
          </ac:spMkLst>
        </pc:spChg>
        <pc:spChg chg="del">
          <ac:chgData name="Mariam Daniela Tristancho Pineda (MISION TEMPORAL LTDA)" userId="a45a17f7-7950-4cb5-bfab-f5c894f959a9" providerId="ADAL" clId="{9D150B60-33B5-4A3E-8123-A67E35AA8D44}" dt="2020-07-27T20:05:16.050" v="12755" actId="478"/>
          <ac:spMkLst>
            <pc:docMk/>
            <pc:sldMk cId="3318311001" sldId="2134804340"/>
            <ac:spMk id="14" creationId="{46F7B6A0-E0D5-4D7B-9309-36A548429509}"/>
          </ac:spMkLst>
        </pc:spChg>
        <pc:spChg chg="del mod">
          <ac:chgData name="Mariam Daniela Tristancho Pineda (MISION TEMPORAL LTDA)" userId="a45a17f7-7950-4cb5-bfab-f5c894f959a9" providerId="ADAL" clId="{9D150B60-33B5-4A3E-8123-A67E35AA8D44}" dt="2020-07-27T20:01:10.248" v="12618" actId="478"/>
          <ac:spMkLst>
            <pc:docMk/>
            <pc:sldMk cId="3318311001" sldId="2134804340"/>
            <ac:spMk id="15" creationId="{62B74417-9DDC-43EE-A726-A2B51719A76E}"/>
          </ac:spMkLst>
        </pc:spChg>
        <pc:spChg chg="del mod">
          <ac:chgData name="Mariam Daniela Tristancho Pineda (MISION TEMPORAL LTDA)" userId="a45a17f7-7950-4cb5-bfab-f5c894f959a9" providerId="ADAL" clId="{9D150B60-33B5-4A3E-8123-A67E35AA8D44}" dt="2020-07-27T20:01:10.248" v="12618" actId="478"/>
          <ac:spMkLst>
            <pc:docMk/>
            <pc:sldMk cId="3318311001" sldId="2134804340"/>
            <ac:spMk id="16" creationId="{BBFAD0BD-54FF-43F3-B1BD-AD87C3FE7182}"/>
          </ac:spMkLst>
        </pc:spChg>
        <pc:spChg chg="del mod">
          <ac:chgData name="Mariam Daniela Tristancho Pineda (MISION TEMPORAL LTDA)" userId="a45a17f7-7950-4cb5-bfab-f5c894f959a9" providerId="ADAL" clId="{9D150B60-33B5-4A3E-8123-A67E35AA8D44}" dt="2020-07-27T20:01:07.535" v="12617" actId="478"/>
          <ac:spMkLst>
            <pc:docMk/>
            <pc:sldMk cId="3318311001" sldId="2134804340"/>
            <ac:spMk id="17" creationId="{86A1E7C4-4E11-4F2F-8053-7E78A6509E45}"/>
          </ac:spMkLst>
        </pc:spChg>
        <pc:spChg chg="del mod">
          <ac:chgData name="Mariam Daniela Tristancho Pineda (MISION TEMPORAL LTDA)" userId="a45a17f7-7950-4cb5-bfab-f5c894f959a9" providerId="ADAL" clId="{9D150B60-33B5-4A3E-8123-A67E35AA8D44}" dt="2020-07-27T20:01:10.248" v="12618" actId="478"/>
          <ac:spMkLst>
            <pc:docMk/>
            <pc:sldMk cId="3318311001" sldId="2134804340"/>
            <ac:spMk id="18" creationId="{2CBADE6D-1357-4956-98FE-882CB8F1AE15}"/>
          </ac:spMkLst>
        </pc:spChg>
        <pc:spChg chg="del mod">
          <ac:chgData name="Mariam Daniela Tristancho Pineda (MISION TEMPORAL LTDA)" userId="a45a17f7-7950-4cb5-bfab-f5c894f959a9" providerId="ADAL" clId="{9D150B60-33B5-4A3E-8123-A67E35AA8D44}" dt="2020-07-27T20:01:10.248" v="12618" actId="478"/>
          <ac:spMkLst>
            <pc:docMk/>
            <pc:sldMk cId="3318311001" sldId="2134804340"/>
            <ac:spMk id="20" creationId="{5B6FAFEF-D75A-41DE-AC4B-45789181D623}"/>
          </ac:spMkLst>
        </pc:spChg>
        <pc:spChg chg="del mod">
          <ac:chgData name="Mariam Daniela Tristancho Pineda (MISION TEMPORAL LTDA)" userId="a45a17f7-7950-4cb5-bfab-f5c894f959a9" providerId="ADAL" clId="{9D150B60-33B5-4A3E-8123-A67E35AA8D44}" dt="2020-07-27T20:01:07.535" v="12617" actId="478"/>
          <ac:spMkLst>
            <pc:docMk/>
            <pc:sldMk cId="3318311001" sldId="2134804340"/>
            <ac:spMk id="21" creationId="{6DF582FE-4ED3-41AC-A715-CB130A94E54C}"/>
          </ac:spMkLst>
        </pc:spChg>
        <pc:spChg chg="add mod">
          <ac:chgData name="Mariam Daniela Tristancho Pineda (MISION TEMPORAL LTDA)" userId="a45a17f7-7950-4cb5-bfab-f5c894f959a9" providerId="ADAL" clId="{9D150B60-33B5-4A3E-8123-A67E35AA8D44}" dt="2020-07-27T20:10:04.988" v="12787" actId="12788"/>
          <ac:spMkLst>
            <pc:docMk/>
            <pc:sldMk cId="3318311001" sldId="2134804340"/>
            <ac:spMk id="22" creationId="{53E538FE-3283-40FB-A5F0-3E57246B6EFA}"/>
          </ac:spMkLst>
        </pc:spChg>
        <pc:spChg chg="del mod">
          <ac:chgData name="Mariam Daniela Tristancho Pineda (MISION TEMPORAL LTDA)" userId="a45a17f7-7950-4cb5-bfab-f5c894f959a9" providerId="ADAL" clId="{9D150B60-33B5-4A3E-8123-A67E35AA8D44}" dt="2020-07-27T20:03:04.325" v="12665" actId="478"/>
          <ac:spMkLst>
            <pc:docMk/>
            <pc:sldMk cId="3318311001" sldId="2134804340"/>
            <ac:spMk id="23" creationId="{A396F205-286C-47F5-B29D-C5952F03BF6F}"/>
          </ac:spMkLst>
        </pc:spChg>
        <pc:spChg chg="mod">
          <ac:chgData name="Mariam Daniela Tristancho Pineda (MISION TEMPORAL LTDA)" userId="a45a17f7-7950-4cb5-bfab-f5c894f959a9" providerId="ADAL" clId="{9D150B60-33B5-4A3E-8123-A67E35AA8D44}" dt="2020-07-27T20:06:28.228" v="12768" actId="20577"/>
          <ac:spMkLst>
            <pc:docMk/>
            <pc:sldMk cId="3318311001" sldId="2134804340"/>
            <ac:spMk id="27" creationId="{910DCB24-1C9B-45BE-9592-B8EC86E558A4}"/>
          </ac:spMkLst>
        </pc:spChg>
        <pc:spChg chg="add mod">
          <ac:chgData name="Mariam Daniela Tristancho Pineda (MISION TEMPORAL LTDA)" userId="a45a17f7-7950-4cb5-bfab-f5c894f959a9" providerId="ADAL" clId="{9D150B60-33B5-4A3E-8123-A67E35AA8D44}" dt="2020-07-27T20:10:20.720" v="12789" actId="12788"/>
          <ac:spMkLst>
            <pc:docMk/>
            <pc:sldMk cId="3318311001" sldId="2134804340"/>
            <ac:spMk id="29" creationId="{46F67329-EAA2-4B09-AD5B-91FE70391A81}"/>
          </ac:spMkLst>
        </pc:spChg>
        <pc:spChg chg="add mod">
          <ac:chgData name="Mariam Daniela Tristancho Pineda (MISION TEMPORAL LTDA)" userId="a45a17f7-7950-4cb5-bfab-f5c894f959a9" providerId="ADAL" clId="{9D150B60-33B5-4A3E-8123-A67E35AA8D44}" dt="2020-07-27T20:09:50.735" v="12783" actId="1038"/>
          <ac:spMkLst>
            <pc:docMk/>
            <pc:sldMk cId="3318311001" sldId="2134804340"/>
            <ac:spMk id="30" creationId="{5BF08848-45AE-451C-A99D-7322CF796742}"/>
          </ac:spMkLst>
        </pc:spChg>
        <pc:spChg chg="mod">
          <ac:chgData name="Mariam Daniela Tristancho Pineda (MISION TEMPORAL LTDA)" userId="a45a17f7-7950-4cb5-bfab-f5c894f959a9" providerId="ADAL" clId="{9D150B60-33B5-4A3E-8123-A67E35AA8D44}" dt="2020-07-27T20:04:02.764" v="12681" actId="20577"/>
          <ac:spMkLst>
            <pc:docMk/>
            <pc:sldMk cId="3318311001" sldId="2134804340"/>
            <ac:spMk id="32" creationId="{112CF6BB-B57E-4E30-BDB8-A663AA382E62}"/>
          </ac:spMkLst>
        </pc:spChg>
        <pc:spChg chg="mod">
          <ac:chgData name="Mariam Daniela Tristancho Pineda (MISION TEMPORAL LTDA)" userId="a45a17f7-7950-4cb5-bfab-f5c894f959a9" providerId="ADAL" clId="{9D150B60-33B5-4A3E-8123-A67E35AA8D44}" dt="2020-07-27T20:06:31.411" v="12772" actId="20577"/>
          <ac:spMkLst>
            <pc:docMk/>
            <pc:sldMk cId="3318311001" sldId="2134804340"/>
            <ac:spMk id="33" creationId="{99A98136-5ADE-4ACF-97B1-9869591C8748}"/>
          </ac:spMkLst>
        </pc:spChg>
        <pc:spChg chg="add mod">
          <ac:chgData name="Mariam Daniela Tristancho Pineda (MISION TEMPORAL LTDA)" userId="a45a17f7-7950-4cb5-bfab-f5c894f959a9" providerId="ADAL" clId="{9D150B60-33B5-4A3E-8123-A67E35AA8D44}" dt="2020-07-27T20:09:50.735" v="12783" actId="1038"/>
          <ac:spMkLst>
            <pc:docMk/>
            <pc:sldMk cId="3318311001" sldId="2134804340"/>
            <ac:spMk id="34" creationId="{2858742F-5FD0-4B7E-9334-0D1DB2CF525E}"/>
          </ac:spMkLst>
        </pc:spChg>
        <pc:spChg chg="add mod">
          <ac:chgData name="Mariam Daniela Tristancho Pineda (MISION TEMPORAL LTDA)" userId="a45a17f7-7950-4cb5-bfab-f5c894f959a9" providerId="ADAL" clId="{9D150B60-33B5-4A3E-8123-A67E35AA8D44}" dt="2020-07-27T20:09:50.735" v="12783" actId="1038"/>
          <ac:spMkLst>
            <pc:docMk/>
            <pc:sldMk cId="3318311001" sldId="2134804340"/>
            <ac:spMk id="35" creationId="{5F2982C9-1317-4114-BC67-9EA6763899B8}"/>
          </ac:spMkLst>
        </pc:spChg>
        <pc:spChg chg="add mod">
          <ac:chgData name="Mariam Daniela Tristancho Pineda (MISION TEMPORAL LTDA)" userId="a45a17f7-7950-4cb5-bfab-f5c894f959a9" providerId="ADAL" clId="{9D150B60-33B5-4A3E-8123-A67E35AA8D44}" dt="2020-07-27T20:10:20.720" v="12789" actId="12788"/>
          <ac:spMkLst>
            <pc:docMk/>
            <pc:sldMk cId="3318311001" sldId="2134804340"/>
            <ac:spMk id="36" creationId="{80930BAD-CC8E-47DD-9473-5B8864A2680A}"/>
          </ac:spMkLst>
        </pc:spChg>
        <pc:spChg chg="mod">
          <ac:chgData name="Mariam Daniela Tristancho Pineda (MISION TEMPORAL LTDA)" userId="a45a17f7-7950-4cb5-bfab-f5c894f959a9" providerId="ADAL" clId="{9D150B60-33B5-4A3E-8123-A67E35AA8D44}" dt="2020-07-27T20:01:44.960" v="12624" actId="20577"/>
          <ac:spMkLst>
            <pc:docMk/>
            <pc:sldMk cId="3318311001" sldId="2134804340"/>
            <ac:spMk id="38" creationId="{A70D06D3-12BC-4CDA-B9D7-EEF1588242C9}"/>
          </ac:spMkLst>
        </pc:spChg>
        <pc:spChg chg="mod">
          <ac:chgData name="Mariam Daniela Tristancho Pineda (MISION TEMPORAL LTDA)" userId="a45a17f7-7950-4cb5-bfab-f5c894f959a9" providerId="ADAL" clId="{9D150B60-33B5-4A3E-8123-A67E35AA8D44}" dt="2020-07-27T20:06:21.840" v="12764" actId="20577"/>
          <ac:spMkLst>
            <pc:docMk/>
            <pc:sldMk cId="3318311001" sldId="2134804340"/>
            <ac:spMk id="39" creationId="{5FAD9D39-0163-48A2-AB90-B7B2E4C2CCC8}"/>
          </ac:spMkLst>
        </pc:spChg>
        <pc:spChg chg="add mod">
          <ac:chgData name="Mariam Daniela Tristancho Pineda (MISION TEMPORAL LTDA)" userId="a45a17f7-7950-4cb5-bfab-f5c894f959a9" providerId="ADAL" clId="{9D150B60-33B5-4A3E-8123-A67E35AA8D44}" dt="2020-07-27T20:03:20.569" v="12669" actId="20577"/>
          <ac:spMkLst>
            <pc:docMk/>
            <pc:sldMk cId="3318311001" sldId="2134804340"/>
            <ac:spMk id="40" creationId="{F9005A44-E530-4972-BBE0-B3ED015A6ED4}"/>
          </ac:spMkLst>
        </pc:spChg>
        <pc:spChg chg="add del mod">
          <ac:chgData name="Mariam Daniela Tristancho Pineda (MISION TEMPORAL LTDA)" userId="a45a17f7-7950-4cb5-bfab-f5c894f959a9" providerId="ADAL" clId="{9D150B60-33B5-4A3E-8123-A67E35AA8D44}" dt="2020-07-27T20:05:36.282" v="12756" actId="478"/>
          <ac:spMkLst>
            <pc:docMk/>
            <pc:sldMk cId="3318311001" sldId="2134804340"/>
            <ac:spMk id="41" creationId="{A78DBF38-C91D-4B90-AC5D-AF06B58F1AFC}"/>
          </ac:spMkLst>
        </pc:spChg>
        <pc:spChg chg="add mod">
          <ac:chgData name="Mariam Daniela Tristancho Pineda (MISION TEMPORAL LTDA)" userId="a45a17f7-7950-4cb5-bfab-f5c894f959a9" providerId="ADAL" clId="{9D150B60-33B5-4A3E-8123-A67E35AA8D44}" dt="2020-07-27T20:10:04.988" v="12787" actId="12788"/>
          <ac:spMkLst>
            <pc:docMk/>
            <pc:sldMk cId="3318311001" sldId="2134804340"/>
            <ac:spMk id="42" creationId="{4101169F-B3FD-425D-90F0-D9CCBE1BF3D2}"/>
          </ac:spMkLst>
        </pc:spChg>
        <pc:spChg chg="add mod">
          <ac:chgData name="Mariam Daniela Tristancho Pineda (MISION TEMPORAL LTDA)" userId="a45a17f7-7950-4cb5-bfab-f5c894f959a9" providerId="ADAL" clId="{9D150B60-33B5-4A3E-8123-A67E35AA8D44}" dt="2020-07-27T20:09:54.106" v="12786" actId="1038"/>
          <ac:spMkLst>
            <pc:docMk/>
            <pc:sldMk cId="3318311001" sldId="2134804340"/>
            <ac:spMk id="43" creationId="{34452114-CA9E-44D1-9755-DF275F1BF2A9}"/>
          </ac:spMkLst>
        </pc:spChg>
        <pc:spChg chg="add del mod">
          <ac:chgData name="Mariam Daniela Tristancho Pineda (MISION TEMPORAL LTDA)" userId="a45a17f7-7950-4cb5-bfab-f5c894f959a9" providerId="ADAL" clId="{9D150B60-33B5-4A3E-8123-A67E35AA8D44}" dt="2020-07-27T20:03:48.280" v="12676" actId="478"/>
          <ac:spMkLst>
            <pc:docMk/>
            <pc:sldMk cId="3318311001" sldId="2134804340"/>
            <ac:spMk id="44" creationId="{9A5286B1-F473-494E-8D94-14D56BF8B9D3}"/>
          </ac:spMkLst>
        </pc:spChg>
        <pc:spChg chg="add mod">
          <ac:chgData name="Mariam Daniela Tristancho Pineda (MISION TEMPORAL LTDA)" userId="a45a17f7-7950-4cb5-bfab-f5c894f959a9" providerId="ADAL" clId="{9D150B60-33B5-4A3E-8123-A67E35AA8D44}" dt="2020-07-27T20:10:04.988" v="12787" actId="12788"/>
          <ac:spMkLst>
            <pc:docMk/>
            <pc:sldMk cId="3318311001" sldId="2134804340"/>
            <ac:spMk id="50" creationId="{EFEDA77C-7665-4725-A074-A36D4F4400A8}"/>
          </ac:spMkLst>
        </pc:spChg>
        <pc:spChg chg="add mod">
          <ac:chgData name="Mariam Daniela Tristancho Pineda (MISION TEMPORAL LTDA)" userId="a45a17f7-7950-4cb5-bfab-f5c894f959a9" providerId="ADAL" clId="{9D150B60-33B5-4A3E-8123-A67E35AA8D44}" dt="2020-07-27T20:10:20.720" v="12789" actId="12788"/>
          <ac:spMkLst>
            <pc:docMk/>
            <pc:sldMk cId="3318311001" sldId="2134804340"/>
            <ac:spMk id="54" creationId="{2A6509E3-0893-4B3A-9781-02B5F5938070}"/>
          </ac:spMkLst>
        </pc:spChg>
        <pc:spChg chg="mod">
          <ac:chgData name="Mariam Daniela Tristancho Pineda (MISION TEMPORAL LTDA)" userId="a45a17f7-7950-4cb5-bfab-f5c894f959a9" providerId="ADAL" clId="{9D150B60-33B5-4A3E-8123-A67E35AA8D44}" dt="2020-07-27T20:04:38.003" v="12734" actId="1076"/>
          <ac:spMkLst>
            <pc:docMk/>
            <pc:sldMk cId="3318311001" sldId="2134804340"/>
            <ac:spMk id="84" creationId="{293DBAF3-3942-4C58-8A63-D4484E215E20}"/>
          </ac:spMkLst>
        </pc:spChg>
        <pc:spChg chg="mod">
          <ac:chgData name="Mariam Daniela Tristancho Pineda (MISION TEMPORAL LTDA)" userId="a45a17f7-7950-4cb5-bfab-f5c894f959a9" providerId="ADAL" clId="{9D150B60-33B5-4A3E-8123-A67E35AA8D44}" dt="2020-07-27T20:05:09.841" v="12752" actId="20577"/>
          <ac:spMkLst>
            <pc:docMk/>
            <pc:sldMk cId="3318311001" sldId="2134804340"/>
            <ac:spMk id="86" creationId="{7696A978-4362-4DE3-8C58-0F58608C4AA6}"/>
          </ac:spMkLst>
        </pc:spChg>
        <pc:spChg chg="mod">
          <ac:chgData name="Mariam Daniela Tristancho Pineda (MISION TEMPORAL LTDA)" userId="a45a17f7-7950-4cb5-bfab-f5c894f959a9" providerId="ADAL" clId="{9D150B60-33B5-4A3E-8123-A67E35AA8D44}" dt="2020-07-27T20:10:04.988" v="12787" actId="12788"/>
          <ac:spMkLst>
            <pc:docMk/>
            <pc:sldMk cId="3318311001" sldId="2134804340"/>
            <ac:spMk id="97" creationId="{99300021-C267-43BD-A0F5-B3ECE622345E}"/>
          </ac:spMkLst>
        </pc:spChg>
        <pc:spChg chg="mod">
          <ac:chgData name="Mariam Daniela Tristancho Pineda (MISION TEMPORAL LTDA)" userId="a45a17f7-7950-4cb5-bfab-f5c894f959a9" providerId="ADAL" clId="{9D150B60-33B5-4A3E-8123-A67E35AA8D44}" dt="2020-07-27T20:04:38.003" v="12734" actId="1076"/>
          <ac:spMkLst>
            <pc:docMk/>
            <pc:sldMk cId="3318311001" sldId="2134804340"/>
            <ac:spMk id="117" creationId="{8960734A-1053-42D2-BD72-6674DCCE6A97}"/>
          </ac:spMkLst>
        </pc:spChg>
        <pc:spChg chg="mod">
          <ac:chgData name="Mariam Daniela Tristancho Pineda (MISION TEMPORAL LTDA)" userId="a45a17f7-7950-4cb5-bfab-f5c894f959a9" providerId="ADAL" clId="{9D150B60-33B5-4A3E-8123-A67E35AA8D44}" dt="2020-07-27T20:04:38.003" v="12734" actId="1076"/>
          <ac:spMkLst>
            <pc:docMk/>
            <pc:sldMk cId="3318311001" sldId="2134804340"/>
            <ac:spMk id="118" creationId="{C77431EE-A761-4323-B75F-692D4CAEC462}"/>
          </ac:spMkLst>
        </pc:spChg>
        <pc:spChg chg="mod">
          <ac:chgData name="Mariam Daniela Tristancho Pineda (MISION TEMPORAL LTDA)" userId="a45a17f7-7950-4cb5-bfab-f5c894f959a9" providerId="ADAL" clId="{9D150B60-33B5-4A3E-8123-A67E35AA8D44}" dt="2020-07-27T20:04:38.003" v="12734" actId="1076"/>
          <ac:spMkLst>
            <pc:docMk/>
            <pc:sldMk cId="3318311001" sldId="2134804340"/>
            <ac:spMk id="119" creationId="{A66DDFF6-8990-4632-9B16-3852035C81BA}"/>
          </ac:spMkLst>
        </pc:spChg>
        <pc:spChg chg="mod">
          <ac:chgData name="Mariam Daniela Tristancho Pineda (MISION TEMPORAL LTDA)" userId="a45a17f7-7950-4cb5-bfab-f5c894f959a9" providerId="ADAL" clId="{9D150B60-33B5-4A3E-8123-A67E35AA8D44}" dt="2020-07-27T20:05:12.437" v="12754" actId="20577"/>
          <ac:spMkLst>
            <pc:docMk/>
            <pc:sldMk cId="3318311001" sldId="2134804340"/>
            <ac:spMk id="135" creationId="{C1823568-A421-4254-9106-BAEB76F16B72}"/>
          </ac:spMkLst>
        </pc:spChg>
        <pc:spChg chg="del mod">
          <ac:chgData name="Mariam Daniela Tristancho Pineda (MISION TEMPORAL LTDA)" userId="a45a17f7-7950-4cb5-bfab-f5c894f959a9" providerId="ADAL" clId="{9D150B60-33B5-4A3E-8123-A67E35AA8D44}" dt="2020-07-27T20:01:07.535" v="12617" actId="478"/>
          <ac:spMkLst>
            <pc:docMk/>
            <pc:sldMk cId="3318311001" sldId="2134804340"/>
            <ac:spMk id="147" creationId="{28985963-B271-4E6A-83C5-F3A62A87E6BA}"/>
          </ac:spMkLst>
        </pc:spChg>
        <pc:grpChg chg="del mod">
          <ac:chgData name="Mariam Daniela Tristancho Pineda (MISION TEMPORAL LTDA)" userId="a45a17f7-7950-4cb5-bfab-f5c894f959a9" providerId="ADAL" clId="{9D150B60-33B5-4A3E-8123-A67E35AA8D44}" dt="2020-07-27T20:04:21.482" v="12733" actId="478"/>
          <ac:grpSpMkLst>
            <pc:docMk/>
            <pc:sldMk cId="3318311001" sldId="2134804340"/>
            <ac:grpSpMk id="19" creationId="{61C64EE8-FBB3-47C1-B4B0-BE60C5801CC2}"/>
          </ac:grpSpMkLst>
        </pc:grpChg>
        <pc:grpChg chg="del mod">
          <ac:chgData name="Mariam Daniela Tristancho Pineda (MISION TEMPORAL LTDA)" userId="a45a17f7-7950-4cb5-bfab-f5c894f959a9" providerId="ADAL" clId="{9D150B60-33B5-4A3E-8123-A67E35AA8D44}" dt="2020-07-27T20:03:04.325" v="12665" actId="478"/>
          <ac:grpSpMkLst>
            <pc:docMk/>
            <pc:sldMk cId="3318311001" sldId="2134804340"/>
            <ac:grpSpMk id="25" creationId="{7BD04A0F-6044-44FB-A15C-87C578771698}"/>
          </ac:grpSpMkLst>
        </pc:grpChg>
        <pc:grpChg chg="mod">
          <ac:chgData name="Mariam Daniela Tristancho Pineda (MISION TEMPORAL LTDA)" userId="a45a17f7-7950-4cb5-bfab-f5c894f959a9" providerId="ADAL" clId="{9D150B60-33B5-4A3E-8123-A67E35AA8D44}" dt="2020-07-27T20:05:02.633" v="12748" actId="1037"/>
          <ac:grpSpMkLst>
            <pc:docMk/>
            <pc:sldMk cId="3318311001" sldId="2134804340"/>
            <ac:grpSpMk id="26" creationId="{5B1CDA9C-37CE-441A-94E7-5A5F38503613}"/>
          </ac:grpSpMkLst>
        </pc:grpChg>
        <pc:grpChg chg="mod">
          <ac:chgData name="Mariam Daniela Tristancho Pineda (MISION TEMPORAL LTDA)" userId="a45a17f7-7950-4cb5-bfab-f5c894f959a9" providerId="ADAL" clId="{9D150B60-33B5-4A3E-8123-A67E35AA8D44}" dt="2020-07-27T20:04:59.745" v="12742" actId="1076"/>
          <ac:grpSpMkLst>
            <pc:docMk/>
            <pc:sldMk cId="3318311001" sldId="2134804340"/>
            <ac:grpSpMk id="31" creationId="{A0B07E6C-42EA-42D4-BF18-74CF8467911A}"/>
          </ac:grpSpMkLst>
        </pc:grpChg>
        <pc:grpChg chg="mod">
          <ac:chgData name="Mariam Daniela Tristancho Pineda (MISION TEMPORAL LTDA)" userId="a45a17f7-7950-4cb5-bfab-f5c894f959a9" providerId="ADAL" clId="{9D150B60-33B5-4A3E-8123-A67E35AA8D44}" dt="2020-07-27T20:04:50.713" v="12737" actId="1076"/>
          <ac:grpSpMkLst>
            <pc:docMk/>
            <pc:sldMk cId="3318311001" sldId="2134804340"/>
            <ac:grpSpMk id="37" creationId="{33A4F641-6F0E-462A-898E-0641B151AA65}"/>
          </ac:grpSpMkLst>
        </pc:grpChg>
        <pc:grpChg chg="del mod">
          <ac:chgData name="Mariam Daniela Tristancho Pineda (MISION TEMPORAL LTDA)" userId="a45a17f7-7950-4cb5-bfab-f5c894f959a9" providerId="ADAL" clId="{9D150B60-33B5-4A3E-8123-A67E35AA8D44}" dt="2020-07-27T20:03:57.527" v="12678" actId="478"/>
          <ac:grpSpMkLst>
            <pc:docMk/>
            <pc:sldMk cId="3318311001" sldId="2134804340"/>
            <ac:grpSpMk id="46" creationId="{650AB62D-A12A-45DF-8E31-BF8EC5C56E7C}"/>
          </ac:grpSpMkLst>
        </pc:grpChg>
      </pc:sldChg>
      <pc:sldChg chg="addSp delSp modSp add mod ord">
        <pc:chgData name="Mariam Daniela Tristancho Pineda (MISION TEMPORAL LTDA)" userId="a45a17f7-7950-4cb5-bfab-f5c894f959a9" providerId="ADAL" clId="{9D150B60-33B5-4A3E-8123-A67E35AA8D44}" dt="2020-07-28T15:01:03.530" v="19893"/>
        <pc:sldMkLst>
          <pc:docMk/>
          <pc:sldMk cId="2532921639" sldId="2134804341"/>
        </pc:sldMkLst>
        <pc:spChg chg="mod">
          <ac:chgData name="Mariam Daniela Tristancho Pineda (MISION TEMPORAL LTDA)" userId="a45a17f7-7950-4cb5-bfab-f5c894f959a9" providerId="ADAL" clId="{9D150B60-33B5-4A3E-8123-A67E35AA8D44}" dt="2020-07-28T00:14:42.298" v="15789" actId="13926"/>
          <ac:spMkLst>
            <pc:docMk/>
            <pc:sldMk cId="2532921639" sldId="2134804341"/>
            <ac:spMk id="2" creationId="{3A93B487-116E-4767-AA0D-CAE2A460FBE4}"/>
          </ac:spMkLst>
        </pc:spChg>
        <pc:spChg chg="del">
          <ac:chgData name="Mariam Daniela Tristancho Pineda (MISION TEMPORAL LTDA)" userId="a45a17f7-7950-4cb5-bfab-f5c894f959a9" providerId="ADAL" clId="{9D150B60-33B5-4A3E-8123-A67E35AA8D44}" dt="2020-07-27T20:26:35.438" v="12820" actId="478"/>
          <ac:spMkLst>
            <pc:docMk/>
            <pc:sldMk cId="2532921639" sldId="2134804341"/>
            <ac:spMk id="3" creationId="{815B10B7-60B3-4C63-8431-70CC556387C9}"/>
          </ac:spMkLst>
        </pc:spChg>
        <pc:spChg chg="add mod ord">
          <ac:chgData name="Mariam Daniela Tristancho Pineda (MISION TEMPORAL LTDA)" userId="a45a17f7-7950-4cb5-bfab-f5c894f959a9" providerId="ADAL" clId="{9D150B60-33B5-4A3E-8123-A67E35AA8D44}" dt="2020-07-28T00:14:42.298" v="15789" actId="13926"/>
          <ac:spMkLst>
            <pc:docMk/>
            <pc:sldMk cId="2532921639" sldId="2134804341"/>
            <ac:spMk id="6" creationId="{26EF451C-53F1-4D38-8304-40A934E147B1}"/>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7" creationId="{6EA46AB2-D46D-465D-9B99-C8FCD330B565}"/>
          </ac:spMkLst>
        </pc:spChg>
        <pc:spChg chg="add del mod">
          <ac:chgData name="Mariam Daniela Tristancho Pineda (MISION TEMPORAL LTDA)" userId="a45a17f7-7950-4cb5-bfab-f5c894f959a9" providerId="ADAL" clId="{9D150B60-33B5-4A3E-8123-A67E35AA8D44}" dt="2020-07-27T20:28:46.167" v="12880" actId="478"/>
          <ac:spMkLst>
            <pc:docMk/>
            <pc:sldMk cId="2532921639" sldId="2134804341"/>
            <ac:spMk id="8" creationId="{5FB9331D-96FC-499D-801D-C87DB7CC4AC0}"/>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9" creationId="{0D2D0AC5-B7D8-497B-ABD3-7AE73B6363FD}"/>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10" creationId="{8CBE0999-A3DB-4ABC-B7A0-9F684B332B8D}"/>
          </ac:spMkLst>
        </pc:spChg>
        <pc:spChg chg="mod">
          <ac:chgData name="Mariam Daniela Tristancho Pineda (MISION TEMPORAL LTDA)" userId="a45a17f7-7950-4cb5-bfab-f5c894f959a9" providerId="ADAL" clId="{9D150B60-33B5-4A3E-8123-A67E35AA8D44}" dt="2020-07-28T00:14:42.298" v="15789" actId="13926"/>
          <ac:spMkLst>
            <pc:docMk/>
            <pc:sldMk cId="2532921639" sldId="2134804341"/>
            <ac:spMk id="11" creationId="{772CA61D-742C-45F0-BAFA-0F3B90176E98}"/>
          </ac:spMkLst>
        </pc:spChg>
        <pc:spChg chg="mod">
          <ac:chgData name="Mariam Daniela Tristancho Pineda (MISION TEMPORAL LTDA)" userId="a45a17f7-7950-4cb5-bfab-f5c894f959a9" providerId="ADAL" clId="{9D150B60-33B5-4A3E-8123-A67E35AA8D44}" dt="2020-07-27T23:18:36.563" v="14627" actId="555"/>
          <ac:spMkLst>
            <pc:docMk/>
            <pc:sldMk cId="2532921639" sldId="2134804341"/>
            <ac:spMk id="12" creationId="{7F3CEC4C-7588-4B74-823D-9CF22E2DAD79}"/>
          </ac:spMkLst>
        </pc:spChg>
        <pc:spChg chg="add mod">
          <ac:chgData name="Mariam Daniela Tristancho Pineda (MISION TEMPORAL LTDA)" userId="a45a17f7-7950-4cb5-bfab-f5c894f959a9" providerId="ADAL" clId="{9D150B60-33B5-4A3E-8123-A67E35AA8D44}" dt="2020-07-27T23:18:36.563" v="14627" actId="555"/>
          <ac:spMkLst>
            <pc:docMk/>
            <pc:sldMk cId="2532921639" sldId="2134804341"/>
            <ac:spMk id="13" creationId="{78F97E90-AFC7-4D4D-A94D-7BA5464F668B}"/>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14" creationId="{76F42040-B3A4-4E28-A977-80873F0B5FCD}"/>
          </ac:spMkLst>
        </pc:spChg>
        <pc:spChg chg="add del mod">
          <ac:chgData name="Mariam Daniela Tristancho Pineda (MISION TEMPORAL LTDA)" userId="a45a17f7-7950-4cb5-bfab-f5c894f959a9" providerId="ADAL" clId="{9D150B60-33B5-4A3E-8123-A67E35AA8D44}" dt="2020-07-27T21:32:17.788" v="14441" actId="478"/>
          <ac:spMkLst>
            <pc:docMk/>
            <pc:sldMk cId="2532921639" sldId="2134804341"/>
            <ac:spMk id="15" creationId="{F5F6020F-918E-4261-B79A-8D7C5966BB0C}"/>
          </ac:spMkLst>
        </pc:spChg>
        <pc:spChg chg="add del mod">
          <ac:chgData name="Mariam Daniela Tristancho Pineda (MISION TEMPORAL LTDA)" userId="a45a17f7-7950-4cb5-bfab-f5c894f959a9" providerId="ADAL" clId="{9D150B60-33B5-4A3E-8123-A67E35AA8D44}" dt="2020-07-27T21:32:17.788" v="14441" actId="478"/>
          <ac:spMkLst>
            <pc:docMk/>
            <pc:sldMk cId="2532921639" sldId="2134804341"/>
            <ac:spMk id="16" creationId="{ECDAB3D1-5BE4-45F7-BE33-9D8F60352953}"/>
          </ac:spMkLst>
        </pc:spChg>
        <pc:spChg chg="add del mod">
          <ac:chgData name="Mariam Daniela Tristancho Pineda (MISION TEMPORAL LTDA)" userId="a45a17f7-7950-4cb5-bfab-f5c894f959a9" providerId="ADAL" clId="{9D150B60-33B5-4A3E-8123-A67E35AA8D44}" dt="2020-07-27T21:32:17.788" v="14441" actId="478"/>
          <ac:spMkLst>
            <pc:docMk/>
            <pc:sldMk cId="2532921639" sldId="2134804341"/>
            <ac:spMk id="17" creationId="{27EF5D95-3B07-44E6-B011-1AC68AA3644F}"/>
          </ac:spMkLst>
        </pc:spChg>
        <pc:spChg chg="add del mod">
          <ac:chgData name="Mariam Daniela Tristancho Pineda (MISION TEMPORAL LTDA)" userId="a45a17f7-7950-4cb5-bfab-f5c894f959a9" providerId="ADAL" clId="{9D150B60-33B5-4A3E-8123-A67E35AA8D44}" dt="2020-07-27T20:30:43.104" v="12934" actId="478"/>
          <ac:spMkLst>
            <pc:docMk/>
            <pc:sldMk cId="2532921639" sldId="2134804341"/>
            <ac:spMk id="18" creationId="{D632FF64-4036-4F92-8056-5F36B5BC03A6}"/>
          </ac:spMkLst>
        </pc:spChg>
        <pc:spChg chg="add del mod">
          <ac:chgData name="Mariam Daniela Tristancho Pineda (MISION TEMPORAL LTDA)" userId="a45a17f7-7950-4cb5-bfab-f5c894f959a9" providerId="ADAL" clId="{9D150B60-33B5-4A3E-8123-A67E35AA8D44}" dt="2020-07-27T21:32:17.788" v="14441" actId="478"/>
          <ac:spMkLst>
            <pc:docMk/>
            <pc:sldMk cId="2532921639" sldId="2134804341"/>
            <ac:spMk id="19" creationId="{F04331EA-3C34-4632-A33B-964C955FEA5B}"/>
          </ac:spMkLst>
        </pc:spChg>
        <pc:spChg chg="add del mod">
          <ac:chgData name="Mariam Daniela Tristancho Pineda (MISION TEMPORAL LTDA)" userId="a45a17f7-7950-4cb5-bfab-f5c894f959a9" providerId="ADAL" clId="{9D150B60-33B5-4A3E-8123-A67E35AA8D44}" dt="2020-07-27T20:31:13.259" v="12960" actId="478"/>
          <ac:spMkLst>
            <pc:docMk/>
            <pc:sldMk cId="2532921639" sldId="2134804341"/>
            <ac:spMk id="20" creationId="{1C53D5F6-4ABB-4F3E-825F-B266B8B51A6E}"/>
          </ac:spMkLst>
        </pc:spChg>
        <pc:spChg chg="add del mod">
          <ac:chgData name="Mariam Daniela Tristancho Pineda (MISION TEMPORAL LTDA)" userId="a45a17f7-7950-4cb5-bfab-f5c894f959a9" providerId="ADAL" clId="{9D150B60-33B5-4A3E-8123-A67E35AA8D44}" dt="2020-07-27T21:32:17.788" v="14441" actId="478"/>
          <ac:spMkLst>
            <pc:docMk/>
            <pc:sldMk cId="2532921639" sldId="2134804341"/>
            <ac:spMk id="21" creationId="{D56367BF-110C-466E-A427-18C278C78276}"/>
          </ac:spMkLst>
        </pc:spChg>
        <pc:spChg chg="del">
          <ac:chgData name="Mariam Daniela Tristancho Pineda (MISION TEMPORAL LTDA)" userId="a45a17f7-7950-4cb5-bfab-f5c894f959a9" providerId="ADAL" clId="{9D150B60-33B5-4A3E-8123-A67E35AA8D44}" dt="2020-07-27T20:26:35.438" v="12820" actId="478"/>
          <ac:spMkLst>
            <pc:docMk/>
            <pc:sldMk cId="2532921639" sldId="2134804341"/>
            <ac:spMk id="22" creationId="{53E538FE-3283-40FB-A5F0-3E57246B6EFA}"/>
          </ac:spMkLst>
        </pc:spChg>
        <pc:spChg chg="add del mod">
          <ac:chgData name="Mariam Daniela Tristancho Pineda (MISION TEMPORAL LTDA)" userId="a45a17f7-7950-4cb5-bfab-f5c894f959a9" providerId="ADAL" clId="{9D150B60-33B5-4A3E-8123-A67E35AA8D44}" dt="2020-07-27T21:32:17.788" v="14441" actId="478"/>
          <ac:spMkLst>
            <pc:docMk/>
            <pc:sldMk cId="2532921639" sldId="2134804341"/>
            <ac:spMk id="23" creationId="{53BFD633-DD81-4820-8BB0-84F3F711C502}"/>
          </ac:spMkLst>
        </pc:spChg>
        <pc:spChg chg="add del mod">
          <ac:chgData name="Mariam Daniela Tristancho Pineda (MISION TEMPORAL LTDA)" userId="a45a17f7-7950-4cb5-bfab-f5c894f959a9" providerId="ADAL" clId="{9D150B60-33B5-4A3E-8123-A67E35AA8D44}" dt="2020-07-27T23:16:00.424" v="14562" actId="21"/>
          <ac:spMkLst>
            <pc:docMk/>
            <pc:sldMk cId="2532921639" sldId="2134804341"/>
            <ac:spMk id="24" creationId="{8AE85010-BBC8-4351-9047-F1273B2C9107}"/>
          </ac:spMkLst>
        </pc:spChg>
        <pc:spChg chg="add del mod">
          <ac:chgData name="Mariam Daniela Tristancho Pineda (MISION TEMPORAL LTDA)" userId="a45a17f7-7950-4cb5-bfab-f5c894f959a9" providerId="ADAL" clId="{9D150B60-33B5-4A3E-8123-A67E35AA8D44}" dt="2020-07-27T23:16:00.424" v="14562" actId="21"/>
          <ac:spMkLst>
            <pc:docMk/>
            <pc:sldMk cId="2532921639" sldId="2134804341"/>
            <ac:spMk id="25" creationId="{CA51816E-29C0-4D54-B006-5CE224FEF0AC}"/>
          </ac:spMkLst>
        </pc:spChg>
        <pc:spChg chg="mod">
          <ac:chgData name="Mariam Daniela Tristancho Pineda (MISION TEMPORAL LTDA)" userId="a45a17f7-7950-4cb5-bfab-f5c894f959a9" providerId="ADAL" clId="{9D150B60-33B5-4A3E-8123-A67E35AA8D44}" dt="2020-07-28T00:14:42.298" v="15789" actId="13926"/>
          <ac:spMkLst>
            <pc:docMk/>
            <pc:sldMk cId="2532921639" sldId="2134804341"/>
            <ac:spMk id="27" creationId="{910DCB24-1C9B-45BE-9592-B8EC86E558A4}"/>
          </ac:spMkLst>
        </pc:spChg>
        <pc:spChg chg="mod">
          <ac:chgData name="Mariam Daniela Tristancho Pineda (MISION TEMPORAL LTDA)" userId="a45a17f7-7950-4cb5-bfab-f5c894f959a9" providerId="ADAL" clId="{9D150B60-33B5-4A3E-8123-A67E35AA8D44}" dt="2020-07-28T00:14:42.298" v="15789" actId="13926"/>
          <ac:spMkLst>
            <pc:docMk/>
            <pc:sldMk cId="2532921639" sldId="2134804341"/>
            <ac:spMk id="28" creationId="{4A0F0E28-A961-4260-8BB9-16809CE2E13A}"/>
          </ac:spMkLst>
        </pc:spChg>
        <pc:spChg chg="mod">
          <ac:chgData name="Mariam Daniela Tristancho Pineda (MISION TEMPORAL LTDA)" userId="a45a17f7-7950-4cb5-bfab-f5c894f959a9" providerId="ADAL" clId="{9D150B60-33B5-4A3E-8123-A67E35AA8D44}" dt="2020-07-28T00:14:42.298" v="15789" actId="13926"/>
          <ac:spMkLst>
            <pc:docMk/>
            <pc:sldMk cId="2532921639" sldId="2134804341"/>
            <ac:spMk id="29" creationId="{46F67329-EAA2-4B09-AD5B-91FE70391A81}"/>
          </ac:spMkLst>
        </pc:spChg>
        <pc:spChg chg="del">
          <ac:chgData name="Mariam Daniela Tristancho Pineda (MISION TEMPORAL LTDA)" userId="a45a17f7-7950-4cb5-bfab-f5c894f959a9" providerId="ADAL" clId="{9D150B60-33B5-4A3E-8123-A67E35AA8D44}" dt="2020-07-27T20:26:35.438" v="12820" actId="478"/>
          <ac:spMkLst>
            <pc:docMk/>
            <pc:sldMk cId="2532921639" sldId="2134804341"/>
            <ac:spMk id="30" creationId="{5BF08848-45AE-451C-A99D-7322CF796742}"/>
          </ac:spMkLst>
        </pc:spChg>
        <pc:spChg chg="mod">
          <ac:chgData name="Mariam Daniela Tristancho Pineda (MISION TEMPORAL LTDA)" userId="a45a17f7-7950-4cb5-bfab-f5c894f959a9" providerId="ADAL" clId="{9D150B60-33B5-4A3E-8123-A67E35AA8D44}" dt="2020-07-28T00:14:42.298" v="15789" actId="13926"/>
          <ac:spMkLst>
            <pc:docMk/>
            <pc:sldMk cId="2532921639" sldId="2134804341"/>
            <ac:spMk id="32" creationId="{112CF6BB-B57E-4E30-BDB8-A663AA382E62}"/>
          </ac:spMkLst>
        </pc:spChg>
        <pc:spChg chg="mod">
          <ac:chgData name="Mariam Daniela Tristancho Pineda (MISION TEMPORAL LTDA)" userId="a45a17f7-7950-4cb5-bfab-f5c894f959a9" providerId="ADAL" clId="{9D150B60-33B5-4A3E-8123-A67E35AA8D44}" dt="2020-07-28T00:14:42.298" v="15789" actId="13926"/>
          <ac:spMkLst>
            <pc:docMk/>
            <pc:sldMk cId="2532921639" sldId="2134804341"/>
            <ac:spMk id="33" creationId="{99A98136-5ADE-4ACF-97B1-9869591C8748}"/>
          </ac:spMkLst>
        </pc:spChg>
        <pc:spChg chg="del">
          <ac:chgData name="Mariam Daniela Tristancho Pineda (MISION TEMPORAL LTDA)" userId="a45a17f7-7950-4cb5-bfab-f5c894f959a9" providerId="ADAL" clId="{9D150B60-33B5-4A3E-8123-A67E35AA8D44}" dt="2020-07-27T20:26:35.438" v="12820" actId="478"/>
          <ac:spMkLst>
            <pc:docMk/>
            <pc:sldMk cId="2532921639" sldId="2134804341"/>
            <ac:spMk id="34" creationId="{2858742F-5FD0-4B7E-9334-0D1DB2CF525E}"/>
          </ac:spMkLst>
        </pc:spChg>
        <pc:spChg chg="del">
          <ac:chgData name="Mariam Daniela Tristancho Pineda (MISION TEMPORAL LTDA)" userId="a45a17f7-7950-4cb5-bfab-f5c894f959a9" providerId="ADAL" clId="{9D150B60-33B5-4A3E-8123-A67E35AA8D44}" dt="2020-07-27T20:26:35.438" v="12820" actId="478"/>
          <ac:spMkLst>
            <pc:docMk/>
            <pc:sldMk cId="2532921639" sldId="2134804341"/>
            <ac:spMk id="35" creationId="{5F2982C9-1317-4114-BC67-9EA6763899B8}"/>
          </ac:spMkLst>
        </pc:spChg>
        <pc:spChg chg="del">
          <ac:chgData name="Mariam Daniela Tristancho Pineda (MISION TEMPORAL LTDA)" userId="a45a17f7-7950-4cb5-bfab-f5c894f959a9" providerId="ADAL" clId="{9D150B60-33B5-4A3E-8123-A67E35AA8D44}" dt="2020-07-27T20:26:32.417" v="12819" actId="478"/>
          <ac:spMkLst>
            <pc:docMk/>
            <pc:sldMk cId="2532921639" sldId="2134804341"/>
            <ac:spMk id="36" creationId="{80930BAD-CC8E-47DD-9473-5B8864A2680A}"/>
          </ac:spMkLst>
        </pc:spChg>
        <pc:spChg chg="mod">
          <ac:chgData name="Mariam Daniela Tristancho Pineda (MISION TEMPORAL LTDA)" userId="a45a17f7-7950-4cb5-bfab-f5c894f959a9" providerId="ADAL" clId="{9D150B60-33B5-4A3E-8123-A67E35AA8D44}" dt="2020-07-28T00:14:42.298" v="15789" actId="13926"/>
          <ac:spMkLst>
            <pc:docMk/>
            <pc:sldMk cId="2532921639" sldId="2134804341"/>
            <ac:spMk id="38" creationId="{A70D06D3-12BC-4CDA-B9D7-EEF1588242C9}"/>
          </ac:spMkLst>
        </pc:spChg>
        <pc:spChg chg="mod">
          <ac:chgData name="Mariam Daniela Tristancho Pineda (MISION TEMPORAL LTDA)" userId="a45a17f7-7950-4cb5-bfab-f5c894f959a9" providerId="ADAL" clId="{9D150B60-33B5-4A3E-8123-A67E35AA8D44}" dt="2020-07-28T00:14:42.298" v="15789" actId="13926"/>
          <ac:spMkLst>
            <pc:docMk/>
            <pc:sldMk cId="2532921639" sldId="2134804341"/>
            <ac:spMk id="39" creationId="{5FAD9D39-0163-48A2-AB90-B7B2E4C2CCC8}"/>
          </ac:spMkLst>
        </pc:spChg>
        <pc:spChg chg="del">
          <ac:chgData name="Mariam Daniela Tristancho Pineda (MISION TEMPORAL LTDA)" userId="a45a17f7-7950-4cb5-bfab-f5c894f959a9" providerId="ADAL" clId="{9D150B60-33B5-4A3E-8123-A67E35AA8D44}" dt="2020-07-27T20:26:32.417" v="12819" actId="478"/>
          <ac:spMkLst>
            <pc:docMk/>
            <pc:sldMk cId="2532921639" sldId="2134804341"/>
            <ac:spMk id="40" creationId="{F9005A44-E530-4972-BBE0-B3ED015A6ED4}"/>
          </ac:spMkLst>
        </pc:spChg>
        <pc:spChg chg="del">
          <ac:chgData name="Mariam Daniela Tristancho Pineda (MISION TEMPORAL LTDA)" userId="a45a17f7-7950-4cb5-bfab-f5c894f959a9" providerId="ADAL" clId="{9D150B60-33B5-4A3E-8123-A67E35AA8D44}" dt="2020-07-27T20:26:32.417" v="12819" actId="478"/>
          <ac:spMkLst>
            <pc:docMk/>
            <pc:sldMk cId="2532921639" sldId="2134804341"/>
            <ac:spMk id="42" creationId="{4101169F-B3FD-425D-90F0-D9CCBE1BF3D2}"/>
          </ac:spMkLst>
        </pc:spChg>
        <pc:spChg chg="del">
          <ac:chgData name="Mariam Daniela Tristancho Pineda (MISION TEMPORAL LTDA)" userId="a45a17f7-7950-4cb5-bfab-f5c894f959a9" providerId="ADAL" clId="{9D150B60-33B5-4A3E-8123-A67E35AA8D44}" dt="2020-07-27T20:26:32.417" v="12819" actId="478"/>
          <ac:spMkLst>
            <pc:docMk/>
            <pc:sldMk cId="2532921639" sldId="2134804341"/>
            <ac:spMk id="43" creationId="{34452114-CA9E-44D1-9755-DF275F1BF2A9}"/>
          </ac:spMkLst>
        </pc:spChg>
        <pc:spChg chg="mod">
          <ac:chgData name="Mariam Daniela Tristancho Pineda (MISION TEMPORAL LTDA)" userId="a45a17f7-7950-4cb5-bfab-f5c894f959a9" providerId="ADAL" clId="{9D150B60-33B5-4A3E-8123-A67E35AA8D44}" dt="2020-07-28T00:14:42.298" v="15789" actId="13926"/>
          <ac:spMkLst>
            <pc:docMk/>
            <pc:sldMk cId="2532921639" sldId="2134804341"/>
            <ac:spMk id="47" creationId="{EFA49506-2534-42A7-80DC-155A5CF0A7FB}"/>
          </ac:spMkLst>
        </pc:spChg>
        <pc:spChg chg="mod">
          <ac:chgData name="Mariam Daniela Tristancho Pineda (MISION TEMPORAL LTDA)" userId="a45a17f7-7950-4cb5-bfab-f5c894f959a9" providerId="ADAL" clId="{9D150B60-33B5-4A3E-8123-A67E35AA8D44}" dt="2020-07-28T00:14:42.298" v="15789" actId="13926"/>
          <ac:spMkLst>
            <pc:docMk/>
            <pc:sldMk cId="2532921639" sldId="2134804341"/>
            <ac:spMk id="48" creationId="{8C75352D-0E5E-4A6A-AD3B-F1CC559DB11C}"/>
          </ac:spMkLst>
        </pc:spChg>
        <pc:spChg chg="del">
          <ac:chgData name="Mariam Daniela Tristancho Pineda (MISION TEMPORAL LTDA)" userId="a45a17f7-7950-4cb5-bfab-f5c894f959a9" providerId="ADAL" clId="{9D150B60-33B5-4A3E-8123-A67E35AA8D44}" dt="2020-07-27T20:26:32.417" v="12819" actId="478"/>
          <ac:spMkLst>
            <pc:docMk/>
            <pc:sldMk cId="2532921639" sldId="2134804341"/>
            <ac:spMk id="50" creationId="{EFEDA77C-7665-4725-A074-A36D4F4400A8}"/>
          </ac:spMkLst>
        </pc:spChg>
        <pc:spChg chg="del">
          <ac:chgData name="Mariam Daniela Tristancho Pineda (MISION TEMPORAL LTDA)" userId="a45a17f7-7950-4cb5-bfab-f5c894f959a9" providerId="ADAL" clId="{9D150B60-33B5-4A3E-8123-A67E35AA8D44}" dt="2020-07-27T20:26:32.417" v="12819" actId="478"/>
          <ac:spMkLst>
            <pc:docMk/>
            <pc:sldMk cId="2532921639" sldId="2134804341"/>
            <ac:spMk id="54" creationId="{2A6509E3-0893-4B3A-9781-02B5F5938070}"/>
          </ac:spMkLst>
        </pc:spChg>
        <pc:spChg chg="mod">
          <ac:chgData name="Mariam Daniela Tristancho Pineda (MISION TEMPORAL LTDA)" userId="a45a17f7-7950-4cb5-bfab-f5c894f959a9" providerId="ADAL" clId="{9D150B60-33B5-4A3E-8123-A67E35AA8D44}" dt="2020-07-28T00:14:42.298" v="15789" actId="13926"/>
          <ac:spMkLst>
            <pc:docMk/>
            <pc:sldMk cId="2532921639" sldId="2134804341"/>
            <ac:spMk id="55" creationId="{890E6358-E7F1-4BAE-B3A3-26D27855B414}"/>
          </ac:spMkLst>
        </pc:spChg>
        <pc:spChg chg="mod">
          <ac:chgData name="Mariam Daniela Tristancho Pineda (MISION TEMPORAL LTDA)" userId="a45a17f7-7950-4cb5-bfab-f5c894f959a9" providerId="ADAL" clId="{9D150B60-33B5-4A3E-8123-A67E35AA8D44}" dt="2020-07-28T00:14:42.298" v="15789" actId="13926"/>
          <ac:spMkLst>
            <pc:docMk/>
            <pc:sldMk cId="2532921639" sldId="2134804341"/>
            <ac:spMk id="56" creationId="{30228C31-EF71-4412-B19C-CEFAE9DC60E1}"/>
          </ac:spMkLst>
        </pc:spChg>
        <pc:spChg chg="add del mod">
          <ac:chgData name="Mariam Daniela Tristancho Pineda (MISION TEMPORAL LTDA)" userId="a45a17f7-7950-4cb5-bfab-f5c894f959a9" providerId="ADAL" clId="{9D150B60-33B5-4A3E-8123-A67E35AA8D44}" dt="2020-07-27T23:16:00.424" v="14562" actId="21"/>
          <ac:spMkLst>
            <pc:docMk/>
            <pc:sldMk cId="2532921639" sldId="2134804341"/>
            <ac:spMk id="62" creationId="{D4C31640-C516-427C-9994-CF2652513527}"/>
          </ac:spMkLst>
        </pc:spChg>
        <pc:spChg chg="add del">
          <ac:chgData name="Mariam Daniela Tristancho Pineda (MISION TEMPORAL LTDA)" userId="a45a17f7-7950-4cb5-bfab-f5c894f959a9" providerId="ADAL" clId="{9D150B60-33B5-4A3E-8123-A67E35AA8D44}" dt="2020-07-27T20:33:54.907" v="13010" actId="22"/>
          <ac:spMkLst>
            <pc:docMk/>
            <pc:sldMk cId="2532921639" sldId="2134804341"/>
            <ac:spMk id="64" creationId="{124D97CA-CF53-4891-8B62-0D03E5DDD9C9}"/>
          </ac:spMkLst>
        </pc:spChg>
        <pc:spChg chg="add del">
          <ac:chgData name="Mariam Daniela Tristancho Pineda (MISION TEMPORAL LTDA)" userId="a45a17f7-7950-4cb5-bfab-f5c894f959a9" providerId="ADAL" clId="{9D150B60-33B5-4A3E-8123-A67E35AA8D44}" dt="2020-07-27T20:33:54.907" v="13010" actId="22"/>
          <ac:spMkLst>
            <pc:docMk/>
            <pc:sldMk cId="2532921639" sldId="2134804341"/>
            <ac:spMk id="66" creationId="{677025CA-7D87-4395-BCC0-45E9CBF23125}"/>
          </ac:spMkLst>
        </pc:spChg>
        <pc:spChg chg="add del">
          <ac:chgData name="Mariam Daniela Tristancho Pineda (MISION TEMPORAL LTDA)" userId="a45a17f7-7950-4cb5-bfab-f5c894f959a9" providerId="ADAL" clId="{9D150B60-33B5-4A3E-8123-A67E35AA8D44}" dt="2020-07-27T20:33:54.907" v="13010" actId="22"/>
          <ac:spMkLst>
            <pc:docMk/>
            <pc:sldMk cId="2532921639" sldId="2134804341"/>
            <ac:spMk id="68" creationId="{CB97E6B5-0196-4E7A-B830-663F8098DD78}"/>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70" creationId="{4C2BB393-8F3A-4793-B4F9-99B289273F73}"/>
          </ac:spMkLst>
        </pc:spChg>
        <pc:spChg chg="add mod">
          <ac:chgData name="Mariam Daniela Tristancho Pineda (MISION TEMPORAL LTDA)" userId="a45a17f7-7950-4cb5-bfab-f5c894f959a9" providerId="ADAL" clId="{9D150B60-33B5-4A3E-8123-A67E35AA8D44}" dt="2020-07-27T23:18:55.006" v="14632" actId="1037"/>
          <ac:spMkLst>
            <pc:docMk/>
            <pc:sldMk cId="2532921639" sldId="2134804341"/>
            <ac:spMk id="72" creationId="{12DFD4E0-B30F-4AA4-92EC-1B5D501F7F20}"/>
          </ac:spMkLst>
        </pc:spChg>
        <pc:spChg chg="add del mod">
          <ac:chgData name="Mariam Daniela Tristancho Pineda (MISION TEMPORAL LTDA)" userId="a45a17f7-7950-4cb5-bfab-f5c894f959a9" providerId="ADAL" clId="{9D150B60-33B5-4A3E-8123-A67E35AA8D44}" dt="2020-07-27T20:34:12.320" v="13016" actId="478"/>
          <ac:spMkLst>
            <pc:docMk/>
            <pc:sldMk cId="2532921639" sldId="2134804341"/>
            <ac:spMk id="74" creationId="{50CFBD4F-CCCE-4D79-97F2-84770BFB67A7}"/>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76" creationId="{40DFE32F-CAB8-49D6-A7AD-D6BF8E59BE91}"/>
          </ac:spMkLst>
        </pc:spChg>
        <pc:spChg chg="add del mod">
          <ac:chgData name="Mariam Daniela Tristancho Pineda (MISION TEMPORAL LTDA)" userId="a45a17f7-7950-4cb5-bfab-f5c894f959a9" providerId="ADAL" clId="{9D150B60-33B5-4A3E-8123-A67E35AA8D44}" dt="2020-07-27T20:34:27.888" v="13022" actId="478"/>
          <ac:spMkLst>
            <pc:docMk/>
            <pc:sldMk cId="2532921639" sldId="2134804341"/>
            <ac:spMk id="78" creationId="{8DA08CC0-B480-433D-9578-4E4C13971FDA}"/>
          </ac:spMkLst>
        </pc:spChg>
        <pc:spChg chg="add del mod">
          <ac:chgData name="Mariam Daniela Tristancho Pineda (MISION TEMPORAL LTDA)" userId="a45a17f7-7950-4cb5-bfab-f5c894f959a9" providerId="ADAL" clId="{9D150B60-33B5-4A3E-8123-A67E35AA8D44}" dt="2020-07-27T20:34:27.118" v="13021" actId="478"/>
          <ac:spMkLst>
            <pc:docMk/>
            <pc:sldMk cId="2532921639" sldId="2134804341"/>
            <ac:spMk id="80" creationId="{DE49B1F3-B281-4B1D-B788-E8D77EE8ECB7}"/>
          </ac:spMkLst>
        </pc:spChg>
        <pc:spChg chg="add del mod">
          <ac:chgData name="Mariam Daniela Tristancho Pineda (MISION TEMPORAL LTDA)" userId="a45a17f7-7950-4cb5-bfab-f5c894f959a9" providerId="ADAL" clId="{9D150B60-33B5-4A3E-8123-A67E35AA8D44}" dt="2020-07-27T20:34:27.118" v="13021" actId="478"/>
          <ac:spMkLst>
            <pc:docMk/>
            <pc:sldMk cId="2532921639" sldId="2134804341"/>
            <ac:spMk id="82" creationId="{83BAD01D-1679-43DD-A37A-0F25CD6CCCF5}"/>
          </ac:spMkLst>
        </pc:spChg>
        <pc:spChg chg="mod">
          <ac:chgData name="Mariam Daniela Tristancho Pineda (MISION TEMPORAL LTDA)" userId="a45a17f7-7950-4cb5-bfab-f5c894f959a9" providerId="ADAL" clId="{9D150B60-33B5-4A3E-8123-A67E35AA8D44}" dt="2020-07-28T00:14:56.913" v="15790" actId="14100"/>
          <ac:spMkLst>
            <pc:docMk/>
            <pc:sldMk cId="2532921639" sldId="2134804341"/>
            <ac:spMk id="84" creationId="{293DBAF3-3942-4C58-8A63-D4484E215E20}"/>
          </ac:spMkLst>
        </pc:spChg>
        <pc:spChg chg="mod">
          <ac:chgData name="Mariam Daniela Tristancho Pineda (MISION TEMPORAL LTDA)" userId="a45a17f7-7950-4cb5-bfab-f5c894f959a9" providerId="ADAL" clId="{9D150B60-33B5-4A3E-8123-A67E35AA8D44}" dt="2020-07-28T00:17:16.123" v="15858" actId="20577"/>
          <ac:spMkLst>
            <pc:docMk/>
            <pc:sldMk cId="2532921639" sldId="2134804341"/>
            <ac:spMk id="86" creationId="{7696A978-4362-4DE3-8C58-0F58608C4AA6}"/>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88" creationId="{5287C6BB-7462-47AA-82FC-0995E12885D0}"/>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90" creationId="{9CA5C34E-F534-4DBB-8CB2-C4A73E40BE1D}"/>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92" creationId="{3C2594EF-C944-4301-B969-227960A0B177}"/>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94" creationId="{A3043AD2-8100-4019-8A49-7AA41719F6D3}"/>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96" creationId="{E8463BFA-5949-4D95-9B51-6F1E89D0DF70}"/>
          </ac:spMkLst>
        </pc:spChg>
        <pc:spChg chg="del">
          <ac:chgData name="Mariam Daniela Tristancho Pineda (MISION TEMPORAL LTDA)" userId="a45a17f7-7950-4cb5-bfab-f5c894f959a9" providerId="ADAL" clId="{9D150B60-33B5-4A3E-8123-A67E35AA8D44}" dt="2020-07-27T20:26:35.438" v="12820" actId="478"/>
          <ac:spMkLst>
            <pc:docMk/>
            <pc:sldMk cId="2532921639" sldId="2134804341"/>
            <ac:spMk id="97" creationId="{99300021-C267-43BD-A0F5-B3ECE622345E}"/>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100" creationId="{E8484252-6E98-4F7D-9394-AD684F126CB1}"/>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102" creationId="{7812F223-75D3-476A-89FF-B22C9D312EA6}"/>
          </ac:spMkLst>
        </pc:spChg>
        <pc:spChg chg="add mod ord">
          <ac:chgData name="Mariam Daniela Tristancho Pineda (MISION TEMPORAL LTDA)" userId="a45a17f7-7950-4cb5-bfab-f5c894f959a9" providerId="ADAL" clId="{9D150B60-33B5-4A3E-8123-A67E35AA8D44}" dt="2020-07-28T00:14:42.298" v="15789" actId="13926"/>
          <ac:spMkLst>
            <pc:docMk/>
            <pc:sldMk cId="2532921639" sldId="2134804341"/>
            <ac:spMk id="104" creationId="{1B6EB9B8-45E2-4F88-8131-9C401AEBBBCF}"/>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106" creationId="{FCC08065-7019-4222-B77B-FB007CEA4423}"/>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108" creationId="{6F2232EE-FB4E-4DD9-AD82-A570467F39DB}"/>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110" creationId="{7D09FF47-4E46-4C38-80B0-B607480382EC}"/>
          </ac:spMkLst>
        </pc:spChg>
        <pc:spChg chg="add del mod">
          <ac:chgData name="Mariam Daniela Tristancho Pineda (MISION TEMPORAL LTDA)" userId="a45a17f7-7950-4cb5-bfab-f5c894f959a9" providerId="ADAL" clId="{9D150B60-33B5-4A3E-8123-A67E35AA8D44}" dt="2020-07-27T20:39:43.884" v="13083" actId="478"/>
          <ac:spMkLst>
            <pc:docMk/>
            <pc:sldMk cId="2532921639" sldId="2134804341"/>
            <ac:spMk id="112" creationId="{26C25DCB-764A-48F3-8E73-EFA1CC2BEE0E}"/>
          </ac:spMkLst>
        </pc:spChg>
        <pc:spChg chg="add del mod">
          <ac:chgData name="Mariam Daniela Tristancho Pineda (MISION TEMPORAL LTDA)" userId="a45a17f7-7950-4cb5-bfab-f5c894f959a9" providerId="ADAL" clId="{9D150B60-33B5-4A3E-8123-A67E35AA8D44}" dt="2020-07-27T20:39:40.937" v="13081" actId="478"/>
          <ac:spMkLst>
            <pc:docMk/>
            <pc:sldMk cId="2532921639" sldId="2134804341"/>
            <ac:spMk id="114" creationId="{9361D2F0-715C-4819-A8BD-5183B20E4809}"/>
          </ac:spMkLst>
        </pc:spChg>
        <pc:spChg chg="add del mod">
          <ac:chgData name="Mariam Daniela Tristancho Pineda (MISION TEMPORAL LTDA)" userId="a45a17f7-7950-4cb5-bfab-f5c894f959a9" providerId="ADAL" clId="{9D150B60-33B5-4A3E-8123-A67E35AA8D44}" dt="2020-07-27T20:39:39.899" v="13080" actId="478"/>
          <ac:spMkLst>
            <pc:docMk/>
            <pc:sldMk cId="2532921639" sldId="2134804341"/>
            <ac:spMk id="116" creationId="{AA6CCFD1-52BA-43ED-896C-CC813F98A8C6}"/>
          </ac:spMkLst>
        </pc:spChg>
        <pc:spChg chg="mod">
          <ac:chgData name="Mariam Daniela Tristancho Pineda (MISION TEMPORAL LTDA)" userId="a45a17f7-7950-4cb5-bfab-f5c894f959a9" providerId="ADAL" clId="{9D150B60-33B5-4A3E-8123-A67E35AA8D44}" dt="2020-07-28T00:14:42.298" v="15789" actId="13926"/>
          <ac:spMkLst>
            <pc:docMk/>
            <pc:sldMk cId="2532921639" sldId="2134804341"/>
            <ac:spMk id="117" creationId="{8960734A-1053-42D2-BD72-6674DCCE6A97}"/>
          </ac:spMkLst>
        </pc:spChg>
        <pc:spChg chg="mod">
          <ac:chgData name="Mariam Daniela Tristancho Pineda (MISION TEMPORAL LTDA)" userId="a45a17f7-7950-4cb5-bfab-f5c894f959a9" providerId="ADAL" clId="{9D150B60-33B5-4A3E-8123-A67E35AA8D44}" dt="2020-07-28T00:14:42.298" v="15789" actId="13926"/>
          <ac:spMkLst>
            <pc:docMk/>
            <pc:sldMk cId="2532921639" sldId="2134804341"/>
            <ac:spMk id="118" creationId="{C77431EE-A761-4323-B75F-692D4CAEC462}"/>
          </ac:spMkLst>
        </pc:spChg>
        <pc:spChg chg="mod">
          <ac:chgData name="Mariam Daniela Tristancho Pineda (MISION TEMPORAL LTDA)" userId="a45a17f7-7950-4cb5-bfab-f5c894f959a9" providerId="ADAL" clId="{9D150B60-33B5-4A3E-8123-A67E35AA8D44}" dt="2020-07-28T00:14:42.298" v="15789" actId="13926"/>
          <ac:spMkLst>
            <pc:docMk/>
            <pc:sldMk cId="2532921639" sldId="2134804341"/>
            <ac:spMk id="119" creationId="{A66DDFF6-8990-4632-9B16-3852035C81BA}"/>
          </ac:spMkLst>
        </pc:spChg>
        <pc:spChg chg="add del mod">
          <ac:chgData name="Mariam Daniela Tristancho Pineda (MISION TEMPORAL LTDA)" userId="a45a17f7-7950-4cb5-bfab-f5c894f959a9" providerId="ADAL" clId="{9D150B60-33B5-4A3E-8123-A67E35AA8D44}" dt="2020-07-27T20:39:38.863" v="13079" actId="478"/>
          <ac:spMkLst>
            <pc:docMk/>
            <pc:sldMk cId="2532921639" sldId="2134804341"/>
            <ac:spMk id="124" creationId="{9FF97DDE-A3DC-4806-A059-5B313825172C}"/>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126" creationId="{AD4ED8B4-B12A-4144-927B-9A51E646655A}"/>
          </ac:spMkLst>
        </pc:spChg>
        <pc:spChg chg="add del mod">
          <ac:chgData name="Mariam Daniela Tristancho Pineda (MISION TEMPORAL LTDA)" userId="a45a17f7-7950-4cb5-bfab-f5c894f959a9" providerId="ADAL" clId="{9D150B60-33B5-4A3E-8123-A67E35AA8D44}" dt="2020-07-27T20:39:38.089" v="13078" actId="478"/>
          <ac:spMkLst>
            <pc:docMk/>
            <pc:sldMk cId="2532921639" sldId="2134804341"/>
            <ac:spMk id="128" creationId="{E12D10F7-1612-4EC9-8D79-C891EF898A65}"/>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130" creationId="{4B371648-981F-4F04-B54B-17ED9277E5EC}"/>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132" creationId="{F2FA82D5-94D3-4AB3-A3CE-1F9A90BA1114}"/>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134" creationId="{F84823E7-913E-47FA-86F5-4B4BDFBA1ED3}"/>
          </ac:spMkLst>
        </pc:spChg>
        <pc:spChg chg="mod">
          <ac:chgData name="Mariam Daniela Tristancho Pineda (MISION TEMPORAL LTDA)" userId="a45a17f7-7950-4cb5-bfab-f5c894f959a9" providerId="ADAL" clId="{9D150B60-33B5-4A3E-8123-A67E35AA8D44}" dt="2020-07-28T00:30:05.436" v="16272" actId="20577"/>
          <ac:spMkLst>
            <pc:docMk/>
            <pc:sldMk cId="2532921639" sldId="2134804341"/>
            <ac:spMk id="135" creationId="{C1823568-A421-4254-9106-BAEB76F16B72}"/>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138" creationId="{3C5F2085-6F06-447D-B929-A77300FE8871}"/>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140" creationId="{A0784CC9-2A17-4126-B3F2-462D49C105F3}"/>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142" creationId="{D39CDA84-7131-4DBC-87CE-38CEAA79AB44}"/>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144" creationId="{90BA0115-64E2-4DF6-B718-035B37850FBA}"/>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146" creationId="{B3BB3076-1D21-43F9-8C2F-1244A032F030}"/>
          </ac:spMkLst>
        </pc:spChg>
        <pc:spChg chg="add mod">
          <ac:chgData name="Mariam Daniela Tristancho Pineda (MISION TEMPORAL LTDA)" userId="a45a17f7-7950-4cb5-bfab-f5c894f959a9" providerId="ADAL" clId="{9D150B60-33B5-4A3E-8123-A67E35AA8D44}" dt="2020-07-27T23:18:56.712" v="14635" actId="1037"/>
          <ac:spMkLst>
            <pc:docMk/>
            <pc:sldMk cId="2532921639" sldId="2134804341"/>
            <ac:spMk id="148" creationId="{133CBE66-89BD-47D1-AF66-2E6A36C8D665}"/>
          </ac:spMkLst>
        </pc:spChg>
        <pc:spChg chg="add del mod">
          <ac:chgData name="Mariam Daniela Tristancho Pineda (MISION TEMPORAL LTDA)" userId="a45a17f7-7950-4cb5-bfab-f5c894f959a9" providerId="ADAL" clId="{9D150B60-33B5-4A3E-8123-A67E35AA8D44}" dt="2020-07-27T20:50:56.961" v="13391" actId="478"/>
          <ac:spMkLst>
            <pc:docMk/>
            <pc:sldMk cId="2532921639" sldId="2134804341"/>
            <ac:spMk id="150" creationId="{94CBA4D6-CF57-4E5E-A414-C478F61CB2D0}"/>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152" creationId="{BABCCD2D-BE76-4FC2-ADA5-9D144AA6B4B2}"/>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154" creationId="{023A45C0-4000-48FB-9E82-3BD6579F07E8}"/>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156" creationId="{4B1B618B-F4A7-453D-8DBC-1B58A68C9F85}"/>
          </ac:spMkLst>
        </pc:spChg>
        <pc:spChg chg="add del mod">
          <ac:chgData name="Mariam Daniela Tristancho Pineda (MISION TEMPORAL LTDA)" userId="a45a17f7-7950-4cb5-bfab-f5c894f959a9" providerId="ADAL" clId="{9D150B60-33B5-4A3E-8123-A67E35AA8D44}" dt="2020-07-27T20:51:33.166" v="13415" actId="478"/>
          <ac:spMkLst>
            <pc:docMk/>
            <pc:sldMk cId="2532921639" sldId="2134804341"/>
            <ac:spMk id="158" creationId="{A7AFB825-5B21-4ED5-8D0C-025EDD21FFAD}"/>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160" creationId="{DBE1EC54-D4BD-4052-902D-3C8C6BEB8411}"/>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162" creationId="{F90D48DD-6D46-46CC-B160-D915402FD8FC}"/>
          </ac:spMkLst>
        </pc:spChg>
        <pc:spChg chg="add mod">
          <ac:chgData name="Mariam Daniela Tristancho Pineda (MISION TEMPORAL LTDA)" userId="a45a17f7-7950-4cb5-bfab-f5c894f959a9" providerId="ADAL" clId="{9D150B60-33B5-4A3E-8123-A67E35AA8D44}" dt="2020-07-28T00:14:42.298" v="15789" actId="13926"/>
          <ac:spMkLst>
            <pc:docMk/>
            <pc:sldMk cId="2532921639" sldId="2134804341"/>
            <ac:spMk id="164" creationId="{515E4648-9B8D-462B-BC7B-13914451D0CB}"/>
          </ac:spMkLst>
        </pc:spChg>
        <pc:grpChg chg="mod">
          <ac:chgData name="Mariam Daniela Tristancho Pineda (MISION TEMPORAL LTDA)" userId="a45a17f7-7950-4cb5-bfab-f5c894f959a9" providerId="ADAL" clId="{9D150B60-33B5-4A3E-8123-A67E35AA8D44}" dt="2020-07-27T20:57:30.835" v="13478" actId="1076"/>
          <ac:grpSpMkLst>
            <pc:docMk/>
            <pc:sldMk cId="2532921639" sldId="2134804341"/>
            <ac:grpSpMk id="26" creationId="{5B1CDA9C-37CE-441A-94E7-5A5F38503613}"/>
          </ac:grpSpMkLst>
        </pc:grpChg>
        <pc:grpChg chg="mod">
          <ac:chgData name="Mariam Daniela Tristancho Pineda (MISION TEMPORAL LTDA)" userId="a45a17f7-7950-4cb5-bfab-f5c894f959a9" providerId="ADAL" clId="{9D150B60-33B5-4A3E-8123-A67E35AA8D44}" dt="2020-07-27T20:57:30.835" v="13478" actId="1076"/>
          <ac:grpSpMkLst>
            <pc:docMk/>
            <pc:sldMk cId="2532921639" sldId="2134804341"/>
            <ac:grpSpMk id="31" creationId="{A0B07E6C-42EA-42D4-BF18-74CF8467911A}"/>
          </ac:grpSpMkLst>
        </pc:grpChg>
        <pc:grpChg chg="mod">
          <ac:chgData name="Mariam Daniela Tristancho Pineda (MISION TEMPORAL LTDA)" userId="a45a17f7-7950-4cb5-bfab-f5c894f959a9" providerId="ADAL" clId="{9D150B60-33B5-4A3E-8123-A67E35AA8D44}" dt="2020-07-27T20:57:30.835" v="13478" actId="1076"/>
          <ac:grpSpMkLst>
            <pc:docMk/>
            <pc:sldMk cId="2532921639" sldId="2134804341"/>
            <ac:grpSpMk id="37" creationId="{33A4F641-6F0E-462A-898E-0641B151AA65}"/>
          </ac:grpSpMkLst>
        </pc:grpChg>
        <pc:grpChg chg="add mod">
          <ac:chgData name="Mariam Daniela Tristancho Pineda (MISION TEMPORAL LTDA)" userId="a45a17f7-7950-4cb5-bfab-f5c894f959a9" providerId="ADAL" clId="{9D150B60-33B5-4A3E-8123-A67E35AA8D44}" dt="2020-07-27T20:57:30.835" v="13478" actId="1076"/>
          <ac:grpSpMkLst>
            <pc:docMk/>
            <pc:sldMk cId="2532921639" sldId="2134804341"/>
            <ac:grpSpMk id="46" creationId="{4DCAF9D3-E260-43CE-8958-9F0BA7AFCD3A}"/>
          </ac:grpSpMkLst>
        </pc:grpChg>
        <pc:grpChg chg="add mod">
          <ac:chgData name="Mariam Daniela Tristancho Pineda (MISION TEMPORAL LTDA)" userId="a45a17f7-7950-4cb5-bfab-f5c894f959a9" providerId="ADAL" clId="{9D150B60-33B5-4A3E-8123-A67E35AA8D44}" dt="2020-07-27T20:57:30.835" v="13478" actId="1076"/>
          <ac:grpSpMkLst>
            <pc:docMk/>
            <pc:sldMk cId="2532921639" sldId="2134804341"/>
            <ac:grpSpMk id="53" creationId="{3873BDF9-02E9-44FD-9510-89955A3B3E89}"/>
          </ac:grpSpMkLst>
        </pc:grpChg>
        <pc:grpChg chg="add mod">
          <ac:chgData name="Mariam Daniela Tristancho Pineda (MISION TEMPORAL LTDA)" userId="a45a17f7-7950-4cb5-bfab-f5c894f959a9" providerId="ADAL" clId="{9D150B60-33B5-4A3E-8123-A67E35AA8D44}" dt="2020-07-27T20:57:30.835" v="13478" actId="1076"/>
          <ac:grpSpMkLst>
            <pc:docMk/>
            <pc:sldMk cId="2532921639" sldId="2134804341"/>
            <ac:grpSpMk id="165" creationId="{3E88F80D-5F8F-4B0A-A23A-B734C2EE0391}"/>
          </ac:grpSpMkLst>
        </pc:grpChg>
      </pc:sldChg>
      <pc:sldChg chg="addSp delSp modSp add mod ord">
        <pc:chgData name="Mariam Daniela Tristancho Pineda (MISION TEMPORAL LTDA)" userId="a45a17f7-7950-4cb5-bfab-f5c894f959a9" providerId="ADAL" clId="{9D150B60-33B5-4A3E-8123-A67E35AA8D44}" dt="2020-07-28T20:49:57.749" v="20086" actId="14100"/>
        <pc:sldMkLst>
          <pc:docMk/>
          <pc:sldMk cId="2183210988" sldId="2134804342"/>
        </pc:sldMkLst>
        <pc:spChg chg="mod">
          <ac:chgData name="Mariam Daniela Tristancho Pineda (MISION TEMPORAL LTDA)" userId="a45a17f7-7950-4cb5-bfab-f5c894f959a9" providerId="ADAL" clId="{9D150B60-33B5-4A3E-8123-A67E35AA8D44}" dt="2020-07-28T00:14:38.660" v="15788" actId="13926"/>
          <ac:spMkLst>
            <pc:docMk/>
            <pc:sldMk cId="2183210988" sldId="2134804342"/>
            <ac:spMk id="2" creationId="{3A93B487-116E-4767-AA0D-CAE2A460FBE4}"/>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3" creationId="{DDD289A7-0369-45FE-98EE-B73187DDD6B0}"/>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6" creationId="{26EF451C-53F1-4D38-8304-40A934E147B1}"/>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7" creationId="{6EA46AB2-D46D-465D-9B99-C8FCD330B565}"/>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8" creationId="{0C366AD2-426E-4B9E-9347-2E20FFA2E6E0}"/>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9" creationId="{0D2D0AC5-B7D8-497B-ABD3-7AE73B6363FD}"/>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10" creationId="{8CBE0999-A3DB-4ABC-B7A0-9F684B332B8D}"/>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11" creationId="{772CA61D-742C-45F0-BAFA-0F3B90176E98}"/>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12" creationId="{7F3CEC4C-7588-4B74-823D-9CF22E2DAD79}"/>
          </ac:spMkLst>
        </pc:spChg>
        <pc:spChg chg="del">
          <ac:chgData name="Mariam Daniela Tristancho Pineda (MISION TEMPORAL LTDA)" userId="a45a17f7-7950-4cb5-bfab-f5c894f959a9" providerId="ADAL" clId="{9D150B60-33B5-4A3E-8123-A67E35AA8D44}" dt="2020-07-27T20:59:20.826" v="13499" actId="478"/>
          <ac:spMkLst>
            <pc:docMk/>
            <pc:sldMk cId="2183210988" sldId="2134804342"/>
            <ac:spMk id="13" creationId="{78F97E90-AFC7-4D4D-A94D-7BA5464F668B}"/>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14" creationId="{76F42040-B3A4-4E28-A977-80873F0B5FCD}"/>
          </ac:spMkLst>
        </pc:spChg>
        <pc:spChg chg="mod">
          <ac:chgData name="Mariam Daniela Tristancho Pineda (MISION TEMPORAL LTDA)" userId="a45a17f7-7950-4cb5-bfab-f5c894f959a9" providerId="ADAL" clId="{9D150B60-33B5-4A3E-8123-A67E35AA8D44}" dt="2020-07-28T00:14:38.660" v="15788" actId="13926"/>
          <ac:spMkLst>
            <pc:docMk/>
            <pc:sldMk cId="2183210988" sldId="2134804342"/>
            <ac:spMk id="15" creationId="{F5F6020F-918E-4261-B79A-8D7C5966BB0C}"/>
          </ac:spMkLst>
        </pc:spChg>
        <pc:spChg chg="mod">
          <ac:chgData name="Mariam Daniela Tristancho Pineda (MISION TEMPORAL LTDA)" userId="a45a17f7-7950-4cb5-bfab-f5c894f959a9" providerId="ADAL" clId="{9D150B60-33B5-4A3E-8123-A67E35AA8D44}" dt="2020-07-28T00:14:38.660" v="15788" actId="13926"/>
          <ac:spMkLst>
            <pc:docMk/>
            <pc:sldMk cId="2183210988" sldId="2134804342"/>
            <ac:spMk id="16" creationId="{ECDAB3D1-5BE4-45F7-BE33-9D8F60352953}"/>
          </ac:spMkLst>
        </pc:spChg>
        <pc:spChg chg="mod">
          <ac:chgData name="Mariam Daniela Tristancho Pineda (MISION TEMPORAL LTDA)" userId="a45a17f7-7950-4cb5-bfab-f5c894f959a9" providerId="ADAL" clId="{9D150B60-33B5-4A3E-8123-A67E35AA8D44}" dt="2020-07-28T00:14:38.660" v="15788" actId="13926"/>
          <ac:spMkLst>
            <pc:docMk/>
            <pc:sldMk cId="2183210988" sldId="2134804342"/>
            <ac:spMk id="17" creationId="{27EF5D95-3B07-44E6-B011-1AC68AA3644F}"/>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18" creationId="{76E6C307-14D6-4CAF-BA46-BDFBBCCF6F26}"/>
          </ac:spMkLst>
        </pc:spChg>
        <pc:spChg chg="mod">
          <ac:chgData name="Mariam Daniela Tristancho Pineda (MISION TEMPORAL LTDA)" userId="a45a17f7-7950-4cb5-bfab-f5c894f959a9" providerId="ADAL" clId="{9D150B60-33B5-4A3E-8123-A67E35AA8D44}" dt="2020-07-28T00:14:38.660" v="15788" actId="13926"/>
          <ac:spMkLst>
            <pc:docMk/>
            <pc:sldMk cId="2183210988" sldId="2134804342"/>
            <ac:spMk id="19" creationId="{F04331EA-3C34-4632-A33B-964C955FEA5B}"/>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20" creationId="{61B4F436-B882-46F2-9213-21298E84A788}"/>
          </ac:spMkLst>
        </pc:spChg>
        <pc:spChg chg="mod">
          <ac:chgData name="Mariam Daniela Tristancho Pineda (MISION TEMPORAL LTDA)" userId="a45a17f7-7950-4cb5-bfab-f5c894f959a9" providerId="ADAL" clId="{9D150B60-33B5-4A3E-8123-A67E35AA8D44}" dt="2020-07-28T00:14:38.660" v="15788" actId="13926"/>
          <ac:spMkLst>
            <pc:docMk/>
            <pc:sldMk cId="2183210988" sldId="2134804342"/>
            <ac:spMk id="21" creationId="{D56367BF-110C-466E-A427-18C278C78276}"/>
          </ac:spMkLst>
        </pc:spChg>
        <pc:spChg chg="mod">
          <ac:chgData name="Mariam Daniela Tristancho Pineda (MISION TEMPORAL LTDA)" userId="a45a17f7-7950-4cb5-bfab-f5c894f959a9" providerId="ADAL" clId="{9D150B60-33B5-4A3E-8123-A67E35AA8D44}" dt="2020-07-28T00:14:38.660" v="15788" actId="13926"/>
          <ac:spMkLst>
            <pc:docMk/>
            <pc:sldMk cId="2183210988" sldId="2134804342"/>
            <ac:spMk id="23" creationId="{53BFD633-DD81-4820-8BB0-84F3F711C502}"/>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24" creationId="{8AE85010-BBC8-4351-9047-F1273B2C9107}"/>
          </ac:spMkLst>
        </pc:spChg>
        <pc:spChg chg="del">
          <ac:chgData name="Mariam Daniela Tristancho Pineda (MISION TEMPORAL LTDA)" userId="a45a17f7-7950-4cb5-bfab-f5c894f959a9" providerId="ADAL" clId="{9D150B60-33B5-4A3E-8123-A67E35AA8D44}" dt="2020-07-27T20:59:20.826" v="13499" actId="478"/>
          <ac:spMkLst>
            <pc:docMk/>
            <pc:sldMk cId="2183210988" sldId="2134804342"/>
            <ac:spMk id="25" creationId="{CA51816E-29C0-4D54-B006-5CE224FEF0AC}"/>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29" creationId="{46F67329-EAA2-4B09-AD5B-91FE70391A81}"/>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30" creationId="{5F7E5016-DD23-4661-804E-B6C4BAE33B30}"/>
          </ac:spMkLst>
        </pc:spChg>
        <pc:spChg chg="add del mod">
          <ac:chgData name="Mariam Daniela Tristancho Pineda (MISION TEMPORAL LTDA)" userId="a45a17f7-7950-4cb5-bfab-f5c894f959a9" providerId="ADAL" clId="{9D150B60-33B5-4A3E-8123-A67E35AA8D44}" dt="2020-07-27T21:03:21.507" v="13627" actId="478"/>
          <ac:spMkLst>
            <pc:docMk/>
            <pc:sldMk cId="2183210988" sldId="2134804342"/>
            <ac:spMk id="34" creationId="{EF168348-7E95-4214-9C03-6FCB92524029}"/>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35" creationId="{DFED8390-B0BE-47C4-A314-7B9F72D0F9E6}"/>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36" creationId="{EDA60A94-0872-407F-85FC-F3F9C3EF25A4}"/>
          </ac:spMkLst>
        </pc:spChg>
        <pc:spChg chg="add mod">
          <ac:chgData name="Mariam Daniela Tristancho Pineda (MISION TEMPORAL LTDA)" userId="a45a17f7-7950-4cb5-bfab-f5c894f959a9" providerId="ADAL" clId="{9D150B60-33B5-4A3E-8123-A67E35AA8D44}" dt="2020-07-27T21:04:24.172" v="13667" actId="164"/>
          <ac:spMkLst>
            <pc:docMk/>
            <pc:sldMk cId="2183210988" sldId="2134804342"/>
            <ac:spMk id="40" creationId="{8B83E5A3-CD14-471E-A2A2-69C27A08DE8C}"/>
          </ac:spMkLst>
        </pc:spChg>
        <pc:spChg chg="add mod">
          <ac:chgData name="Mariam Daniela Tristancho Pineda (MISION TEMPORAL LTDA)" userId="a45a17f7-7950-4cb5-bfab-f5c894f959a9" providerId="ADAL" clId="{9D150B60-33B5-4A3E-8123-A67E35AA8D44}" dt="2020-07-27T21:04:24.172" v="13667" actId="164"/>
          <ac:spMkLst>
            <pc:docMk/>
            <pc:sldMk cId="2183210988" sldId="2134804342"/>
            <ac:spMk id="41" creationId="{064F22B7-719F-4DB7-AE4F-0C24E6C6F360}"/>
          </ac:spMkLst>
        </pc:spChg>
        <pc:spChg chg="add mod">
          <ac:chgData name="Mariam Daniela Tristancho Pineda (MISION TEMPORAL LTDA)" userId="a45a17f7-7950-4cb5-bfab-f5c894f959a9" providerId="ADAL" clId="{9D150B60-33B5-4A3E-8123-A67E35AA8D44}" dt="2020-07-27T21:05:46.279" v="13746" actId="164"/>
          <ac:spMkLst>
            <pc:docMk/>
            <pc:sldMk cId="2183210988" sldId="2134804342"/>
            <ac:spMk id="43" creationId="{CF8D54CC-0788-462E-8D02-8E7F902A9C3B}"/>
          </ac:spMkLst>
        </pc:spChg>
        <pc:spChg chg="add mod">
          <ac:chgData name="Mariam Daniela Tristancho Pineda (MISION TEMPORAL LTDA)" userId="a45a17f7-7950-4cb5-bfab-f5c894f959a9" providerId="ADAL" clId="{9D150B60-33B5-4A3E-8123-A67E35AA8D44}" dt="2020-07-27T21:05:46.279" v="13746" actId="164"/>
          <ac:spMkLst>
            <pc:docMk/>
            <pc:sldMk cId="2183210988" sldId="2134804342"/>
            <ac:spMk id="44" creationId="{46E9D7FD-BF26-46B8-B7E3-9CB37E4D07A8}"/>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49" creationId="{5A708229-9B28-490D-903F-5AB937B8DCCB}"/>
          </ac:spMkLst>
        </pc:spChg>
        <pc:spChg chg="add del mod">
          <ac:chgData name="Mariam Daniela Tristancho Pineda (MISION TEMPORAL LTDA)" userId="a45a17f7-7950-4cb5-bfab-f5c894f959a9" providerId="ADAL" clId="{9D150B60-33B5-4A3E-8123-A67E35AA8D44}" dt="2020-07-27T21:08:11.684" v="13802" actId="478"/>
          <ac:spMkLst>
            <pc:docMk/>
            <pc:sldMk cId="2183210988" sldId="2134804342"/>
            <ac:spMk id="50" creationId="{8D84AFFC-F3A3-499D-B0B9-B273E5D63095}"/>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51" creationId="{350F2DB1-0F66-4C61-809B-C437241509A5}"/>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52" creationId="{4407EECE-98B4-40AB-96BB-77D7A61DA8B5}"/>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54" creationId="{1DF61A54-2AFD-421C-81E7-70B64E75F3D8}"/>
          </ac:spMkLst>
        </pc:spChg>
        <pc:spChg chg="mod">
          <ac:chgData name="Mariam Daniela Tristancho Pineda (MISION TEMPORAL LTDA)" userId="a45a17f7-7950-4cb5-bfab-f5c894f959a9" providerId="ADAL" clId="{9D150B60-33B5-4A3E-8123-A67E35AA8D44}" dt="2020-07-28T00:14:38.660" v="15788" actId="13926"/>
          <ac:spMkLst>
            <pc:docMk/>
            <pc:sldMk cId="2183210988" sldId="2134804342"/>
            <ac:spMk id="55" creationId="{890E6358-E7F1-4BAE-B3A3-26D27855B414}"/>
          </ac:spMkLst>
        </pc:spChg>
        <pc:spChg chg="mod">
          <ac:chgData name="Mariam Daniela Tristancho Pineda (MISION TEMPORAL LTDA)" userId="a45a17f7-7950-4cb5-bfab-f5c894f959a9" providerId="ADAL" clId="{9D150B60-33B5-4A3E-8123-A67E35AA8D44}" dt="2020-07-28T00:14:38.660" v="15788" actId="13926"/>
          <ac:spMkLst>
            <pc:docMk/>
            <pc:sldMk cId="2183210988" sldId="2134804342"/>
            <ac:spMk id="56" creationId="{30228C31-EF71-4412-B19C-CEFAE9DC60E1}"/>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57" creationId="{E424978D-3298-4D61-9C24-342DF5218E94}"/>
          </ac:spMkLst>
        </pc:spChg>
        <pc:spChg chg="add del mod">
          <ac:chgData name="Mariam Daniela Tristancho Pineda (MISION TEMPORAL LTDA)" userId="a45a17f7-7950-4cb5-bfab-f5c894f959a9" providerId="ADAL" clId="{9D150B60-33B5-4A3E-8123-A67E35AA8D44}" dt="2020-07-27T23:14:58.655" v="14555" actId="478"/>
          <ac:spMkLst>
            <pc:docMk/>
            <pc:sldMk cId="2183210988" sldId="2134804342"/>
            <ac:spMk id="58" creationId="{51D97962-D1FD-45CE-94F7-68488BED6062}"/>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59" creationId="{CA0293E5-6CDE-4F7F-B7BB-01753F923E25}"/>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60" creationId="{AAE09F5F-0A44-413D-B46E-3708871A0C92}"/>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61" creationId="{FDAFCC60-7C16-48C3-839A-2546E8A9832C}"/>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62" creationId="{D4C31640-C516-427C-9994-CF2652513527}"/>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63" creationId="{183A3FB7-4D5F-4E25-954E-1CB39C43D36A}"/>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64" creationId="{3B1A5D6F-8203-4E15-B30A-BAAAAB00FBDB}"/>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65" creationId="{D3761158-1427-4892-A593-EFA9206EAC44}"/>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66" creationId="{66C4A00A-4D64-4945-9A1E-1FBEC3B1F06D}"/>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67" creationId="{3E63B4EF-B0E9-4C7F-817D-51259CFEBAB3}"/>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68" creationId="{EC4A468B-7CE8-45B5-96D6-08A54CE27F1D}"/>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69" creationId="{19A1630B-DA92-4FE5-8C69-AFF7139B1FFA}"/>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70" creationId="{4C2BB393-8F3A-4793-B4F9-99B289273F73}"/>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71" creationId="{1781D2B9-25A1-4883-B3CF-CA0BB0C946D1}"/>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72" creationId="{12DFD4E0-B30F-4AA4-92EC-1B5D501F7F20}"/>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73" creationId="{B6699A73-EDB1-419B-ADD3-D71E0B177E0A}"/>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74" creationId="{02238FA8-CD97-4ED0-9834-B628DBE001FC}"/>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75" creationId="{2661451E-D5D5-4E61-ACCE-D44BDCEFB3E1}"/>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76" creationId="{40DFE32F-CAB8-49D6-A7AD-D6BF8E59BE91}"/>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77" creationId="{19024DAF-FA7E-4978-AEF2-0968B2C95CEF}"/>
          </ac:spMkLst>
        </pc:spChg>
        <pc:spChg chg="add del mod">
          <ac:chgData name="Mariam Daniela Tristancho Pineda (MISION TEMPORAL LTDA)" userId="a45a17f7-7950-4cb5-bfab-f5c894f959a9" providerId="ADAL" clId="{9D150B60-33B5-4A3E-8123-A67E35AA8D44}" dt="2020-07-27T20:59:59.965" v="13515" actId="478"/>
          <ac:spMkLst>
            <pc:docMk/>
            <pc:sldMk cId="2183210988" sldId="2134804342"/>
            <ac:spMk id="78" creationId="{3FE00C0D-6CDF-4D38-B47C-3FF5FFF1F142}"/>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79" creationId="{760F56BD-3709-40D0-B01B-5BB74DB2FB5A}"/>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80" creationId="{69A65156-BB61-4872-83C3-69BE7DB70071}"/>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81" creationId="{9C01BBC6-8784-4E73-A8BF-AE202025C6D8}"/>
          </ac:spMkLst>
        </pc:spChg>
        <pc:spChg chg="add del mod">
          <ac:chgData name="Mariam Daniela Tristancho Pineda (MISION TEMPORAL LTDA)" userId="a45a17f7-7950-4cb5-bfab-f5c894f959a9" providerId="ADAL" clId="{9D150B60-33B5-4A3E-8123-A67E35AA8D44}" dt="2020-07-27T20:59:59.965" v="13515" actId="478"/>
          <ac:spMkLst>
            <pc:docMk/>
            <pc:sldMk cId="2183210988" sldId="2134804342"/>
            <ac:spMk id="82" creationId="{C5375D55-EE07-45CA-A50E-922019878A13}"/>
          </ac:spMkLst>
        </pc:spChg>
        <pc:spChg chg="add del mod">
          <ac:chgData name="Mariam Daniela Tristancho Pineda (MISION TEMPORAL LTDA)" userId="a45a17f7-7950-4cb5-bfab-f5c894f959a9" providerId="ADAL" clId="{9D150B60-33B5-4A3E-8123-A67E35AA8D44}" dt="2020-07-27T20:59:59.965" v="13515" actId="478"/>
          <ac:spMkLst>
            <pc:docMk/>
            <pc:sldMk cId="2183210988" sldId="2134804342"/>
            <ac:spMk id="83" creationId="{28DFA064-9E64-4423-B3C5-2A14F07D8D56}"/>
          </ac:spMkLst>
        </pc:spChg>
        <pc:spChg chg="del mod">
          <ac:chgData name="Mariam Daniela Tristancho Pineda (MISION TEMPORAL LTDA)" userId="a45a17f7-7950-4cb5-bfab-f5c894f959a9" providerId="ADAL" clId="{9D150B60-33B5-4A3E-8123-A67E35AA8D44}" dt="2020-07-27T23:29:16.056" v="14943" actId="478"/>
          <ac:spMkLst>
            <pc:docMk/>
            <pc:sldMk cId="2183210988" sldId="2134804342"/>
            <ac:spMk id="84" creationId="{293DBAF3-3942-4C58-8A63-D4484E215E20}"/>
          </ac:spMkLst>
        </pc:spChg>
        <pc:spChg chg="add del mod">
          <ac:chgData name="Mariam Daniela Tristancho Pineda (MISION TEMPORAL LTDA)" userId="a45a17f7-7950-4cb5-bfab-f5c894f959a9" providerId="ADAL" clId="{9D150B60-33B5-4A3E-8123-A67E35AA8D44}" dt="2020-07-27T20:59:59.965" v="13515" actId="478"/>
          <ac:spMkLst>
            <pc:docMk/>
            <pc:sldMk cId="2183210988" sldId="2134804342"/>
            <ac:spMk id="85" creationId="{D55F3B9B-90DA-4430-B2D2-60FEE58B1A4C}"/>
          </ac:spMkLst>
        </pc:spChg>
        <pc:spChg chg="del mod">
          <ac:chgData name="Mariam Daniela Tristancho Pineda (MISION TEMPORAL LTDA)" userId="a45a17f7-7950-4cb5-bfab-f5c894f959a9" providerId="ADAL" clId="{9D150B60-33B5-4A3E-8123-A67E35AA8D44}" dt="2020-07-27T23:29:13.940" v="14942" actId="478"/>
          <ac:spMkLst>
            <pc:docMk/>
            <pc:sldMk cId="2183210988" sldId="2134804342"/>
            <ac:spMk id="86" creationId="{7696A978-4362-4DE3-8C58-0F58608C4AA6}"/>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87" creationId="{F991C183-F691-42BB-986A-1D4B3D0103EB}"/>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88" creationId="{5287C6BB-7462-47AA-82FC-0995E12885D0}"/>
          </ac:spMkLst>
        </pc:spChg>
        <pc:spChg chg="add del mod">
          <ac:chgData name="Mariam Daniela Tristancho Pineda (MISION TEMPORAL LTDA)" userId="a45a17f7-7950-4cb5-bfab-f5c894f959a9" providerId="ADAL" clId="{9D150B60-33B5-4A3E-8123-A67E35AA8D44}" dt="2020-07-27T20:59:59.965" v="13515" actId="478"/>
          <ac:spMkLst>
            <pc:docMk/>
            <pc:sldMk cId="2183210988" sldId="2134804342"/>
            <ac:spMk id="89" creationId="{863FBAA7-046B-47C0-BF15-F3AF9C5E47C0}"/>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90" creationId="{9CA5C34E-F534-4DBB-8CB2-C4A73E40BE1D}"/>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91" creationId="{18F9C7D0-B217-4434-8D0C-695D97120E3B}"/>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92" creationId="{3C2594EF-C944-4301-B969-227960A0B177}"/>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94" creationId="{A3043AD2-8100-4019-8A49-7AA41719F6D3}"/>
          </ac:spMkLst>
        </pc:spChg>
        <pc:spChg chg="mod">
          <ac:chgData name="Mariam Daniela Tristancho Pineda (MISION TEMPORAL LTDA)" userId="a45a17f7-7950-4cb5-bfab-f5c894f959a9" providerId="ADAL" clId="{9D150B60-33B5-4A3E-8123-A67E35AA8D44}" dt="2020-07-27T20:59:34.014" v="13500"/>
          <ac:spMkLst>
            <pc:docMk/>
            <pc:sldMk cId="2183210988" sldId="2134804342"/>
            <ac:spMk id="95" creationId="{4980B306-C530-4DD5-ACDA-B44321B05D0C}"/>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96" creationId="{E8463BFA-5949-4D95-9B51-6F1E89D0DF70}"/>
          </ac:spMkLst>
        </pc:spChg>
        <pc:spChg chg="mod">
          <ac:chgData name="Mariam Daniela Tristancho Pineda (MISION TEMPORAL LTDA)" userId="a45a17f7-7950-4cb5-bfab-f5c894f959a9" providerId="ADAL" clId="{9D150B60-33B5-4A3E-8123-A67E35AA8D44}" dt="2020-07-27T20:59:34.014" v="13500"/>
          <ac:spMkLst>
            <pc:docMk/>
            <pc:sldMk cId="2183210988" sldId="2134804342"/>
            <ac:spMk id="97" creationId="{0E88A52B-735B-4D02-8ED9-C732F92E6AD6}"/>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98" creationId="{D7FEAE21-9F37-4A63-909A-1A7AC2BC0417}"/>
          </ac:spMkLst>
        </pc:spChg>
        <pc:spChg chg="add del mod">
          <ac:chgData name="Mariam Daniela Tristancho Pineda (MISION TEMPORAL LTDA)" userId="a45a17f7-7950-4cb5-bfab-f5c894f959a9" providerId="ADAL" clId="{9D150B60-33B5-4A3E-8123-A67E35AA8D44}" dt="2020-07-27T20:59:59.965" v="13515" actId="478"/>
          <ac:spMkLst>
            <pc:docMk/>
            <pc:sldMk cId="2183210988" sldId="2134804342"/>
            <ac:spMk id="99" creationId="{5A048E18-AAF9-4A29-87AE-AC781BA8E43D}"/>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100" creationId="{E8484252-6E98-4F7D-9394-AD684F126CB1}"/>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101" creationId="{79B59DCD-FE2A-4CB0-A0BF-16552D365CC8}"/>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102" creationId="{7812F223-75D3-476A-89FF-B22C9D312EA6}"/>
          </ac:spMkLst>
        </pc:spChg>
        <pc:spChg chg="add del mod">
          <ac:chgData name="Mariam Daniela Tristancho Pineda (MISION TEMPORAL LTDA)" userId="a45a17f7-7950-4cb5-bfab-f5c894f959a9" providerId="ADAL" clId="{9D150B60-33B5-4A3E-8123-A67E35AA8D44}" dt="2020-07-27T20:59:56.524" v="13514" actId="478"/>
          <ac:spMkLst>
            <pc:docMk/>
            <pc:sldMk cId="2183210988" sldId="2134804342"/>
            <ac:spMk id="103" creationId="{7CBC9122-A10B-4758-8489-B0DA71896004}"/>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104" creationId="{1B6EB9B8-45E2-4F88-8131-9C401AEBBBCF}"/>
          </ac:spMkLst>
        </pc:spChg>
        <pc:spChg chg="add del mod">
          <ac:chgData name="Mariam Daniela Tristancho Pineda (MISION TEMPORAL LTDA)" userId="a45a17f7-7950-4cb5-bfab-f5c894f959a9" providerId="ADAL" clId="{9D150B60-33B5-4A3E-8123-A67E35AA8D44}" dt="2020-07-27T21:07:16.321" v="13772" actId="478"/>
          <ac:spMkLst>
            <pc:docMk/>
            <pc:sldMk cId="2183210988" sldId="2134804342"/>
            <ac:spMk id="105" creationId="{36DD2712-9AB1-4585-819F-21AB88261706}"/>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106" creationId="{FCC08065-7019-4222-B77B-FB007CEA4423}"/>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107" creationId="{DCDB75E1-F08D-48E6-BD8F-C8C43CF0E9E4}"/>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108" creationId="{6F2232EE-FB4E-4DD9-AD82-A570467F39DB}"/>
          </ac:spMkLst>
        </pc:spChg>
        <pc:spChg chg="add del mod">
          <ac:chgData name="Mariam Daniela Tristancho Pineda (MISION TEMPORAL LTDA)" userId="a45a17f7-7950-4cb5-bfab-f5c894f959a9" providerId="ADAL" clId="{9D150B60-33B5-4A3E-8123-A67E35AA8D44}" dt="2020-07-27T20:59:54.019" v="13513" actId="478"/>
          <ac:spMkLst>
            <pc:docMk/>
            <pc:sldMk cId="2183210988" sldId="2134804342"/>
            <ac:spMk id="109" creationId="{E666389C-BEB7-4D9D-92C3-07E5434CA002}"/>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110" creationId="{7D09FF47-4E46-4C38-80B0-B607480382EC}"/>
          </ac:spMkLst>
        </pc:spChg>
        <pc:spChg chg="add del mod">
          <ac:chgData name="Mariam Daniela Tristancho Pineda (MISION TEMPORAL LTDA)" userId="a45a17f7-7950-4cb5-bfab-f5c894f959a9" providerId="ADAL" clId="{9D150B60-33B5-4A3E-8123-A67E35AA8D44}" dt="2020-07-27T20:59:56.524" v="13514" actId="478"/>
          <ac:spMkLst>
            <pc:docMk/>
            <pc:sldMk cId="2183210988" sldId="2134804342"/>
            <ac:spMk id="111" creationId="{95AE868C-7F6F-413B-9C94-0F9F281B940C}"/>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112" creationId="{D3449E55-D9E7-48E9-9077-F060D307C218}"/>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113" creationId="{F23ED729-3677-42FF-A4D9-F74AADEEAC49}"/>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114" creationId="{DAB2F9B5-A408-483C-BB0C-541C04A64603}"/>
          </ac:spMkLst>
        </pc:spChg>
        <pc:spChg chg="add del mod">
          <ac:chgData name="Mariam Daniela Tristancho Pineda (MISION TEMPORAL LTDA)" userId="a45a17f7-7950-4cb5-bfab-f5c894f959a9" providerId="ADAL" clId="{9D150B60-33B5-4A3E-8123-A67E35AA8D44}" dt="2020-07-27T20:59:56.524" v="13514" actId="478"/>
          <ac:spMkLst>
            <pc:docMk/>
            <pc:sldMk cId="2183210988" sldId="2134804342"/>
            <ac:spMk id="115" creationId="{225A2694-2CC1-4365-B4B7-4531CA8EE802}"/>
          </ac:spMkLst>
        </pc:spChg>
        <pc:spChg chg="add del mod">
          <ac:chgData name="Mariam Daniela Tristancho Pineda (MISION TEMPORAL LTDA)" userId="a45a17f7-7950-4cb5-bfab-f5c894f959a9" providerId="ADAL" clId="{9D150B60-33B5-4A3E-8123-A67E35AA8D44}" dt="2020-07-27T20:59:56.524" v="13514" actId="478"/>
          <ac:spMkLst>
            <pc:docMk/>
            <pc:sldMk cId="2183210988" sldId="2134804342"/>
            <ac:spMk id="116" creationId="{D4E36380-E18E-4359-85CD-187F286B4F4D}"/>
          </ac:spMkLst>
        </pc:spChg>
        <pc:spChg chg="del mod">
          <ac:chgData name="Mariam Daniela Tristancho Pineda (MISION TEMPORAL LTDA)" userId="a45a17f7-7950-4cb5-bfab-f5c894f959a9" providerId="ADAL" clId="{9D150B60-33B5-4A3E-8123-A67E35AA8D44}" dt="2020-07-27T23:29:13.940" v="14942" actId="478"/>
          <ac:spMkLst>
            <pc:docMk/>
            <pc:sldMk cId="2183210988" sldId="2134804342"/>
            <ac:spMk id="117" creationId="{8960734A-1053-42D2-BD72-6674DCCE6A97}"/>
          </ac:spMkLst>
        </pc:spChg>
        <pc:spChg chg="del mod">
          <ac:chgData name="Mariam Daniela Tristancho Pineda (MISION TEMPORAL LTDA)" userId="a45a17f7-7950-4cb5-bfab-f5c894f959a9" providerId="ADAL" clId="{9D150B60-33B5-4A3E-8123-A67E35AA8D44}" dt="2020-07-27T23:29:13.940" v="14942" actId="478"/>
          <ac:spMkLst>
            <pc:docMk/>
            <pc:sldMk cId="2183210988" sldId="2134804342"/>
            <ac:spMk id="118" creationId="{C77431EE-A761-4323-B75F-692D4CAEC462}"/>
          </ac:spMkLst>
        </pc:spChg>
        <pc:spChg chg="del mod">
          <ac:chgData name="Mariam Daniela Tristancho Pineda (MISION TEMPORAL LTDA)" userId="a45a17f7-7950-4cb5-bfab-f5c894f959a9" providerId="ADAL" clId="{9D150B60-33B5-4A3E-8123-A67E35AA8D44}" dt="2020-07-27T23:29:13.940" v="14942" actId="478"/>
          <ac:spMkLst>
            <pc:docMk/>
            <pc:sldMk cId="2183210988" sldId="2134804342"/>
            <ac:spMk id="119" creationId="{A66DDFF6-8990-4632-9B16-3852035C81BA}"/>
          </ac:spMkLst>
        </pc:spChg>
        <pc:spChg chg="add del mod">
          <ac:chgData name="Mariam Daniela Tristancho Pineda (MISION TEMPORAL LTDA)" userId="a45a17f7-7950-4cb5-bfab-f5c894f959a9" providerId="ADAL" clId="{9D150B60-33B5-4A3E-8123-A67E35AA8D44}" dt="2020-07-27T20:59:56.524" v="13514" actId="478"/>
          <ac:spMkLst>
            <pc:docMk/>
            <pc:sldMk cId="2183210988" sldId="2134804342"/>
            <ac:spMk id="120" creationId="{3F0FDB3F-65AD-417B-9336-DEE78B87132E}"/>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121" creationId="{DCD85B41-E0F2-49DE-BE7E-2285DCE4306F}"/>
          </ac:spMkLst>
        </pc:spChg>
        <pc:spChg chg="add del mod">
          <ac:chgData name="Mariam Daniela Tristancho Pineda (MISION TEMPORAL LTDA)" userId="a45a17f7-7950-4cb5-bfab-f5c894f959a9" providerId="ADAL" clId="{9D150B60-33B5-4A3E-8123-A67E35AA8D44}" dt="2020-07-27T20:59:56.524" v="13514" actId="478"/>
          <ac:spMkLst>
            <pc:docMk/>
            <pc:sldMk cId="2183210988" sldId="2134804342"/>
            <ac:spMk id="122" creationId="{302E465D-D031-4686-9F11-C382819F3BA8}"/>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123" creationId="{96309232-3CEA-4DD6-AFA6-EB7949BDC5D2}"/>
          </ac:spMkLst>
        </pc:spChg>
        <pc:spChg chg="mod">
          <ac:chgData name="Mariam Daniela Tristancho Pineda (MISION TEMPORAL LTDA)" userId="a45a17f7-7950-4cb5-bfab-f5c894f959a9" providerId="ADAL" clId="{9D150B60-33B5-4A3E-8123-A67E35AA8D44}" dt="2020-07-27T20:59:34.014" v="13500"/>
          <ac:spMkLst>
            <pc:docMk/>
            <pc:sldMk cId="2183210988" sldId="2134804342"/>
            <ac:spMk id="125" creationId="{AF1FDEEB-274A-41D8-B395-ACCDAFF8CB1A}"/>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126" creationId="{AD4ED8B4-B12A-4144-927B-9A51E646655A}"/>
          </ac:spMkLst>
        </pc:spChg>
        <pc:spChg chg="mod">
          <ac:chgData name="Mariam Daniela Tristancho Pineda (MISION TEMPORAL LTDA)" userId="a45a17f7-7950-4cb5-bfab-f5c894f959a9" providerId="ADAL" clId="{9D150B60-33B5-4A3E-8123-A67E35AA8D44}" dt="2020-07-27T20:59:34.014" v="13500"/>
          <ac:spMkLst>
            <pc:docMk/>
            <pc:sldMk cId="2183210988" sldId="2134804342"/>
            <ac:spMk id="127" creationId="{8B535AFE-511B-4201-8281-3D5AA4D983C6}"/>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128" creationId="{8C357E4C-4A5B-4328-8E90-B9521B819DA8}"/>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129" creationId="{24CA492A-FC13-4941-B289-964D9D2C0595}"/>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130" creationId="{4B371648-981F-4F04-B54B-17ED9277E5EC}"/>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131" creationId="{659F8239-3772-4B5D-84D9-B6820973AB7D}"/>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132" creationId="{F2FA82D5-94D3-4AB3-A3CE-1F9A90BA1114}"/>
          </ac:spMkLst>
        </pc:spChg>
        <pc:spChg chg="add del mod">
          <ac:chgData name="Mariam Daniela Tristancho Pineda (MISION TEMPORAL LTDA)" userId="a45a17f7-7950-4cb5-bfab-f5c894f959a9" providerId="ADAL" clId="{9D150B60-33B5-4A3E-8123-A67E35AA8D44}" dt="2020-07-27T20:59:54.019" v="13513" actId="478"/>
          <ac:spMkLst>
            <pc:docMk/>
            <pc:sldMk cId="2183210988" sldId="2134804342"/>
            <ac:spMk id="133" creationId="{7CE97922-6719-4893-80DF-DFCFAFFDC2D4}"/>
          </ac:spMkLst>
        </pc:spChg>
        <pc:spChg chg="del">
          <ac:chgData name="Mariam Daniela Tristancho Pineda (MISION TEMPORAL LTDA)" userId="a45a17f7-7950-4cb5-bfab-f5c894f959a9" providerId="ADAL" clId="{9D150B60-33B5-4A3E-8123-A67E35AA8D44}" dt="2020-07-27T20:59:17.605" v="13498" actId="478"/>
          <ac:spMkLst>
            <pc:docMk/>
            <pc:sldMk cId="2183210988" sldId="2134804342"/>
            <ac:spMk id="134" creationId="{F84823E7-913E-47FA-86F5-4B4BDFBA1ED3}"/>
          </ac:spMkLst>
        </pc:spChg>
        <pc:spChg chg="mod">
          <ac:chgData name="Mariam Daniela Tristancho Pineda (MISION TEMPORAL LTDA)" userId="a45a17f7-7950-4cb5-bfab-f5c894f959a9" providerId="ADAL" clId="{9D150B60-33B5-4A3E-8123-A67E35AA8D44}" dt="2020-07-28T00:30:08.940" v="16274" actId="20577"/>
          <ac:spMkLst>
            <pc:docMk/>
            <pc:sldMk cId="2183210988" sldId="2134804342"/>
            <ac:spMk id="135" creationId="{C1823568-A421-4254-9106-BAEB76F16B72}"/>
          </ac:spMkLst>
        </pc:spChg>
        <pc:spChg chg="add del mod">
          <ac:chgData name="Mariam Daniela Tristancho Pineda (MISION TEMPORAL LTDA)" userId="a45a17f7-7950-4cb5-bfab-f5c894f959a9" providerId="ADAL" clId="{9D150B60-33B5-4A3E-8123-A67E35AA8D44}" dt="2020-07-27T20:59:54.019" v="13513" actId="478"/>
          <ac:spMkLst>
            <pc:docMk/>
            <pc:sldMk cId="2183210988" sldId="2134804342"/>
            <ac:spMk id="136" creationId="{A3FA0FAC-CE93-486F-9465-04B57A61AF43}"/>
          </ac:spMkLst>
        </pc:spChg>
        <pc:spChg chg="add del mod">
          <ac:chgData name="Mariam Daniela Tristancho Pineda (MISION TEMPORAL LTDA)" userId="a45a17f7-7950-4cb5-bfab-f5c894f959a9" providerId="ADAL" clId="{9D150B60-33B5-4A3E-8123-A67E35AA8D44}" dt="2020-07-27T20:59:54.019" v="13513" actId="478"/>
          <ac:spMkLst>
            <pc:docMk/>
            <pc:sldMk cId="2183210988" sldId="2134804342"/>
            <ac:spMk id="137" creationId="{3E08626F-AA67-4F4B-A958-98F8E4035145}"/>
          </ac:spMkLst>
        </pc:spChg>
        <pc:spChg chg="del">
          <ac:chgData name="Mariam Daniela Tristancho Pineda (MISION TEMPORAL LTDA)" userId="a45a17f7-7950-4cb5-bfab-f5c894f959a9" providerId="ADAL" clId="{9D150B60-33B5-4A3E-8123-A67E35AA8D44}" dt="2020-07-27T20:59:17.605" v="13498" actId="478"/>
          <ac:spMkLst>
            <pc:docMk/>
            <pc:sldMk cId="2183210988" sldId="2134804342"/>
            <ac:spMk id="138" creationId="{3C5F2085-6F06-447D-B929-A77300FE8871}"/>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139" creationId="{9F2C6947-6656-4F12-920F-7F25FE0E0A75}"/>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141" creationId="{B4C15846-F4C9-4548-B734-938F5E1AC7DD}"/>
          </ac:spMkLst>
        </pc:spChg>
        <pc:spChg chg="del">
          <ac:chgData name="Mariam Daniela Tristancho Pineda (MISION TEMPORAL LTDA)" userId="a45a17f7-7950-4cb5-bfab-f5c894f959a9" providerId="ADAL" clId="{9D150B60-33B5-4A3E-8123-A67E35AA8D44}" dt="2020-07-27T20:59:17.605" v="13498" actId="478"/>
          <ac:spMkLst>
            <pc:docMk/>
            <pc:sldMk cId="2183210988" sldId="2134804342"/>
            <ac:spMk id="142" creationId="{D39CDA84-7131-4DBC-87CE-38CEAA79AB44}"/>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143" creationId="{D6B161C2-FF96-468A-8368-81C555D3426A}"/>
          </ac:spMkLst>
        </pc:spChg>
        <pc:spChg chg="add del mod">
          <ac:chgData name="Mariam Daniela Tristancho Pineda (MISION TEMPORAL LTDA)" userId="a45a17f7-7950-4cb5-bfab-f5c894f959a9" providerId="ADAL" clId="{9D150B60-33B5-4A3E-8123-A67E35AA8D44}" dt="2020-07-27T20:59:54.019" v="13513" actId="478"/>
          <ac:spMkLst>
            <pc:docMk/>
            <pc:sldMk cId="2183210988" sldId="2134804342"/>
            <ac:spMk id="145" creationId="{4D81DFFD-5746-4DCC-95C5-48E5E593FBDD}"/>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146" creationId="{B3BB3076-1D21-43F9-8C2F-1244A032F030}"/>
          </ac:spMkLst>
        </pc:spChg>
        <pc:spChg chg="add del mod">
          <ac:chgData name="Mariam Daniela Tristancho Pineda (MISION TEMPORAL LTDA)" userId="a45a17f7-7950-4cb5-bfab-f5c894f959a9" providerId="ADAL" clId="{9D150B60-33B5-4A3E-8123-A67E35AA8D44}" dt="2020-07-27T20:59:54.019" v="13513" actId="478"/>
          <ac:spMkLst>
            <pc:docMk/>
            <pc:sldMk cId="2183210988" sldId="2134804342"/>
            <ac:spMk id="147" creationId="{8FC626D1-AD07-46DB-AFA3-D61C5418D596}"/>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148" creationId="{133CBE66-89BD-47D1-AF66-2E6A36C8D665}"/>
          </ac:spMkLst>
        </pc:spChg>
        <pc:spChg chg="add del mod">
          <ac:chgData name="Mariam Daniela Tristancho Pineda (MISION TEMPORAL LTDA)" userId="a45a17f7-7950-4cb5-bfab-f5c894f959a9" providerId="ADAL" clId="{9D150B60-33B5-4A3E-8123-A67E35AA8D44}" dt="2020-07-27T20:59:54.019" v="13513" actId="478"/>
          <ac:spMkLst>
            <pc:docMk/>
            <pc:sldMk cId="2183210988" sldId="2134804342"/>
            <ac:spMk id="149" creationId="{B817A852-0EC4-4E66-8FBD-DBFDC0B87025}"/>
          </ac:spMkLst>
        </pc:spChg>
        <pc:spChg chg="add del mod">
          <ac:chgData name="Mariam Daniela Tristancho Pineda (MISION TEMPORAL LTDA)" userId="a45a17f7-7950-4cb5-bfab-f5c894f959a9" providerId="ADAL" clId="{9D150B60-33B5-4A3E-8123-A67E35AA8D44}" dt="2020-07-27T23:14:57.012" v="14554" actId="478"/>
          <ac:spMkLst>
            <pc:docMk/>
            <pc:sldMk cId="2183210988" sldId="2134804342"/>
            <ac:spMk id="150" creationId="{C28A80CF-1701-4EF2-8A2B-1130DC0D68B0}"/>
          </ac:spMkLst>
        </pc:spChg>
        <pc:spChg chg="add del mod">
          <ac:chgData name="Mariam Daniela Tristancho Pineda (MISION TEMPORAL LTDA)" userId="a45a17f7-7950-4cb5-bfab-f5c894f959a9" providerId="ADAL" clId="{9D150B60-33B5-4A3E-8123-A67E35AA8D44}" dt="2020-07-27T20:59:54.019" v="13513" actId="478"/>
          <ac:spMkLst>
            <pc:docMk/>
            <pc:sldMk cId="2183210988" sldId="2134804342"/>
            <ac:spMk id="151" creationId="{29FDCE7D-57B2-4634-B9CB-DF6D7D4DF210}"/>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152" creationId="{BABCCD2D-BE76-4FC2-ADA5-9D144AA6B4B2}"/>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154" creationId="{023A45C0-4000-48FB-9E82-3BD6579F07E8}"/>
          </ac:spMkLst>
        </pc:spChg>
        <pc:spChg chg="mod">
          <ac:chgData name="Mariam Daniela Tristancho Pineda (MISION TEMPORAL LTDA)" userId="a45a17f7-7950-4cb5-bfab-f5c894f959a9" providerId="ADAL" clId="{9D150B60-33B5-4A3E-8123-A67E35AA8D44}" dt="2020-07-27T20:59:34.014" v="13500"/>
          <ac:spMkLst>
            <pc:docMk/>
            <pc:sldMk cId="2183210988" sldId="2134804342"/>
            <ac:spMk id="155" creationId="{FE76AC8F-D97E-47CE-BED9-B7092D0CB7B2}"/>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156" creationId="{4B1B618B-F4A7-453D-8DBC-1B58A68C9F85}"/>
          </ac:spMkLst>
        </pc:spChg>
        <pc:spChg chg="mod">
          <ac:chgData name="Mariam Daniela Tristancho Pineda (MISION TEMPORAL LTDA)" userId="a45a17f7-7950-4cb5-bfab-f5c894f959a9" providerId="ADAL" clId="{9D150B60-33B5-4A3E-8123-A67E35AA8D44}" dt="2020-07-27T20:59:34.014" v="13500"/>
          <ac:spMkLst>
            <pc:docMk/>
            <pc:sldMk cId="2183210988" sldId="2134804342"/>
            <ac:spMk id="157" creationId="{825B4315-B28B-499F-ABF7-77B636AE6191}"/>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160" creationId="{DBE1EC54-D4BD-4052-902D-3C8C6BEB8411}"/>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162" creationId="{F90D48DD-6D46-46CC-B160-D915402FD8FC}"/>
          </ac:spMkLst>
        </pc:spChg>
        <pc:spChg chg="del">
          <ac:chgData name="Mariam Daniela Tristancho Pineda (MISION TEMPORAL LTDA)" userId="a45a17f7-7950-4cb5-bfab-f5c894f959a9" providerId="ADAL" clId="{9D150B60-33B5-4A3E-8123-A67E35AA8D44}" dt="2020-07-27T20:59:15.970" v="13497" actId="478"/>
          <ac:spMkLst>
            <pc:docMk/>
            <pc:sldMk cId="2183210988" sldId="2134804342"/>
            <ac:spMk id="164" creationId="{515E4648-9B8D-462B-BC7B-13914451D0CB}"/>
          </ac:spMkLst>
        </pc:spChg>
        <pc:spChg chg="mod">
          <ac:chgData name="Mariam Daniela Tristancho Pineda (MISION TEMPORAL LTDA)" userId="a45a17f7-7950-4cb5-bfab-f5c894f959a9" providerId="ADAL" clId="{9D150B60-33B5-4A3E-8123-A67E35AA8D44}" dt="2020-07-27T21:03:14.036" v="13624" actId="20577"/>
          <ac:spMkLst>
            <pc:docMk/>
            <pc:sldMk cId="2183210988" sldId="2134804342"/>
            <ac:spMk id="168" creationId="{5EB59FC4-E3CB-4F9C-B021-888F9A3421D8}"/>
          </ac:spMkLst>
        </pc:spChg>
        <pc:spChg chg="mod">
          <ac:chgData name="Mariam Daniela Tristancho Pineda (MISION TEMPORAL LTDA)" userId="a45a17f7-7950-4cb5-bfab-f5c894f959a9" providerId="ADAL" clId="{9D150B60-33B5-4A3E-8123-A67E35AA8D44}" dt="2020-07-27T21:02:39.698" v="13617" actId="1035"/>
          <ac:spMkLst>
            <pc:docMk/>
            <pc:sldMk cId="2183210988" sldId="2134804342"/>
            <ac:spMk id="169" creationId="{41B9922E-6AB6-4BE2-8AB9-1E9616B45BCF}"/>
          </ac:spMkLst>
        </pc:spChg>
        <pc:spChg chg="mod">
          <ac:chgData name="Mariam Daniela Tristancho Pineda (MISION TEMPORAL LTDA)" userId="a45a17f7-7950-4cb5-bfab-f5c894f959a9" providerId="ADAL" clId="{9D150B60-33B5-4A3E-8123-A67E35AA8D44}" dt="2020-07-27T21:05:29.417" v="13740" actId="208"/>
          <ac:spMkLst>
            <pc:docMk/>
            <pc:sldMk cId="2183210988" sldId="2134804342"/>
            <ac:spMk id="175" creationId="{7E82DF07-00BE-4EA4-A7A8-E5128F73489E}"/>
          </ac:spMkLst>
        </pc:spChg>
        <pc:spChg chg="mod">
          <ac:chgData name="Mariam Daniela Tristancho Pineda (MISION TEMPORAL LTDA)" userId="a45a17f7-7950-4cb5-bfab-f5c894f959a9" providerId="ADAL" clId="{9D150B60-33B5-4A3E-8123-A67E35AA8D44}" dt="2020-07-27T21:05:09.731" v="13735" actId="20577"/>
          <ac:spMkLst>
            <pc:docMk/>
            <pc:sldMk cId="2183210988" sldId="2134804342"/>
            <ac:spMk id="176" creationId="{46FC7FF0-770D-4257-9C65-A46DAC1DCCC6}"/>
          </ac:spMkLst>
        </pc:spChg>
        <pc:spChg chg="mod">
          <ac:chgData name="Mariam Daniela Tristancho Pineda (MISION TEMPORAL LTDA)" userId="a45a17f7-7950-4cb5-bfab-f5c894f959a9" providerId="ADAL" clId="{9D150B60-33B5-4A3E-8123-A67E35AA8D44}" dt="2020-07-27T21:04:45.439" v="13670"/>
          <ac:spMkLst>
            <pc:docMk/>
            <pc:sldMk cId="2183210988" sldId="2134804342"/>
            <ac:spMk id="179" creationId="{AE5611F5-6836-4BC2-B43F-ECE0F1914981}"/>
          </ac:spMkLst>
        </pc:spChg>
        <pc:spChg chg="mod">
          <ac:chgData name="Mariam Daniela Tristancho Pineda (MISION TEMPORAL LTDA)" userId="a45a17f7-7950-4cb5-bfab-f5c894f959a9" providerId="ADAL" clId="{9D150B60-33B5-4A3E-8123-A67E35AA8D44}" dt="2020-07-27T21:04:45.439" v="13670"/>
          <ac:spMkLst>
            <pc:docMk/>
            <pc:sldMk cId="2183210988" sldId="2134804342"/>
            <ac:spMk id="180" creationId="{0117387A-7B68-42A3-92C5-25DEBE10BBDC}"/>
          </ac:spMkLst>
        </pc:spChg>
        <pc:spChg chg="mod">
          <ac:chgData name="Mariam Daniela Tristancho Pineda (MISION TEMPORAL LTDA)" userId="a45a17f7-7950-4cb5-bfab-f5c894f959a9" providerId="ADAL" clId="{9D150B60-33B5-4A3E-8123-A67E35AA8D44}" dt="2020-07-27T21:05:22.288" v="13739" actId="208"/>
          <ac:spMkLst>
            <pc:docMk/>
            <pc:sldMk cId="2183210988" sldId="2134804342"/>
            <ac:spMk id="182" creationId="{0AD24A2F-C332-42F8-B173-82D944AB85CE}"/>
          </ac:spMkLst>
        </pc:spChg>
        <pc:spChg chg="mod">
          <ac:chgData name="Mariam Daniela Tristancho Pineda (MISION TEMPORAL LTDA)" userId="a45a17f7-7950-4cb5-bfab-f5c894f959a9" providerId="ADAL" clId="{9D150B60-33B5-4A3E-8123-A67E35AA8D44}" dt="2020-07-27T21:05:01.378" v="13703" actId="20577"/>
          <ac:spMkLst>
            <pc:docMk/>
            <pc:sldMk cId="2183210988" sldId="2134804342"/>
            <ac:spMk id="183" creationId="{95C868E9-B916-48E1-8918-4365584CC914}"/>
          </ac:spMkLst>
        </pc:spChg>
        <pc:spChg chg="mod">
          <ac:chgData name="Mariam Daniela Tristancho Pineda (MISION TEMPORAL LTDA)" userId="a45a17f7-7950-4cb5-bfab-f5c894f959a9" providerId="ADAL" clId="{9D150B60-33B5-4A3E-8123-A67E35AA8D44}" dt="2020-07-27T21:12:05.030" v="13928"/>
          <ac:spMkLst>
            <pc:docMk/>
            <pc:sldMk cId="2183210988" sldId="2134804342"/>
            <ac:spMk id="187" creationId="{069CA444-05CD-482C-B30A-C4BEBA368F4B}"/>
          </ac:spMkLst>
        </pc:spChg>
        <pc:spChg chg="mod">
          <ac:chgData name="Mariam Daniela Tristancho Pineda (MISION TEMPORAL LTDA)" userId="a45a17f7-7950-4cb5-bfab-f5c894f959a9" providerId="ADAL" clId="{9D150B60-33B5-4A3E-8123-A67E35AA8D44}" dt="2020-07-27T21:06:19.927" v="13764" actId="1036"/>
          <ac:spMkLst>
            <pc:docMk/>
            <pc:sldMk cId="2183210988" sldId="2134804342"/>
            <ac:spMk id="188" creationId="{B335F6AC-E23B-4A63-8385-CEF715A737A3}"/>
          </ac:spMkLst>
        </pc:spChg>
        <pc:spChg chg="mod">
          <ac:chgData name="Mariam Daniela Tristancho Pineda (MISION TEMPORAL LTDA)" userId="a45a17f7-7950-4cb5-bfab-f5c894f959a9" providerId="ADAL" clId="{9D150B60-33B5-4A3E-8123-A67E35AA8D44}" dt="2020-07-27T21:08:38.235" v="13835" actId="208"/>
          <ac:spMkLst>
            <pc:docMk/>
            <pc:sldMk cId="2183210988" sldId="2134804342"/>
            <ac:spMk id="192" creationId="{FCD0ED34-7464-4F40-84F6-43C972192C8E}"/>
          </ac:spMkLst>
        </pc:spChg>
        <pc:spChg chg="mod">
          <ac:chgData name="Mariam Daniela Tristancho Pineda (MISION TEMPORAL LTDA)" userId="a45a17f7-7950-4cb5-bfab-f5c894f959a9" providerId="ADAL" clId="{9D150B60-33B5-4A3E-8123-A67E35AA8D44}" dt="2020-07-27T21:08:30.033" v="13834" actId="1035"/>
          <ac:spMkLst>
            <pc:docMk/>
            <pc:sldMk cId="2183210988" sldId="2134804342"/>
            <ac:spMk id="193" creationId="{36F94EA4-7FF0-4A77-9EC7-82EF66D611D1}"/>
          </ac:spMkLst>
        </pc:spChg>
        <pc:spChg chg="mod">
          <ac:chgData name="Mariam Daniela Tristancho Pineda (MISION TEMPORAL LTDA)" userId="a45a17f7-7950-4cb5-bfab-f5c894f959a9" providerId="ADAL" clId="{9D150B60-33B5-4A3E-8123-A67E35AA8D44}" dt="2020-07-27T21:10:45.970" v="13899" actId="208"/>
          <ac:spMkLst>
            <pc:docMk/>
            <pc:sldMk cId="2183210988" sldId="2134804342"/>
            <ac:spMk id="201" creationId="{8ABD5436-8310-4DFB-BE92-B8F511E55FF3}"/>
          </ac:spMkLst>
        </pc:spChg>
        <pc:spChg chg="mod">
          <ac:chgData name="Mariam Daniela Tristancho Pineda (MISION TEMPORAL LTDA)" userId="a45a17f7-7950-4cb5-bfab-f5c894f959a9" providerId="ADAL" clId="{9D150B60-33B5-4A3E-8123-A67E35AA8D44}" dt="2020-07-27T21:10:35.758" v="13897" actId="20577"/>
          <ac:spMkLst>
            <pc:docMk/>
            <pc:sldMk cId="2183210988" sldId="2134804342"/>
            <ac:spMk id="202" creationId="{46E3048B-B6A6-40B9-B5FF-1DE37E3D0ADD}"/>
          </ac:spMkLst>
        </pc:spChg>
        <pc:spChg chg="mod">
          <ac:chgData name="Mariam Daniela Tristancho Pineda (MISION TEMPORAL LTDA)" userId="a45a17f7-7950-4cb5-bfab-f5c894f959a9" providerId="ADAL" clId="{9D150B60-33B5-4A3E-8123-A67E35AA8D44}" dt="2020-07-27T21:13:00.562" v="13995" actId="20577"/>
          <ac:spMkLst>
            <pc:docMk/>
            <pc:sldMk cId="2183210988" sldId="2134804342"/>
            <ac:spMk id="211" creationId="{A491A23E-E13E-4C10-AC95-107F9DA558AF}"/>
          </ac:spMkLst>
        </pc:spChg>
        <pc:spChg chg="mod">
          <ac:chgData name="Mariam Daniela Tristancho Pineda (MISION TEMPORAL LTDA)" userId="a45a17f7-7950-4cb5-bfab-f5c894f959a9" providerId="ADAL" clId="{9D150B60-33B5-4A3E-8123-A67E35AA8D44}" dt="2020-07-27T21:12:43.933" v="13986" actId="1035"/>
          <ac:spMkLst>
            <pc:docMk/>
            <pc:sldMk cId="2183210988" sldId="2134804342"/>
            <ac:spMk id="212" creationId="{A7173743-7B0D-42C7-AD5F-F8C137BBD2E8}"/>
          </ac:spMkLst>
        </pc:spChg>
        <pc:spChg chg="add mod">
          <ac:chgData name="Mariam Daniela Tristancho Pineda (MISION TEMPORAL LTDA)" userId="a45a17f7-7950-4cb5-bfab-f5c894f959a9" providerId="ADAL" clId="{9D150B60-33B5-4A3E-8123-A67E35AA8D44}" dt="2020-07-28T20:49:57.749" v="20086" actId="14100"/>
          <ac:spMkLst>
            <pc:docMk/>
            <pc:sldMk cId="2183210988" sldId="2134804342"/>
            <ac:spMk id="219" creationId="{62FC86D8-1E1F-477E-A8C1-DE0EA4C4AB17}"/>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221" creationId="{C23958D9-8D2A-476C-A650-5C5842068126}"/>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223" creationId="{99E0F853-4FD1-46B7-8A75-EA8670F01C90}"/>
          </ac:spMkLst>
        </pc:spChg>
        <pc:spChg chg="add del mod">
          <ac:chgData name="Mariam Daniela Tristancho Pineda (MISION TEMPORAL LTDA)" userId="a45a17f7-7950-4cb5-bfab-f5c894f959a9" providerId="ADAL" clId="{9D150B60-33B5-4A3E-8123-A67E35AA8D44}" dt="2020-07-27T21:25:37.269" v="14161" actId="478"/>
          <ac:spMkLst>
            <pc:docMk/>
            <pc:sldMk cId="2183210988" sldId="2134804342"/>
            <ac:spMk id="225" creationId="{F9A684D7-9D7B-4F2C-95EA-312D2496A202}"/>
          </ac:spMkLst>
        </pc:spChg>
        <pc:spChg chg="add del mod">
          <ac:chgData name="Mariam Daniela Tristancho Pineda (MISION TEMPORAL LTDA)" userId="a45a17f7-7950-4cb5-bfab-f5c894f959a9" providerId="ADAL" clId="{9D150B60-33B5-4A3E-8123-A67E35AA8D44}" dt="2020-07-27T21:25:37.269" v="14161" actId="478"/>
          <ac:spMkLst>
            <pc:docMk/>
            <pc:sldMk cId="2183210988" sldId="2134804342"/>
            <ac:spMk id="227" creationId="{A631AF72-0B18-419A-8AE2-1B673239DBF8}"/>
          </ac:spMkLst>
        </pc:spChg>
        <pc:spChg chg="add del mod">
          <ac:chgData name="Mariam Daniela Tristancho Pineda (MISION TEMPORAL LTDA)" userId="a45a17f7-7950-4cb5-bfab-f5c894f959a9" providerId="ADAL" clId="{9D150B60-33B5-4A3E-8123-A67E35AA8D44}" dt="2020-07-27T21:25:37.269" v="14161" actId="478"/>
          <ac:spMkLst>
            <pc:docMk/>
            <pc:sldMk cId="2183210988" sldId="2134804342"/>
            <ac:spMk id="229" creationId="{C0D44EB0-03FA-480F-9FED-A075B4D0FE0D}"/>
          </ac:spMkLst>
        </pc:spChg>
        <pc:spChg chg="add del mod">
          <ac:chgData name="Mariam Daniela Tristancho Pineda (MISION TEMPORAL LTDA)" userId="a45a17f7-7950-4cb5-bfab-f5c894f959a9" providerId="ADAL" clId="{9D150B60-33B5-4A3E-8123-A67E35AA8D44}" dt="2020-07-27T21:25:37.269" v="14161" actId="478"/>
          <ac:spMkLst>
            <pc:docMk/>
            <pc:sldMk cId="2183210988" sldId="2134804342"/>
            <ac:spMk id="231" creationId="{E44D8F02-24A1-477A-BA91-5ABD4E96C543}"/>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233" creationId="{A9C794B6-CC7C-44F8-BC30-A0E42B3A6EAF}"/>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235" creationId="{67397329-06CB-4EAD-BB20-9DB9C847A3B1}"/>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237" creationId="{51598549-7FE1-4A9E-8F40-B2099285B661}"/>
          </ac:spMkLst>
        </pc:spChg>
        <pc:spChg chg="add del mod">
          <ac:chgData name="Mariam Daniela Tristancho Pineda (MISION TEMPORAL LTDA)" userId="a45a17f7-7950-4cb5-bfab-f5c894f959a9" providerId="ADAL" clId="{9D150B60-33B5-4A3E-8123-A67E35AA8D44}" dt="2020-07-27T21:25:37.269" v="14161" actId="478"/>
          <ac:spMkLst>
            <pc:docMk/>
            <pc:sldMk cId="2183210988" sldId="2134804342"/>
            <ac:spMk id="239" creationId="{37C2BB7D-77F0-4052-82F0-E5435648CFEE}"/>
          </ac:spMkLst>
        </pc:spChg>
        <pc:spChg chg="add del mod">
          <ac:chgData name="Mariam Daniela Tristancho Pineda (MISION TEMPORAL LTDA)" userId="a45a17f7-7950-4cb5-bfab-f5c894f959a9" providerId="ADAL" clId="{9D150B60-33B5-4A3E-8123-A67E35AA8D44}" dt="2020-07-27T21:25:37.269" v="14161" actId="478"/>
          <ac:spMkLst>
            <pc:docMk/>
            <pc:sldMk cId="2183210988" sldId="2134804342"/>
            <ac:spMk id="241" creationId="{2A792433-0E46-41B6-BB9D-BB01FD3CFB6B}"/>
          </ac:spMkLst>
        </pc:spChg>
        <pc:spChg chg="add del mod">
          <ac:chgData name="Mariam Daniela Tristancho Pineda (MISION TEMPORAL LTDA)" userId="a45a17f7-7950-4cb5-bfab-f5c894f959a9" providerId="ADAL" clId="{9D150B60-33B5-4A3E-8123-A67E35AA8D44}" dt="2020-07-27T21:25:37.269" v="14161" actId="478"/>
          <ac:spMkLst>
            <pc:docMk/>
            <pc:sldMk cId="2183210988" sldId="2134804342"/>
            <ac:spMk id="243" creationId="{CA93A8B3-0EE1-49A1-8033-0817CAFE4CDC}"/>
          </ac:spMkLst>
        </pc:spChg>
        <pc:spChg chg="add del mod">
          <ac:chgData name="Mariam Daniela Tristancho Pineda (MISION TEMPORAL LTDA)" userId="a45a17f7-7950-4cb5-bfab-f5c894f959a9" providerId="ADAL" clId="{9D150B60-33B5-4A3E-8123-A67E35AA8D44}" dt="2020-07-28T00:14:38.660" v="15788" actId="13926"/>
          <ac:spMkLst>
            <pc:docMk/>
            <pc:sldMk cId="2183210988" sldId="2134804342"/>
            <ac:spMk id="245" creationId="{949AE6BC-C4BD-42D8-A565-AB7EDB4317E3}"/>
          </ac:spMkLst>
        </pc:spChg>
        <pc:spChg chg="mod">
          <ac:chgData name="Mariam Daniela Tristancho Pineda (MISION TEMPORAL LTDA)" userId="a45a17f7-7950-4cb5-bfab-f5c894f959a9" providerId="ADAL" clId="{9D150B60-33B5-4A3E-8123-A67E35AA8D44}" dt="2020-07-28T00:14:38.660" v="15788" actId="13926"/>
          <ac:spMkLst>
            <pc:docMk/>
            <pc:sldMk cId="2183210988" sldId="2134804342"/>
            <ac:spMk id="247" creationId="{B8484EBA-632F-468B-8A55-DF6D49291298}"/>
          </ac:spMkLst>
        </pc:spChg>
        <pc:spChg chg="mod">
          <ac:chgData name="Mariam Daniela Tristancho Pineda (MISION TEMPORAL LTDA)" userId="a45a17f7-7950-4cb5-bfab-f5c894f959a9" providerId="ADAL" clId="{9D150B60-33B5-4A3E-8123-A67E35AA8D44}" dt="2020-07-28T00:14:38.660" v="15788" actId="13926"/>
          <ac:spMkLst>
            <pc:docMk/>
            <pc:sldMk cId="2183210988" sldId="2134804342"/>
            <ac:spMk id="248" creationId="{341C5711-6039-4120-9EF9-63F5E71B5122}"/>
          </ac:spMkLst>
        </pc:spChg>
        <pc:spChg chg="add mod">
          <ac:chgData name="Mariam Daniela Tristancho Pineda (MISION TEMPORAL LTDA)" userId="a45a17f7-7950-4cb5-bfab-f5c894f959a9" providerId="ADAL" clId="{9D150B60-33B5-4A3E-8123-A67E35AA8D44}" dt="2020-07-28T20:49:45.945" v="20084" actId="1076"/>
          <ac:spMkLst>
            <pc:docMk/>
            <pc:sldMk cId="2183210988" sldId="2134804342"/>
            <ac:spMk id="250" creationId="{283034AC-573E-4107-9EF2-89F51EF2A205}"/>
          </ac:spMkLst>
        </pc:spChg>
        <pc:spChg chg="mod">
          <ac:chgData name="Mariam Daniela Tristancho Pineda (MISION TEMPORAL LTDA)" userId="a45a17f7-7950-4cb5-bfab-f5c894f959a9" providerId="ADAL" clId="{9D150B60-33B5-4A3E-8123-A67E35AA8D44}" dt="2020-07-28T00:14:38.660" v="15788" actId="13926"/>
          <ac:spMkLst>
            <pc:docMk/>
            <pc:sldMk cId="2183210988" sldId="2134804342"/>
            <ac:spMk id="252" creationId="{0069B35A-C24F-4A0A-9A31-0FFD81D00CC0}"/>
          </ac:spMkLst>
        </pc:spChg>
        <pc:spChg chg="mod">
          <ac:chgData name="Mariam Daniela Tristancho Pineda (MISION TEMPORAL LTDA)" userId="a45a17f7-7950-4cb5-bfab-f5c894f959a9" providerId="ADAL" clId="{9D150B60-33B5-4A3E-8123-A67E35AA8D44}" dt="2020-07-28T00:14:38.660" v="15788" actId="13926"/>
          <ac:spMkLst>
            <pc:docMk/>
            <pc:sldMk cId="2183210988" sldId="2134804342"/>
            <ac:spMk id="253" creationId="{45FCA639-0D47-47C8-B1D3-8D8990C817EE}"/>
          </ac:spMkLst>
        </pc:spChg>
        <pc:spChg chg="add del">
          <ac:chgData name="Mariam Daniela Tristancho Pineda (MISION TEMPORAL LTDA)" userId="a45a17f7-7950-4cb5-bfab-f5c894f959a9" providerId="ADAL" clId="{9D150B60-33B5-4A3E-8123-A67E35AA8D44}" dt="2020-07-27T21:26:49.865" v="14235" actId="22"/>
          <ac:spMkLst>
            <pc:docMk/>
            <pc:sldMk cId="2183210988" sldId="2134804342"/>
            <ac:spMk id="255" creationId="{30B5AE04-315F-4865-8C9B-52869CF652BE}"/>
          </ac:spMkLst>
        </pc:spChg>
        <pc:spChg chg="add del">
          <ac:chgData name="Mariam Daniela Tristancho Pineda (MISION TEMPORAL LTDA)" userId="a45a17f7-7950-4cb5-bfab-f5c894f959a9" providerId="ADAL" clId="{9D150B60-33B5-4A3E-8123-A67E35AA8D44}" dt="2020-07-27T21:26:55.324" v="14237" actId="22"/>
          <ac:spMkLst>
            <pc:docMk/>
            <pc:sldMk cId="2183210988" sldId="2134804342"/>
            <ac:spMk id="257" creationId="{C0CD91E8-1B03-4E28-BB4B-727AE2FA4E52}"/>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259" creationId="{06833351-5094-45E5-BD2C-6B56549573F5}"/>
          </ac:spMkLst>
        </pc:spChg>
        <pc:spChg chg="mod">
          <ac:chgData name="Mariam Daniela Tristancho Pineda (MISION TEMPORAL LTDA)" userId="a45a17f7-7950-4cb5-bfab-f5c894f959a9" providerId="ADAL" clId="{9D150B60-33B5-4A3E-8123-A67E35AA8D44}" dt="2020-07-28T00:14:38.660" v="15788" actId="13926"/>
          <ac:spMkLst>
            <pc:docMk/>
            <pc:sldMk cId="2183210988" sldId="2134804342"/>
            <ac:spMk id="261" creationId="{08D97BAE-17E1-45F6-9117-4038993B3089}"/>
          </ac:spMkLst>
        </pc:spChg>
        <pc:spChg chg="mod">
          <ac:chgData name="Mariam Daniela Tristancho Pineda (MISION TEMPORAL LTDA)" userId="a45a17f7-7950-4cb5-bfab-f5c894f959a9" providerId="ADAL" clId="{9D150B60-33B5-4A3E-8123-A67E35AA8D44}" dt="2020-07-28T00:14:38.660" v="15788" actId="13926"/>
          <ac:spMkLst>
            <pc:docMk/>
            <pc:sldMk cId="2183210988" sldId="2134804342"/>
            <ac:spMk id="262" creationId="{C9754506-870B-4CD8-8AE9-F1B3BA7B6C91}"/>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264" creationId="{38FBE262-4DE2-4BFB-92ED-2D8B628EA74B}"/>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266" creationId="{3F5EB619-321B-4051-ADC8-A5FF99ED0CED}"/>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268" creationId="{BA6697D6-3D1D-4926-859F-D1F6118C71E9}"/>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270" creationId="{E0A77003-E797-44F0-AA39-E958F4CCF4F6}"/>
          </ac:spMkLst>
        </pc:spChg>
        <pc:spChg chg="mod">
          <ac:chgData name="Mariam Daniela Tristancho Pineda (MISION TEMPORAL LTDA)" userId="a45a17f7-7950-4cb5-bfab-f5c894f959a9" providerId="ADAL" clId="{9D150B60-33B5-4A3E-8123-A67E35AA8D44}" dt="2020-07-28T00:14:38.660" v="15788" actId="13926"/>
          <ac:spMkLst>
            <pc:docMk/>
            <pc:sldMk cId="2183210988" sldId="2134804342"/>
            <ac:spMk id="272" creationId="{EBD1B0C5-8E1A-4AB2-A905-5E75134BE2FD}"/>
          </ac:spMkLst>
        </pc:spChg>
        <pc:spChg chg="mod">
          <ac:chgData name="Mariam Daniela Tristancho Pineda (MISION TEMPORAL LTDA)" userId="a45a17f7-7950-4cb5-bfab-f5c894f959a9" providerId="ADAL" clId="{9D150B60-33B5-4A3E-8123-A67E35AA8D44}" dt="2020-07-28T00:14:38.660" v="15788" actId="13926"/>
          <ac:spMkLst>
            <pc:docMk/>
            <pc:sldMk cId="2183210988" sldId="2134804342"/>
            <ac:spMk id="273" creationId="{EA361EF9-01F1-454A-A9C1-4547F2902902}"/>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275" creationId="{AA44D995-3733-4034-9C79-2150FB82BEAD}"/>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277" creationId="{8C179BE5-9C31-4DC6-92CF-18666A46155E}"/>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279" creationId="{D2382CA9-8FE7-409F-94B6-FC3C93B2E2C2}"/>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281" creationId="{BFE021B3-7541-4086-AE13-E0AEBDB16A7C}"/>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283" creationId="{5B397935-C4A0-45CD-9F44-64AC2D6438E5}"/>
          </ac:spMkLst>
        </pc:spChg>
        <pc:spChg chg="add del mod">
          <ac:chgData name="Mariam Daniela Tristancho Pineda (MISION TEMPORAL LTDA)" userId="a45a17f7-7950-4cb5-bfab-f5c894f959a9" providerId="ADAL" clId="{9D150B60-33B5-4A3E-8123-A67E35AA8D44}" dt="2020-07-27T21:30:35.286" v="14404" actId="478"/>
          <ac:spMkLst>
            <pc:docMk/>
            <pc:sldMk cId="2183210988" sldId="2134804342"/>
            <ac:spMk id="285" creationId="{691B2455-3E87-4ACC-92D7-C702A2CF0184}"/>
          </ac:spMkLst>
        </pc:spChg>
        <pc:spChg chg="add del mod">
          <ac:chgData name="Mariam Daniela Tristancho Pineda (MISION TEMPORAL LTDA)" userId="a45a17f7-7950-4cb5-bfab-f5c894f959a9" providerId="ADAL" clId="{9D150B60-33B5-4A3E-8123-A67E35AA8D44}" dt="2020-07-27T21:30:53.406" v="14405" actId="478"/>
          <ac:spMkLst>
            <pc:docMk/>
            <pc:sldMk cId="2183210988" sldId="2134804342"/>
            <ac:spMk id="287" creationId="{AD48EAED-09D1-4113-B85A-CD11AE956EE0}"/>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289" creationId="{31F7DDF3-B54D-4052-9A28-CCF92FB2E3A4}"/>
          </ac:spMkLst>
        </pc:spChg>
        <pc:spChg chg="mod">
          <ac:chgData name="Mariam Daniela Tristancho Pineda (MISION TEMPORAL LTDA)" userId="a45a17f7-7950-4cb5-bfab-f5c894f959a9" providerId="ADAL" clId="{9D150B60-33B5-4A3E-8123-A67E35AA8D44}" dt="2020-07-28T00:14:38.660" v="15788" actId="13926"/>
          <ac:spMkLst>
            <pc:docMk/>
            <pc:sldMk cId="2183210988" sldId="2134804342"/>
            <ac:spMk id="291" creationId="{C01273E8-B11F-462E-94CB-72065A6C11FA}"/>
          </ac:spMkLst>
        </pc:spChg>
        <pc:spChg chg="mod">
          <ac:chgData name="Mariam Daniela Tristancho Pineda (MISION TEMPORAL LTDA)" userId="a45a17f7-7950-4cb5-bfab-f5c894f959a9" providerId="ADAL" clId="{9D150B60-33B5-4A3E-8123-A67E35AA8D44}" dt="2020-07-28T00:14:38.660" v="15788" actId="13926"/>
          <ac:spMkLst>
            <pc:docMk/>
            <pc:sldMk cId="2183210988" sldId="2134804342"/>
            <ac:spMk id="292" creationId="{834BE181-51D9-44B2-93C1-604A03DBB48A}"/>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294" creationId="{79DB0C09-F46C-41B0-9923-1FFB6676262E}"/>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296" creationId="{6EB1D654-7D2E-4C5A-A742-EC00673A449F}"/>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298" creationId="{E63674CF-E64A-4722-BF49-DC977CD3117D}"/>
          </ac:spMkLst>
        </pc:spChg>
        <pc:spChg chg="add mod">
          <ac:chgData name="Mariam Daniela Tristancho Pineda (MISION TEMPORAL LTDA)" userId="a45a17f7-7950-4cb5-bfab-f5c894f959a9" providerId="ADAL" clId="{9D150B60-33B5-4A3E-8123-A67E35AA8D44}" dt="2020-07-28T00:14:38.660" v="15788" actId="13926"/>
          <ac:spMkLst>
            <pc:docMk/>
            <pc:sldMk cId="2183210988" sldId="2134804342"/>
            <ac:spMk id="300" creationId="{ADB7BF7A-1AB1-4E8E-9A63-84ACED84A019}"/>
          </ac:spMkLst>
        </pc:spChg>
        <pc:spChg chg="add mod ord">
          <ac:chgData name="Mariam Daniela Tristancho Pineda (MISION TEMPORAL LTDA)" userId="a45a17f7-7950-4cb5-bfab-f5c894f959a9" providerId="ADAL" clId="{9D150B60-33B5-4A3E-8123-A67E35AA8D44}" dt="2020-07-28T00:17:45.401" v="15870" actId="1038"/>
          <ac:spMkLst>
            <pc:docMk/>
            <pc:sldMk cId="2183210988" sldId="2134804342"/>
            <ac:spMk id="301" creationId="{0E573AE5-DF92-430B-AF2D-D0BFB9CB96C8}"/>
          </ac:spMkLst>
        </pc:spChg>
        <pc:spChg chg="add mod">
          <ac:chgData name="Mariam Daniela Tristancho Pineda (MISION TEMPORAL LTDA)" userId="a45a17f7-7950-4cb5-bfab-f5c894f959a9" providerId="ADAL" clId="{9D150B60-33B5-4A3E-8123-A67E35AA8D44}" dt="2020-07-28T00:17:45.401" v="15870" actId="1038"/>
          <ac:spMkLst>
            <pc:docMk/>
            <pc:sldMk cId="2183210988" sldId="2134804342"/>
            <ac:spMk id="302" creationId="{C642D50B-C6B3-4A0C-87B7-132C6B2DE4AC}"/>
          </ac:spMkLst>
        </pc:spChg>
        <pc:spChg chg="add mod">
          <ac:chgData name="Mariam Daniela Tristancho Pineda (MISION TEMPORAL LTDA)" userId="a45a17f7-7950-4cb5-bfab-f5c894f959a9" providerId="ADAL" clId="{9D150B60-33B5-4A3E-8123-A67E35AA8D44}" dt="2020-07-28T00:17:45.401" v="15870" actId="1038"/>
          <ac:spMkLst>
            <pc:docMk/>
            <pc:sldMk cId="2183210988" sldId="2134804342"/>
            <ac:spMk id="303" creationId="{7A8C0DAD-15A1-4E21-9EEF-3BB84FFF5235}"/>
          </ac:spMkLst>
        </pc:spChg>
        <pc:spChg chg="add mod">
          <ac:chgData name="Mariam Daniela Tristancho Pineda (MISION TEMPORAL LTDA)" userId="a45a17f7-7950-4cb5-bfab-f5c894f959a9" providerId="ADAL" clId="{9D150B60-33B5-4A3E-8123-A67E35AA8D44}" dt="2020-07-28T00:17:45.401" v="15870" actId="1038"/>
          <ac:spMkLst>
            <pc:docMk/>
            <pc:sldMk cId="2183210988" sldId="2134804342"/>
            <ac:spMk id="304" creationId="{AD12CFBE-FF54-48D4-BB80-C905202AD6B5}"/>
          </ac:spMkLst>
        </pc:spChg>
        <pc:spChg chg="add mod">
          <ac:chgData name="Mariam Daniela Tristancho Pineda (MISION TEMPORAL LTDA)" userId="a45a17f7-7950-4cb5-bfab-f5c894f959a9" providerId="ADAL" clId="{9D150B60-33B5-4A3E-8123-A67E35AA8D44}" dt="2020-07-28T00:17:45.401" v="15870" actId="1038"/>
          <ac:spMkLst>
            <pc:docMk/>
            <pc:sldMk cId="2183210988" sldId="2134804342"/>
            <ac:spMk id="305" creationId="{8D8A1F30-9BAF-4913-891F-152F9D904D9F}"/>
          </ac:spMkLst>
        </pc:spChg>
        <pc:spChg chg="mod">
          <ac:chgData name="Mariam Daniela Tristancho Pineda (MISION TEMPORAL LTDA)" userId="a45a17f7-7950-4cb5-bfab-f5c894f959a9" providerId="ADAL" clId="{9D150B60-33B5-4A3E-8123-A67E35AA8D44}" dt="2020-07-27T23:26:32.494" v="14852"/>
          <ac:spMkLst>
            <pc:docMk/>
            <pc:sldMk cId="2183210988" sldId="2134804342"/>
            <ac:spMk id="307" creationId="{4979E7DC-491E-4159-B044-DFD804DF48D8}"/>
          </ac:spMkLst>
        </pc:spChg>
        <pc:spChg chg="mod">
          <ac:chgData name="Mariam Daniela Tristancho Pineda (MISION TEMPORAL LTDA)" userId="a45a17f7-7950-4cb5-bfab-f5c894f959a9" providerId="ADAL" clId="{9D150B60-33B5-4A3E-8123-A67E35AA8D44}" dt="2020-07-27T23:26:32.494" v="14852"/>
          <ac:spMkLst>
            <pc:docMk/>
            <pc:sldMk cId="2183210988" sldId="2134804342"/>
            <ac:spMk id="308" creationId="{612581F4-8388-4805-8A84-6A20E1FF0C93}"/>
          </ac:spMkLst>
        </pc:spChg>
        <pc:spChg chg="mod">
          <ac:chgData name="Mariam Daniela Tristancho Pineda (MISION TEMPORAL LTDA)" userId="a45a17f7-7950-4cb5-bfab-f5c894f959a9" providerId="ADAL" clId="{9D150B60-33B5-4A3E-8123-A67E35AA8D44}" dt="2020-07-27T23:26:32.494" v="14852"/>
          <ac:spMkLst>
            <pc:docMk/>
            <pc:sldMk cId="2183210988" sldId="2134804342"/>
            <ac:spMk id="310" creationId="{68683E66-6598-406F-AAD2-892840BF8BAC}"/>
          </ac:spMkLst>
        </pc:spChg>
        <pc:spChg chg="mod">
          <ac:chgData name="Mariam Daniela Tristancho Pineda (MISION TEMPORAL LTDA)" userId="a45a17f7-7950-4cb5-bfab-f5c894f959a9" providerId="ADAL" clId="{9D150B60-33B5-4A3E-8123-A67E35AA8D44}" dt="2020-07-27T23:26:32.494" v="14852"/>
          <ac:spMkLst>
            <pc:docMk/>
            <pc:sldMk cId="2183210988" sldId="2134804342"/>
            <ac:spMk id="311" creationId="{793047F2-0BCD-41AE-B2D3-5D5F8FF7908D}"/>
          </ac:spMkLst>
        </pc:spChg>
        <pc:spChg chg="mod">
          <ac:chgData name="Mariam Daniela Tristancho Pineda (MISION TEMPORAL LTDA)" userId="a45a17f7-7950-4cb5-bfab-f5c894f959a9" providerId="ADAL" clId="{9D150B60-33B5-4A3E-8123-A67E35AA8D44}" dt="2020-07-28T00:14:38.660" v="15788" actId="13926"/>
          <ac:spMkLst>
            <pc:docMk/>
            <pc:sldMk cId="2183210988" sldId="2134804342"/>
            <ac:spMk id="313" creationId="{57E0C7F2-F5C4-4FAC-AE0A-BA1A4764767E}"/>
          </ac:spMkLst>
        </pc:spChg>
        <pc:spChg chg="mod">
          <ac:chgData name="Mariam Daniela Tristancho Pineda (MISION TEMPORAL LTDA)" userId="a45a17f7-7950-4cb5-bfab-f5c894f959a9" providerId="ADAL" clId="{9D150B60-33B5-4A3E-8123-A67E35AA8D44}" dt="2020-07-28T00:14:38.660" v="15788" actId="13926"/>
          <ac:spMkLst>
            <pc:docMk/>
            <pc:sldMk cId="2183210988" sldId="2134804342"/>
            <ac:spMk id="314" creationId="{6319FAA4-2A4E-44B2-9CF1-2004083974BC}"/>
          </ac:spMkLst>
        </pc:spChg>
        <pc:spChg chg="mod">
          <ac:chgData name="Mariam Daniela Tristancho Pineda (MISION TEMPORAL LTDA)" userId="a45a17f7-7950-4cb5-bfab-f5c894f959a9" providerId="ADAL" clId="{9D150B60-33B5-4A3E-8123-A67E35AA8D44}" dt="2020-07-27T23:26:32.494" v="14852"/>
          <ac:spMkLst>
            <pc:docMk/>
            <pc:sldMk cId="2183210988" sldId="2134804342"/>
            <ac:spMk id="316" creationId="{675AE2BE-A99E-4176-9C86-2EC98F036C36}"/>
          </ac:spMkLst>
        </pc:spChg>
        <pc:spChg chg="mod">
          <ac:chgData name="Mariam Daniela Tristancho Pineda (MISION TEMPORAL LTDA)" userId="a45a17f7-7950-4cb5-bfab-f5c894f959a9" providerId="ADAL" clId="{9D150B60-33B5-4A3E-8123-A67E35AA8D44}" dt="2020-07-27T23:26:32.494" v="14852"/>
          <ac:spMkLst>
            <pc:docMk/>
            <pc:sldMk cId="2183210988" sldId="2134804342"/>
            <ac:spMk id="317" creationId="{C6863730-8D56-48CF-88B1-1B4DA116BCC2}"/>
          </ac:spMkLst>
        </pc:spChg>
        <pc:spChg chg="mod">
          <ac:chgData name="Mariam Daniela Tristancho Pineda (MISION TEMPORAL LTDA)" userId="a45a17f7-7950-4cb5-bfab-f5c894f959a9" providerId="ADAL" clId="{9D150B60-33B5-4A3E-8123-A67E35AA8D44}" dt="2020-07-27T23:26:32.494" v="14852"/>
          <ac:spMkLst>
            <pc:docMk/>
            <pc:sldMk cId="2183210988" sldId="2134804342"/>
            <ac:spMk id="319" creationId="{C780F546-AC22-4C47-8EEE-E08A15AFA1BD}"/>
          </ac:spMkLst>
        </pc:spChg>
        <pc:spChg chg="mod">
          <ac:chgData name="Mariam Daniela Tristancho Pineda (MISION TEMPORAL LTDA)" userId="a45a17f7-7950-4cb5-bfab-f5c894f959a9" providerId="ADAL" clId="{9D150B60-33B5-4A3E-8123-A67E35AA8D44}" dt="2020-07-27T23:26:32.494" v="14852"/>
          <ac:spMkLst>
            <pc:docMk/>
            <pc:sldMk cId="2183210988" sldId="2134804342"/>
            <ac:spMk id="320" creationId="{B4EF3503-58CC-4F18-B791-F75D858AF12C}"/>
          </ac:spMkLst>
        </pc:spChg>
        <pc:spChg chg="mod">
          <ac:chgData name="Mariam Daniela Tristancho Pineda (MISION TEMPORAL LTDA)" userId="a45a17f7-7950-4cb5-bfab-f5c894f959a9" providerId="ADAL" clId="{9D150B60-33B5-4A3E-8123-A67E35AA8D44}" dt="2020-07-28T00:14:38.660" v="15788" actId="13926"/>
          <ac:spMkLst>
            <pc:docMk/>
            <pc:sldMk cId="2183210988" sldId="2134804342"/>
            <ac:spMk id="322" creationId="{E9AB33CF-3A2F-42F1-BAAF-DCC3184F3D91}"/>
          </ac:spMkLst>
        </pc:spChg>
        <pc:spChg chg="mod">
          <ac:chgData name="Mariam Daniela Tristancho Pineda (MISION TEMPORAL LTDA)" userId="a45a17f7-7950-4cb5-bfab-f5c894f959a9" providerId="ADAL" clId="{9D150B60-33B5-4A3E-8123-A67E35AA8D44}" dt="2020-07-28T00:14:38.660" v="15788" actId="13926"/>
          <ac:spMkLst>
            <pc:docMk/>
            <pc:sldMk cId="2183210988" sldId="2134804342"/>
            <ac:spMk id="323" creationId="{2131263B-D3B4-4AD4-A6DD-A27169006B37}"/>
          </ac:spMkLst>
        </pc:spChg>
        <pc:grpChg chg="add mod">
          <ac:chgData name="Mariam Daniela Tristancho Pineda (MISION TEMPORAL LTDA)" userId="a45a17f7-7950-4cb5-bfab-f5c894f959a9" providerId="ADAL" clId="{9D150B60-33B5-4A3E-8123-A67E35AA8D44}" dt="2020-07-28T00:17:45.401" v="15870" actId="1038"/>
          <ac:grpSpMkLst>
            <pc:docMk/>
            <pc:sldMk cId="2183210988" sldId="2134804342"/>
            <ac:grpSpMk id="22" creationId="{2B98B6A7-7227-4CB8-80CE-DF246B94E3DA}"/>
          </ac:grpSpMkLst>
        </pc:grpChg>
        <pc:grpChg chg="del mod">
          <ac:chgData name="Mariam Daniela Tristancho Pineda (MISION TEMPORAL LTDA)" userId="a45a17f7-7950-4cb5-bfab-f5c894f959a9" providerId="ADAL" clId="{9D150B60-33B5-4A3E-8123-A67E35AA8D44}" dt="2020-07-27T23:29:13.940" v="14942" actId="478"/>
          <ac:grpSpMkLst>
            <pc:docMk/>
            <pc:sldMk cId="2183210988" sldId="2134804342"/>
            <ac:grpSpMk id="26" creationId="{5B1CDA9C-37CE-441A-94E7-5A5F38503613}"/>
          </ac:grpSpMkLst>
        </pc:grpChg>
        <pc:grpChg chg="del mod">
          <ac:chgData name="Mariam Daniela Tristancho Pineda (MISION TEMPORAL LTDA)" userId="a45a17f7-7950-4cb5-bfab-f5c894f959a9" providerId="ADAL" clId="{9D150B60-33B5-4A3E-8123-A67E35AA8D44}" dt="2020-07-27T23:29:13.940" v="14942" actId="478"/>
          <ac:grpSpMkLst>
            <pc:docMk/>
            <pc:sldMk cId="2183210988" sldId="2134804342"/>
            <ac:grpSpMk id="31" creationId="{A0B07E6C-42EA-42D4-BF18-74CF8467911A}"/>
          </ac:grpSpMkLst>
        </pc:grpChg>
        <pc:grpChg chg="del mod">
          <ac:chgData name="Mariam Daniela Tristancho Pineda (MISION TEMPORAL LTDA)" userId="a45a17f7-7950-4cb5-bfab-f5c894f959a9" providerId="ADAL" clId="{9D150B60-33B5-4A3E-8123-A67E35AA8D44}" dt="2020-07-27T23:29:13.940" v="14942" actId="478"/>
          <ac:grpSpMkLst>
            <pc:docMk/>
            <pc:sldMk cId="2183210988" sldId="2134804342"/>
            <ac:grpSpMk id="37" creationId="{33A4F641-6F0E-462A-898E-0641B151AA65}"/>
          </ac:grpSpMkLst>
        </pc:grpChg>
        <pc:grpChg chg="add del mod">
          <ac:chgData name="Mariam Daniela Tristancho Pineda (MISION TEMPORAL LTDA)" userId="a45a17f7-7950-4cb5-bfab-f5c894f959a9" providerId="ADAL" clId="{9D150B60-33B5-4A3E-8123-A67E35AA8D44}" dt="2020-07-27T23:14:57.012" v="14554" actId="478"/>
          <ac:grpSpMkLst>
            <pc:docMk/>
            <pc:sldMk cId="2183210988" sldId="2134804342"/>
            <ac:grpSpMk id="42" creationId="{C86E4A92-2D9B-4D15-AFAF-2C673F30F819}"/>
          </ac:grpSpMkLst>
        </pc:grpChg>
        <pc:grpChg chg="add del mod">
          <ac:chgData name="Mariam Daniela Tristancho Pineda (MISION TEMPORAL LTDA)" userId="a45a17f7-7950-4cb5-bfab-f5c894f959a9" providerId="ADAL" clId="{9D150B60-33B5-4A3E-8123-A67E35AA8D44}" dt="2020-07-27T23:14:57.012" v="14554" actId="478"/>
          <ac:grpSpMkLst>
            <pc:docMk/>
            <pc:sldMk cId="2183210988" sldId="2134804342"/>
            <ac:grpSpMk id="45" creationId="{EF7C10BB-35CE-43C5-B743-38C4E6BD74F1}"/>
          </ac:grpSpMkLst>
        </pc:grpChg>
        <pc:grpChg chg="del mod">
          <ac:chgData name="Mariam Daniela Tristancho Pineda (MISION TEMPORAL LTDA)" userId="a45a17f7-7950-4cb5-bfab-f5c894f959a9" providerId="ADAL" clId="{9D150B60-33B5-4A3E-8123-A67E35AA8D44}" dt="2020-07-27T23:29:13.940" v="14942" actId="478"/>
          <ac:grpSpMkLst>
            <pc:docMk/>
            <pc:sldMk cId="2183210988" sldId="2134804342"/>
            <ac:grpSpMk id="46" creationId="{4DCAF9D3-E260-43CE-8958-9F0BA7AFCD3A}"/>
          </ac:grpSpMkLst>
        </pc:grpChg>
        <pc:grpChg chg="mod">
          <ac:chgData name="Mariam Daniela Tristancho Pineda (MISION TEMPORAL LTDA)" userId="a45a17f7-7950-4cb5-bfab-f5c894f959a9" providerId="ADAL" clId="{9D150B60-33B5-4A3E-8123-A67E35AA8D44}" dt="2020-07-28T00:17:45.401" v="15870" actId="1038"/>
          <ac:grpSpMkLst>
            <pc:docMk/>
            <pc:sldMk cId="2183210988" sldId="2134804342"/>
            <ac:grpSpMk id="53" creationId="{3873BDF9-02E9-44FD-9510-89955A3B3E89}"/>
          </ac:grpSpMkLst>
        </pc:grpChg>
        <pc:grpChg chg="add del mod">
          <ac:chgData name="Mariam Daniela Tristancho Pineda (MISION TEMPORAL LTDA)" userId="a45a17f7-7950-4cb5-bfab-f5c894f959a9" providerId="ADAL" clId="{9D150B60-33B5-4A3E-8123-A67E35AA8D44}" dt="2020-07-27T20:59:59.965" v="13515" actId="478"/>
          <ac:grpSpMkLst>
            <pc:docMk/>
            <pc:sldMk cId="2183210988" sldId="2134804342"/>
            <ac:grpSpMk id="93" creationId="{4FB0DE56-7BF8-47E4-8B35-7783E085A970}"/>
          </ac:grpSpMkLst>
        </pc:grpChg>
        <pc:grpChg chg="add del mod">
          <ac:chgData name="Mariam Daniela Tristancho Pineda (MISION TEMPORAL LTDA)" userId="a45a17f7-7950-4cb5-bfab-f5c894f959a9" providerId="ADAL" clId="{9D150B60-33B5-4A3E-8123-A67E35AA8D44}" dt="2020-07-27T20:59:56.524" v="13514" actId="478"/>
          <ac:grpSpMkLst>
            <pc:docMk/>
            <pc:sldMk cId="2183210988" sldId="2134804342"/>
            <ac:grpSpMk id="124" creationId="{5117E29D-DBEB-4BE8-B255-FCA39A28D818}"/>
          </ac:grpSpMkLst>
        </pc:grpChg>
        <pc:grpChg chg="add del mod">
          <ac:chgData name="Mariam Daniela Tristancho Pineda (MISION TEMPORAL LTDA)" userId="a45a17f7-7950-4cb5-bfab-f5c894f959a9" providerId="ADAL" clId="{9D150B60-33B5-4A3E-8123-A67E35AA8D44}" dt="2020-07-27T23:14:57.012" v="14554" actId="478"/>
          <ac:grpSpMkLst>
            <pc:docMk/>
            <pc:sldMk cId="2183210988" sldId="2134804342"/>
            <ac:grpSpMk id="153" creationId="{ECC1079A-ACFE-47F5-B237-44739C19BC96}"/>
          </ac:grpSpMkLst>
        </pc:grpChg>
        <pc:grpChg chg="del mod">
          <ac:chgData name="Mariam Daniela Tristancho Pineda (MISION TEMPORAL LTDA)" userId="a45a17f7-7950-4cb5-bfab-f5c894f959a9" providerId="ADAL" clId="{9D150B60-33B5-4A3E-8123-A67E35AA8D44}" dt="2020-07-27T23:29:13.940" v="14942" actId="478"/>
          <ac:grpSpMkLst>
            <pc:docMk/>
            <pc:sldMk cId="2183210988" sldId="2134804342"/>
            <ac:grpSpMk id="165" creationId="{3E88F80D-5F8F-4B0A-A23A-B734C2EE0391}"/>
          </ac:grpSpMkLst>
        </pc:grpChg>
        <pc:grpChg chg="add del mod">
          <ac:chgData name="Mariam Daniela Tristancho Pineda (MISION TEMPORAL LTDA)" userId="a45a17f7-7950-4cb5-bfab-f5c894f959a9" providerId="ADAL" clId="{9D150B60-33B5-4A3E-8123-A67E35AA8D44}" dt="2020-07-27T23:29:13.940" v="14942" actId="478"/>
          <ac:grpSpMkLst>
            <pc:docMk/>
            <pc:sldMk cId="2183210988" sldId="2134804342"/>
            <ac:grpSpMk id="167" creationId="{63AEDB8E-9F96-4691-A9CB-A70EAAEF70B8}"/>
          </ac:grpSpMkLst>
        </pc:grpChg>
        <pc:grpChg chg="add del mod">
          <ac:chgData name="Mariam Daniela Tristancho Pineda (MISION TEMPORAL LTDA)" userId="a45a17f7-7950-4cb5-bfab-f5c894f959a9" providerId="ADAL" clId="{9D150B60-33B5-4A3E-8123-A67E35AA8D44}" dt="2020-07-27T23:29:13.940" v="14942" actId="478"/>
          <ac:grpSpMkLst>
            <pc:docMk/>
            <pc:sldMk cId="2183210988" sldId="2134804342"/>
            <ac:grpSpMk id="174" creationId="{C6C04382-85B7-4D3F-B803-EA4D1267F0BA}"/>
          </ac:grpSpMkLst>
        </pc:grpChg>
        <pc:grpChg chg="add del mod">
          <ac:chgData name="Mariam Daniela Tristancho Pineda (MISION TEMPORAL LTDA)" userId="a45a17f7-7950-4cb5-bfab-f5c894f959a9" providerId="ADAL" clId="{9D150B60-33B5-4A3E-8123-A67E35AA8D44}" dt="2020-07-27T23:29:13.940" v="14942" actId="478"/>
          <ac:grpSpMkLst>
            <pc:docMk/>
            <pc:sldMk cId="2183210988" sldId="2134804342"/>
            <ac:grpSpMk id="178" creationId="{E673AC4C-B912-4B00-A07E-F353630C7D29}"/>
          </ac:grpSpMkLst>
        </pc:grpChg>
        <pc:grpChg chg="add del mod">
          <ac:chgData name="Mariam Daniela Tristancho Pineda (MISION TEMPORAL LTDA)" userId="a45a17f7-7950-4cb5-bfab-f5c894f959a9" providerId="ADAL" clId="{9D150B60-33B5-4A3E-8123-A67E35AA8D44}" dt="2020-07-27T23:29:13.940" v="14942" actId="478"/>
          <ac:grpSpMkLst>
            <pc:docMk/>
            <pc:sldMk cId="2183210988" sldId="2134804342"/>
            <ac:grpSpMk id="181" creationId="{F41557D1-2FC7-4DE5-8691-EAF2A4C637E1}"/>
          </ac:grpSpMkLst>
        </pc:grpChg>
        <pc:grpChg chg="add del mod">
          <ac:chgData name="Mariam Daniela Tristancho Pineda (MISION TEMPORAL LTDA)" userId="a45a17f7-7950-4cb5-bfab-f5c894f959a9" providerId="ADAL" clId="{9D150B60-33B5-4A3E-8123-A67E35AA8D44}" dt="2020-07-27T23:29:13.940" v="14942" actId="478"/>
          <ac:grpSpMkLst>
            <pc:docMk/>
            <pc:sldMk cId="2183210988" sldId="2134804342"/>
            <ac:grpSpMk id="186" creationId="{16DA9333-7032-45CE-9E3A-01409C1E6A05}"/>
          </ac:grpSpMkLst>
        </pc:grpChg>
        <pc:grpChg chg="add del mod">
          <ac:chgData name="Mariam Daniela Tristancho Pineda (MISION TEMPORAL LTDA)" userId="a45a17f7-7950-4cb5-bfab-f5c894f959a9" providerId="ADAL" clId="{9D150B60-33B5-4A3E-8123-A67E35AA8D44}" dt="2020-07-27T23:29:13.940" v="14942" actId="478"/>
          <ac:grpSpMkLst>
            <pc:docMk/>
            <pc:sldMk cId="2183210988" sldId="2134804342"/>
            <ac:grpSpMk id="191" creationId="{FA20B0AB-4006-4C51-82AE-68A90BD76171}"/>
          </ac:grpSpMkLst>
        </pc:grpChg>
        <pc:grpChg chg="add del mod">
          <ac:chgData name="Mariam Daniela Tristancho Pineda (MISION TEMPORAL LTDA)" userId="a45a17f7-7950-4cb5-bfab-f5c894f959a9" providerId="ADAL" clId="{9D150B60-33B5-4A3E-8123-A67E35AA8D44}" dt="2020-07-27T23:29:13.940" v="14942" actId="478"/>
          <ac:grpSpMkLst>
            <pc:docMk/>
            <pc:sldMk cId="2183210988" sldId="2134804342"/>
            <ac:grpSpMk id="200" creationId="{5EC7640D-CC76-46E2-91FB-5BC2A36E2B7B}"/>
          </ac:grpSpMkLst>
        </pc:grpChg>
        <pc:grpChg chg="add del mod">
          <ac:chgData name="Mariam Daniela Tristancho Pineda (MISION TEMPORAL LTDA)" userId="a45a17f7-7950-4cb5-bfab-f5c894f959a9" providerId="ADAL" clId="{9D150B60-33B5-4A3E-8123-A67E35AA8D44}" dt="2020-07-27T23:29:13.940" v="14942" actId="478"/>
          <ac:grpSpMkLst>
            <pc:docMk/>
            <pc:sldMk cId="2183210988" sldId="2134804342"/>
            <ac:grpSpMk id="210" creationId="{F31D1FA4-2A54-44F7-BB5E-B6B753EC0E14}"/>
          </ac:grpSpMkLst>
        </pc:grpChg>
        <pc:grpChg chg="add mod">
          <ac:chgData name="Mariam Daniela Tristancho Pineda (MISION TEMPORAL LTDA)" userId="a45a17f7-7950-4cb5-bfab-f5c894f959a9" providerId="ADAL" clId="{9D150B60-33B5-4A3E-8123-A67E35AA8D44}" dt="2020-07-28T00:17:45.401" v="15870" actId="1038"/>
          <ac:grpSpMkLst>
            <pc:docMk/>
            <pc:sldMk cId="2183210988" sldId="2134804342"/>
            <ac:grpSpMk id="246" creationId="{33576133-5A00-4266-B126-B2653B04E131}"/>
          </ac:grpSpMkLst>
        </pc:grpChg>
        <pc:grpChg chg="add mod">
          <ac:chgData name="Mariam Daniela Tristancho Pineda (MISION TEMPORAL LTDA)" userId="a45a17f7-7950-4cb5-bfab-f5c894f959a9" providerId="ADAL" clId="{9D150B60-33B5-4A3E-8123-A67E35AA8D44}" dt="2020-07-28T00:17:45.401" v="15870" actId="1038"/>
          <ac:grpSpMkLst>
            <pc:docMk/>
            <pc:sldMk cId="2183210988" sldId="2134804342"/>
            <ac:grpSpMk id="251" creationId="{02EFA6D4-9012-466E-B2A2-328E003E9AE2}"/>
          </ac:grpSpMkLst>
        </pc:grpChg>
        <pc:grpChg chg="add mod">
          <ac:chgData name="Mariam Daniela Tristancho Pineda (MISION TEMPORAL LTDA)" userId="a45a17f7-7950-4cb5-bfab-f5c894f959a9" providerId="ADAL" clId="{9D150B60-33B5-4A3E-8123-A67E35AA8D44}" dt="2020-07-28T00:17:45.401" v="15870" actId="1038"/>
          <ac:grpSpMkLst>
            <pc:docMk/>
            <pc:sldMk cId="2183210988" sldId="2134804342"/>
            <ac:grpSpMk id="260" creationId="{5094BFE4-6DFA-4A2B-A74D-946C007D2253}"/>
          </ac:grpSpMkLst>
        </pc:grpChg>
        <pc:grpChg chg="add mod">
          <ac:chgData name="Mariam Daniela Tristancho Pineda (MISION TEMPORAL LTDA)" userId="a45a17f7-7950-4cb5-bfab-f5c894f959a9" providerId="ADAL" clId="{9D150B60-33B5-4A3E-8123-A67E35AA8D44}" dt="2020-07-28T00:17:45.401" v="15870" actId="1038"/>
          <ac:grpSpMkLst>
            <pc:docMk/>
            <pc:sldMk cId="2183210988" sldId="2134804342"/>
            <ac:grpSpMk id="271" creationId="{766436A5-C27B-4952-9D9F-B481DE6E179A}"/>
          </ac:grpSpMkLst>
        </pc:grpChg>
        <pc:grpChg chg="add mod">
          <ac:chgData name="Mariam Daniela Tristancho Pineda (MISION TEMPORAL LTDA)" userId="a45a17f7-7950-4cb5-bfab-f5c894f959a9" providerId="ADAL" clId="{9D150B60-33B5-4A3E-8123-A67E35AA8D44}" dt="2020-07-28T00:17:45.401" v="15870" actId="1038"/>
          <ac:grpSpMkLst>
            <pc:docMk/>
            <pc:sldMk cId="2183210988" sldId="2134804342"/>
            <ac:grpSpMk id="290" creationId="{C77DBACA-5EAA-4731-9D52-2BFF5E1F4F24}"/>
          </ac:grpSpMkLst>
        </pc:grpChg>
        <pc:grpChg chg="add del mod">
          <ac:chgData name="Mariam Daniela Tristancho Pineda (MISION TEMPORAL LTDA)" userId="a45a17f7-7950-4cb5-bfab-f5c894f959a9" providerId="ADAL" clId="{9D150B60-33B5-4A3E-8123-A67E35AA8D44}" dt="2020-07-27T23:26:49.952" v="14854" actId="478"/>
          <ac:grpSpMkLst>
            <pc:docMk/>
            <pc:sldMk cId="2183210988" sldId="2134804342"/>
            <ac:grpSpMk id="306" creationId="{869BAC65-2C75-4BCD-9A86-96BFA18F3297}"/>
          </ac:grpSpMkLst>
        </pc:grpChg>
        <pc:grpChg chg="add del mod">
          <ac:chgData name="Mariam Daniela Tristancho Pineda (MISION TEMPORAL LTDA)" userId="a45a17f7-7950-4cb5-bfab-f5c894f959a9" providerId="ADAL" clId="{9D150B60-33B5-4A3E-8123-A67E35AA8D44}" dt="2020-07-27T23:26:53.894" v="14856" actId="478"/>
          <ac:grpSpMkLst>
            <pc:docMk/>
            <pc:sldMk cId="2183210988" sldId="2134804342"/>
            <ac:grpSpMk id="309" creationId="{BA372C06-01AB-47A5-B1A6-9D1ED335C395}"/>
          </ac:grpSpMkLst>
        </pc:grpChg>
        <pc:grpChg chg="add mod">
          <ac:chgData name="Mariam Daniela Tristancho Pineda (MISION TEMPORAL LTDA)" userId="a45a17f7-7950-4cb5-bfab-f5c894f959a9" providerId="ADAL" clId="{9D150B60-33B5-4A3E-8123-A67E35AA8D44}" dt="2020-07-28T00:17:45.401" v="15870" actId="1038"/>
          <ac:grpSpMkLst>
            <pc:docMk/>
            <pc:sldMk cId="2183210988" sldId="2134804342"/>
            <ac:grpSpMk id="312" creationId="{F50A07A5-682F-42EC-ABCB-06A749AADF93}"/>
          </ac:grpSpMkLst>
        </pc:grpChg>
        <pc:grpChg chg="add del mod">
          <ac:chgData name="Mariam Daniela Tristancho Pineda (MISION TEMPORAL LTDA)" userId="a45a17f7-7950-4cb5-bfab-f5c894f959a9" providerId="ADAL" clId="{9D150B60-33B5-4A3E-8123-A67E35AA8D44}" dt="2020-07-27T23:26:51.371" v="14855" actId="478"/>
          <ac:grpSpMkLst>
            <pc:docMk/>
            <pc:sldMk cId="2183210988" sldId="2134804342"/>
            <ac:grpSpMk id="315" creationId="{532E320E-2EF6-4B85-B098-4C106EECEBF6}"/>
          </ac:grpSpMkLst>
        </pc:grpChg>
        <pc:grpChg chg="add del mod">
          <ac:chgData name="Mariam Daniela Tristancho Pineda (MISION TEMPORAL LTDA)" userId="a45a17f7-7950-4cb5-bfab-f5c894f959a9" providerId="ADAL" clId="{9D150B60-33B5-4A3E-8123-A67E35AA8D44}" dt="2020-07-27T23:26:55.451" v="14857" actId="478"/>
          <ac:grpSpMkLst>
            <pc:docMk/>
            <pc:sldMk cId="2183210988" sldId="2134804342"/>
            <ac:grpSpMk id="318" creationId="{735D06CE-96DB-4CDE-A3E2-E7868430A6A5}"/>
          </ac:grpSpMkLst>
        </pc:grpChg>
        <pc:grpChg chg="add mod">
          <ac:chgData name="Mariam Daniela Tristancho Pineda (MISION TEMPORAL LTDA)" userId="a45a17f7-7950-4cb5-bfab-f5c894f959a9" providerId="ADAL" clId="{9D150B60-33B5-4A3E-8123-A67E35AA8D44}" dt="2020-07-28T00:17:45.401" v="15870" actId="1038"/>
          <ac:grpSpMkLst>
            <pc:docMk/>
            <pc:sldMk cId="2183210988" sldId="2134804342"/>
            <ac:grpSpMk id="321" creationId="{3FD3FABB-CBBB-409E-8690-2F43981E83A6}"/>
          </ac:grpSpMkLst>
        </pc:grpChg>
      </pc:sldChg>
      <pc:sldChg chg="addSp delSp modSp mod ord">
        <pc:chgData name="Mariam Daniela Tristancho Pineda (MISION TEMPORAL LTDA)" userId="a45a17f7-7950-4cb5-bfab-f5c894f959a9" providerId="ADAL" clId="{9D150B60-33B5-4A3E-8123-A67E35AA8D44}" dt="2020-07-28T15:04:46.774" v="20020"/>
        <pc:sldMkLst>
          <pc:docMk/>
          <pc:sldMk cId="1108072925" sldId="2134804343"/>
        </pc:sldMkLst>
        <pc:spChg chg="mod">
          <ac:chgData name="Mariam Daniela Tristancho Pineda (MISION TEMPORAL LTDA)" userId="a45a17f7-7950-4cb5-bfab-f5c894f959a9" providerId="ADAL" clId="{9D150B60-33B5-4A3E-8123-A67E35AA8D44}" dt="2020-07-28T13:34:14.033" v="19146" actId="13926"/>
          <ac:spMkLst>
            <pc:docMk/>
            <pc:sldMk cId="1108072925" sldId="2134804343"/>
            <ac:spMk id="3" creationId="{164DF9F9-0719-4943-934C-41A1DA9BF0D5}"/>
          </ac:spMkLst>
        </pc:spChg>
        <pc:spChg chg="mod">
          <ac:chgData name="Mariam Daniela Tristancho Pineda (MISION TEMPORAL LTDA)" userId="a45a17f7-7950-4cb5-bfab-f5c894f959a9" providerId="ADAL" clId="{9D150B60-33B5-4A3E-8123-A67E35AA8D44}" dt="2020-07-28T01:19:20.229" v="17755" actId="1076"/>
          <ac:spMkLst>
            <pc:docMk/>
            <pc:sldMk cId="1108072925" sldId="2134804343"/>
            <ac:spMk id="4" creationId="{25C67AAE-195C-4BD0-89AC-637004543F79}"/>
          </ac:spMkLst>
        </pc:spChg>
        <pc:spChg chg="mod">
          <ac:chgData name="Mariam Daniela Tristancho Pineda (MISION TEMPORAL LTDA)" userId="a45a17f7-7950-4cb5-bfab-f5c894f959a9" providerId="ADAL" clId="{9D150B60-33B5-4A3E-8123-A67E35AA8D44}" dt="2020-07-28T01:19:20.229" v="17755" actId="1076"/>
          <ac:spMkLst>
            <pc:docMk/>
            <pc:sldMk cId="1108072925" sldId="2134804343"/>
            <ac:spMk id="5" creationId="{DD5A3B7D-7DBE-4898-A489-8AE5D9344831}"/>
          </ac:spMkLst>
        </pc:spChg>
        <pc:spChg chg="mod">
          <ac:chgData name="Mariam Daniela Tristancho Pineda (MISION TEMPORAL LTDA)" userId="a45a17f7-7950-4cb5-bfab-f5c894f959a9" providerId="ADAL" clId="{9D150B60-33B5-4A3E-8123-A67E35AA8D44}" dt="2020-07-28T01:19:50.693" v="17762" actId="14100"/>
          <ac:spMkLst>
            <pc:docMk/>
            <pc:sldMk cId="1108072925" sldId="2134804343"/>
            <ac:spMk id="6" creationId="{F890A780-0AE9-4BF0-8CB4-292BA41F0D4D}"/>
          </ac:spMkLst>
        </pc:spChg>
        <pc:spChg chg="mod">
          <ac:chgData name="Mariam Daniela Tristancho Pineda (MISION TEMPORAL LTDA)" userId="a45a17f7-7950-4cb5-bfab-f5c894f959a9" providerId="ADAL" clId="{9D150B60-33B5-4A3E-8123-A67E35AA8D44}" dt="2020-07-28T01:20:03.629" v="17765" actId="1076"/>
          <ac:spMkLst>
            <pc:docMk/>
            <pc:sldMk cId="1108072925" sldId="2134804343"/>
            <ac:spMk id="7" creationId="{8A2BBF5B-87FF-4A67-94F6-B149160C9102}"/>
          </ac:spMkLst>
        </pc:spChg>
        <pc:spChg chg="mod">
          <ac:chgData name="Mariam Daniela Tristancho Pineda (MISION TEMPORAL LTDA)" userId="a45a17f7-7950-4cb5-bfab-f5c894f959a9" providerId="ADAL" clId="{9D150B60-33B5-4A3E-8123-A67E35AA8D44}" dt="2020-07-28T01:19:58.828" v="17764" actId="1076"/>
          <ac:spMkLst>
            <pc:docMk/>
            <pc:sldMk cId="1108072925" sldId="2134804343"/>
            <ac:spMk id="8" creationId="{B43FC437-82E8-4198-8B4B-072E5DB4852E}"/>
          </ac:spMkLst>
        </pc:spChg>
        <pc:spChg chg="mod">
          <ac:chgData name="Mariam Daniela Tristancho Pineda (MISION TEMPORAL LTDA)" userId="a45a17f7-7950-4cb5-bfab-f5c894f959a9" providerId="ADAL" clId="{9D150B60-33B5-4A3E-8123-A67E35AA8D44}" dt="2020-07-28T01:13:49.068" v="17647" actId="20577"/>
          <ac:spMkLst>
            <pc:docMk/>
            <pc:sldMk cId="1108072925" sldId="2134804343"/>
            <ac:spMk id="9" creationId="{4B2629AB-0194-4429-B721-D46F1AE1DD27}"/>
          </ac:spMkLst>
        </pc:spChg>
        <pc:spChg chg="del">
          <ac:chgData name="Mariam Daniela Tristancho Pineda (MISION TEMPORAL LTDA)" userId="a45a17f7-7950-4cb5-bfab-f5c894f959a9" providerId="ADAL" clId="{9D150B60-33B5-4A3E-8123-A67E35AA8D44}" dt="2020-07-28T01:07:11.710" v="17364" actId="478"/>
          <ac:spMkLst>
            <pc:docMk/>
            <pc:sldMk cId="1108072925" sldId="2134804343"/>
            <ac:spMk id="14" creationId="{FE03BCAB-75A5-44EE-8BDC-032F6CEBA0D7}"/>
          </ac:spMkLst>
        </pc:spChg>
        <pc:spChg chg="del">
          <ac:chgData name="Mariam Daniela Tristancho Pineda (MISION TEMPORAL LTDA)" userId="a45a17f7-7950-4cb5-bfab-f5c894f959a9" providerId="ADAL" clId="{9D150B60-33B5-4A3E-8123-A67E35AA8D44}" dt="2020-07-28T01:07:00.835" v="17355" actId="478"/>
          <ac:spMkLst>
            <pc:docMk/>
            <pc:sldMk cId="1108072925" sldId="2134804343"/>
            <ac:spMk id="15" creationId="{EA00BF16-70C8-4E77-BCFE-26B7A24F5A4E}"/>
          </ac:spMkLst>
        </pc:spChg>
        <pc:spChg chg="del">
          <ac:chgData name="Mariam Daniela Tristancho Pineda (MISION TEMPORAL LTDA)" userId="a45a17f7-7950-4cb5-bfab-f5c894f959a9" providerId="ADAL" clId="{9D150B60-33B5-4A3E-8123-A67E35AA8D44}" dt="2020-07-28T01:07:13.061" v="17365" actId="478"/>
          <ac:spMkLst>
            <pc:docMk/>
            <pc:sldMk cId="1108072925" sldId="2134804343"/>
            <ac:spMk id="16" creationId="{3B6388DF-8204-4D49-A700-558B0FC89E23}"/>
          </ac:spMkLst>
        </pc:spChg>
        <pc:spChg chg="del">
          <ac:chgData name="Mariam Daniela Tristancho Pineda (MISION TEMPORAL LTDA)" userId="a45a17f7-7950-4cb5-bfab-f5c894f959a9" providerId="ADAL" clId="{9D150B60-33B5-4A3E-8123-A67E35AA8D44}" dt="2020-07-28T01:07:13.061" v="17365" actId="478"/>
          <ac:spMkLst>
            <pc:docMk/>
            <pc:sldMk cId="1108072925" sldId="2134804343"/>
            <ac:spMk id="17" creationId="{72E841CB-C40B-4127-9904-0A2112173004}"/>
          </ac:spMkLst>
        </pc:spChg>
        <pc:spChg chg="del">
          <ac:chgData name="Mariam Daniela Tristancho Pineda (MISION TEMPORAL LTDA)" userId="a45a17f7-7950-4cb5-bfab-f5c894f959a9" providerId="ADAL" clId="{9D150B60-33B5-4A3E-8123-A67E35AA8D44}" dt="2020-07-28T01:07:11.710" v="17364" actId="478"/>
          <ac:spMkLst>
            <pc:docMk/>
            <pc:sldMk cId="1108072925" sldId="2134804343"/>
            <ac:spMk id="18" creationId="{1E8B7C51-F2DC-4BF4-9153-322E3E232CB9}"/>
          </ac:spMkLst>
        </pc:spChg>
        <pc:spChg chg="del">
          <ac:chgData name="Mariam Daniela Tristancho Pineda (MISION TEMPORAL LTDA)" userId="a45a17f7-7950-4cb5-bfab-f5c894f959a9" providerId="ADAL" clId="{9D150B60-33B5-4A3E-8123-A67E35AA8D44}" dt="2020-07-28T01:07:13.061" v="17365" actId="478"/>
          <ac:spMkLst>
            <pc:docMk/>
            <pc:sldMk cId="1108072925" sldId="2134804343"/>
            <ac:spMk id="19" creationId="{417BFA43-D1EC-4C66-AF9D-19CAC9D70AB8}"/>
          </ac:spMkLst>
        </pc:spChg>
        <pc:spChg chg="mod">
          <ac:chgData name="Mariam Daniela Tristancho Pineda (MISION TEMPORAL LTDA)" userId="a45a17f7-7950-4cb5-bfab-f5c894f959a9" providerId="ADAL" clId="{9D150B60-33B5-4A3E-8123-A67E35AA8D44}" dt="2020-07-28T01:19:20.229" v="17755" actId="1076"/>
          <ac:spMkLst>
            <pc:docMk/>
            <pc:sldMk cId="1108072925" sldId="2134804343"/>
            <ac:spMk id="20" creationId="{E65910E4-A096-40D0-B0E3-D9CCC9F11F42}"/>
          </ac:spMkLst>
        </pc:spChg>
        <pc:spChg chg="mod">
          <ac:chgData name="Mariam Daniela Tristancho Pineda (MISION TEMPORAL LTDA)" userId="a45a17f7-7950-4cb5-bfab-f5c894f959a9" providerId="ADAL" clId="{9D150B60-33B5-4A3E-8123-A67E35AA8D44}" dt="2020-07-28T01:19:20.229" v="17755" actId="1076"/>
          <ac:spMkLst>
            <pc:docMk/>
            <pc:sldMk cId="1108072925" sldId="2134804343"/>
            <ac:spMk id="21" creationId="{EB999A37-346B-4C56-9214-B4DDB0DC4136}"/>
          </ac:spMkLst>
        </pc:spChg>
        <pc:spChg chg="mod">
          <ac:chgData name="Mariam Daniela Tristancho Pineda (MISION TEMPORAL LTDA)" userId="a45a17f7-7950-4cb5-bfab-f5c894f959a9" providerId="ADAL" clId="{9D150B60-33B5-4A3E-8123-A67E35AA8D44}" dt="2020-07-28T01:19:20.229" v="17755" actId="1076"/>
          <ac:spMkLst>
            <pc:docMk/>
            <pc:sldMk cId="1108072925" sldId="2134804343"/>
            <ac:spMk id="24" creationId="{ACD3A537-2FEC-4895-A698-734B2A198980}"/>
          </ac:spMkLst>
        </pc:spChg>
        <pc:spChg chg="mod">
          <ac:chgData name="Mariam Daniela Tristancho Pineda (MISION TEMPORAL LTDA)" userId="a45a17f7-7950-4cb5-bfab-f5c894f959a9" providerId="ADAL" clId="{9D150B60-33B5-4A3E-8123-A67E35AA8D44}" dt="2020-07-28T01:19:52.092" v="17763" actId="1076"/>
          <ac:spMkLst>
            <pc:docMk/>
            <pc:sldMk cId="1108072925" sldId="2134804343"/>
            <ac:spMk id="25" creationId="{54D9DE30-764E-4960-A02B-656F455ACCD8}"/>
          </ac:spMkLst>
        </pc:spChg>
        <pc:spChg chg="mod">
          <ac:chgData name="Mariam Daniela Tristancho Pineda (MISION TEMPORAL LTDA)" userId="a45a17f7-7950-4cb5-bfab-f5c894f959a9" providerId="ADAL" clId="{9D150B60-33B5-4A3E-8123-A67E35AA8D44}" dt="2020-07-28T01:20:03.629" v="17765" actId="1076"/>
          <ac:spMkLst>
            <pc:docMk/>
            <pc:sldMk cId="1108072925" sldId="2134804343"/>
            <ac:spMk id="26" creationId="{73903E7D-5976-4068-872C-534A412616F3}"/>
          </ac:spMkLst>
        </pc:spChg>
        <pc:spChg chg="mod">
          <ac:chgData name="Mariam Daniela Tristancho Pineda (MISION TEMPORAL LTDA)" userId="a45a17f7-7950-4cb5-bfab-f5c894f959a9" providerId="ADAL" clId="{9D150B60-33B5-4A3E-8123-A67E35AA8D44}" dt="2020-07-28T01:19:58.828" v="17764" actId="1076"/>
          <ac:spMkLst>
            <pc:docMk/>
            <pc:sldMk cId="1108072925" sldId="2134804343"/>
            <ac:spMk id="27" creationId="{8BA59867-5BA3-42BA-BFED-FBEB4191A8C9}"/>
          </ac:spMkLst>
        </pc:spChg>
        <pc:spChg chg="del mod">
          <ac:chgData name="Mariam Daniela Tristancho Pineda (MISION TEMPORAL LTDA)" userId="a45a17f7-7950-4cb5-bfab-f5c894f959a9" providerId="ADAL" clId="{9D150B60-33B5-4A3E-8123-A67E35AA8D44}" dt="2020-07-28T01:15:32.750" v="17688" actId="478"/>
          <ac:spMkLst>
            <pc:docMk/>
            <pc:sldMk cId="1108072925" sldId="2134804343"/>
            <ac:spMk id="84" creationId="{886FB85F-4045-49C0-B9EC-FEBB97BC84D1}"/>
          </ac:spMkLst>
        </pc:spChg>
        <pc:spChg chg="del mod">
          <ac:chgData name="Mariam Daniela Tristancho Pineda (MISION TEMPORAL LTDA)" userId="a45a17f7-7950-4cb5-bfab-f5c894f959a9" providerId="ADAL" clId="{9D150B60-33B5-4A3E-8123-A67E35AA8D44}" dt="2020-07-28T01:15:32.750" v="17688" actId="478"/>
          <ac:spMkLst>
            <pc:docMk/>
            <pc:sldMk cId="1108072925" sldId="2134804343"/>
            <ac:spMk id="85" creationId="{6C4D690C-0DB4-41A6-A8EE-0D7063849892}"/>
          </ac:spMkLst>
        </pc:spChg>
        <pc:spChg chg="del mod">
          <ac:chgData name="Mariam Daniela Tristancho Pineda (MISION TEMPORAL LTDA)" userId="a45a17f7-7950-4cb5-bfab-f5c894f959a9" providerId="ADAL" clId="{9D150B60-33B5-4A3E-8123-A67E35AA8D44}" dt="2020-07-28T01:15:32.750" v="17688" actId="478"/>
          <ac:spMkLst>
            <pc:docMk/>
            <pc:sldMk cId="1108072925" sldId="2134804343"/>
            <ac:spMk id="86" creationId="{67F18975-54EA-4187-B6DC-1E49D8E3794E}"/>
          </ac:spMkLst>
        </pc:spChg>
        <pc:spChg chg="del mod">
          <ac:chgData name="Mariam Daniela Tristancho Pineda (MISION TEMPORAL LTDA)" userId="a45a17f7-7950-4cb5-bfab-f5c894f959a9" providerId="ADAL" clId="{9D150B60-33B5-4A3E-8123-A67E35AA8D44}" dt="2020-07-28T01:15:32.750" v="17688" actId="478"/>
          <ac:spMkLst>
            <pc:docMk/>
            <pc:sldMk cId="1108072925" sldId="2134804343"/>
            <ac:spMk id="87" creationId="{455C26A8-EBAD-4421-B4F0-87FC292780FA}"/>
          </ac:spMkLst>
        </pc:spChg>
        <pc:spChg chg="del mod">
          <ac:chgData name="Mariam Daniela Tristancho Pineda (MISION TEMPORAL LTDA)" userId="a45a17f7-7950-4cb5-bfab-f5c894f959a9" providerId="ADAL" clId="{9D150B60-33B5-4A3E-8123-A67E35AA8D44}" dt="2020-07-28T01:15:32.750" v="17688" actId="478"/>
          <ac:spMkLst>
            <pc:docMk/>
            <pc:sldMk cId="1108072925" sldId="2134804343"/>
            <ac:spMk id="88" creationId="{58E7088F-6565-4477-A2B9-065944FF04EF}"/>
          </ac:spMkLst>
        </pc:spChg>
        <pc:spChg chg="del mod">
          <ac:chgData name="Mariam Daniela Tristancho Pineda (MISION TEMPORAL LTDA)" userId="a45a17f7-7950-4cb5-bfab-f5c894f959a9" providerId="ADAL" clId="{9D150B60-33B5-4A3E-8123-A67E35AA8D44}" dt="2020-07-28T01:15:32.750" v="17688" actId="478"/>
          <ac:spMkLst>
            <pc:docMk/>
            <pc:sldMk cId="1108072925" sldId="2134804343"/>
            <ac:spMk id="98" creationId="{2874F4A7-BA31-42F8-8B44-D2B5FBA0E2F3}"/>
          </ac:spMkLst>
        </pc:spChg>
        <pc:spChg chg="del mod">
          <ac:chgData name="Mariam Daniela Tristancho Pineda (MISION TEMPORAL LTDA)" userId="a45a17f7-7950-4cb5-bfab-f5c894f959a9" providerId="ADAL" clId="{9D150B60-33B5-4A3E-8123-A67E35AA8D44}" dt="2020-07-28T01:15:32.750" v="17688" actId="478"/>
          <ac:spMkLst>
            <pc:docMk/>
            <pc:sldMk cId="1108072925" sldId="2134804343"/>
            <ac:spMk id="99" creationId="{998B0A73-274C-481A-A4B8-8A1CBF5C7BCE}"/>
          </ac:spMkLst>
        </pc:spChg>
        <pc:spChg chg="del mod">
          <ac:chgData name="Mariam Daniela Tristancho Pineda (MISION TEMPORAL LTDA)" userId="a45a17f7-7950-4cb5-bfab-f5c894f959a9" providerId="ADAL" clId="{9D150B60-33B5-4A3E-8123-A67E35AA8D44}" dt="2020-07-28T01:15:32.750" v="17688" actId="478"/>
          <ac:spMkLst>
            <pc:docMk/>
            <pc:sldMk cId="1108072925" sldId="2134804343"/>
            <ac:spMk id="100" creationId="{C18B66AE-9817-483D-AAE7-505E4F691E5D}"/>
          </ac:spMkLst>
        </pc:spChg>
        <pc:spChg chg="del mod">
          <ac:chgData name="Mariam Daniela Tristancho Pineda (MISION TEMPORAL LTDA)" userId="a45a17f7-7950-4cb5-bfab-f5c894f959a9" providerId="ADAL" clId="{9D150B60-33B5-4A3E-8123-A67E35AA8D44}" dt="2020-07-28T01:15:32.750" v="17688" actId="478"/>
          <ac:spMkLst>
            <pc:docMk/>
            <pc:sldMk cId="1108072925" sldId="2134804343"/>
            <ac:spMk id="101" creationId="{DA655B72-124C-4293-8F6E-D524B87ECFC7}"/>
          </ac:spMkLst>
        </pc:spChg>
        <pc:spChg chg="del mod">
          <ac:chgData name="Mariam Daniela Tristancho Pineda (MISION TEMPORAL LTDA)" userId="a45a17f7-7950-4cb5-bfab-f5c894f959a9" providerId="ADAL" clId="{9D150B60-33B5-4A3E-8123-A67E35AA8D44}" dt="2020-07-28T01:15:32.750" v="17688" actId="478"/>
          <ac:spMkLst>
            <pc:docMk/>
            <pc:sldMk cId="1108072925" sldId="2134804343"/>
            <ac:spMk id="102" creationId="{D67A4E90-F0D2-4EE2-98BE-5F82E84023F3}"/>
          </ac:spMkLst>
        </pc:spChg>
        <pc:spChg chg="del mod">
          <ac:chgData name="Mariam Daniela Tristancho Pineda (MISION TEMPORAL LTDA)" userId="a45a17f7-7950-4cb5-bfab-f5c894f959a9" providerId="ADAL" clId="{9D150B60-33B5-4A3E-8123-A67E35AA8D44}" dt="2020-07-28T01:15:32.750" v="17688" actId="478"/>
          <ac:spMkLst>
            <pc:docMk/>
            <pc:sldMk cId="1108072925" sldId="2134804343"/>
            <ac:spMk id="103" creationId="{F2FC0816-B83C-46C8-9FA1-F426211DB612}"/>
          </ac:spMkLst>
        </pc:spChg>
        <pc:spChg chg="del mod">
          <ac:chgData name="Mariam Daniela Tristancho Pineda (MISION TEMPORAL LTDA)" userId="a45a17f7-7950-4cb5-bfab-f5c894f959a9" providerId="ADAL" clId="{9D150B60-33B5-4A3E-8123-A67E35AA8D44}" dt="2020-07-28T01:15:32.750" v="17688" actId="478"/>
          <ac:spMkLst>
            <pc:docMk/>
            <pc:sldMk cId="1108072925" sldId="2134804343"/>
            <ac:spMk id="104" creationId="{FBA1521A-5C1D-4407-905C-71C307B27F97}"/>
          </ac:spMkLst>
        </pc:spChg>
        <pc:spChg chg="del mod">
          <ac:chgData name="Mariam Daniela Tristancho Pineda (MISION TEMPORAL LTDA)" userId="a45a17f7-7950-4cb5-bfab-f5c894f959a9" providerId="ADAL" clId="{9D150B60-33B5-4A3E-8123-A67E35AA8D44}" dt="2020-07-28T01:15:32.750" v="17688" actId="478"/>
          <ac:spMkLst>
            <pc:docMk/>
            <pc:sldMk cId="1108072925" sldId="2134804343"/>
            <ac:spMk id="105" creationId="{B56171C3-6BB7-49EC-BD2D-F2473F3C4E2B}"/>
          </ac:spMkLst>
        </pc:spChg>
        <pc:spChg chg="del mod">
          <ac:chgData name="Mariam Daniela Tristancho Pineda (MISION TEMPORAL LTDA)" userId="a45a17f7-7950-4cb5-bfab-f5c894f959a9" providerId="ADAL" clId="{9D150B60-33B5-4A3E-8123-A67E35AA8D44}" dt="2020-07-28T01:15:32.750" v="17688" actId="478"/>
          <ac:spMkLst>
            <pc:docMk/>
            <pc:sldMk cId="1108072925" sldId="2134804343"/>
            <ac:spMk id="106" creationId="{47144B9C-3AB4-4608-898D-E5D227B54004}"/>
          </ac:spMkLst>
        </pc:spChg>
        <pc:spChg chg="del mod">
          <ac:chgData name="Mariam Daniela Tristancho Pineda (MISION TEMPORAL LTDA)" userId="a45a17f7-7950-4cb5-bfab-f5c894f959a9" providerId="ADAL" clId="{9D150B60-33B5-4A3E-8123-A67E35AA8D44}" dt="2020-07-28T01:15:32.750" v="17688" actId="478"/>
          <ac:spMkLst>
            <pc:docMk/>
            <pc:sldMk cId="1108072925" sldId="2134804343"/>
            <ac:spMk id="107" creationId="{C5E9DB97-7794-4A4A-A523-A103AD0517ED}"/>
          </ac:spMkLst>
        </pc:spChg>
        <pc:spChg chg="del mod">
          <ac:chgData name="Mariam Daniela Tristancho Pineda (MISION TEMPORAL LTDA)" userId="a45a17f7-7950-4cb5-bfab-f5c894f959a9" providerId="ADAL" clId="{9D150B60-33B5-4A3E-8123-A67E35AA8D44}" dt="2020-07-28T01:15:32.750" v="17688" actId="478"/>
          <ac:spMkLst>
            <pc:docMk/>
            <pc:sldMk cId="1108072925" sldId="2134804343"/>
            <ac:spMk id="108" creationId="{0DC7BE94-6BD5-46D4-BC49-2B712E9DEB9D}"/>
          </ac:spMkLst>
        </pc:spChg>
        <pc:spChg chg="del mod">
          <ac:chgData name="Mariam Daniela Tristancho Pineda (MISION TEMPORAL LTDA)" userId="a45a17f7-7950-4cb5-bfab-f5c894f959a9" providerId="ADAL" clId="{9D150B60-33B5-4A3E-8123-A67E35AA8D44}" dt="2020-07-28T01:15:32.750" v="17688" actId="478"/>
          <ac:spMkLst>
            <pc:docMk/>
            <pc:sldMk cId="1108072925" sldId="2134804343"/>
            <ac:spMk id="109" creationId="{E2C836AB-E138-454F-A410-54DB37F42323}"/>
          </ac:spMkLst>
        </pc:spChg>
        <pc:spChg chg="del mod">
          <ac:chgData name="Mariam Daniela Tristancho Pineda (MISION TEMPORAL LTDA)" userId="a45a17f7-7950-4cb5-bfab-f5c894f959a9" providerId="ADAL" clId="{9D150B60-33B5-4A3E-8123-A67E35AA8D44}" dt="2020-07-28T01:15:32.750" v="17688" actId="478"/>
          <ac:spMkLst>
            <pc:docMk/>
            <pc:sldMk cId="1108072925" sldId="2134804343"/>
            <ac:spMk id="110" creationId="{E9975283-C6EA-4D0A-929B-59144ED5D0CE}"/>
          </ac:spMkLst>
        </pc:spChg>
        <pc:spChg chg="del mod">
          <ac:chgData name="Mariam Daniela Tristancho Pineda (MISION TEMPORAL LTDA)" userId="a45a17f7-7950-4cb5-bfab-f5c894f959a9" providerId="ADAL" clId="{9D150B60-33B5-4A3E-8123-A67E35AA8D44}" dt="2020-07-28T01:15:32.750" v="17688" actId="478"/>
          <ac:spMkLst>
            <pc:docMk/>
            <pc:sldMk cId="1108072925" sldId="2134804343"/>
            <ac:spMk id="111" creationId="{332D485A-369B-4473-A3F1-550E372F3A44}"/>
          </ac:spMkLst>
        </pc:spChg>
        <pc:spChg chg="mod">
          <ac:chgData name="Mariam Daniela Tristancho Pineda (MISION TEMPORAL LTDA)" userId="a45a17f7-7950-4cb5-bfab-f5c894f959a9" providerId="ADAL" clId="{9D150B60-33B5-4A3E-8123-A67E35AA8D44}" dt="2020-07-28T01:07:01.144" v="17356"/>
          <ac:spMkLst>
            <pc:docMk/>
            <pc:sldMk cId="1108072925" sldId="2134804343"/>
            <ac:spMk id="113" creationId="{65426CA7-DF13-4166-B929-391A6B479EF2}"/>
          </ac:spMkLst>
        </pc:spChg>
        <pc:spChg chg="mod">
          <ac:chgData name="Mariam Daniela Tristancho Pineda (MISION TEMPORAL LTDA)" userId="a45a17f7-7950-4cb5-bfab-f5c894f959a9" providerId="ADAL" clId="{9D150B60-33B5-4A3E-8123-A67E35AA8D44}" dt="2020-07-28T01:07:09.079" v="17363" actId="20577"/>
          <ac:spMkLst>
            <pc:docMk/>
            <pc:sldMk cId="1108072925" sldId="2134804343"/>
            <ac:spMk id="114" creationId="{34834366-0759-4E89-9A3A-288B6DA6C8C5}"/>
          </ac:spMkLst>
        </pc:spChg>
        <pc:spChg chg="mod">
          <ac:chgData name="Mariam Daniela Tristancho Pineda (MISION TEMPORAL LTDA)" userId="a45a17f7-7950-4cb5-bfab-f5c894f959a9" providerId="ADAL" clId="{9D150B60-33B5-4A3E-8123-A67E35AA8D44}" dt="2020-07-28T01:07:14.815" v="17366"/>
          <ac:spMkLst>
            <pc:docMk/>
            <pc:sldMk cId="1108072925" sldId="2134804343"/>
            <ac:spMk id="116" creationId="{C6DD9ECD-C92D-4704-97B3-B4C3AEE18640}"/>
          </ac:spMkLst>
        </pc:spChg>
        <pc:spChg chg="mod">
          <ac:chgData name="Mariam Daniela Tristancho Pineda (MISION TEMPORAL LTDA)" userId="a45a17f7-7950-4cb5-bfab-f5c894f959a9" providerId="ADAL" clId="{9D150B60-33B5-4A3E-8123-A67E35AA8D44}" dt="2020-07-28T01:07:18.117" v="17369" actId="20577"/>
          <ac:spMkLst>
            <pc:docMk/>
            <pc:sldMk cId="1108072925" sldId="2134804343"/>
            <ac:spMk id="117" creationId="{7F6BC1DB-4E40-4A47-850A-79B462E1AE26}"/>
          </ac:spMkLst>
        </pc:spChg>
        <pc:spChg chg="mod">
          <ac:chgData name="Mariam Daniela Tristancho Pineda (MISION TEMPORAL LTDA)" userId="a45a17f7-7950-4cb5-bfab-f5c894f959a9" providerId="ADAL" clId="{9D150B60-33B5-4A3E-8123-A67E35AA8D44}" dt="2020-07-28T01:07:21.570" v="17374"/>
          <ac:spMkLst>
            <pc:docMk/>
            <pc:sldMk cId="1108072925" sldId="2134804343"/>
            <ac:spMk id="119" creationId="{E44EFD7C-986C-4068-96FF-2799E98C60BE}"/>
          </ac:spMkLst>
        </pc:spChg>
        <pc:spChg chg="mod">
          <ac:chgData name="Mariam Daniela Tristancho Pineda (MISION TEMPORAL LTDA)" userId="a45a17f7-7950-4cb5-bfab-f5c894f959a9" providerId="ADAL" clId="{9D150B60-33B5-4A3E-8123-A67E35AA8D44}" dt="2020-07-28T01:07:28.774" v="17389" actId="20577"/>
          <ac:spMkLst>
            <pc:docMk/>
            <pc:sldMk cId="1108072925" sldId="2134804343"/>
            <ac:spMk id="120" creationId="{E73BF53D-5C4E-4100-BC6B-1DFC8B8FC737}"/>
          </ac:spMkLst>
        </pc:spChg>
        <pc:spChg chg="mod">
          <ac:chgData name="Mariam Daniela Tristancho Pineda (MISION TEMPORAL LTDA)" userId="a45a17f7-7950-4cb5-bfab-f5c894f959a9" providerId="ADAL" clId="{9D150B60-33B5-4A3E-8123-A67E35AA8D44}" dt="2020-07-28T01:07:30.372" v="17390"/>
          <ac:spMkLst>
            <pc:docMk/>
            <pc:sldMk cId="1108072925" sldId="2134804343"/>
            <ac:spMk id="122" creationId="{4BB3CAC2-15FB-4F1D-B702-9BD7ADC8A691}"/>
          </ac:spMkLst>
        </pc:spChg>
        <pc:spChg chg="mod">
          <ac:chgData name="Mariam Daniela Tristancho Pineda (MISION TEMPORAL LTDA)" userId="a45a17f7-7950-4cb5-bfab-f5c894f959a9" providerId="ADAL" clId="{9D150B60-33B5-4A3E-8123-A67E35AA8D44}" dt="2020-07-28T01:26:37.916" v="17872" actId="1038"/>
          <ac:spMkLst>
            <pc:docMk/>
            <pc:sldMk cId="1108072925" sldId="2134804343"/>
            <ac:spMk id="123" creationId="{AF32E794-4F50-4939-826B-17544165148C}"/>
          </ac:spMkLst>
        </pc:spChg>
        <pc:spChg chg="mod">
          <ac:chgData name="Mariam Daniela Tristancho Pineda (MISION TEMPORAL LTDA)" userId="a45a17f7-7950-4cb5-bfab-f5c894f959a9" providerId="ADAL" clId="{9D150B60-33B5-4A3E-8123-A67E35AA8D44}" dt="2020-07-28T01:07:38.202" v="17397"/>
          <ac:spMkLst>
            <pc:docMk/>
            <pc:sldMk cId="1108072925" sldId="2134804343"/>
            <ac:spMk id="125" creationId="{B6A9FC5B-4C07-4FED-BEA6-F63B467108DA}"/>
          </ac:spMkLst>
        </pc:spChg>
        <pc:spChg chg="mod">
          <ac:chgData name="Mariam Daniela Tristancho Pineda (MISION TEMPORAL LTDA)" userId="a45a17f7-7950-4cb5-bfab-f5c894f959a9" providerId="ADAL" clId="{9D150B60-33B5-4A3E-8123-A67E35AA8D44}" dt="2020-07-28T01:07:43.929" v="17409" actId="20577"/>
          <ac:spMkLst>
            <pc:docMk/>
            <pc:sldMk cId="1108072925" sldId="2134804343"/>
            <ac:spMk id="126" creationId="{8F1ADAC7-4725-4A8E-8E01-07F422E0CE8D}"/>
          </ac:spMkLst>
        </pc:spChg>
        <pc:spChg chg="mod">
          <ac:chgData name="Mariam Daniela Tristancho Pineda (MISION TEMPORAL LTDA)" userId="a45a17f7-7950-4cb5-bfab-f5c894f959a9" providerId="ADAL" clId="{9D150B60-33B5-4A3E-8123-A67E35AA8D44}" dt="2020-07-28T01:07:47.319" v="17410"/>
          <ac:spMkLst>
            <pc:docMk/>
            <pc:sldMk cId="1108072925" sldId="2134804343"/>
            <ac:spMk id="128" creationId="{3F91303F-DB37-48BC-85A3-C5D1573343A4}"/>
          </ac:spMkLst>
        </pc:spChg>
        <pc:spChg chg="mod">
          <ac:chgData name="Mariam Daniela Tristancho Pineda (MISION TEMPORAL LTDA)" userId="a45a17f7-7950-4cb5-bfab-f5c894f959a9" providerId="ADAL" clId="{9D150B60-33B5-4A3E-8123-A67E35AA8D44}" dt="2020-07-28T01:07:52.590" v="17416" actId="20577"/>
          <ac:spMkLst>
            <pc:docMk/>
            <pc:sldMk cId="1108072925" sldId="2134804343"/>
            <ac:spMk id="129" creationId="{547FDFA9-DFAE-49C9-8DB6-12CF8AF865B2}"/>
          </ac:spMkLst>
        </pc:spChg>
        <pc:spChg chg="add mod">
          <ac:chgData name="Mariam Daniela Tristancho Pineda (MISION TEMPORAL LTDA)" userId="a45a17f7-7950-4cb5-bfab-f5c894f959a9" providerId="ADAL" clId="{9D150B60-33B5-4A3E-8123-A67E35AA8D44}" dt="2020-07-28T13:34:29.311" v="19147" actId="13926"/>
          <ac:spMkLst>
            <pc:docMk/>
            <pc:sldMk cId="1108072925" sldId="2134804343"/>
            <ac:spMk id="130" creationId="{E6F7A92A-2E90-4E0A-AE82-D285E1B836CE}"/>
          </ac:spMkLst>
        </pc:spChg>
        <pc:spChg chg="add mod">
          <ac:chgData name="Mariam Daniela Tristancho Pineda (MISION TEMPORAL LTDA)" userId="a45a17f7-7950-4cb5-bfab-f5c894f959a9" providerId="ADAL" clId="{9D150B60-33B5-4A3E-8123-A67E35AA8D44}" dt="2020-07-28T01:19:34.388" v="17759" actId="1076"/>
          <ac:spMkLst>
            <pc:docMk/>
            <pc:sldMk cId="1108072925" sldId="2134804343"/>
            <ac:spMk id="131" creationId="{C35964BB-AF62-490A-95C9-F74F0297887A}"/>
          </ac:spMkLst>
        </pc:spChg>
        <pc:spChg chg="mod">
          <ac:chgData name="Mariam Daniela Tristancho Pineda (MISION TEMPORAL LTDA)" userId="a45a17f7-7950-4cb5-bfab-f5c894f959a9" providerId="ADAL" clId="{9D150B60-33B5-4A3E-8123-A67E35AA8D44}" dt="2020-07-28T01:14:01.701" v="17653"/>
          <ac:spMkLst>
            <pc:docMk/>
            <pc:sldMk cId="1108072925" sldId="2134804343"/>
            <ac:spMk id="133" creationId="{5825428C-4A68-4645-82E8-CDD413126FCC}"/>
          </ac:spMkLst>
        </pc:spChg>
        <pc:spChg chg="mod">
          <ac:chgData name="Mariam Daniela Tristancho Pineda (MISION TEMPORAL LTDA)" userId="a45a17f7-7950-4cb5-bfab-f5c894f959a9" providerId="ADAL" clId="{9D150B60-33B5-4A3E-8123-A67E35AA8D44}" dt="2020-07-28T01:14:01.701" v="17653"/>
          <ac:spMkLst>
            <pc:docMk/>
            <pc:sldMk cId="1108072925" sldId="2134804343"/>
            <ac:spMk id="134" creationId="{9DA84409-E78D-4C09-BD7D-3213865A7325}"/>
          </ac:spMkLst>
        </pc:spChg>
        <pc:spChg chg="add mod">
          <ac:chgData name="Mariam Daniela Tristancho Pineda (MISION TEMPORAL LTDA)" userId="a45a17f7-7950-4cb5-bfab-f5c894f959a9" providerId="ADAL" clId="{9D150B60-33B5-4A3E-8123-A67E35AA8D44}" dt="2020-07-28T01:20:21.799" v="17766" actId="1076"/>
          <ac:spMkLst>
            <pc:docMk/>
            <pc:sldMk cId="1108072925" sldId="2134804343"/>
            <ac:spMk id="135" creationId="{5B87A7D7-77D6-4944-AB47-116D5E89008C}"/>
          </ac:spMkLst>
        </pc:spChg>
        <pc:spChg chg="add mod">
          <ac:chgData name="Mariam Daniela Tristancho Pineda (MISION TEMPORAL LTDA)" userId="a45a17f7-7950-4cb5-bfab-f5c894f959a9" providerId="ADAL" clId="{9D150B60-33B5-4A3E-8123-A67E35AA8D44}" dt="2020-07-28T01:20:21.799" v="17766" actId="1076"/>
          <ac:spMkLst>
            <pc:docMk/>
            <pc:sldMk cId="1108072925" sldId="2134804343"/>
            <ac:spMk id="136" creationId="{13F74801-AB82-4189-BC8F-0348CA5227F6}"/>
          </ac:spMkLst>
        </pc:spChg>
        <pc:spChg chg="add mod">
          <ac:chgData name="Mariam Daniela Tristancho Pineda (MISION TEMPORAL LTDA)" userId="a45a17f7-7950-4cb5-bfab-f5c894f959a9" providerId="ADAL" clId="{9D150B60-33B5-4A3E-8123-A67E35AA8D44}" dt="2020-07-28T01:20:21.799" v="17766" actId="1076"/>
          <ac:spMkLst>
            <pc:docMk/>
            <pc:sldMk cId="1108072925" sldId="2134804343"/>
            <ac:spMk id="137" creationId="{3AE04B40-815A-413B-B670-12356A19D580}"/>
          </ac:spMkLst>
        </pc:spChg>
        <pc:spChg chg="add mod">
          <ac:chgData name="Mariam Daniela Tristancho Pineda (MISION TEMPORAL LTDA)" userId="a45a17f7-7950-4cb5-bfab-f5c894f959a9" providerId="ADAL" clId="{9D150B60-33B5-4A3E-8123-A67E35AA8D44}" dt="2020-07-28T01:20:21.799" v="17766" actId="1076"/>
          <ac:spMkLst>
            <pc:docMk/>
            <pc:sldMk cId="1108072925" sldId="2134804343"/>
            <ac:spMk id="138" creationId="{12D8E2D4-5693-4CB4-AE12-D13C5339BC69}"/>
          </ac:spMkLst>
        </pc:spChg>
        <pc:spChg chg="add mod">
          <ac:chgData name="Mariam Daniela Tristancho Pineda (MISION TEMPORAL LTDA)" userId="a45a17f7-7950-4cb5-bfab-f5c894f959a9" providerId="ADAL" clId="{9D150B60-33B5-4A3E-8123-A67E35AA8D44}" dt="2020-07-28T01:20:21.799" v="17766" actId="1076"/>
          <ac:spMkLst>
            <pc:docMk/>
            <pc:sldMk cId="1108072925" sldId="2134804343"/>
            <ac:spMk id="139" creationId="{8DCDDA4D-0FF0-4E24-A6D0-41A5291E7F77}"/>
          </ac:spMkLst>
        </pc:spChg>
        <pc:spChg chg="mod">
          <ac:chgData name="Mariam Daniela Tristancho Pineda (MISION TEMPORAL LTDA)" userId="a45a17f7-7950-4cb5-bfab-f5c894f959a9" providerId="ADAL" clId="{9D150B60-33B5-4A3E-8123-A67E35AA8D44}" dt="2020-07-28T01:19:01.482" v="17753"/>
          <ac:spMkLst>
            <pc:docMk/>
            <pc:sldMk cId="1108072925" sldId="2134804343"/>
            <ac:spMk id="141" creationId="{49B19C06-3562-4ECA-80E0-D14EC006A9B5}"/>
          </ac:spMkLst>
        </pc:spChg>
        <pc:spChg chg="mod">
          <ac:chgData name="Mariam Daniela Tristancho Pineda (MISION TEMPORAL LTDA)" userId="a45a17f7-7950-4cb5-bfab-f5c894f959a9" providerId="ADAL" clId="{9D150B60-33B5-4A3E-8123-A67E35AA8D44}" dt="2020-07-28T01:19:01.482" v="17753"/>
          <ac:spMkLst>
            <pc:docMk/>
            <pc:sldMk cId="1108072925" sldId="2134804343"/>
            <ac:spMk id="142" creationId="{2B9D1DDC-E53C-4AB4-8F8C-79CC1055A3B5}"/>
          </ac:spMkLst>
        </pc:spChg>
        <pc:spChg chg="mod">
          <ac:chgData name="Mariam Daniela Tristancho Pineda (MISION TEMPORAL LTDA)" userId="a45a17f7-7950-4cb5-bfab-f5c894f959a9" providerId="ADAL" clId="{9D150B60-33B5-4A3E-8123-A67E35AA8D44}" dt="2020-07-28T01:19:01.482" v="17753"/>
          <ac:spMkLst>
            <pc:docMk/>
            <pc:sldMk cId="1108072925" sldId="2134804343"/>
            <ac:spMk id="144" creationId="{97ED48DD-C568-4CA6-9624-E0A2935AAFAF}"/>
          </ac:spMkLst>
        </pc:spChg>
        <pc:spChg chg="mod">
          <ac:chgData name="Mariam Daniela Tristancho Pineda (MISION TEMPORAL LTDA)" userId="a45a17f7-7950-4cb5-bfab-f5c894f959a9" providerId="ADAL" clId="{9D150B60-33B5-4A3E-8123-A67E35AA8D44}" dt="2020-07-28T01:19:01.482" v="17753"/>
          <ac:spMkLst>
            <pc:docMk/>
            <pc:sldMk cId="1108072925" sldId="2134804343"/>
            <ac:spMk id="145" creationId="{392E4BD2-90A4-44CA-A9A1-462D5295388F}"/>
          </ac:spMkLst>
        </pc:spChg>
        <pc:spChg chg="mod">
          <ac:chgData name="Mariam Daniela Tristancho Pineda (MISION TEMPORAL LTDA)" userId="a45a17f7-7950-4cb5-bfab-f5c894f959a9" providerId="ADAL" clId="{9D150B60-33B5-4A3E-8123-A67E35AA8D44}" dt="2020-07-28T01:19:01.482" v="17753"/>
          <ac:spMkLst>
            <pc:docMk/>
            <pc:sldMk cId="1108072925" sldId="2134804343"/>
            <ac:spMk id="147" creationId="{E2693C04-5CC9-4A90-9134-55633540A7A6}"/>
          </ac:spMkLst>
        </pc:spChg>
        <pc:spChg chg="mod">
          <ac:chgData name="Mariam Daniela Tristancho Pineda (MISION TEMPORAL LTDA)" userId="a45a17f7-7950-4cb5-bfab-f5c894f959a9" providerId="ADAL" clId="{9D150B60-33B5-4A3E-8123-A67E35AA8D44}" dt="2020-07-28T01:19:01.482" v="17753"/>
          <ac:spMkLst>
            <pc:docMk/>
            <pc:sldMk cId="1108072925" sldId="2134804343"/>
            <ac:spMk id="148" creationId="{B4158DA3-191C-409A-B6B4-B81F27E65140}"/>
          </ac:spMkLst>
        </pc:spChg>
        <pc:spChg chg="mod">
          <ac:chgData name="Mariam Daniela Tristancho Pineda (MISION TEMPORAL LTDA)" userId="a45a17f7-7950-4cb5-bfab-f5c894f959a9" providerId="ADAL" clId="{9D150B60-33B5-4A3E-8123-A67E35AA8D44}" dt="2020-07-28T01:19:01.482" v="17753"/>
          <ac:spMkLst>
            <pc:docMk/>
            <pc:sldMk cId="1108072925" sldId="2134804343"/>
            <ac:spMk id="150" creationId="{CA1AF441-14FD-472C-9532-C8E9C87E1B31}"/>
          </ac:spMkLst>
        </pc:spChg>
        <pc:spChg chg="mod">
          <ac:chgData name="Mariam Daniela Tristancho Pineda (MISION TEMPORAL LTDA)" userId="a45a17f7-7950-4cb5-bfab-f5c894f959a9" providerId="ADAL" clId="{9D150B60-33B5-4A3E-8123-A67E35AA8D44}" dt="2020-07-28T01:19:01.482" v="17753"/>
          <ac:spMkLst>
            <pc:docMk/>
            <pc:sldMk cId="1108072925" sldId="2134804343"/>
            <ac:spMk id="151" creationId="{A3E53D3E-2217-41F5-BDE1-EFEB7219EE11}"/>
          </ac:spMkLst>
        </pc:spChg>
        <pc:spChg chg="mod">
          <ac:chgData name="Mariam Daniela Tristancho Pineda (MISION TEMPORAL LTDA)" userId="a45a17f7-7950-4cb5-bfab-f5c894f959a9" providerId="ADAL" clId="{9D150B60-33B5-4A3E-8123-A67E35AA8D44}" dt="2020-07-28T01:19:01.482" v="17753"/>
          <ac:spMkLst>
            <pc:docMk/>
            <pc:sldMk cId="1108072925" sldId="2134804343"/>
            <ac:spMk id="153" creationId="{D33DA854-DE3F-4CDD-A942-F3598A99B7CF}"/>
          </ac:spMkLst>
        </pc:spChg>
        <pc:spChg chg="mod">
          <ac:chgData name="Mariam Daniela Tristancho Pineda (MISION TEMPORAL LTDA)" userId="a45a17f7-7950-4cb5-bfab-f5c894f959a9" providerId="ADAL" clId="{9D150B60-33B5-4A3E-8123-A67E35AA8D44}" dt="2020-07-28T01:19:01.482" v="17753"/>
          <ac:spMkLst>
            <pc:docMk/>
            <pc:sldMk cId="1108072925" sldId="2134804343"/>
            <ac:spMk id="154" creationId="{933A4F2D-09AF-40AD-B1B5-EDC571938BCE}"/>
          </ac:spMkLst>
        </pc:spChg>
        <pc:spChg chg="mod">
          <ac:chgData name="Mariam Daniela Tristancho Pineda (MISION TEMPORAL LTDA)" userId="a45a17f7-7950-4cb5-bfab-f5c894f959a9" providerId="ADAL" clId="{9D150B60-33B5-4A3E-8123-A67E35AA8D44}" dt="2020-07-28T01:19:01.482" v="17753"/>
          <ac:spMkLst>
            <pc:docMk/>
            <pc:sldMk cId="1108072925" sldId="2134804343"/>
            <ac:spMk id="156" creationId="{A547B499-A1CE-4C2C-826C-097D82E481E5}"/>
          </ac:spMkLst>
        </pc:spChg>
        <pc:spChg chg="mod">
          <ac:chgData name="Mariam Daniela Tristancho Pineda (MISION TEMPORAL LTDA)" userId="a45a17f7-7950-4cb5-bfab-f5c894f959a9" providerId="ADAL" clId="{9D150B60-33B5-4A3E-8123-A67E35AA8D44}" dt="2020-07-28T01:19:01.482" v="17753"/>
          <ac:spMkLst>
            <pc:docMk/>
            <pc:sldMk cId="1108072925" sldId="2134804343"/>
            <ac:spMk id="157" creationId="{B09E8BC7-6112-462D-8358-7B930C3BA512}"/>
          </ac:spMkLst>
        </pc:spChg>
        <pc:spChg chg="mod">
          <ac:chgData name="Mariam Daniela Tristancho Pineda (MISION TEMPORAL LTDA)" userId="a45a17f7-7950-4cb5-bfab-f5c894f959a9" providerId="ADAL" clId="{9D150B60-33B5-4A3E-8123-A67E35AA8D44}" dt="2020-07-28T01:19:01.482" v="17753"/>
          <ac:spMkLst>
            <pc:docMk/>
            <pc:sldMk cId="1108072925" sldId="2134804343"/>
            <ac:spMk id="159" creationId="{036CEEB4-9765-4FD2-81E7-15DF55E12BFA}"/>
          </ac:spMkLst>
        </pc:spChg>
        <pc:spChg chg="mod">
          <ac:chgData name="Mariam Daniela Tristancho Pineda (MISION TEMPORAL LTDA)" userId="a45a17f7-7950-4cb5-bfab-f5c894f959a9" providerId="ADAL" clId="{9D150B60-33B5-4A3E-8123-A67E35AA8D44}" dt="2020-07-28T01:19:01.482" v="17753"/>
          <ac:spMkLst>
            <pc:docMk/>
            <pc:sldMk cId="1108072925" sldId="2134804343"/>
            <ac:spMk id="160" creationId="{034004F9-8836-4920-82B1-4AAEA5D25237}"/>
          </ac:spMkLst>
        </pc:spChg>
        <pc:spChg chg="mod">
          <ac:chgData name="Mariam Daniela Tristancho Pineda (MISION TEMPORAL LTDA)" userId="a45a17f7-7950-4cb5-bfab-f5c894f959a9" providerId="ADAL" clId="{9D150B60-33B5-4A3E-8123-A67E35AA8D44}" dt="2020-07-28T01:19:01.482" v="17753"/>
          <ac:spMkLst>
            <pc:docMk/>
            <pc:sldMk cId="1108072925" sldId="2134804343"/>
            <ac:spMk id="162" creationId="{3D7C1691-8B1C-4913-8FE0-AA92667A65BB}"/>
          </ac:spMkLst>
        </pc:spChg>
        <pc:spChg chg="mod">
          <ac:chgData name="Mariam Daniela Tristancho Pineda (MISION TEMPORAL LTDA)" userId="a45a17f7-7950-4cb5-bfab-f5c894f959a9" providerId="ADAL" clId="{9D150B60-33B5-4A3E-8123-A67E35AA8D44}" dt="2020-07-28T01:19:01.482" v="17753"/>
          <ac:spMkLst>
            <pc:docMk/>
            <pc:sldMk cId="1108072925" sldId="2134804343"/>
            <ac:spMk id="163" creationId="{5F7E38C8-282C-4864-A9B2-29D889C1865B}"/>
          </ac:spMkLst>
        </pc:spChg>
        <pc:spChg chg="mod">
          <ac:chgData name="Mariam Daniela Tristancho Pineda (MISION TEMPORAL LTDA)" userId="a45a17f7-7950-4cb5-bfab-f5c894f959a9" providerId="ADAL" clId="{9D150B60-33B5-4A3E-8123-A67E35AA8D44}" dt="2020-07-28T01:19:01.482" v="17753"/>
          <ac:spMkLst>
            <pc:docMk/>
            <pc:sldMk cId="1108072925" sldId="2134804343"/>
            <ac:spMk id="165" creationId="{69DC1B70-34B7-44DD-A639-219062E7C65F}"/>
          </ac:spMkLst>
        </pc:spChg>
        <pc:spChg chg="mod">
          <ac:chgData name="Mariam Daniela Tristancho Pineda (MISION TEMPORAL LTDA)" userId="a45a17f7-7950-4cb5-bfab-f5c894f959a9" providerId="ADAL" clId="{9D150B60-33B5-4A3E-8123-A67E35AA8D44}" dt="2020-07-28T01:19:01.482" v="17753"/>
          <ac:spMkLst>
            <pc:docMk/>
            <pc:sldMk cId="1108072925" sldId="2134804343"/>
            <ac:spMk id="166" creationId="{7FAAA0F9-F102-4527-9A45-89719603F496}"/>
          </ac:spMkLst>
        </pc:spChg>
        <pc:spChg chg="mod">
          <ac:chgData name="Mariam Daniela Tristancho Pineda (MISION TEMPORAL LTDA)" userId="a45a17f7-7950-4cb5-bfab-f5c894f959a9" providerId="ADAL" clId="{9D150B60-33B5-4A3E-8123-A67E35AA8D44}" dt="2020-07-28T01:26:57.602" v="17875"/>
          <ac:spMkLst>
            <pc:docMk/>
            <pc:sldMk cId="1108072925" sldId="2134804343"/>
            <ac:spMk id="168" creationId="{04D614FC-2437-400C-A3D0-495845624B0F}"/>
          </ac:spMkLst>
        </pc:spChg>
        <pc:spChg chg="mod">
          <ac:chgData name="Mariam Daniela Tristancho Pineda (MISION TEMPORAL LTDA)" userId="a45a17f7-7950-4cb5-bfab-f5c894f959a9" providerId="ADAL" clId="{9D150B60-33B5-4A3E-8123-A67E35AA8D44}" dt="2020-07-28T01:26:57.602" v="17875"/>
          <ac:spMkLst>
            <pc:docMk/>
            <pc:sldMk cId="1108072925" sldId="2134804343"/>
            <ac:spMk id="169" creationId="{6B2D35E1-B5E9-46DD-A806-C156C49A498B}"/>
          </ac:spMkLst>
        </pc:spChg>
        <pc:grpChg chg="del mod">
          <ac:chgData name="Mariam Daniela Tristancho Pineda (MISION TEMPORAL LTDA)" userId="a45a17f7-7950-4cb5-bfab-f5c894f959a9" providerId="ADAL" clId="{9D150B60-33B5-4A3E-8123-A67E35AA8D44}" dt="2020-07-28T01:15:32.750" v="17688" actId="478"/>
          <ac:grpSpMkLst>
            <pc:docMk/>
            <pc:sldMk cId="1108072925" sldId="2134804343"/>
            <ac:grpSpMk id="89" creationId="{59020B7F-5C00-46D8-B954-0E8DE83F8545}"/>
          </ac:grpSpMkLst>
        </pc:grpChg>
        <pc:grpChg chg="del mod">
          <ac:chgData name="Mariam Daniela Tristancho Pineda (MISION TEMPORAL LTDA)" userId="a45a17f7-7950-4cb5-bfab-f5c894f959a9" providerId="ADAL" clId="{9D150B60-33B5-4A3E-8123-A67E35AA8D44}" dt="2020-07-28T01:15:32.750" v="17688" actId="478"/>
          <ac:grpSpMkLst>
            <pc:docMk/>
            <pc:sldMk cId="1108072925" sldId="2134804343"/>
            <ac:grpSpMk id="92" creationId="{BD6C9D72-C63D-408A-8C68-F7A4DAA4B27E}"/>
          </ac:grpSpMkLst>
        </pc:grpChg>
        <pc:grpChg chg="del mod">
          <ac:chgData name="Mariam Daniela Tristancho Pineda (MISION TEMPORAL LTDA)" userId="a45a17f7-7950-4cb5-bfab-f5c894f959a9" providerId="ADAL" clId="{9D150B60-33B5-4A3E-8123-A67E35AA8D44}" dt="2020-07-28T01:15:32.750" v="17688" actId="478"/>
          <ac:grpSpMkLst>
            <pc:docMk/>
            <pc:sldMk cId="1108072925" sldId="2134804343"/>
            <ac:grpSpMk id="95" creationId="{008F843C-7249-4CAC-877B-CFA2F16F922E}"/>
          </ac:grpSpMkLst>
        </pc:grpChg>
        <pc:grpChg chg="add mod">
          <ac:chgData name="Mariam Daniela Tristancho Pineda (MISION TEMPORAL LTDA)" userId="a45a17f7-7950-4cb5-bfab-f5c894f959a9" providerId="ADAL" clId="{9D150B60-33B5-4A3E-8123-A67E35AA8D44}" dt="2020-07-28T01:26:20.266" v="17865" actId="12789"/>
          <ac:grpSpMkLst>
            <pc:docMk/>
            <pc:sldMk cId="1108072925" sldId="2134804343"/>
            <ac:grpSpMk id="112" creationId="{972FCF2A-FD03-49D3-8C0B-1BBE38305C46}"/>
          </ac:grpSpMkLst>
        </pc:grpChg>
        <pc:grpChg chg="add mod">
          <ac:chgData name="Mariam Daniela Tristancho Pineda (MISION TEMPORAL LTDA)" userId="a45a17f7-7950-4cb5-bfab-f5c894f959a9" providerId="ADAL" clId="{9D150B60-33B5-4A3E-8123-A67E35AA8D44}" dt="2020-07-28T01:26:25.768" v="17866" actId="1037"/>
          <ac:grpSpMkLst>
            <pc:docMk/>
            <pc:sldMk cId="1108072925" sldId="2134804343"/>
            <ac:grpSpMk id="115" creationId="{3701B5F0-81AD-443A-81EB-5C556EAFA1F3}"/>
          </ac:grpSpMkLst>
        </pc:grpChg>
        <pc:grpChg chg="add mod">
          <ac:chgData name="Mariam Daniela Tristancho Pineda (MISION TEMPORAL LTDA)" userId="a45a17f7-7950-4cb5-bfab-f5c894f959a9" providerId="ADAL" clId="{9D150B60-33B5-4A3E-8123-A67E35AA8D44}" dt="2020-07-28T01:26:27.724" v="17867" actId="1038"/>
          <ac:grpSpMkLst>
            <pc:docMk/>
            <pc:sldMk cId="1108072925" sldId="2134804343"/>
            <ac:grpSpMk id="118" creationId="{D377B78F-D375-47B1-8568-E06662B6DAAD}"/>
          </ac:grpSpMkLst>
        </pc:grpChg>
        <pc:grpChg chg="add mod">
          <ac:chgData name="Mariam Daniela Tristancho Pineda (MISION TEMPORAL LTDA)" userId="a45a17f7-7950-4cb5-bfab-f5c894f959a9" providerId="ADAL" clId="{9D150B60-33B5-4A3E-8123-A67E35AA8D44}" dt="2020-07-28T01:26:40.105" v="17873" actId="1038"/>
          <ac:grpSpMkLst>
            <pc:docMk/>
            <pc:sldMk cId="1108072925" sldId="2134804343"/>
            <ac:grpSpMk id="121" creationId="{86C4B84B-4233-4B9E-8F90-D5FC97FAAF7A}"/>
          </ac:grpSpMkLst>
        </pc:grpChg>
        <pc:grpChg chg="add mod">
          <ac:chgData name="Mariam Daniela Tristancho Pineda (MISION TEMPORAL LTDA)" userId="a45a17f7-7950-4cb5-bfab-f5c894f959a9" providerId="ADAL" clId="{9D150B60-33B5-4A3E-8123-A67E35AA8D44}" dt="2020-07-28T01:19:58.828" v="17764" actId="1076"/>
          <ac:grpSpMkLst>
            <pc:docMk/>
            <pc:sldMk cId="1108072925" sldId="2134804343"/>
            <ac:grpSpMk id="124" creationId="{4656D884-6034-4D33-BF43-DC4E22A753AE}"/>
          </ac:grpSpMkLst>
        </pc:grpChg>
        <pc:grpChg chg="add mod">
          <ac:chgData name="Mariam Daniela Tristancho Pineda (MISION TEMPORAL LTDA)" userId="a45a17f7-7950-4cb5-bfab-f5c894f959a9" providerId="ADAL" clId="{9D150B60-33B5-4A3E-8123-A67E35AA8D44}" dt="2020-07-28T01:26:45.061" v="17874" actId="1037"/>
          <ac:grpSpMkLst>
            <pc:docMk/>
            <pc:sldMk cId="1108072925" sldId="2134804343"/>
            <ac:grpSpMk id="127" creationId="{DB97B9B3-2FDB-4409-9069-0039CCBD4185}"/>
          </ac:grpSpMkLst>
        </pc:grpChg>
        <pc:grpChg chg="add mod">
          <ac:chgData name="Mariam Daniela Tristancho Pineda (MISION TEMPORAL LTDA)" userId="a45a17f7-7950-4cb5-bfab-f5c894f959a9" providerId="ADAL" clId="{9D150B60-33B5-4A3E-8123-A67E35AA8D44}" dt="2020-07-28T01:26:31.126" v="17870" actId="1038"/>
          <ac:grpSpMkLst>
            <pc:docMk/>
            <pc:sldMk cId="1108072925" sldId="2134804343"/>
            <ac:grpSpMk id="132" creationId="{3E3138A7-24EC-46A8-B30C-B2D100D4FD78}"/>
          </ac:grpSpMkLst>
        </pc:grpChg>
        <pc:grpChg chg="add mod">
          <ac:chgData name="Mariam Daniela Tristancho Pineda (MISION TEMPORAL LTDA)" userId="a45a17f7-7950-4cb5-bfab-f5c894f959a9" providerId="ADAL" clId="{9D150B60-33B5-4A3E-8123-A67E35AA8D44}" dt="2020-07-28T01:20:21.799" v="17766" actId="1076"/>
          <ac:grpSpMkLst>
            <pc:docMk/>
            <pc:sldMk cId="1108072925" sldId="2134804343"/>
            <ac:grpSpMk id="140" creationId="{89A29AE7-7F6C-4890-9B88-06A3EC85355F}"/>
          </ac:grpSpMkLst>
        </pc:grpChg>
        <pc:grpChg chg="add mod">
          <ac:chgData name="Mariam Daniela Tristancho Pineda (MISION TEMPORAL LTDA)" userId="a45a17f7-7950-4cb5-bfab-f5c894f959a9" providerId="ADAL" clId="{9D150B60-33B5-4A3E-8123-A67E35AA8D44}" dt="2020-07-28T01:20:21.799" v="17766" actId="1076"/>
          <ac:grpSpMkLst>
            <pc:docMk/>
            <pc:sldMk cId="1108072925" sldId="2134804343"/>
            <ac:grpSpMk id="143" creationId="{5AD05D54-864C-480F-B3BE-8EDE665F45C1}"/>
          </ac:grpSpMkLst>
        </pc:grpChg>
        <pc:grpChg chg="add mod">
          <ac:chgData name="Mariam Daniela Tristancho Pineda (MISION TEMPORAL LTDA)" userId="a45a17f7-7950-4cb5-bfab-f5c894f959a9" providerId="ADAL" clId="{9D150B60-33B5-4A3E-8123-A67E35AA8D44}" dt="2020-07-28T01:20:21.799" v="17766" actId="1076"/>
          <ac:grpSpMkLst>
            <pc:docMk/>
            <pc:sldMk cId="1108072925" sldId="2134804343"/>
            <ac:grpSpMk id="146" creationId="{A770A3D7-E6A7-47E9-ABA9-593F59AC6696}"/>
          </ac:grpSpMkLst>
        </pc:grpChg>
        <pc:grpChg chg="add mod">
          <ac:chgData name="Mariam Daniela Tristancho Pineda (MISION TEMPORAL LTDA)" userId="a45a17f7-7950-4cb5-bfab-f5c894f959a9" providerId="ADAL" clId="{9D150B60-33B5-4A3E-8123-A67E35AA8D44}" dt="2020-07-28T01:20:21.799" v="17766" actId="1076"/>
          <ac:grpSpMkLst>
            <pc:docMk/>
            <pc:sldMk cId="1108072925" sldId="2134804343"/>
            <ac:grpSpMk id="149" creationId="{9D223151-F879-4232-A05F-7E3EB49AD541}"/>
          </ac:grpSpMkLst>
        </pc:grpChg>
        <pc:grpChg chg="add mod">
          <ac:chgData name="Mariam Daniela Tristancho Pineda (MISION TEMPORAL LTDA)" userId="a45a17f7-7950-4cb5-bfab-f5c894f959a9" providerId="ADAL" clId="{9D150B60-33B5-4A3E-8123-A67E35AA8D44}" dt="2020-07-28T01:20:21.799" v="17766" actId="1076"/>
          <ac:grpSpMkLst>
            <pc:docMk/>
            <pc:sldMk cId="1108072925" sldId="2134804343"/>
            <ac:grpSpMk id="152" creationId="{24001A25-A388-439B-8076-320B9AA91D13}"/>
          </ac:grpSpMkLst>
        </pc:grpChg>
        <pc:grpChg chg="add mod">
          <ac:chgData name="Mariam Daniela Tristancho Pineda (MISION TEMPORAL LTDA)" userId="a45a17f7-7950-4cb5-bfab-f5c894f959a9" providerId="ADAL" clId="{9D150B60-33B5-4A3E-8123-A67E35AA8D44}" dt="2020-07-28T01:20:21.799" v="17766" actId="1076"/>
          <ac:grpSpMkLst>
            <pc:docMk/>
            <pc:sldMk cId="1108072925" sldId="2134804343"/>
            <ac:grpSpMk id="155" creationId="{178061AA-E9DE-4A6D-B70F-AE54A2672D81}"/>
          </ac:grpSpMkLst>
        </pc:grpChg>
        <pc:grpChg chg="add mod">
          <ac:chgData name="Mariam Daniela Tristancho Pineda (MISION TEMPORAL LTDA)" userId="a45a17f7-7950-4cb5-bfab-f5c894f959a9" providerId="ADAL" clId="{9D150B60-33B5-4A3E-8123-A67E35AA8D44}" dt="2020-07-28T01:20:21.799" v="17766" actId="1076"/>
          <ac:grpSpMkLst>
            <pc:docMk/>
            <pc:sldMk cId="1108072925" sldId="2134804343"/>
            <ac:grpSpMk id="158" creationId="{5FF04808-F2E0-485D-B717-9A6F1A111139}"/>
          </ac:grpSpMkLst>
        </pc:grpChg>
        <pc:grpChg chg="add mod">
          <ac:chgData name="Mariam Daniela Tristancho Pineda (MISION TEMPORAL LTDA)" userId="a45a17f7-7950-4cb5-bfab-f5c894f959a9" providerId="ADAL" clId="{9D150B60-33B5-4A3E-8123-A67E35AA8D44}" dt="2020-07-28T01:20:21.799" v="17766" actId="1076"/>
          <ac:grpSpMkLst>
            <pc:docMk/>
            <pc:sldMk cId="1108072925" sldId="2134804343"/>
            <ac:grpSpMk id="161" creationId="{44C5581E-E63E-497F-9C23-347DD876B469}"/>
          </ac:grpSpMkLst>
        </pc:grpChg>
        <pc:grpChg chg="add mod">
          <ac:chgData name="Mariam Daniela Tristancho Pineda (MISION TEMPORAL LTDA)" userId="a45a17f7-7950-4cb5-bfab-f5c894f959a9" providerId="ADAL" clId="{9D150B60-33B5-4A3E-8123-A67E35AA8D44}" dt="2020-07-28T01:20:21.799" v="17766" actId="1076"/>
          <ac:grpSpMkLst>
            <pc:docMk/>
            <pc:sldMk cId="1108072925" sldId="2134804343"/>
            <ac:grpSpMk id="164" creationId="{8B37E1FD-7126-44DA-952C-66C1412536A2}"/>
          </ac:grpSpMkLst>
        </pc:grpChg>
        <pc:grpChg chg="add mod">
          <ac:chgData name="Mariam Daniela Tristancho Pineda (MISION TEMPORAL LTDA)" userId="a45a17f7-7950-4cb5-bfab-f5c894f959a9" providerId="ADAL" clId="{9D150B60-33B5-4A3E-8123-A67E35AA8D44}" dt="2020-07-28T01:27:01.215" v="17880" actId="1035"/>
          <ac:grpSpMkLst>
            <pc:docMk/>
            <pc:sldMk cId="1108072925" sldId="2134804343"/>
            <ac:grpSpMk id="167" creationId="{20C5926F-D7AF-40E1-8377-6A9B462E8907}"/>
          </ac:grpSpMkLst>
        </pc:grpChg>
      </pc:sldChg>
      <pc:sldChg chg="addSp delSp modSp mod ord">
        <pc:chgData name="Mariam Daniela Tristancho Pineda (MISION TEMPORAL LTDA)" userId="a45a17f7-7950-4cb5-bfab-f5c894f959a9" providerId="ADAL" clId="{9D150B60-33B5-4A3E-8123-A67E35AA8D44}" dt="2020-07-28T15:04:46.774" v="20020"/>
        <pc:sldMkLst>
          <pc:docMk/>
          <pc:sldMk cId="1734415321" sldId="2134804344"/>
        </pc:sldMkLst>
        <pc:spChg chg="mod">
          <ac:chgData name="Mariam Daniela Tristancho Pineda (MISION TEMPORAL LTDA)" userId="a45a17f7-7950-4cb5-bfab-f5c894f959a9" providerId="ADAL" clId="{9D150B60-33B5-4A3E-8123-A67E35AA8D44}" dt="2020-07-28T01:08:24.166" v="17430" actId="1076"/>
          <ac:spMkLst>
            <pc:docMk/>
            <pc:sldMk cId="1734415321" sldId="2134804344"/>
            <ac:spMk id="2" creationId="{3A93B487-116E-4767-AA0D-CAE2A460FBE4}"/>
          </ac:spMkLst>
        </pc:spChg>
        <pc:spChg chg="mod">
          <ac:chgData name="Mariam Daniela Tristancho Pineda (MISION TEMPORAL LTDA)" userId="a45a17f7-7950-4cb5-bfab-f5c894f959a9" providerId="ADAL" clId="{9D150B60-33B5-4A3E-8123-A67E35AA8D44}" dt="2020-07-28T01:25:58.755" v="17856" actId="1038"/>
          <ac:spMkLst>
            <pc:docMk/>
            <pc:sldMk cId="1734415321" sldId="2134804344"/>
            <ac:spMk id="3" creationId="{815B10B7-60B3-4C63-8431-70CC556387C9}"/>
          </ac:spMkLst>
        </pc:spChg>
        <pc:spChg chg="mod">
          <ac:chgData name="Mariam Daniela Tristancho Pineda (MISION TEMPORAL LTDA)" userId="a45a17f7-7950-4cb5-bfab-f5c894f959a9" providerId="ADAL" clId="{9D150B60-33B5-4A3E-8123-A67E35AA8D44}" dt="2020-07-28T13:32:47.422" v="19145" actId="20577"/>
          <ac:spMkLst>
            <pc:docMk/>
            <pc:sldMk cId="1734415321" sldId="2134804344"/>
            <ac:spMk id="11" creationId="{772CA61D-742C-45F0-BAFA-0F3B90176E98}"/>
          </ac:spMkLst>
        </pc:spChg>
        <pc:spChg chg="mod">
          <ac:chgData name="Mariam Daniela Tristancho Pineda (MISION TEMPORAL LTDA)" userId="a45a17f7-7950-4cb5-bfab-f5c894f959a9" providerId="ADAL" clId="{9D150B60-33B5-4A3E-8123-A67E35AA8D44}" dt="2020-07-28T01:25:55.779" v="17851" actId="554"/>
          <ac:spMkLst>
            <pc:docMk/>
            <pc:sldMk cId="1734415321" sldId="2134804344"/>
            <ac:spMk id="12" creationId="{7F3CEC4C-7588-4B74-823D-9CF22E2DAD79}"/>
          </ac:spMkLst>
        </pc:spChg>
        <pc:spChg chg="add mod">
          <ac:chgData name="Mariam Daniela Tristancho Pineda (MISION TEMPORAL LTDA)" userId="a45a17f7-7950-4cb5-bfab-f5c894f959a9" providerId="ADAL" clId="{9D150B60-33B5-4A3E-8123-A67E35AA8D44}" dt="2020-07-28T14:59:33.515" v="19891" actId="1076"/>
          <ac:spMkLst>
            <pc:docMk/>
            <pc:sldMk cId="1734415321" sldId="2134804344"/>
            <ac:spMk id="15" creationId="{2344D56D-6203-47F9-98E9-EC7D6783C459}"/>
          </ac:spMkLst>
        </pc:spChg>
        <pc:spChg chg="mod">
          <ac:chgData name="Mariam Daniela Tristancho Pineda (MISION TEMPORAL LTDA)" userId="a45a17f7-7950-4cb5-bfab-f5c894f959a9" providerId="ADAL" clId="{9D150B60-33B5-4A3E-8123-A67E35AA8D44}" dt="2020-07-28T01:25:14.194" v="17827" actId="12788"/>
          <ac:spMkLst>
            <pc:docMk/>
            <pc:sldMk cId="1734415321" sldId="2134804344"/>
            <ac:spMk id="22" creationId="{53E538FE-3283-40FB-A5F0-3E57246B6EFA}"/>
          </ac:spMkLst>
        </pc:spChg>
        <pc:spChg chg="mod">
          <ac:chgData name="Mariam Daniela Tristancho Pineda (MISION TEMPORAL LTDA)" userId="a45a17f7-7950-4cb5-bfab-f5c894f959a9" providerId="ADAL" clId="{9D150B60-33B5-4A3E-8123-A67E35AA8D44}" dt="2020-07-28T01:17:42.837" v="17736" actId="20577"/>
          <ac:spMkLst>
            <pc:docMk/>
            <pc:sldMk cId="1734415321" sldId="2134804344"/>
            <ac:spMk id="27" creationId="{910DCB24-1C9B-45BE-9592-B8EC86E558A4}"/>
          </ac:spMkLst>
        </pc:spChg>
        <pc:spChg chg="mod">
          <ac:chgData name="Mariam Daniela Tristancho Pineda (MISION TEMPORAL LTDA)" userId="a45a17f7-7950-4cb5-bfab-f5c894f959a9" providerId="ADAL" clId="{9D150B60-33B5-4A3E-8123-A67E35AA8D44}" dt="2020-07-28T01:25:06.217" v="17826" actId="12788"/>
          <ac:spMkLst>
            <pc:docMk/>
            <pc:sldMk cId="1734415321" sldId="2134804344"/>
            <ac:spMk id="29" creationId="{46F67329-EAA2-4B09-AD5B-91FE70391A81}"/>
          </ac:spMkLst>
        </pc:spChg>
        <pc:spChg chg="mod">
          <ac:chgData name="Mariam Daniela Tristancho Pineda (MISION TEMPORAL LTDA)" userId="a45a17f7-7950-4cb5-bfab-f5c894f959a9" providerId="ADAL" clId="{9D150B60-33B5-4A3E-8123-A67E35AA8D44}" dt="2020-07-28T01:25:19.058" v="17828" actId="12788"/>
          <ac:spMkLst>
            <pc:docMk/>
            <pc:sldMk cId="1734415321" sldId="2134804344"/>
            <ac:spMk id="30" creationId="{5BF08848-45AE-451C-A99D-7322CF796742}"/>
          </ac:spMkLst>
        </pc:spChg>
        <pc:spChg chg="mod">
          <ac:chgData name="Mariam Daniela Tristancho Pineda (MISION TEMPORAL LTDA)" userId="a45a17f7-7950-4cb5-bfab-f5c894f959a9" providerId="ADAL" clId="{9D150B60-33B5-4A3E-8123-A67E35AA8D44}" dt="2020-07-28T01:16:21.816" v="17722" actId="20577"/>
          <ac:spMkLst>
            <pc:docMk/>
            <pc:sldMk cId="1734415321" sldId="2134804344"/>
            <ac:spMk id="33" creationId="{99A98136-5ADE-4ACF-97B1-9869591C8748}"/>
          </ac:spMkLst>
        </pc:spChg>
        <pc:spChg chg="mod">
          <ac:chgData name="Mariam Daniela Tristancho Pineda (MISION TEMPORAL LTDA)" userId="a45a17f7-7950-4cb5-bfab-f5c894f959a9" providerId="ADAL" clId="{9D150B60-33B5-4A3E-8123-A67E35AA8D44}" dt="2020-07-28T01:25:55.779" v="17851" actId="554"/>
          <ac:spMkLst>
            <pc:docMk/>
            <pc:sldMk cId="1734415321" sldId="2134804344"/>
            <ac:spMk id="34" creationId="{2858742F-5FD0-4B7E-9334-0D1DB2CF525E}"/>
          </ac:spMkLst>
        </pc:spChg>
        <pc:spChg chg="mod">
          <ac:chgData name="Mariam Daniela Tristancho Pineda (MISION TEMPORAL LTDA)" userId="a45a17f7-7950-4cb5-bfab-f5c894f959a9" providerId="ADAL" clId="{9D150B60-33B5-4A3E-8123-A67E35AA8D44}" dt="2020-07-28T01:25:19.058" v="17828" actId="12788"/>
          <ac:spMkLst>
            <pc:docMk/>
            <pc:sldMk cId="1734415321" sldId="2134804344"/>
            <ac:spMk id="35" creationId="{5F2982C9-1317-4114-BC67-9EA6763899B8}"/>
          </ac:spMkLst>
        </pc:spChg>
        <pc:spChg chg="mod">
          <ac:chgData name="Mariam Daniela Tristancho Pineda (MISION TEMPORAL LTDA)" userId="a45a17f7-7950-4cb5-bfab-f5c894f959a9" providerId="ADAL" clId="{9D150B60-33B5-4A3E-8123-A67E35AA8D44}" dt="2020-07-28T01:25:06.217" v="17826" actId="12788"/>
          <ac:spMkLst>
            <pc:docMk/>
            <pc:sldMk cId="1734415321" sldId="2134804344"/>
            <ac:spMk id="36" creationId="{80930BAD-CC8E-47DD-9473-5B8864A2680A}"/>
          </ac:spMkLst>
        </pc:spChg>
        <pc:spChg chg="mod">
          <ac:chgData name="Mariam Daniela Tristancho Pineda (MISION TEMPORAL LTDA)" userId="a45a17f7-7950-4cb5-bfab-f5c894f959a9" providerId="ADAL" clId="{9D150B60-33B5-4A3E-8123-A67E35AA8D44}" dt="2020-07-28T01:18:54.986" v="17752" actId="20577"/>
          <ac:spMkLst>
            <pc:docMk/>
            <pc:sldMk cId="1734415321" sldId="2134804344"/>
            <ac:spMk id="39" creationId="{5FAD9D39-0163-48A2-AB90-B7B2E4C2CCC8}"/>
          </ac:spMkLst>
        </pc:spChg>
        <pc:spChg chg="mod">
          <ac:chgData name="Mariam Daniela Tristancho Pineda (MISION TEMPORAL LTDA)" userId="a45a17f7-7950-4cb5-bfab-f5c894f959a9" providerId="ADAL" clId="{9D150B60-33B5-4A3E-8123-A67E35AA8D44}" dt="2020-07-28T01:25:55.779" v="17851" actId="554"/>
          <ac:spMkLst>
            <pc:docMk/>
            <pc:sldMk cId="1734415321" sldId="2134804344"/>
            <ac:spMk id="40" creationId="{F9005A44-E530-4972-BBE0-B3ED015A6ED4}"/>
          </ac:spMkLst>
        </pc:spChg>
        <pc:spChg chg="mod">
          <ac:chgData name="Mariam Daniela Tristancho Pineda (MISION TEMPORAL LTDA)" userId="a45a17f7-7950-4cb5-bfab-f5c894f959a9" providerId="ADAL" clId="{9D150B60-33B5-4A3E-8123-A67E35AA8D44}" dt="2020-07-28T01:25:26.426" v="17829" actId="12788"/>
          <ac:spMkLst>
            <pc:docMk/>
            <pc:sldMk cId="1734415321" sldId="2134804344"/>
            <ac:spMk id="41" creationId="{A6323A01-8860-4B1B-BDAF-6B75ABC06BEC}"/>
          </ac:spMkLst>
        </pc:spChg>
        <pc:spChg chg="mod">
          <ac:chgData name="Mariam Daniela Tristancho Pineda (MISION TEMPORAL LTDA)" userId="a45a17f7-7950-4cb5-bfab-f5c894f959a9" providerId="ADAL" clId="{9D150B60-33B5-4A3E-8123-A67E35AA8D44}" dt="2020-07-28T01:25:14.194" v="17827" actId="12788"/>
          <ac:spMkLst>
            <pc:docMk/>
            <pc:sldMk cId="1734415321" sldId="2134804344"/>
            <ac:spMk id="42" creationId="{4101169F-B3FD-425D-90F0-D9CCBE1BF3D2}"/>
          </ac:spMkLst>
        </pc:spChg>
        <pc:spChg chg="mod">
          <ac:chgData name="Mariam Daniela Tristancho Pineda (MISION TEMPORAL LTDA)" userId="a45a17f7-7950-4cb5-bfab-f5c894f959a9" providerId="ADAL" clId="{9D150B60-33B5-4A3E-8123-A67E35AA8D44}" dt="2020-07-28T01:25:40.635" v="17843" actId="1038"/>
          <ac:spMkLst>
            <pc:docMk/>
            <pc:sldMk cId="1734415321" sldId="2134804344"/>
            <ac:spMk id="43" creationId="{34452114-CA9E-44D1-9755-DF275F1BF2A9}"/>
          </ac:spMkLst>
        </pc:spChg>
        <pc:spChg chg="mod">
          <ac:chgData name="Mariam Daniela Tristancho Pineda (MISION TEMPORAL LTDA)" userId="a45a17f7-7950-4cb5-bfab-f5c894f959a9" providerId="ADAL" clId="{9D150B60-33B5-4A3E-8123-A67E35AA8D44}" dt="2020-07-28T01:25:26.426" v="17829" actId="12788"/>
          <ac:spMkLst>
            <pc:docMk/>
            <pc:sldMk cId="1734415321" sldId="2134804344"/>
            <ac:spMk id="45" creationId="{476FBBD3-1877-4B8E-A2BA-965C36FBD73D}"/>
          </ac:spMkLst>
        </pc:spChg>
        <pc:spChg chg="mod">
          <ac:chgData name="Mariam Daniela Tristancho Pineda (MISION TEMPORAL LTDA)" userId="a45a17f7-7950-4cb5-bfab-f5c894f959a9" providerId="ADAL" clId="{9D150B60-33B5-4A3E-8123-A67E35AA8D44}" dt="2020-07-28T01:11:51.342" v="17581" actId="164"/>
          <ac:spMkLst>
            <pc:docMk/>
            <pc:sldMk cId="1734415321" sldId="2134804344"/>
            <ac:spMk id="46" creationId="{BA5C247C-3C05-46FC-95C2-E68EAA1029EF}"/>
          </ac:spMkLst>
        </pc:spChg>
        <pc:spChg chg="mod">
          <ac:chgData name="Mariam Daniela Tristancho Pineda (MISION TEMPORAL LTDA)" userId="a45a17f7-7950-4cb5-bfab-f5c894f959a9" providerId="ADAL" clId="{9D150B60-33B5-4A3E-8123-A67E35AA8D44}" dt="2020-07-28T01:17:52.057" v="17739" actId="20577"/>
          <ac:spMkLst>
            <pc:docMk/>
            <pc:sldMk cId="1734415321" sldId="2134804344"/>
            <ac:spMk id="47" creationId="{D222A558-E5A3-43A6-B640-1B3D767D7C70}"/>
          </ac:spMkLst>
        </pc:spChg>
        <pc:spChg chg="mod">
          <ac:chgData name="Mariam Daniela Tristancho Pineda (MISION TEMPORAL LTDA)" userId="a45a17f7-7950-4cb5-bfab-f5c894f959a9" providerId="ADAL" clId="{9D150B60-33B5-4A3E-8123-A67E35AA8D44}" dt="2020-07-28T01:25:06.217" v="17826" actId="12788"/>
          <ac:spMkLst>
            <pc:docMk/>
            <pc:sldMk cId="1734415321" sldId="2134804344"/>
            <ac:spMk id="48" creationId="{F926AC88-2103-4B74-A485-8F98AF37FABE}"/>
          </ac:spMkLst>
        </pc:spChg>
        <pc:spChg chg="mod">
          <ac:chgData name="Mariam Daniela Tristancho Pineda (MISION TEMPORAL LTDA)" userId="a45a17f7-7950-4cb5-bfab-f5c894f959a9" providerId="ADAL" clId="{9D150B60-33B5-4A3E-8123-A67E35AA8D44}" dt="2020-07-28T01:12:21.607" v="17594" actId="164"/>
          <ac:spMkLst>
            <pc:docMk/>
            <pc:sldMk cId="1734415321" sldId="2134804344"/>
            <ac:spMk id="51" creationId="{4BD00AB8-6F7E-42D4-B8A4-B81C5CA9035A}"/>
          </ac:spMkLst>
        </pc:spChg>
        <pc:spChg chg="mod">
          <ac:chgData name="Mariam Daniela Tristancho Pineda (MISION TEMPORAL LTDA)" userId="a45a17f7-7950-4cb5-bfab-f5c894f959a9" providerId="ADAL" clId="{9D150B60-33B5-4A3E-8123-A67E35AA8D44}" dt="2020-07-28T01:18:22.638" v="17746" actId="20577"/>
          <ac:spMkLst>
            <pc:docMk/>
            <pc:sldMk cId="1734415321" sldId="2134804344"/>
            <ac:spMk id="52" creationId="{611E23A2-0A02-4674-AE45-5CFC346B8303}"/>
          </ac:spMkLst>
        </pc:spChg>
        <pc:spChg chg="mod">
          <ac:chgData name="Mariam Daniela Tristancho Pineda (MISION TEMPORAL LTDA)" userId="a45a17f7-7950-4cb5-bfab-f5c894f959a9" providerId="ADAL" clId="{9D150B60-33B5-4A3E-8123-A67E35AA8D44}" dt="2020-07-28T01:24:53.283" v="17824" actId="554"/>
          <ac:spMkLst>
            <pc:docMk/>
            <pc:sldMk cId="1734415321" sldId="2134804344"/>
            <ac:spMk id="53" creationId="{436F7F2A-D56C-4686-B82F-7A2F944056CC}"/>
          </ac:spMkLst>
        </pc:spChg>
        <pc:spChg chg="mod">
          <ac:chgData name="Mariam Daniela Tristancho Pineda (MISION TEMPORAL LTDA)" userId="a45a17f7-7950-4cb5-bfab-f5c894f959a9" providerId="ADAL" clId="{9D150B60-33B5-4A3E-8123-A67E35AA8D44}" dt="2020-07-28T01:25:19.058" v="17828" actId="12788"/>
          <ac:spMkLst>
            <pc:docMk/>
            <pc:sldMk cId="1734415321" sldId="2134804344"/>
            <ac:spMk id="55" creationId="{1546B975-3205-4120-A98D-4F899F2673F9}"/>
          </ac:spMkLst>
        </pc:spChg>
        <pc:spChg chg="mod">
          <ac:chgData name="Mariam Daniela Tristancho Pineda (MISION TEMPORAL LTDA)" userId="a45a17f7-7950-4cb5-bfab-f5c894f959a9" providerId="ADAL" clId="{9D150B60-33B5-4A3E-8123-A67E35AA8D44}" dt="2020-07-28T01:25:19.058" v="17828" actId="12788"/>
          <ac:spMkLst>
            <pc:docMk/>
            <pc:sldMk cId="1734415321" sldId="2134804344"/>
            <ac:spMk id="56" creationId="{82D32ECE-5CE8-4D30-8F1A-35940B0E5DDC}"/>
          </ac:spMkLst>
        </pc:spChg>
        <pc:spChg chg="mod">
          <ac:chgData name="Mariam Daniela Tristancho Pineda (MISION TEMPORAL LTDA)" userId="a45a17f7-7950-4cb5-bfab-f5c894f959a9" providerId="ADAL" clId="{9D150B60-33B5-4A3E-8123-A67E35AA8D44}" dt="2020-07-28T01:25:26.426" v="17829" actId="12788"/>
          <ac:spMkLst>
            <pc:docMk/>
            <pc:sldMk cId="1734415321" sldId="2134804344"/>
            <ac:spMk id="57" creationId="{CFA918CB-0C7A-44FC-87D2-055F0DB1CDD9}"/>
          </ac:spMkLst>
        </pc:spChg>
        <pc:spChg chg="del mod">
          <ac:chgData name="Mariam Daniela Tristancho Pineda (MISION TEMPORAL LTDA)" userId="a45a17f7-7950-4cb5-bfab-f5c894f959a9" providerId="ADAL" clId="{9D150B60-33B5-4A3E-8123-A67E35AA8D44}" dt="2020-07-28T14:59:26.341" v="19889" actId="478"/>
          <ac:spMkLst>
            <pc:docMk/>
            <pc:sldMk cId="1734415321" sldId="2134804344"/>
            <ac:spMk id="58" creationId="{6E03E4D5-20E7-48D3-98B7-8550F62788A9}"/>
          </ac:spMkLst>
        </pc:spChg>
        <pc:spChg chg="mod">
          <ac:chgData name="Mariam Daniela Tristancho Pineda (MISION TEMPORAL LTDA)" userId="a45a17f7-7950-4cb5-bfab-f5c894f959a9" providerId="ADAL" clId="{9D150B60-33B5-4A3E-8123-A67E35AA8D44}" dt="2020-07-28T01:25:06.217" v="17826" actId="12788"/>
          <ac:spMkLst>
            <pc:docMk/>
            <pc:sldMk cId="1734415321" sldId="2134804344"/>
            <ac:spMk id="59" creationId="{B329FB9A-BB66-4CA1-9AB8-4B6B45E56072}"/>
          </ac:spMkLst>
        </pc:spChg>
        <pc:spChg chg="mod">
          <ac:chgData name="Mariam Daniela Tristancho Pineda (MISION TEMPORAL LTDA)" userId="a45a17f7-7950-4cb5-bfab-f5c894f959a9" providerId="ADAL" clId="{9D150B60-33B5-4A3E-8123-A67E35AA8D44}" dt="2020-07-28T01:25:06.217" v="17826" actId="12788"/>
          <ac:spMkLst>
            <pc:docMk/>
            <pc:sldMk cId="1734415321" sldId="2134804344"/>
            <ac:spMk id="60" creationId="{FC98CCA7-DE6B-4116-84B8-A8982F08BE33}"/>
          </ac:spMkLst>
        </pc:spChg>
        <pc:spChg chg="mod">
          <ac:chgData name="Mariam Daniela Tristancho Pineda (MISION TEMPORAL LTDA)" userId="a45a17f7-7950-4cb5-bfab-f5c894f959a9" providerId="ADAL" clId="{9D150B60-33B5-4A3E-8123-A67E35AA8D44}" dt="2020-07-28T01:10:30.694" v="17530" actId="14100"/>
          <ac:spMkLst>
            <pc:docMk/>
            <pc:sldMk cId="1734415321" sldId="2134804344"/>
            <ac:spMk id="62" creationId="{506BC446-5A02-4152-97D7-89C60F968551}"/>
          </ac:spMkLst>
        </pc:spChg>
        <pc:spChg chg="mod">
          <ac:chgData name="Mariam Daniela Tristancho Pineda (MISION TEMPORAL LTDA)" userId="a45a17f7-7950-4cb5-bfab-f5c894f959a9" providerId="ADAL" clId="{9D150B60-33B5-4A3E-8123-A67E35AA8D44}" dt="2020-07-28T01:16:18.150" v="17720" actId="20577"/>
          <ac:spMkLst>
            <pc:docMk/>
            <pc:sldMk cId="1734415321" sldId="2134804344"/>
            <ac:spMk id="63" creationId="{6D9EC6A6-1FA2-4F30-BA9C-2B821CC4A84E}"/>
          </ac:spMkLst>
        </pc:spChg>
        <pc:spChg chg="mod">
          <ac:chgData name="Mariam Daniela Tristancho Pineda (MISION TEMPORAL LTDA)" userId="a45a17f7-7950-4cb5-bfab-f5c894f959a9" providerId="ADAL" clId="{9D150B60-33B5-4A3E-8123-A67E35AA8D44}" dt="2020-07-28T01:25:06.217" v="17826" actId="12788"/>
          <ac:spMkLst>
            <pc:docMk/>
            <pc:sldMk cId="1734415321" sldId="2134804344"/>
            <ac:spMk id="65" creationId="{E9C72F17-5D8F-41F6-8661-3E5DE2A9E040}"/>
          </ac:spMkLst>
        </pc:spChg>
        <pc:spChg chg="mod">
          <ac:chgData name="Mariam Daniela Tristancho Pineda (MISION TEMPORAL LTDA)" userId="a45a17f7-7950-4cb5-bfab-f5c894f959a9" providerId="ADAL" clId="{9D150B60-33B5-4A3E-8123-A67E35AA8D44}" dt="2020-07-28T01:25:06.217" v="17826" actId="12788"/>
          <ac:spMkLst>
            <pc:docMk/>
            <pc:sldMk cId="1734415321" sldId="2134804344"/>
            <ac:spMk id="66" creationId="{DB75697E-BD6D-4004-8F4B-2171046FC128}"/>
          </ac:spMkLst>
        </pc:spChg>
        <pc:spChg chg="mod">
          <ac:chgData name="Mariam Daniela Tristancho Pineda (MISION TEMPORAL LTDA)" userId="a45a17f7-7950-4cb5-bfab-f5c894f959a9" providerId="ADAL" clId="{9D150B60-33B5-4A3E-8123-A67E35AA8D44}" dt="2020-07-28T01:11:19.670" v="17562" actId="164"/>
          <ac:spMkLst>
            <pc:docMk/>
            <pc:sldMk cId="1734415321" sldId="2134804344"/>
            <ac:spMk id="67" creationId="{A77EC91D-C757-4362-A9C3-20B454FDE061}"/>
          </ac:spMkLst>
        </pc:spChg>
        <pc:spChg chg="mod">
          <ac:chgData name="Mariam Daniela Tristancho Pineda (MISION TEMPORAL LTDA)" userId="a45a17f7-7950-4cb5-bfab-f5c894f959a9" providerId="ADAL" clId="{9D150B60-33B5-4A3E-8123-A67E35AA8D44}" dt="2020-07-28T01:18:44.174" v="17748" actId="20577"/>
          <ac:spMkLst>
            <pc:docMk/>
            <pc:sldMk cId="1734415321" sldId="2134804344"/>
            <ac:spMk id="68" creationId="{EF92D747-175E-4B05-B6C3-800CF871AECC}"/>
          </ac:spMkLst>
        </pc:spChg>
        <pc:spChg chg="mod">
          <ac:chgData name="Mariam Daniela Tristancho Pineda (MISION TEMPORAL LTDA)" userId="a45a17f7-7950-4cb5-bfab-f5c894f959a9" providerId="ADAL" clId="{9D150B60-33B5-4A3E-8123-A67E35AA8D44}" dt="2020-07-28T01:25:06.217" v="17826" actId="12788"/>
          <ac:spMkLst>
            <pc:docMk/>
            <pc:sldMk cId="1734415321" sldId="2134804344"/>
            <ac:spMk id="69" creationId="{42876D3F-F05B-4B3C-9DCB-629A3FE41134}"/>
          </ac:spMkLst>
        </pc:spChg>
        <pc:spChg chg="mod">
          <ac:chgData name="Mariam Daniela Tristancho Pineda (MISION TEMPORAL LTDA)" userId="a45a17f7-7950-4cb5-bfab-f5c894f959a9" providerId="ADAL" clId="{9D150B60-33B5-4A3E-8123-A67E35AA8D44}" dt="2020-07-28T01:25:06.217" v="17826" actId="12788"/>
          <ac:spMkLst>
            <pc:docMk/>
            <pc:sldMk cId="1734415321" sldId="2134804344"/>
            <ac:spMk id="70" creationId="{F9D75CA7-6C16-4058-92CF-BCCF9664CBC8}"/>
          </ac:spMkLst>
        </pc:spChg>
        <pc:spChg chg="mod">
          <ac:chgData name="Mariam Daniela Tristancho Pineda (MISION TEMPORAL LTDA)" userId="a45a17f7-7950-4cb5-bfab-f5c894f959a9" providerId="ADAL" clId="{9D150B60-33B5-4A3E-8123-A67E35AA8D44}" dt="2020-07-28T01:25:06.217" v="17826" actId="12788"/>
          <ac:spMkLst>
            <pc:docMk/>
            <pc:sldMk cId="1734415321" sldId="2134804344"/>
            <ac:spMk id="71" creationId="{63CA118B-4517-4A8E-85F9-65AF0995F5E4}"/>
          </ac:spMkLst>
        </pc:spChg>
        <pc:spChg chg="mod">
          <ac:chgData name="Mariam Daniela Tristancho Pineda (MISION TEMPORAL LTDA)" userId="a45a17f7-7950-4cb5-bfab-f5c894f959a9" providerId="ADAL" clId="{9D150B60-33B5-4A3E-8123-A67E35AA8D44}" dt="2020-07-28T01:14:14.358" v="17657" actId="14100"/>
          <ac:spMkLst>
            <pc:docMk/>
            <pc:sldMk cId="1734415321" sldId="2134804344"/>
            <ac:spMk id="72" creationId="{F0A9C2F1-1FA1-4C6D-980F-C42B048458E9}"/>
          </ac:spMkLst>
        </pc:spChg>
        <pc:spChg chg="mod">
          <ac:chgData name="Mariam Daniela Tristancho Pineda (MISION TEMPORAL LTDA)" userId="a45a17f7-7950-4cb5-bfab-f5c894f959a9" providerId="ADAL" clId="{9D150B60-33B5-4A3E-8123-A67E35AA8D44}" dt="2020-07-28T01:14:18.269" v="17658" actId="1076"/>
          <ac:spMkLst>
            <pc:docMk/>
            <pc:sldMk cId="1734415321" sldId="2134804344"/>
            <ac:spMk id="73" creationId="{504B0AB9-46DB-479D-A0DE-430E1C84357C}"/>
          </ac:spMkLst>
        </pc:spChg>
        <pc:spChg chg="add del">
          <ac:chgData name="Mariam Daniela Tristancho Pineda (MISION TEMPORAL LTDA)" userId="a45a17f7-7950-4cb5-bfab-f5c894f959a9" providerId="ADAL" clId="{9D150B60-33B5-4A3E-8123-A67E35AA8D44}" dt="2020-07-28T01:14:00.303" v="17652" actId="21"/>
          <ac:spMkLst>
            <pc:docMk/>
            <pc:sldMk cId="1734415321" sldId="2134804344"/>
            <ac:spMk id="74" creationId="{823F8528-F51D-40E1-BBFF-56F5317E9268}"/>
          </ac:spMkLst>
        </pc:spChg>
        <pc:spChg chg="mod">
          <ac:chgData name="Mariam Daniela Tristancho Pineda (MISION TEMPORAL LTDA)" userId="a45a17f7-7950-4cb5-bfab-f5c894f959a9" providerId="ADAL" clId="{9D150B60-33B5-4A3E-8123-A67E35AA8D44}" dt="2020-07-28T01:17:14.257" v="17727" actId="20577"/>
          <ac:spMkLst>
            <pc:docMk/>
            <pc:sldMk cId="1734415321" sldId="2134804344"/>
            <ac:spMk id="76" creationId="{6EFB90FC-5137-4335-BAA6-1A3BFA176C3C}"/>
          </ac:spMkLst>
        </pc:spChg>
        <pc:spChg chg="mod">
          <ac:chgData name="Mariam Daniela Tristancho Pineda (MISION TEMPORAL LTDA)" userId="a45a17f7-7950-4cb5-bfab-f5c894f959a9" providerId="ADAL" clId="{9D150B60-33B5-4A3E-8123-A67E35AA8D44}" dt="2020-07-28T01:17:25.736" v="17731" actId="20577"/>
          <ac:spMkLst>
            <pc:docMk/>
            <pc:sldMk cId="1734415321" sldId="2134804344"/>
            <ac:spMk id="77" creationId="{F622E621-DEC2-4514-B5D9-8A187B645B0F}"/>
          </ac:spMkLst>
        </pc:spChg>
        <pc:spChg chg="mod">
          <ac:chgData name="Mariam Daniela Tristancho Pineda (MISION TEMPORAL LTDA)" userId="a45a17f7-7950-4cb5-bfab-f5c894f959a9" providerId="ADAL" clId="{9D150B60-33B5-4A3E-8123-A67E35AA8D44}" dt="2020-07-28T01:09:53.088" v="17487" actId="164"/>
          <ac:spMkLst>
            <pc:docMk/>
            <pc:sldMk cId="1734415321" sldId="2134804344"/>
            <ac:spMk id="78" creationId="{257C9C2D-7860-44A8-95DB-27F452F82CF2}"/>
          </ac:spMkLst>
        </pc:spChg>
        <pc:spChg chg="mod">
          <ac:chgData name="Mariam Daniela Tristancho Pineda (MISION TEMPORAL LTDA)" userId="a45a17f7-7950-4cb5-bfab-f5c894f959a9" providerId="ADAL" clId="{9D150B60-33B5-4A3E-8123-A67E35AA8D44}" dt="2020-07-28T01:16:20.914" v="17721" actId="20577"/>
          <ac:spMkLst>
            <pc:docMk/>
            <pc:sldMk cId="1734415321" sldId="2134804344"/>
            <ac:spMk id="79" creationId="{2F67B6BF-C36B-40CA-9E2B-C013EE1EC192}"/>
          </ac:spMkLst>
        </pc:spChg>
        <pc:spChg chg="mod">
          <ac:chgData name="Mariam Daniela Tristancho Pineda (MISION TEMPORAL LTDA)" userId="a45a17f7-7950-4cb5-bfab-f5c894f959a9" providerId="ADAL" clId="{9D150B60-33B5-4A3E-8123-A67E35AA8D44}" dt="2020-07-28T01:26:07.023" v="17864" actId="1036"/>
          <ac:spMkLst>
            <pc:docMk/>
            <pc:sldMk cId="1734415321" sldId="2134804344"/>
            <ac:spMk id="81" creationId="{9EAEECC0-C607-4346-A4F1-115AAD4C7633}"/>
          </ac:spMkLst>
        </pc:spChg>
        <pc:spChg chg="mod">
          <ac:chgData name="Mariam Daniela Tristancho Pineda (MISION TEMPORAL LTDA)" userId="a45a17f7-7950-4cb5-bfab-f5c894f959a9" providerId="ADAL" clId="{9D150B60-33B5-4A3E-8123-A67E35AA8D44}" dt="2020-07-28T01:26:07.023" v="17864" actId="1036"/>
          <ac:spMkLst>
            <pc:docMk/>
            <pc:sldMk cId="1734415321" sldId="2134804344"/>
            <ac:spMk id="82" creationId="{AE9FA5CC-5AF8-4A39-808A-A55759A10785}"/>
          </ac:spMkLst>
        </pc:spChg>
        <pc:spChg chg="mod">
          <ac:chgData name="Mariam Daniela Tristancho Pineda (MISION TEMPORAL LTDA)" userId="a45a17f7-7950-4cb5-bfab-f5c894f959a9" providerId="ADAL" clId="{9D150B60-33B5-4A3E-8123-A67E35AA8D44}" dt="2020-07-28T01:26:07.023" v="17864" actId="1036"/>
          <ac:spMkLst>
            <pc:docMk/>
            <pc:sldMk cId="1734415321" sldId="2134804344"/>
            <ac:spMk id="83" creationId="{697AE0C9-8E3D-47A0-B88B-51F62D5E5F80}"/>
          </ac:spMkLst>
        </pc:spChg>
        <pc:spChg chg="mod">
          <ac:chgData name="Mariam Daniela Tristancho Pineda (MISION TEMPORAL LTDA)" userId="a45a17f7-7950-4cb5-bfab-f5c894f959a9" providerId="ADAL" clId="{9D150B60-33B5-4A3E-8123-A67E35AA8D44}" dt="2020-07-28T01:15:56.261" v="17714" actId="14100"/>
          <ac:spMkLst>
            <pc:docMk/>
            <pc:sldMk cId="1734415321" sldId="2134804344"/>
            <ac:spMk id="84" creationId="{293DBAF3-3942-4C58-8A63-D4484E215E20}"/>
          </ac:spMkLst>
        </pc:spChg>
        <pc:spChg chg="mod">
          <ac:chgData name="Mariam Daniela Tristancho Pineda (MISION TEMPORAL LTDA)" userId="a45a17f7-7950-4cb5-bfab-f5c894f959a9" providerId="ADAL" clId="{9D150B60-33B5-4A3E-8123-A67E35AA8D44}" dt="2020-07-28T01:25:47.330" v="17848" actId="1036"/>
          <ac:spMkLst>
            <pc:docMk/>
            <pc:sldMk cId="1734415321" sldId="2134804344"/>
            <ac:spMk id="85" creationId="{0AEECF97-B04A-4741-8EAF-E1C19707EC79}"/>
          </ac:spMkLst>
        </pc:spChg>
        <pc:spChg chg="mod">
          <ac:chgData name="Mariam Daniela Tristancho Pineda (MISION TEMPORAL LTDA)" userId="a45a17f7-7950-4cb5-bfab-f5c894f959a9" providerId="ADAL" clId="{9D150B60-33B5-4A3E-8123-A67E35AA8D44}" dt="2020-07-28T01:15:54.278" v="17713" actId="14100"/>
          <ac:spMkLst>
            <pc:docMk/>
            <pc:sldMk cId="1734415321" sldId="2134804344"/>
            <ac:spMk id="86" creationId="{7696A978-4362-4DE3-8C58-0F58608C4AA6}"/>
          </ac:spMkLst>
        </pc:spChg>
        <pc:spChg chg="del">
          <ac:chgData name="Mariam Daniela Tristancho Pineda (MISION TEMPORAL LTDA)" userId="a45a17f7-7950-4cb5-bfab-f5c894f959a9" providerId="ADAL" clId="{9D150B60-33B5-4A3E-8123-A67E35AA8D44}" dt="2020-07-28T01:06:29.103" v="17344" actId="478"/>
          <ac:spMkLst>
            <pc:docMk/>
            <pc:sldMk cId="1734415321" sldId="2134804344"/>
            <ac:spMk id="87" creationId="{269CF6B1-0EA3-4FE9-9DEC-9330E4CB8B2F}"/>
          </ac:spMkLst>
        </pc:spChg>
        <pc:spChg chg="del">
          <ac:chgData name="Mariam Daniela Tristancho Pineda (MISION TEMPORAL LTDA)" userId="a45a17f7-7950-4cb5-bfab-f5c894f959a9" providerId="ADAL" clId="{9D150B60-33B5-4A3E-8123-A67E35AA8D44}" dt="2020-07-28T01:06:34.606" v="17347" actId="478"/>
          <ac:spMkLst>
            <pc:docMk/>
            <pc:sldMk cId="1734415321" sldId="2134804344"/>
            <ac:spMk id="89" creationId="{5465872D-E414-4B84-A080-1F2F5C27B615}"/>
          </ac:spMkLst>
        </pc:spChg>
        <pc:spChg chg="add del">
          <ac:chgData name="Mariam Daniela Tristancho Pineda (MISION TEMPORAL LTDA)" userId="a45a17f7-7950-4cb5-bfab-f5c894f959a9" providerId="ADAL" clId="{9D150B60-33B5-4A3E-8123-A67E35AA8D44}" dt="2020-07-28T01:14:00.303" v="17652" actId="21"/>
          <ac:spMkLst>
            <pc:docMk/>
            <pc:sldMk cId="1734415321" sldId="2134804344"/>
            <ac:spMk id="90" creationId="{B9160EF2-B7C0-4E67-93D1-72B561F4C522}"/>
          </ac:spMkLst>
        </pc:spChg>
        <pc:spChg chg="mod">
          <ac:chgData name="Mariam Daniela Tristancho Pineda (MISION TEMPORAL LTDA)" userId="a45a17f7-7950-4cb5-bfab-f5c894f959a9" providerId="ADAL" clId="{9D150B60-33B5-4A3E-8123-A67E35AA8D44}" dt="2020-07-28T01:06:26.954" v="17343"/>
          <ac:spMkLst>
            <pc:docMk/>
            <pc:sldMk cId="1734415321" sldId="2134804344"/>
            <ac:spMk id="91" creationId="{F9071948-6E83-4BD2-9DC7-5B467B91324A}"/>
          </ac:spMkLst>
        </pc:spChg>
        <pc:spChg chg="mod">
          <ac:chgData name="Mariam Daniela Tristancho Pineda (MISION TEMPORAL LTDA)" userId="a45a17f7-7950-4cb5-bfab-f5c894f959a9" providerId="ADAL" clId="{9D150B60-33B5-4A3E-8123-A67E35AA8D44}" dt="2020-07-28T01:12:01.238" v="17583" actId="164"/>
          <ac:spMkLst>
            <pc:docMk/>
            <pc:sldMk cId="1734415321" sldId="2134804344"/>
            <ac:spMk id="92" creationId="{BA5DCEF1-A51C-4DC1-A9B1-7C59485A7090}"/>
          </ac:spMkLst>
        </pc:spChg>
        <pc:spChg chg="mod">
          <ac:chgData name="Mariam Daniela Tristancho Pineda (MISION TEMPORAL LTDA)" userId="a45a17f7-7950-4cb5-bfab-f5c894f959a9" providerId="ADAL" clId="{9D150B60-33B5-4A3E-8123-A67E35AA8D44}" dt="2020-07-28T01:18:46.815" v="17750" actId="20577"/>
          <ac:spMkLst>
            <pc:docMk/>
            <pc:sldMk cId="1734415321" sldId="2134804344"/>
            <ac:spMk id="93" creationId="{25FE90EB-9812-4D21-B0BA-73B6896B2EC9}"/>
          </ac:spMkLst>
        </pc:spChg>
        <pc:spChg chg="mod">
          <ac:chgData name="Mariam Daniela Tristancho Pineda (MISION TEMPORAL LTDA)" userId="a45a17f7-7950-4cb5-bfab-f5c894f959a9" providerId="ADAL" clId="{9D150B60-33B5-4A3E-8123-A67E35AA8D44}" dt="2020-07-28T01:06:26.954" v="17343"/>
          <ac:spMkLst>
            <pc:docMk/>
            <pc:sldMk cId="1734415321" sldId="2134804344"/>
            <ac:spMk id="94" creationId="{0010AD8B-A5B4-4F43-81B9-230ED3132988}"/>
          </ac:spMkLst>
        </pc:spChg>
        <pc:spChg chg="mod">
          <ac:chgData name="Mariam Daniela Tristancho Pineda (MISION TEMPORAL LTDA)" userId="a45a17f7-7950-4cb5-bfab-f5c894f959a9" providerId="ADAL" clId="{9D150B60-33B5-4A3E-8123-A67E35AA8D44}" dt="2020-07-28T01:06:33.384" v="17346"/>
          <ac:spMkLst>
            <pc:docMk/>
            <pc:sldMk cId="1734415321" sldId="2134804344"/>
            <ac:spMk id="96" creationId="{1C0906D1-BEBD-425A-9E41-4699D1A18D7E}"/>
          </ac:spMkLst>
        </pc:spChg>
        <pc:spChg chg="mod">
          <ac:chgData name="Mariam Daniela Tristancho Pineda (MISION TEMPORAL LTDA)" userId="a45a17f7-7950-4cb5-bfab-f5c894f959a9" providerId="ADAL" clId="{9D150B60-33B5-4A3E-8123-A67E35AA8D44}" dt="2020-07-28T01:25:14.194" v="17827" actId="12788"/>
          <ac:spMkLst>
            <pc:docMk/>
            <pc:sldMk cId="1734415321" sldId="2134804344"/>
            <ac:spMk id="97" creationId="{99300021-C267-43BD-A0F5-B3ECE622345E}"/>
          </ac:spMkLst>
        </pc:spChg>
        <pc:spChg chg="mod">
          <ac:chgData name="Mariam Daniela Tristancho Pineda (MISION TEMPORAL LTDA)" userId="a45a17f7-7950-4cb5-bfab-f5c894f959a9" providerId="ADAL" clId="{9D150B60-33B5-4A3E-8123-A67E35AA8D44}" dt="2020-07-28T01:06:39.633" v="17350" actId="20577"/>
          <ac:spMkLst>
            <pc:docMk/>
            <pc:sldMk cId="1734415321" sldId="2134804344"/>
            <ac:spMk id="98" creationId="{B4B3726D-9921-4E69-9A4D-1E6B7DA44076}"/>
          </ac:spMkLst>
        </pc:spChg>
        <pc:spChg chg="mod">
          <ac:chgData name="Mariam Daniela Tristancho Pineda (MISION TEMPORAL LTDA)" userId="a45a17f7-7950-4cb5-bfab-f5c894f959a9" providerId="ADAL" clId="{9D150B60-33B5-4A3E-8123-A67E35AA8D44}" dt="2020-07-28T01:14:30.025" v="17666" actId="1035"/>
          <ac:spMkLst>
            <pc:docMk/>
            <pc:sldMk cId="1734415321" sldId="2134804344"/>
            <ac:spMk id="117" creationId="{8960734A-1053-42D2-BD72-6674DCCE6A97}"/>
          </ac:spMkLst>
        </pc:spChg>
        <pc:spChg chg="mod">
          <ac:chgData name="Mariam Daniela Tristancho Pineda (MISION TEMPORAL LTDA)" userId="a45a17f7-7950-4cb5-bfab-f5c894f959a9" providerId="ADAL" clId="{9D150B60-33B5-4A3E-8123-A67E35AA8D44}" dt="2020-07-28T01:14:30.025" v="17666" actId="1035"/>
          <ac:spMkLst>
            <pc:docMk/>
            <pc:sldMk cId="1734415321" sldId="2134804344"/>
            <ac:spMk id="118" creationId="{C77431EE-A761-4323-B75F-692D4CAEC462}"/>
          </ac:spMkLst>
        </pc:spChg>
        <pc:spChg chg="mod">
          <ac:chgData name="Mariam Daniela Tristancho Pineda (MISION TEMPORAL LTDA)" userId="a45a17f7-7950-4cb5-bfab-f5c894f959a9" providerId="ADAL" clId="{9D150B60-33B5-4A3E-8123-A67E35AA8D44}" dt="2020-07-28T01:14:30.025" v="17666" actId="1035"/>
          <ac:spMkLst>
            <pc:docMk/>
            <pc:sldMk cId="1734415321" sldId="2134804344"/>
            <ac:spMk id="119" creationId="{A66DDFF6-8990-4632-9B16-3852035C81BA}"/>
          </ac:spMkLst>
        </pc:spChg>
        <pc:spChg chg="mod">
          <ac:chgData name="Mariam Daniela Tristancho Pineda (MISION TEMPORAL LTDA)" userId="a45a17f7-7950-4cb5-bfab-f5c894f959a9" providerId="ADAL" clId="{9D150B60-33B5-4A3E-8123-A67E35AA8D44}" dt="2020-07-28T01:13:15.782" v="17640" actId="20577"/>
          <ac:spMkLst>
            <pc:docMk/>
            <pc:sldMk cId="1734415321" sldId="2134804344"/>
            <ac:spMk id="135" creationId="{C1823568-A421-4254-9106-BAEB76F16B72}"/>
          </ac:spMkLst>
        </pc:spChg>
        <pc:grpChg chg="add mod">
          <ac:chgData name="Mariam Daniela Tristancho Pineda (MISION TEMPORAL LTDA)" userId="a45a17f7-7950-4cb5-bfab-f5c894f959a9" providerId="ADAL" clId="{9D150B60-33B5-4A3E-8123-A67E35AA8D44}" dt="2020-07-28T01:15:50.354" v="17712" actId="1038"/>
          <ac:grpSpMkLst>
            <pc:docMk/>
            <pc:sldMk cId="1734415321" sldId="2134804344"/>
            <ac:grpSpMk id="6" creationId="{57633FC3-8ECB-41C1-ACEF-59A15EE6A029}"/>
          </ac:grpSpMkLst>
        </pc:grpChg>
        <pc:grpChg chg="add mod">
          <ac:chgData name="Mariam Daniela Tristancho Pineda (MISION TEMPORAL LTDA)" userId="a45a17f7-7950-4cb5-bfab-f5c894f959a9" providerId="ADAL" clId="{9D150B60-33B5-4A3E-8123-A67E35AA8D44}" dt="2020-07-28T01:15:50.354" v="17712" actId="1038"/>
          <ac:grpSpMkLst>
            <pc:docMk/>
            <pc:sldMk cId="1734415321" sldId="2134804344"/>
            <ac:grpSpMk id="7" creationId="{7089E4A7-F564-4BFC-BE70-0BCE0187790F}"/>
          </ac:grpSpMkLst>
        </pc:grpChg>
        <pc:grpChg chg="add mod">
          <ac:chgData name="Mariam Daniela Tristancho Pineda (MISION TEMPORAL LTDA)" userId="a45a17f7-7950-4cb5-bfab-f5c894f959a9" providerId="ADAL" clId="{9D150B60-33B5-4A3E-8123-A67E35AA8D44}" dt="2020-07-28T01:15:42.982" v="17700" actId="1038"/>
          <ac:grpSpMkLst>
            <pc:docMk/>
            <pc:sldMk cId="1734415321" sldId="2134804344"/>
            <ac:grpSpMk id="8" creationId="{B7E6EBFA-7B93-4A7B-8D4B-0FDC667C5573}"/>
          </ac:grpSpMkLst>
        </pc:grpChg>
        <pc:grpChg chg="add mod">
          <ac:chgData name="Mariam Daniela Tristancho Pineda (MISION TEMPORAL LTDA)" userId="a45a17f7-7950-4cb5-bfab-f5c894f959a9" providerId="ADAL" clId="{9D150B60-33B5-4A3E-8123-A67E35AA8D44}" dt="2020-07-28T01:15:42.982" v="17700" actId="1038"/>
          <ac:grpSpMkLst>
            <pc:docMk/>
            <pc:sldMk cId="1734415321" sldId="2134804344"/>
            <ac:grpSpMk id="9" creationId="{A784003E-43C3-4425-8885-B764ECECF401}"/>
          </ac:grpSpMkLst>
        </pc:grpChg>
        <pc:grpChg chg="add mod">
          <ac:chgData name="Mariam Daniela Tristancho Pineda (MISION TEMPORAL LTDA)" userId="a45a17f7-7950-4cb5-bfab-f5c894f959a9" providerId="ADAL" clId="{9D150B60-33B5-4A3E-8123-A67E35AA8D44}" dt="2020-07-28T01:16:03.008" v="17716" actId="1037"/>
          <ac:grpSpMkLst>
            <pc:docMk/>
            <pc:sldMk cId="1734415321" sldId="2134804344"/>
            <ac:grpSpMk id="10" creationId="{CD3D57A0-B151-4451-AAF5-AB1985DBF547}"/>
          </ac:grpSpMkLst>
        </pc:grpChg>
        <pc:grpChg chg="add mod">
          <ac:chgData name="Mariam Daniela Tristancho Pineda (MISION TEMPORAL LTDA)" userId="a45a17f7-7950-4cb5-bfab-f5c894f959a9" providerId="ADAL" clId="{9D150B60-33B5-4A3E-8123-A67E35AA8D44}" dt="2020-07-28T01:16:03.008" v="17716" actId="1037"/>
          <ac:grpSpMkLst>
            <pc:docMk/>
            <pc:sldMk cId="1734415321" sldId="2134804344"/>
            <ac:grpSpMk id="13" creationId="{48CC5081-B4C2-4F95-8CDE-C807CEB67E2C}"/>
          </ac:grpSpMkLst>
        </pc:grpChg>
        <pc:grpChg chg="add mod">
          <ac:chgData name="Mariam Daniela Tristancho Pineda (MISION TEMPORAL LTDA)" userId="a45a17f7-7950-4cb5-bfab-f5c894f959a9" providerId="ADAL" clId="{9D150B60-33B5-4A3E-8123-A67E35AA8D44}" dt="2020-07-28T01:15:23.221" v="17687" actId="1076"/>
          <ac:grpSpMkLst>
            <pc:docMk/>
            <pc:sldMk cId="1734415321" sldId="2134804344"/>
            <ac:grpSpMk id="14" creationId="{B35D5631-62C0-44DA-BEB9-F6D1D4614CD6}"/>
          </ac:grpSpMkLst>
        </pc:grpChg>
        <pc:grpChg chg="mod">
          <ac:chgData name="Mariam Daniela Tristancho Pineda (MISION TEMPORAL LTDA)" userId="a45a17f7-7950-4cb5-bfab-f5c894f959a9" providerId="ADAL" clId="{9D150B60-33B5-4A3E-8123-A67E35AA8D44}" dt="2020-07-28T01:16:03.008" v="17716" actId="1037"/>
          <ac:grpSpMkLst>
            <pc:docMk/>
            <pc:sldMk cId="1734415321" sldId="2134804344"/>
            <ac:grpSpMk id="26" creationId="{5B1CDA9C-37CE-441A-94E7-5A5F38503613}"/>
          </ac:grpSpMkLst>
        </pc:grpChg>
        <pc:grpChg chg="mod">
          <ac:chgData name="Mariam Daniela Tristancho Pineda (MISION TEMPORAL LTDA)" userId="a45a17f7-7950-4cb5-bfab-f5c894f959a9" providerId="ADAL" clId="{9D150B60-33B5-4A3E-8123-A67E35AA8D44}" dt="2020-07-28T01:15:50.354" v="17712" actId="1038"/>
          <ac:grpSpMkLst>
            <pc:docMk/>
            <pc:sldMk cId="1734415321" sldId="2134804344"/>
            <ac:grpSpMk id="31" creationId="{A0B07E6C-42EA-42D4-BF18-74CF8467911A}"/>
          </ac:grpSpMkLst>
        </pc:grpChg>
        <pc:grpChg chg="mod">
          <ac:chgData name="Mariam Daniela Tristancho Pineda (MISION TEMPORAL LTDA)" userId="a45a17f7-7950-4cb5-bfab-f5c894f959a9" providerId="ADAL" clId="{9D150B60-33B5-4A3E-8123-A67E35AA8D44}" dt="2020-07-28T01:15:42.982" v="17700" actId="1038"/>
          <ac:grpSpMkLst>
            <pc:docMk/>
            <pc:sldMk cId="1734415321" sldId="2134804344"/>
            <ac:grpSpMk id="37" creationId="{33A4F641-6F0E-462A-898E-0641B151AA65}"/>
          </ac:grpSpMkLst>
        </pc:grpChg>
        <pc:grpChg chg="add mod">
          <ac:chgData name="Mariam Daniela Tristancho Pineda (MISION TEMPORAL LTDA)" userId="a45a17f7-7950-4cb5-bfab-f5c894f959a9" providerId="ADAL" clId="{9D150B60-33B5-4A3E-8123-A67E35AA8D44}" dt="2020-07-28T01:06:32.494" v="17345" actId="1076"/>
          <ac:grpSpMkLst>
            <pc:docMk/>
            <pc:sldMk cId="1734415321" sldId="2134804344"/>
            <ac:grpSpMk id="88" creationId="{F7EF4CD1-C03D-4025-9F1B-068CA3577EE5}"/>
          </ac:grpSpMkLst>
        </pc:grpChg>
        <pc:grpChg chg="add del mod">
          <ac:chgData name="Mariam Daniela Tristancho Pineda (MISION TEMPORAL LTDA)" userId="a45a17f7-7950-4cb5-bfab-f5c894f959a9" providerId="ADAL" clId="{9D150B60-33B5-4A3E-8123-A67E35AA8D44}" dt="2020-07-28T01:14:00.303" v="17652" actId="21"/>
          <ac:grpSpMkLst>
            <pc:docMk/>
            <pc:sldMk cId="1734415321" sldId="2134804344"/>
            <ac:grpSpMk id="95" creationId="{FCFBC193-8C8F-4667-9F2F-E3EEFA5C7FEA}"/>
          </ac:grpSpMkLst>
        </pc:grpChg>
      </pc:sldChg>
      <pc:sldChg chg="modSp mod ord">
        <pc:chgData name="Mariam Daniela Tristancho Pineda (MISION TEMPORAL LTDA)" userId="a45a17f7-7950-4cb5-bfab-f5c894f959a9" providerId="ADAL" clId="{9D150B60-33B5-4A3E-8123-A67E35AA8D44}" dt="2020-07-28T15:04:14.618" v="20014" actId="20577"/>
        <pc:sldMkLst>
          <pc:docMk/>
          <pc:sldMk cId="3642796184" sldId="2134804345"/>
        </pc:sldMkLst>
        <pc:spChg chg="mod">
          <ac:chgData name="Mariam Daniela Tristancho Pineda (MISION TEMPORAL LTDA)" userId="a45a17f7-7950-4cb5-bfab-f5c894f959a9" providerId="ADAL" clId="{9D150B60-33B5-4A3E-8123-A67E35AA8D44}" dt="2020-07-28T15:04:14.618" v="20014" actId="20577"/>
          <ac:spMkLst>
            <pc:docMk/>
            <pc:sldMk cId="3642796184" sldId="2134804345"/>
            <ac:spMk id="2" creationId="{6431BBCF-96E5-45A7-B7E5-D44090D06329}"/>
          </ac:spMkLst>
        </pc:spChg>
      </pc:sldChg>
      <pc:sldChg chg="addSp delSp modSp mod ord">
        <pc:chgData name="Mariam Daniela Tristancho Pineda (MISION TEMPORAL LTDA)" userId="a45a17f7-7950-4cb5-bfab-f5c894f959a9" providerId="ADAL" clId="{9D150B60-33B5-4A3E-8123-A67E35AA8D44}" dt="2020-07-28T15:04:00.902" v="20010" actId="478"/>
        <pc:sldMkLst>
          <pc:docMk/>
          <pc:sldMk cId="330914068" sldId="2134804346"/>
        </pc:sldMkLst>
        <pc:spChg chg="mod">
          <ac:chgData name="Mariam Daniela Tristancho Pineda (MISION TEMPORAL LTDA)" userId="a45a17f7-7950-4cb5-bfab-f5c894f959a9" providerId="ADAL" clId="{9D150B60-33B5-4A3E-8123-A67E35AA8D44}" dt="2020-07-28T12:39:55.835" v="18324" actId="1036"/>
          <ac:spMkLst>
            <pc:docMk/>
            <pc:sldMk cId="330914068" sldId="2134804346"/>
            <ac:spMk id="3" creationId="{31514E04-D9F2-4C9D-BB7C-0BB641AFCD5E}"/>
          </ac:spMkLst>
        </pc:spChg>
        <pc:spChg chg="del">
          <ac:chgData name="Mariam Daniela Tristancho Pineda (MISION TEMPORAL LTDA)" userId="a45a17f7-7950-4cb5-bfab-f5c894f959a9" providerId="ADAL" clId="{9D150B60-33B5-4A3E-8123-A67E35AA8D44}" dt="2020-07-28T12:39:41.690" v="18300" actId="478"/>
          <ac:spMkLst>
            <pc:docMk/>
            <pc:sldMk cId="330914068" sldId="2134804346"/>
            <ac:spMk id="4" creationId="{9B0CE30D-625A-4CD9-98D4-3AF33243D194}"/>
          </ac:spMkLst>
        </pc:spChg>
        <pc:spChg chg="del">
          <ac:chgData name="Mariam Daniela Tristancho Pineda (MISION TEMPORAL LTDA)" userId="a45a17f7-7950-4cb5-bfab-f5c894f959a9" providerId="ADAL" clId="{9D150B60-33B5-4A3E-8123-A67E35AA8D44}" dt="2020-07-28T12:39:33.943" v="18298" actId="478"/>
          <ac:spMkLst>
            <pc:docMk/>
            <pc:sldMk cId="330914068" sldId="2134804346"/>
            <ac:spMk id="8" creationId="{4DEC050B-5478-40A6-96EA-C713E7B4F927}"/>
          </ac:spMkLst>
        </pc:spChg>
        <pc:spChg chg="mod">
          <ac:chgData name="Mariam Daniela Tristancho Pineda (MISION TEMPORAL LTDA)" userId="a45a17f7-7950-4cb5-bfab-f5c894f959a9" providerId="ADAL" clId="{9D150B60-33B5-4A3E-8123-A67E35AA8D44}" dt="2020-07-28T12:39:14.420" v="18280" actId="1035"/>
          <ac:spMkLst>
            <pc:docMk/>
            <pc:sldMk cId="330914068" sldId="2134804346"/>
            <ac:spMk id="10" creationId="{810E18BD-2955-4DB2-AEDB-386E84418C6C}"/>
          </ac:spMkLst>
        </pc:spChg>
        <pc:spChg chg="del">
          <ac:chgData name="Mariam Daniela Tristancho Pineda (MISION TEMPORAL LTDA)" userId="a45a17f7-7950-4cb5-bfab-f5c894f959a9" providerId="ADAL" clId="{9D150B60-33B5-4A3E-8123-A67E35AA8D44}" dt="2020-07-28T12:37:25.971" v="18162" actId="478"/>
          <ac:spMkLst>
            <pc:docMk/>
            <pc:sldMk cId="330914068" sldId="2134804346"/>
            <ac:spMk id="11" creationId="{369347C8-E390-4234-A000-2BD5D7F47A0D}"/>
          </ac:spMkLst>
        </pc:spChg>
        <pc:spChg chg="mod">
          <ac:chgData name="Mariam Daniela Tristancho Pineda (MISION TEMPORAL LTDA)" userId="a45a17f7-7950-4cb5-bfab-f5c894f959a9" providerId="ADAL" clId="{9D150B60-33B5-4A3E-8123-A67E35AA8D44}" dt="2020-07-28T12:39:55.835" v="18324" actId="1036"/>
          <ac:spMkLst>
            <pc:docMk/>
            <pc:sldMk cId="330914068" sldId="2134804346"/>
            <ac:spMk id="12" creationId="{96C9E76C-8C7F-489D-82CB-B2BD03852707}"/>
          </ac:spMkLst>
        </pc:spChg>
        <pc:spChg chg="del">
          <ac:chgData name="Mariam Daniela Tristancho Pineda (MISION TEMPORAL LTDA)" userId="a45a17f7-7950-4cb5-bfab-f5c894f959a9" providerId="ADAL" clId="{9D150B60-33B5-4A3E-8123-A67E35AA8D44}" dt="2020-07-28T12:38:20.352" v="18177" actId="478"/>
          <ac:spMkLst>
            <pc:docMk/>
            <pc:sldMk cId="330914068" sldId="2134804346"/>
            <ac:spMk id="13" creationId="{3014ABA7-CFC8-4DE9-B63D-0E20E8E6D593}"/>
          </ac:spMkLst>
        </pc:spChg>
        <pc:spChg chg="add mod">
          <ac:chgData name="Mariam Daniela Tristancho Pineda (MISION TEMPORAL LTDA)" userId="a45a17f7-7950-4cb5-bfab-f5c894f959a9" providerId="ADAL" clId="{9D150B60-33B5-4A3E-8123-A67E35AA8D44}" dt="2020-07-28T12:39:14.420" v="18280" actId="1035"/>
          <ac:spMkLst>
            <pc:docMk/>
            <pc:sldMk cId="330914068" sldId="2134804346"/>
            <ac:spMk id="14" creationId="{CB6E902A-3037-4424-8244-1140BA286815}"/>
          </ac:spMkLst>
        </pc:spChg>
        <pc:spChg chg="del">
          <ac:chgData name="Mariam Daniela Tristancho Pineda (MISION TEMPORAL LTDA)" userId="a45a17f7-7950-4cb5-bfab-f5c894f959a9" providerId="ADAL" clId="{9D150B60-33B5-4A3E-8123-A67E35AA8D44}" dt="2020-07-28T12:37:19.308" v="18158" actId="478"/>
          <ac:spMkLst>
            <pc:docMk/>
            <pc:sldMk cId="330914068" sldId="2134804346"/>
            <ac:spMk id="15" creationId="{2D957BE4-455A-4A77-BB3D-B544CDFE4CEE}"/>
          </ac:spMkLst>
        </pc:spChg>
        <pc:spChg chg="del">
          <ac:chgData name="Mariam Daniela Tristancho Pineda (MISION TEMPORAL LTDA)" userId="a45a17f7-7950-4cb5-bfab-f5c894f959a9" providerId="ADAL" clId="{9D150B60-33B5-4A3E-8123-A67E35AA8D44}" dt="2020-07-28T12:37:18.657" v="18157" actId="478"/>
          <ac:spMkLst>
            <pc:docMk/>
            <pc:sldMk cId="330914068" sldId="2134804346"/>
            <ac:spMk id="16" creationId="{39920083-3661-4B17-BD82-A7C567EAC10C}"/>
          </ac:spMkLst>
        </pc:spChg>
        <pc:spChg chg="del">
          <ac:chgData name="Mariam Daniela Tristancho Pineda (MISION TEMPORAL LTDA)" userId="a45a17f7-7950-4cb5-bfab-f5c894f959a9" providerId="ADAL" clId="{9D150B60-33B5-4A3E-8123-A67E35AA8D44}" dt="2020-07-28T12:37:45.357" v="18167" actId="478"/>
          <ac:spMkLst>
            <pc:docMk/>
            <pc:sldMk cId="330914068" sldId="2134804346"/>
            <ac:spMk id="17" creationId="{D90DAF45-BBA9-4FE0-889F-2B61DCDCAFD3}"/>
          </ac:spMkLst>
        </pc:spChg>
        <pc:spChg chg="del">
          <ac:chgData name="Mariam Daniela Tristancho Pineda (MISION TEMPORAL LTDA)" userId="a45a17f7-7950-4cb5-bfab-f5c894f959a9" providerId="ADAL" clId="{9D150B60-33B5-4A3E-8123-A67E35AA8D44}" dt="2020-07-28T12:38:08.818" v="18175" actId="478"/>
          <ac:spMkLst>
            <pc:docMk/>
            <pc:sldMk cId="330914068" sldId="2134804346"/>
            <ac:spMk id="18" creationId="{6B4295C0-BACB-421F-9250-D16FB2AE03B5}"/>
          </ac:spMkLst>
        </pc:spChg>
        <pc:spChg chg="mod">
          <ac:chgData name="Mariam Daniela Tristancho Pineda (MISION TEMPORAL LTDA)" userId="a45a17f7-7950-4cb5-bfab-f5c894f959a9" providerId="ADAL" clId="{9D150B60-33B5-4A3E-8123-A67E35AA8D44}" dt="2020-07-28T12:39:14.420" v="18280" actId="1035"/>
          <ac:spMkLst>
            <pc:docMk/>
            <pc:sldMk cId="330914068" sldId="2134804346"/>
            <ac:spMk id="19" creationId="{CE9667FC-2EDF-4F30-B9FB-41AC4BCA57C5}"/>
          </ac:spMkLst>
        </pc:spChg>
        <pc:spChg chg="del">
          <ac:chgData name="Mariam Daniela Tristancho Pineda (MISION TEMPORAL LTDA)" userId="a45a17f7-7950-4cb5-bfab-f5c894f959a9" providerId="ADAL" clId="{9D150B60-33B5-4A3E-8123-A67E35AA8D44}" dt="2020-07-28T12:38:08.818" v="18175" actId="478"/>
          <ac:spMkLst>
            <pc:docMk/>
            <pc:sldMk cId="330914068" sldId="2134804346"/>
            <ac:spMk id="22" creationId="{3C9B90E0-D56E-406C-86C5-9047F0CF725A}"/>
          </ac:spMkLst>
        </pc:spChg>
        <pc:spChg chg="del">
          <ac:chgData name="Mariam Daniela Tristancho Pineda (MISION TEMPORAL LTDA)" userId="a45a17f7-7950-4cb5-bfab-f5c894f959a9" providerId="ADAL" clId="{9D150B60-33B5-4A3E-8123-A67E35AA8D44}" dt="2020-07-28T12:38:08.818" v="18175" actId="478"/>
          <ac:spMkLst>
            <pc:docMk/>
            <pc:sldMk cId="330914068" sldId="2134804346"/>
            <ac:spMk id="23" creationId="{DC7A8F7C-C0FB-409A-A2BF-E6C8DE621ABC}"/>
          </ac:spMkLst>
        </pc:spChg>
        <pc:spChg chg="del">
          <ac:chgData name="Mariam Daniela Tristancho Pineda (MISION TEMPORAL LTDA)" userId="a45a17f7-7950-4cb5-bfab-f5c894f959a9" providerId="ADAL" clId="{9D150B60-33B5-4A3E-8123-A67E35AA8D44}" dt="2020-07-28T12:38:18.490" v="18176" actId="478"/>
          <ac:spMkLst>
            <pc:docMk/>
            <pc:sldMk cId="330914068" sldId="2134804346"/>
            <ac:spMk id="24" creationId="{0F469F31-E58F-42FF-AC27-8A11BEC21E1D}"/>
          </ac:spMkLst>
        </pc:spChg>
        <pc:spChg chg="del">
          <ac:chgData name="Mariam Daniela Tristancho Pineda (MISION TEMPORAL LTDA)" userId="a45a17f7-7950-4cb5-bfab-f5c894f959a9" providerId="ADAL" clId="{9D150B60-33B5-4A3E-8123-A67E35AA8D44}" dt="2020-07-28T12:38:18.490" v="18176" actId="478"/>
          <ac:spMkLst>
            <pc:docMk/>
            <pc:sldMk cId="330914068" sldId="2134804346"/>
            <ac:spMk id="25" creationId="{BBAEF50B-2618-44D3-B61E-C295E72EF8E0}"/>
          </ac:spMkLst>
        </pc:spChg>
        <pc:spChg chg="del">
          <ac:chgData name="Mariam Daniela Tristancho Pineda (MISION TEMPORAL LTDA)" userId="a45a17f7-7950-4cb5-bfab-f5c894f959a9" providerId="ADAL" clId="{9D150B60-33B5-4A3E-8123-A67E35AA8D44}" dt="2020-07-28T12:38:18.490" v="18176" actId="478"/>
          <ac:spMkLst>
            <pc:docMk/>
            <pc:sldMk cId="330914068" sldId="2134804346"/>
            <ac:spMk id="26" creationId="{DB8C8FEE-D364-473B-990C-8D0B3A2AFE29}"/>
          </ac:spMkLst>
        </pc:spChg>
        <pc:spChg chg="del">
          <ac:chgData name="Mariam Daniela Tristancho Pineda (MISION TEMPORAL LTDA)" userId="a45a17f7-7950-4cb5-bfab-f5c894f959a9" providerId="ADAL" clId="{9D150B60-33B5-4A3E-8123-A67E35AA8D44}" dt="2020-07-28T12:38:23.682" v="18180" actId="478"/>
          <ac:spMkLst>
            <pc:docMk/>
            <pc:sldMk cId="330914068" sldId="2134804346"/>
            <ac:spMk id="27" creationId="{FEFB62FD-9D39-4B50-AF59-543E1F673FE5}"/>
          </ac:spMkLst>
        </pc:spChg>
        <pc:spChg chg="del">
          <ac:chgData name="Mariam Daniela Tristancho Pineda (MISION TEMPORAL LTDA)" userId="a45a17f7-7950-4cb5-bfab-f5c894f959a9" providerId="ADAL" clId="{9D150B60-33B5-4A3E-8123-A67E35AA8D44}" dt="2020-07-28T12:38:20.352" v="18177" actId="478"/>
          <ac:spMkLst>
            <pc:docMk/>
            <pc:sldMk cId="330914068" sldId="2134804346"/>
            <ac:spMk id="28" creationId="{0CDAE9E7-CD85-4317-A660-8F35EC859697}"/>
          </ac:spMkLst>
        </pc:spChg>
        <pc:spChg chg="del">
          <ac:chgData name="Mariam Daniela Tristancho Pineda (MISION TEMPORAL LTDA)" userId="a45a17f7-7950-4cb5-bfab-f5c894f959a9" providerId="ADAL" clId="{9D150B60-33B5-4A3E-8123-A67E35AA8D44}" dt="2020-07-28T12:39:42.587" v="18301" actId="478"/>
          <ac:spMkLst>
            <pc:docMk/>
            <pc:sldMk cId="330914068" sldId="2134804346"/>
            <ac:spMk id="29" creationId="{D3BCCD8F-3AD4-43D4-B822-044615DD1C54}"/>
          </ac:spMkLst>
        </pc:spChg>
        <pc:spChg chg="add del">
          <ac:chgData name="Mariam Daniela Tristancho Pineda (MISION TEMPORAL LTDA)" userId="a45a17f7-7950-4cb5-bfab-f5c894f959a9" providerId="ADAL" clId="{9D150B60-33B5-4A3E-8123-A67E35AA8D44}" dt="2020-07-28T12:37:59.145" v="18171" actId="22"/>
          <ac:spMkLst>
            <pc:docMk/>
            <pc:sldMk cId="330914068" sldId="2134804346"/>
            <ac:spMk id="30" creationId="{BA224E05-18FD-47CE-AFFE-FA7D80E5F099}"/>
          </ac:spMkLst>
        </pc:spChg>
        <pc:spChg chg="mod topLvl">
          <ac:chgData name="Mariam Daniela Tristancho Pineda (MISION TEMPORAL LTDA)" userId="a45a17f7-7950-4cb5-bfab-f5c894f959a9" providerId="ADAL" clId="{9D150B60-33B5-4A3E-8123-A67E35AA8D44}" dt="2020-07-28T12:37:05.351" v="18155" actId="164"/>
          <ac:spMkLst>
            <pc:docMk/>
            <pc:sldMk cId="330914068" sldId="2134804346"/>
            <ac:spMk id="31" creationId="{33815D25-A2E7-49EE-9E0D-F73DC7260CB1}"/>
          </ac:spMkLst>
        </pc:spChg>
        <pc:spChg chg="mod topLvl">
          <ac:chgData name="Mariam Daniela Tristancho Pineda (MISION TEMPORAL LTDA)" userId="a45a17f7-7950-4cb5-bfab-f5c894f959a9" providerId="ADAL" clId="{9D150B60-33B5-4A3E-8123-A67E35AA8D44}" dt="2020-07-28T12:40:06.190" v="18329" actId="14100"/>
          <ac:spMkLst>
            <pc:docMk/>
            <pc:sldMk cId="330914068" sldId="2134804346"/>
            <ac:spMk id="32" creationId="{9A29FA08-D6F1-4C83-8BD8-FB503F5B1235}"/>
          </ac:spMkLst>
        </pc:spChg>
        <pc:spChg chg="del">
          <ac:chgData name="Mariam Daniela Tristancho Pineda (MISION TEMPORAL LTDA)" userId="a45a17f7-7950-4cb5-bfab-f5c894f959a9" providerId="ADAL" clId="{9D150B60-33B5-4A3E-8123-A67E35AA8D44}" dt="2020-07-28T12:37:40.328" v="18166" actId="478"/>
          <ac:spMkLst>
            <pc:docMk/>
            <pc:sldMk cId="330914068" sldId="2134804346"/>
            <ac:spMk id="33" creationId="{257A51C8-EB6E-4CAA-8ED7-3E4E7C0B3A8A}"/>
          </ac:spMkLst>
        </pc:spChg>
        <pc:spChg chg="add mod">
          <ac:chgData name="Mariam Daniela Tristancho Pineda (MISION TEMPORAL LTDA)" userId="a45a17f7-7950-4cb5-bfab-f5c894f959a9" providerId="ADAL" clId="{9D150B60-33B5-4A3E-8123-A67E35AA8D44}" dt="2020-07-28T12:39:14.420" v="18280" actId="1035"/>
          <ac:spMkLst>
            <pc:docMk/>
            <pc:sldMk cId="330914068" sldId="2134804346"/>
            <ac:spMk id="34" creationId="{8563ABA6-CB73-498B-A032-07417EFEC241}"/>
          </ac:spMkLst>
        </pc:spChg>
        <pc:spChg chg="add mod">
          <ac:chgData name="Mariam Daniela Tristancho Pineda (MISION TEMPORAL LTDA)" userId="a45a17f7-7950-4cb5-bfab-f5c894f959a9" providerId="ADAL" clId="{9D150B60-33B5-4A3E-8123-A67E35AA8D44}" dt="2020-07-28T12:39:14.420" v="18280" actId="1035"/>
          <ac:spMkLst>
            <pc:docMk/>
            <pc:sldMk cId="330914068" sldId="2134804346"/>
            <ac:spMk id="35" creationId="{261FE420-0646-42FB-B587-DEC51AE767F3}"/>
          </ac:spMkLst>
        </pc:spChg>
        <pc:spChg chg="del">
          <ac:chgData name="Mariam Daniela Tristancho Pineda (MISION TEMPORAL LTDA)" userId="a45a17f7-7950-4cb5-bfab-f5c894f959a9" providerId="ADAL" clId="{9D150B60-33B5-4A3E-8123-A67E35AA8D44}" dt="2020-07-28T12:37:25.413" v="18161" actId="478"/>
          <ac:spMkLst>
            <pc:docMk/>
            <pc:sldMk cId="330914068" sldId="2134804346"/>
            <ac:spMk id="36" creationId="{25CCB3F9-8A57-42B5-B0AC-56F5E0EDACF5}"/>
          </ac:spMkLst>
        </pc:spChg>
        <pc:spChg chg="del">
          <ac:chgData name="Mariam Daniela Tristancho Pineda (MISION TEMPORAL LTDA)" userId="a45a17f7-7950-4cb5-bfab-f5c894f959a9" providerId="ADAL" clId="{9D150B60-33B5-4A3E-8123-A67E35AA8D44}" dt="2020-07-28T12:37:40.328" v="18166" actId="478"/>
          <ac:spMkLst>
            <pc:docMk/>
            <pc:sldMk cId="330914068" sldId="2134804346"/>
            <ac:spMk id="37" creationId="{50BFBD21-058C-4134-A883-5F522F8B0B76}"/>
          </ac:spMkLst>
        </pc:spChg>
        <pc:spChg chg="add mod">
          <ac:chgData name="Mariam Daniela Tristancho Pineda (MISION TEMPORAL LTDA)" userId="a45a17f7-7950-4cb5-bfab-f5c894f959a9" providerId="ADAL" clId="{9D150B60-33B5-4A3E-8123-A67E35AA8D44}" dt="2020-07-28T12:39:14.420" v="18280" actId="1035"/>
          <ac:spMkLst>
            <pc:docMk/>
            <pc:sldMk cId="330914068" sldId="2134804346"/>
            <ac:spMk id="38" creationId="{21114744-B35E-4496-A372-911B23945769}"/>
          </ac:spMkLst>
        </pc:spChg>
        <pc:spChg chg="del">
          <ac:chgData name="Mariam Daniela Tristancho Pineda (MISION TEMPORAL LTDA)" userId="a45a17f7-7950-4cb5-bfab-f5c894f959a9" providerId="ADAL" clId="{9D150B60-33B5-4A3E-8123-A67E35AA8D44}" dt="2020-07-28T12:38:08.818" v="18175" actId="478"/>
          <ac:spMkLst>
            <pc:docMk/>
            <pc:sldMk cId="330914068" sldId="2134804346"/>
            <ac:spMk id="40" creationId="{25EFF114-9C03-4A67-908C-727B85061D72}"/>
          </ac:spMkLst>
        </pc:spChg>
        <pc:spChg chg="del">
          <ac:chgData name="Mariam Daniela Tristancho Pineda (MISION TEMPORAL LTDA)" userId="a45a17f7-7950-4cb5-bfab-f5c894f959a9" providerId="ADAL" clId="{9D150B60-33B5-4A3E-8123-A67E35AA8D44}" dt="2020-07-28T12:37:40.328" v="18166" actId="478"/>
          <ac:spMkLst>
            <pc:docMk/>
            <pc:sldMk cId="330914068" sldId="2134804346"/>
            <ac:spMk id="41" creationId="{F04142FF-DA42-4442-8692-4F397E7AEFE4}"/>
          </ac:spMkLst>
        </pc:spChg>
        <pc:spChg chg="mod">
          <ac:chgData name="Mariam Daniela Tristancho Pineda (MISION TEMPORAL LTDA)" userId="a45a17f7-7950-4cb5-bfab-f5c894f959a9" providerId="ADAL" clId="{9D150B60-33B5-4A3E-8123-A67E35AA8D44}" dt="2020-07-28T12:39:14.420" v="18280" actId="1035"/>
          <ac:spMkLst>
            <pc:docMk/>
            <pc:sldMk cId="330914068" sldId="2134804346"/>
            <ac:spMk id="43" creationId="{EEC3A31D-356D-41DB-A156-97872532EB82}"/>
          </ac:spMkLst>
        </pc:spChg>
        <pc:spChg chg="mod">
          <ac:chgData name="Mariam Daniela Tristancho Pineda (MISION TEMPORAL LTDA)" userId="a45a17f7-7950-4cb5-bfab-f5c894f959a9" providerId="ADAL" clId="{9D150B60-33B5-4A3E-8123-A67E35AA8D44}" dt="2020-07-28T12:39:14.420" v="18280" actId="1035"/>
          <ac:spMkLst>
            <pc:docMk/>
            <pc:sldMk cId="330914068" sldId="2134804346"/>
            <ac:spMk id="44" creationId="{4B1A9C8A-FFC0-483B-B825-ED5EF0C388A9}"/>
          </ac:spMkLst>
        </pc:spChg>
        <pc:spChg chg="mod">
          <ac:chgData name="Mariam Daniela Tristancho Pineda (MISION TEMPORAL LTDA)" userId="a45a17f7-7950-4cb5-bfab-f5c894f959a9" providerId="ADAL" clId="{9D150B60-33B5-4A3E-8123-A67E35AA8D44}" dt="2020-07-28T12:39:14.420" v="18280" actId="1035"/>
          <ac:spMkLst>
            <pc:docMk/>
            <pc:sldMk cId="330914068" sldId="2134804346"/>
            <ac:spMk id="45" creationId="{8E8CD834-7B34-47C9-9BE7-09ECA14BFCEB}"/>
          </ac:spMkLst>
        </pc:spChg>
        <pc:spChg chg="mod">
          <ac:chgData name="Mariam Daniela Tristancho Pineda (MISION TEMPORAL LTDA)" userId="a45a17f7-7950-4cb5-bfab-f5c894f959a9" providerId="ADAL" clId="{9D150B60-33B5-4A3E-8123-A67E35AA8D44}" dt="2020-07-28T12:39:14.420" v="18280" actId="1035"/>
          <ac:spMkLst>
            <pc:docMk/>
            <pc:sldMk cId="330914068" sldId="2134804346"/>
            <ac:spMk id="47" creationId="{137B0C4F-8471-4337-954D-6AECA53DF9C2}"/>
          </ac:spMkLst>
        </pc:spChg>
        <pc:spChg chg="del">
          <ac:chgData name="Mariam Daniela Tristancho Pineda (MISION TEMPORAL LTDA)" userId="a45a17f7-7950-4cb5-bfab-f5c894f959a9" providerId="ADAL" clId="{9D150B60-33B5-4A3E-8123-A67E35AA8D44}" dt="2020-07-28T12:37:45.357" v="18167" actId="478"/>
          <ac:spMkLst>
            <pc:docMk/>
            <pc:sldMk cId="330914068" sldId="2134804346"/>
            <ac:spMk id="48" creationId="{35A19989-D8F4-434C-A107-FEE4491A62ED}"/>
          </ac:spMkLst>
        </pc:spChg>
        <pc:spChg chg="mod">
          <ac:chgData name="Mariam Daniela Tristancho Pineda (MISION TEMPORAL LTDA)" userId="a45a17f7-7950-4cb5-bfab-f5c894f959a9" providerId="ADAL" clId="{9D150B60-33B5-4A3E-8123-A67E35AA8D44}" dt="2020-07-28T12:39:14.420" v="18280" actId="1035"/>
          <ac:spMkLst>
            <pc:docMk/>
            <pc:sldMk cId="330914068" sldId="2134804346"/>
            <ac:spMk id="51" creationId="{C0A2318E-3E25-4819-8017-0D802266D8BE}"/>
          </ac:spMkLst>
        </pc:spChg>
        <pc:spChg chg="del">
          <ac:chgData name="Mariam Daniela Tristancho Pineda (MISION TEMPORAL LTDA)" userId="a45a17f7-7950-4cb5-bfab-f5c894f959a9" providerId="ADAL" clId="{9D150B60-33B5-4A3E-8123-A67E35AA8D44}" dt="2020-07-28T12:37:45.357" v="18167" actId="478"/>
          <ac:spMkLst>
            <pc:docMk/>
            <pc:sldMk cId="330914068" sldId="2134804346"/>
            <ac:spMk id="53" creationId="{86FB72C7-C1CA-4677-9B10-F459107B4233}"/>
          </ac:spMkLst>
        </pc:spChg>
        <pc:spChg chg="mod">
          <ac:chgData name="Mariam Daniela Tristancho Pineda (MISION TEMPORAL LTDA)" userId="a45a17f7-7950-4cb5-bfab-f5c894f959a9" providerId="ADAL" clId="{9D150B60-33B5-4A3E-8123-A67E35AA8D44}" dt="2020-07-28T12:39:14.420" v="18280" actId="1035"/>
          <ac:spMkLst>
            <pc:docMk/>
            <pc:sldMk cId="330914068" sldId="2134804346"/>
            <ac:spMk id="54" creationId="{18FCD16F-84E8-4671-A091-C0264D480522}"/>
          </ac:spMkLst>
        </pc:spChg>
        <pc:spChg chg="add del mod">
          <ac:chgData name="Mariam Daniela Tristancho Pineda (MISION TEMPORAL LTDA)" userId="a45a17f7-7950-4cb5-bfab-f5c894f959a9" providerId="ADAL" clId="{9D150B60-33B5-4A3E-8123-A67E35AA8D44}" dt="2020-07-28T12:39:14.420" v="18280" actId="1035"/>
          <ac:spMkLst>
            <pc:docMk/>
            <pc:sldMk cId="330914068" sldId="2134804346"/>
            <ac:spMk id="58" creationId="{87C0C219-147A-4233-AEBD-D8B263DF2912}"/>
          </ac:spMkLst>
        </pc:spChg>
        <pc:spChg chg="mod">
          <ac:chgData name="Mariam Daniela Tristancho Pineda (MISION TEMPORAL LTDA)" userId="a45a17f7-7950-4cb5-bfab-f5c894f959a9" providerId="ADAL" clId="{9D150B60-33B5-4A3E-8123-A67E35AA8D44}" dt="2020-07-28T12:39:14.420" v="18280" actId="1035"/>
          <ac:spMkLst>
            <pc:docMk/>
            <pc:sldMk cId="330914068" sldId="2134804346"/>
            <ac:spMk id="61" creationId="{7C69D657-65A5-4E1B-8464-4A04E7AFC334}"/>
          </ac:spMkLst>
        </pc:spChg>
        <pc:spChg chg="del">
          <ac:chgData name="Mariam Daniela Tristancho Pineda (MISION TEMPORAL LTDA)" userId="a45a17f7-7950-4cb5-bfab-f5c894f959a9" providerId="ADAL" clId="{9D150B60-33B5-4A3E-8123-A67E35AA8D44}" dt="2020-07-28T12:38:08.818" v="18175" actId="478"/>
          <ac:spMkLst>
            <pc:docMk/>
            <pc:sldMk cId="330914068" sldId="2134804346"/>
            <ac:spMk id="62" creationId="{CAD53C17-134A-4DBD-B578-EF435A01FB3F}"/>
          </ac:spMkLst>
        </pc:spChg>
        <pc:spChg chg="mod">
          <ac:chgData name="Mariam Daniela Tristancho Pineda (MISION TEMPORAL LTDA)" userId="a45a17f7-7950-4cb5-bfab-f5c894f959a9" providerId="ADAL" clId="{9D150B60-33B5-4A3E-8123-A67E35AA8D44}" dt="2020-07-28T12:39:14.420" v="18280" actId="1035"/>
          <ac:spMkLst>
            <pc:docMk/>
            <pc:sldMk cId="330914068" sldId="2134804346"/>
            <ac:spMk id="63" creationId="{FDF3B75C-EF94-43C4-8C4C-4ECAB5FEA69C}"/>
          </ac:spMkLst>
        </pc:spChg>
        <pc:spChg chg="mod">
          <ac:chgData name="Mariam Daniela Tristancho Pineda (MISION TEMPORAL LTDA)" userId="a45a17f7-7950-4cb5-bfab-f5c894f959a9" providerId="ADAL" clId="{9D150B60-33B5-4A3E-8123-A67E35AA8D44}" dt="2020-07-28T12:39:14.420" v="18280" actId="1035"/>
          <ac:spMkLst>
            <pc:docMk/>
            <pc:sldMk cId="330914068" sldId="2134804346"/>
            <ac:spMk id="79" creationId="{7A485175-A5E8-48E7-8A26-808AC78F05FA}"/>
          </ac:spMkLst>
        </pc:spChg>
        <pc:spChg chg="mod">
          <ac:chgData name="Mariam Daniela Tristancho Pineda (MISION TEMPORAL LTDA)" userId="a45a17f7-7950-4cb5-bfab-f5c894f959a9" providerId="ADAL" clId="{9D150B60-33B5-4A3E-8123-A67E35AA8D44}" dt="2020-07-28T12:39:14.420" v="18280" actId="1035"/>
          <ac:spMkLst>
            <pc:docMk/>
            <pc:sldMk cId="330914068" sldId="2134804346"/>
            <ac:spMk id="86" creationId="{C0D8071E-E660-48AA-B1A5-D3608FE927ED}"/>
          </ac:spMkLst>
        </pc:spChg>
        <pc:spChg chg="del">
          <ac:chgData name="Mariam Daniela Tristancho Pineda (MISION TEMPORAL LTDA)" userId="a45a17f7-7950-4cb5-bfab-f5c894f959a9" providerId="ADAL" clId="{9D150B60-33B5-4A3E-8123-A67E35AA8D44}" dt="2020-07-28T12:38:23.068" v="18179" actId="478"/>
          <ac:spMkLst>
            <pc:docMk/>
            <pc:sldMk cId="330914068" sldId="2134804346"/>
            <ac:spMk id="87" creationId="{7CF57F42-1AA5-43FA-8A49-0BA5001C2100}"/>
          </ac:spMkLst>
        </pc:spChg>
        <pc:spChg chg="del">
          <ac:chgData name="Mariam Daniela Tristancho Pineda (MISION TEMPORAL LTDA)" userId="a45a17f7-7950-4cb5-bfab-f5c894f959a9" providerId="ADAL" clId="{9D150B60-33B5-4A3E-8123-A67E35AA8D44}" dt="2020-07-28T12:38:18.490" v="18176" actId="478"/>
          <ac:spMkLst>
            <pc:docMk/>
            <pc:sldMk cId="330914068" sldId="2134804346"/>
            <ac:spMk id="88" creationId="{25320169-DFF2-4A5A-BA08-D78D5F6600A9}"/>
          </ac:spMkLst>
        </pc:spChg>
        <pc:spChg chg="del">
          <ac:chgData name="Mariam Daniela Tristancho Pineda (MISION TEMPORAL LTDA)" userId="a45a17f7-7950-4cb5-bfab-f5c894f959a9" providerId="ADAL" clId="{9D150B60-33B5-4A3E-8123-A67E35AA8D44}" dt="2020-07-28T12:38:25.650" v="18181" actId="478"/>
          <ac:spMkLst>
            <pc:docMk/>
            <pc:sldMk cId="330914068" sldId="2134804346"/>
            <ac:spMk id="89" creationId="{F8119AC5-40E5-43CE-8080-3768092827DB}"/>
          </ac:spMkLst>
        </pc:spChg>
        <pc:spChg chg="del">
          <ac:chgData name="Mariam Daniela Tristancho Pineda (MISION TEMPORAL LTDA)" userId="a45a17f7-7950-4cb5-bfab-f5c894f959a9" providerId="ADAL" clId="{9D150B60-33B5-4A3E-8123-A67E35AA8D44}" dt="2020-07-28T12:38:21.690" v="18178" actId="478"/>
          <ac:spMkLst>
            <pc:docMk/>
            <pc:sldMk cId="330914068" sldId="2134804346"/>
            <ac:spMk id="92" creationId="{B7EA080A-EDD5-466D-9D38-95CA4EC3BCF4}"/>
          </ac:spMkLst>
        </pc:spChg>
        <pc:spChg chg="del">
          <ac:chgData name="Mariam Daniela Tristancho Pineda (MISION TEMPORAL LTDA)" userId="a45a17f7-7950-4cb5-bfab-f5c894f959a9" providerId="ADAL" clId="{9D150B60-33B5-4A3E-8123-A67E35AA8D44}" dt="2020-07-28T12:38:20.352" v="18177" actId="478"/>
          <ac:spMkLst>
            <pc:docMk/>
            <pc:sldMk cId="330914068" sldId="2134804346"/>
            <ac:spMk id="93" creationId="{8BB92AF4-BAC7-400A-9FE5-29EE61E14890}"/>
          </ac:spMkLst>
        </pc:spChg>
        <pc:spChg chg="del">
          <ac:chgData name="Mariam Daniela Tristancho Pineda (MISION TEMPORAL LTDA)" userId="a45a17f7-7950-4cb5-bfab-f5c894f959a9" providerId="ADAL" clId="{9D150B60-33B5-4A3E-8123-A67E35AA8D44}" dt="2020-07-28T12:38:26.606" v="18182" actId="478"/>
          <ac:spMkLst>
            <pc:docMk/>
            <pc:sldMk cId="330914068" sldId="2134804346"/>
            <ac:spMk id="94" creationId="{00945104-3316-4EB6-B908-F5C147C17414}"/>
          </ac:spMkLst>
        </pc:spChg>
        <pc:spChg chg="del mod topLvl">
          <ac:chgData name="Mariam Daniela Tristancho Pineda (MISION TEMPORAL LTDA)" userId="a45a17f7-7950-4cb5-bfab-f5c894f959a9" providerId="ADAL" clId="{9D150B60-33B5-4A3E-8123-A67E35AA8D44}" dt="2020-07-28T12:36:59.991" v="18153" actId="478"/>
          <ac:spMkLst>
            <pc:docMk/>
            <pc:sldMk cId="330914068" sldId="2134804346"/>
            <ac:spMk id="103" creationId="{7343743D-CA35-4478-B169-D2B5E17DFF4C}"/>
          </ac:spMkLst>
        </pc:spChg>
        <pc:spChg chg="del mod topLvl">
          <ac:chgData name="Mariam Daniela Tristancho Pineda (MISION TEMPORAL LTDA)" userId="a45a17f7-7950-4cb5-bfab-f5c894f959a9" providerId="ADAL" clId="{9D150B60-33B5-4A3E-8123-A67E35AA8D44}" dt="2020-07-28T12:37:03.045" v="18154" actId="478"/>
          <ac:spMkLst>
            <pc:docMk/>
            <pc:sldMk cId="330914068" sldId="2134804346"/>
            <ac:spMk id="104" creationId="{3F3C693D-E21B-4B80-B7ED-F44D55754E96}"/>
          </ac:spMkLst>
        </pc:spChg>
        <pc:spChg chg="del mod topLvl">
          <ac:chgData name="Mariam Daniela Tristancho Pineda (MISION TEMPORAL LTDA)" userId="a45a17f7-7950-4cb5-bfab-f5c894f959a9" providerId="ADAL" clId="{9D150B60-33B5-4A3E-8123-A67E35AA8D44}" dt="2020-07-28T12:36:59.991" v="18153" actId="478"/>
          <ac:spMkLst>
            <pc:docMk/>
            <pc:sldMk cId="330914068" sldId="2134804346"/>
            <ac:spMk id="106" creationId="{E035A392-D2FE-42ED-A77E-F790E9068ADC}"/>
          </ac:spMkLst>
        </pc:spChg>
        <pc:spChg chg="del mod topLvl">
          <ac:chgData name="Mariam Daniela Tristancho Pineda (MISION TEMPORAL LTDA)" userId="a45a17f7-7950-4cb5-bfab-f5c894f959a9" providerId="ADAL" clId="{9D150B60-33B5-4A3E-8123-A67E35AA8D44}" dt="2020-07-28T12:36:59.991" v="18153" actId="478"/>
          <ac:spMkLst>
            <pc:docMk/>
            <pc:sldMk cId="330914068" sldId="2134804346"/>
            <ac:spMk id="107" creationId="{2E2D6748-9C7C-4727-AAF2-4ABB89A1052D}"/>
          </ac:spMkLst>
        </pc:spChg>
        <pc:spChg chg="del mod topLvl">
          <ac:chgData name="Mariam Daniela Tristancho Pineda (MISION TEMPORAL LTDA)" userId="a45a17f7-7950-4cb5-bfab-f5c894f959a9" providerId="ADAL" clId="{9D150B60-33B5-4A3E-8123-A67E35AA8D44}" dt="2020-07-28T12:36:59.991" v="18153" actId="478"/>
          <ac:spMkLst>
            <pc:docMk/>
            <pc:sldMk cId="330914068" sldId="2134804346"/>
            <ac:spMk id="110" creationId="{EA8DE01B-9DBA-4FFD-8F33-5E3C211E0235}"/>
          </ac:spMkLst>
        </pc:spChg>
        <pc:spChg chg="del mod topLvl">
          <ac:chgData name="Mariam Daniela Tristancho Pineda (MISION TEMPORAL LTDA)" userId="a45a17f7-7950-4cb5-bfab-f5c894f959a9" providerId="ADAL" clId="{9D150B60-33B5-4A3E-8123-A67E35AA8D44}" dt="2020-07-28T12:36:59.991" v="18153" actId="478"/>
          <ac:spMkLst>
            <pc:docMk/>
            <pc:sldMk cId="330914068" sldId="2134804346"/>
            <ac:spMk id="111" creationId="{0584C2A1-F208-4EF4-B35E-A13F567E7748}"/>
          </ac:spMkLst>
        </pc:spChg>
        <pc:spChg chg="del mod topLvl">
          <ac:chgData name="Mariam Daniela Tristancho Pineda (MISION TEMPORAL LTDA)" userId="a45a17f7-7950-4cb5-bfab-f5c894f959a9" providerId="ADAL" clId="{9D150B60-33B5-4A3E-8123-A67E35AA8D44}" dt="2020-07-28T12:36:59.991" v="18153" actId="478"/>
          <ac:spMkLst>
            <pc:docMk/>
            <pc:sldMk cId="330914068" sldId="2134804346"/>
            <ac:spMk id="113" creationId="{68C79E44-944B-4ED7-B5A1-6558BBCE4EC6}"/>
          </ac:spMkLst>
        </pc:spChg>
        <pc:spChg chg="del mod topLvl">
          <ac:chgData name="Mariam Daniela Tristancho Pineda (MISION TEMPORAL LTDA)" userId="a45a17f7-7950-4cb5-bfab-f5c894f959a9" providerId="ADAL" clId="{9D150B60-33B5-4A3E-8123-A67E35AA8D44}" dt="2020-07-28T12:36:59.991" v="18153" actId="478"/>
          <ac:spMkLst>
            <pc:docMk/>
            <pc:sldMk cId="330914068" sldId="2134804346"/>
            <ac:spMk id="114" creationId="{80BC0FD4-937D-475D-ABCF-698168B2BE8D}"/>
          </ac:spMkLst>
        </pc:spChg>
        <pc:grpChg chg="add del mod">
          <ac:chgData name="Mariam Daniela Tristancho Pineda (MISION TEMPORAL LTDA)" userId="a45a17f7-7950-4cb5-bfab-f5c894f959a9" providerId="ADAL" clId="{9D150B60-33B5-4A3E-8123-A67E35AA8D44}" dt="2020-07-28T15:04:00.902" v="20010" actId="478"/>
          <ac:grpSpMkLst>
            <pc:docMk/>
            <pc:sldMk cId="330914068" sldId="2134804346"/>
            <ac:grpSpMk id="7" creationId="{CBC4A3BB-AF6B-47DA-BF44-003B7C5150A1}"/>
          </ac:grpSpMkLst>
        </pc:grpChg>
        <pc:grpChg chg="del">
          <ac:chgData name="Mariam Daniela Tristancho Pineda (MISION TEMPORAL LTDA)" userId="a45a17f7-7950-4cb5-bfab-f5c894f959a9" providerId="ADAL" clId="{9D150B60-33B5-4A3E-8123-A67E35AA8D44}" dt="2020-07-28T12:36:57.184" v="18152" actId="165"/>
          <ac:grpSpMkLst>
            <pc:docMk/>
            <pc:sldMk cId="330914068" sldId="2134804346"/>
            <ac:grpSpMk id="50" creationId="{4253AEFC-C817-486B-9CB2-F7DEC0389719}"/>
          </ac:grpSpMkLst>
        </pc:grpChg>
        <pc:graphicFrameChg chg="mod modGraphic">
          <ac:chgData name="Mariam Daniela Tristancho Pineda (MISION TEMPORAL LTDA)" userId="a45a17f7-7950-4cb5-bfab-f5c894f959a9" providerId="ADAL" clId="{9D150B60-33B5-4A3E-8123-A67E35AA8D44}" dt="2020-07-28T12:39:55.835" v="18324" actId="1036"/>
          <ac:graphicFrameMkLst>
            <pc:docMk/>
            <pc:sldMk cId="330914068" sldId="2134804346"/>
            <ac:graphicFrameMk id="6" creationId="{55A3C4F2-9AF1-4081-BD13-26D94B00509A}"/>
          </ac:graphicFrameMkLst>
        </pc:graphicFrameChg>
        <pc:graphicFrameChg chg="mod modGraphic">
          <ac:chgData name="Mariam Daniela Tristancho Pineda (MISION TEMPORAL LTDA)" userId="a45a17f7-7950-4cb5-bfab-f5c894f959a9" providerId="ADAL" clId="{9D150B60-33B5-4A3E-8123-A67E35AA8D44}" dt="2020-07-28T15:03:54.650" v="20009" actId="207"/>
          <ac:graphicFrameMkLst>
            <pc:docMk/>
            <pc:sldMk cId="330914068" sldId="2134804346"/>
            <ac:graphicFrameMk id="9" creationId="{6080D7D3-5082-435E-BDF1-D2115CE124C8}"/>
          </ac:graphicFrameMkLst>
        </pc:graphicFrameChg>
        <pc:cxnChg chg="mod">
          <ac:chgData name="Mariam Daniela Tristancho Pineda (MISION TEMPORAL LTDA)" userId="a45a17f7-7950-4cb5-bfab-f5c894f959a9" providerId="ADAL" clId="{9D150B60-33B5-4A3E-8123-A67E35AA8D44}" dt="2020-07-28T12:39:14.420" v="18280" actId="1035"/>
          <ac:cxnSpMkLst>
            <pc:docMk/>
            <pc:sldMk cId="330914068" sldId="2134804346"/>
            <ac:cxnSpMk id="5" creationId="{017DAD00-B855-4E39-8DE1-7636A3DDFC9D}"/>
          </ac:cxnSpMkLst>
        </pc:cxnChg>
      </pc:sldChg>
      <pc:sldChg chg="addSp delSp modSp mod ord">
        <pc:chgData name="Mariam Daniela Tristancho Pineda (MISION TEMPORAL LTDA)" userId="a45a17f7-7950-4cb5-bfab-f5c894f959a9" providerId="ADAL" clId="{9D150B60-33B5-4A3E-8123-A67E35AA8D44}" dt="2020-07-28T15:02:27.406" v="19925"/>
        <pc:sldMkLst>
          <pc:docMk/>
          <pc:sldMk cId="3225245280" sldId="2134804347"/>
        </pc:sldMkLst>
        <pc:spChg chg="mod">
          <ac:chgData name="Mariam Daniela Tristancho Pineda (MISION TEMPORAL LTDA)" userId="a45a17f7-7950-4cb5-bfab-f5c894f959a9" providerId="ADAL" clId="{9D150B60-33B5-4A3E-8123-A67E35AA8D44}" dt="2020-07-28T13:19:01.819" v="18879" actId="1037"/>
          <ac:spMkLst>
            <pc:docMk/>
            <pc:sldMk cId="3225245280" sldId="2134804347"/>
            <ac:spMk id="3" creationId="{815B10B7-60B3-4C63-8431-70CC556387C9}"/>
          </ac:spMkLst>
        </pc:spChg>
        <pc:spChg chg="mod">
          <ac:chgData name="Mariam Daniela Tristancho Pineda (MISION TEMPORAL LTDA)" userId="a45a17f7-7950-4cb5-bfab-f5c894f959a9" providerId="ADAL" clId="{9D150B60-33B5-4A3E-8123-A67E35AA8D44}" dt="2020-07-28T14:46:58.208" v="19527" actId="1036"/>
          <ac:spMkLst>
            <pc:docMk/>
            <pc:sldMk cId="3225245280" sldId="2134804347"/>
            <ac:spMk id="6" creationId="{D96F8713-29A5-4310-8564-F011CFCB1066}"/>
          </ac:spMkLst>
        </pc:spChg>
        <pc:spChg chg="mod">
          <ac:chgData name="Mariam Daniela Tristancho Pineda (MISION TEMPORAL LTDA)" userId="a45a17f7-7950-4cb5-bfab-f5c894f959a9" providerId="ADAL" clId="{9D150B60-33B5-4A3E-8123-A67E35AA8D44}" dt="2020-07-28T14:45:47.501" v="19496" actId="1076"/>
          <ac:spMkLst>
            <pc:docMk/>
            <pc:sldMk cId="3225245280" sldId="2134804347"/>
            <ac:spMk id="7" creationId="{6E720954-0AD5-4F0E-9897-4BDFCFA126CC}"/>
          </ac:spMkLst>
        </pc:spChg>
        <pc:spChg chg="mod">
          <ac:chgData name="Mariam Daniela Tristancho Pineda (MISION TEMPORAL LTDA)" userId="a45a17f7-7950-4cb5-bfab-f5c894f959a9" providerId="ADAL" clId="{9D150B60-33B5-4A3E-8123-A67E35AA8D44}" dt="2020-07-28T13:20:35.405" v="19046" actId="1038"/>
          <ac:spMkLst>
            <pc:docMk/>
            <pc:sldMk cId="3225245280" sldId="2134804347"/>
            <ac:spMk id="8" creationId="{2E27193E-8A49-44E9-91B8-50C765DA6DDA}"/>
          </ac:spMkLst>
        </pc:spChg>
        <pc:spChg chg="mod">
          <ac:chgData name="Mariam Daniela Tristancho Pineda (MISION TEMPORAL LTDA)" userId="a45a17f7-7950-4cb5-bfab-f5c894f959a9" providerId="ADAL" clId="{9D150B60-33B5-4A3E-8123-A67E35AA8D44}" dt="2020-07-28T13:19:28.484" v="18937" actId="1037"/>
          <ac:spMkLst>
            <pc:docMk/>
            <pc:sldMk cId="3225245280" sldId="2134804347"/>
            <ac:spMk id="9" creationId="{044EA7DA-DC7D-4022-9DEC-F3B676A62032}"/>
          </ac:spMkLst>
        </pc:spChg>
        <pc:spChg chg="mod">
          <ac:chgData name="Mariam Daniela Tristancho Pineda (MISION TEMPORAL LTDA)" userId="a45a17f7-7950-4cb5-bfab-f5c894f959a9" providerId="ADAL" clId="{9D150B60-33B5-4A3E-8123-A67E35AA8D44}" dt="2020-07-28T14:47:08.500" v="19540" actId="20577"/>
          <ac:spMkLst>
            <pc:docMk/>
            <pc:sldMk cId="3225245280" sldId="2134804347"/>
            <ac:spMk id="10" creationId="{1C27DADA-AD5A-4DFF-A22B-78E230D3896D}"/>
          </ac:spMkLst>
        </pc:spChg>
        <pc:spChg chg="mod">
          <ac:chgData name="Mariam Daniela Tristancho Pineda (MISION TEMPORAL LTDA)" userId="a45a17f7-7950-4cb5-bfab-f5c894f959a9" providerId="ADAL" clId="{9D150B60-33B5-4A3E-8123-A67E35AA8D44}" dt="2020-07-28T13:20:07.707" v="18987" actId="14100"/>
          <ac:spMkLst>
            <pc:docMk/>
            <pc:sldMk cId="3225245280" sldId="2134804347"/>
            <ac:spMk id="11" creationId="{772CA61D-742C-45F0-BAFA-0F3B90176E98}"/>
          </ac:spMkLst>
        </pc:spChg>
        <pc:spChg chg="add mod">
          <ac:chgData name="Mariam Daniela Tristancho Pineda (MISION TEMPORAL LTDA)" userId="a45a17f7-7950-4cb5-bfab-f5c894f959a9" providerId="ADAL" clId="{9D150B60-33B5-4A3E-8123-A67E35AA8D44}" dt="2020-07-28T13:20:50.746" v="19049" actId="554"/>
          <ac:spMkLst>
            <pc:docMk/>
            <pc:sldMk cId="3225245280" sldId="2134804347"/>
            <ac:spMk id="13" creationId="{8ED9F3B3-88F5-4631-8341-C7E55E174742}"/>
          </ac:spMkLst>
        </pc:spChg>
        <pc:spChg chg="add del mod">
          <ac:chgData name="Mariam Daniela Tristancho Pineda (MISION TEMPORAL LTDA)" userId="a45a17f7-7950-4cb5-bfab-f5c894f959a9" providerId="ADAL" clId="{9D150B60-33B5-4A3E-8123-A67E35AA8D44}" dt="2020-07-28T14:04:11.314" v="19263" actId="13926"/>
          <ac:spMkLst>
            <pc:docMk/>
            <pc:sldMk cId="3225245280" sldId="2134804347"/>
            <ac:spMk id="14" creationId="{6FCAE7F4-D309-4A31-A5D2-C6A035E0EF82}"/>
          </ac:spMkLst>
        </pc:spChg>
        <pc:spChg chg="mod">
          <ac:chgData name="Mariam Daniela Tristancho Pineda (MISION TEMPORAL LTDA)" userId="a45a17f7-7950-4cb5-bfab-f5c894f959a9" providerId="ADAL" clId="{9D150B60-33B5-4A3E-8123-A67E35AA8D44}" dt="2020-07-28T13:19:28.484" v="18937" actId="1037"/>
          <ac:spMkLst>
            <pc:docMk/>
            <pc:sldMk cId="3225245280" sldId="2134804347"/>
            <ac:spMk id="15" creationId="{EC155108-24C9-41BB-AFB7-1D8B4E0A3839}"/>
          </ac:spMkLst>
        </pc:spChg>
        <pc:spChg chg="add del mod">
          <ac:chgData name="Mariam Daniela Tristancho Pineda (MISION TEMPORAL LTDA)" userId="a45a17f7-7950-4cb5-bfab-f5c894f959a9" providerId="ADAL" clId="{9D150B60-33B5-4A3E-8123-A67E35AA8D44}" dt="2020-07-28T12:57:40.367" v="18487" actId="478"/>
          <ac:spMkLst>
            <pc:docMk/>
            <pc:sldMk cId="3225245280" sldId="2134804347"/>
            <ac:spMk id="16" creationId="{E4BC2CA1-2901-471E-A924-486FA0786DAE}"/>
          </ac:spMkLst>
        </pc:spChg>
        <pc:spChg chg="mod">
          <ac:chgData name="Mariam Daniela Tristancho Pineda (MISION TEMPORAL LTDA)" userId="a45a17f7-7950-4cb5-bfab-f5c894f959a9" providerId="ADAL" clId="{9D150B60-33B5-4A3E-8123-A67E35AA8D44}" dt="2020-07-28T13:19:28.484" v="18937" actId="1037"/>
          <ac:spMkLst>
            <pc:docMk/>
            <pc:sldMk cId="3225245280" sldId="2134804347"/>
            <ac:spMk id="17" creationId="{5EAC5110-AE72-47ED-96D9-528A91DC5957}"/>
          </ac:spMkLst>
        </pc:spChg>
        <pc:spChg chg="mod">
          <ac:chgData name="Mariam Daniela Tristancho Pineda (MISION TEMPORAL LTDA)" userId="a45a17f7-7950-4cb5-bfab-f5c894f959a9" providerId="ADAL" clId="{9D150B60-33B5-4A3E-8123-A67E35AA8D44}" dt="2020-07-28T14:46:15.044" v="19504" actId="14100"/>
          <ac:spMkLst>
            <pc:docMk/>
            <pc:sldMk cId="3225245280" sldId="2134804347"/>
            <ac:spMk id="18" creationId="{B9A102DE-B6E2-4A96-917C-4764462F2DDA}"/>
          </ac:spMkLst>
        </pc:spChg>
        <pc:spChg chg="mod">
          <ac:chgData name="Mariam Daniela Tristancho Pineda (MISION TEMPORAL LTDA)" userId="a45a17f7-7950-4cb5-bfab-f5c894f959a9" providerId="ADAL" clId="{9D150B60-33B5-4A3E-8123-A67E35AA8D44}" dt="2020-07-28T14:45:59.519" v="19501" actId="20577"/>
          <ac:spMkLst>
            <pc:docMk/>
            <pc:sldMk cId="3225245280" sldId="2134804347"/>
            <ac:spMk id="19" creationId="{70675E72-95A3-4317-B24A-EF51AC8AE239}"/>
          </ac:spMkLst>
        </pc:spChg>
        <pc:spChg chg="add mod">
          <ac:chgData name="Mariam Daniela Tristancho Pineda (MISION TEMPORAL LTDA)" userId="a45a17f7-7950-4cb5-bfab-f5c894f959a9" providerId="ADAL" clId="{9D150B60-33B5-4A3E-8123-A67E35AA8D44}" dt="2020-07-28T12:57:04.421" v="18483" actId="164"/>
          <ac:spMkLst>
            <pc:docMk/>
            <pc:sldMk cId="3225245280" sldId="2134804347"/>
            <ac:spMk id="20" creationId="{20BC0A15-8BB2-4A73-AACE-152DCFD4B793}"/>
          </ac:spMkLst>
        </pc:spChg>
        <pc:spChg chg="add mod">
          <ac:chgData name="Mariam Daniela Tristancho Pineda (MISION TEMPORAL LTDA)" userId="a45a17f7-7950-4cb5-bfab-f5c894f959a9" providerId="ADAL" clId="{9D150B60-33B5-4A3E-8123-A67E35AA8D44}" dt="2020-07-28T12:57:04.421" v="18483" actId="164"/>
          <ac:spMkLst>
            <pc:docMk/>
            <pc:sldMk cId="3225245280" sldId="2134804347"/>
            <ac:spMk id="21" creationId="{AE310491-94D8-4E81-86E4-E2BFF66ECB51}"/>
          </ac:spMkLst>
        </pc:spChg>
        <pc:spChg chg="mod">
          <ac:chgData name="Mariam Daniela Tristancho Pineda (MISION TEMPORAL LTDA)" userId="a45a17f7-7950-4cb5-bfab-f5c894f959a9" providerId="ADAL" clId="{9D150B60-33B5-4A3E-8123-A67E35AA8D44}" dt="2020-07-28T13:43:10.771" v="19151" actId="1036"/>
          <ac:spMkLst>
            <pc:docMk/>
            <pc:sldMk cId="3225245280" sldId="2134804347"/>
            <ac:spMk id="22" creationId="{53E538FE-3283-40FB-A5F0-3E57246B6EFA}"/>
          </ac:spMkLst>
        </pc:spChg>
        <pc:spChg chg="add mod">
          <ac:chgData name="Mariam Daniela Tristancho Pineda (MISION TEMPORAL LTDA)" userId="a45a17f7-7950-4cb5-bfab-f5c894f959a9" providerId="ADAL" clId="{9D150B60-33B5-4A3E-8123-A67E35AA8D44}" dt="2020-07-28T13:19:28.484" v="18937" actId="1037"/>
          <ac:spMkLst>
            <pc:docMk/>
            <pc:sldMk cId="3225245280" sldId="2134804347"/>
            <ac:spMk id="24" creationId="{0C96DED9-D235-406E-A2A1-79478F1C3877}"/>
          </ac:spMkLst>
        </pc:spChg>
        <pc:spChg chg="del mod">
          <ac:chgData name="Mariam Daniela Tristancho Pineda (MISION TEMPORAL LTDA)" userId="a45a17f7-7950-4cb5-bfab-f5c894f959a9" providerId="ADAL" clId="{9D150B60-33B5-4A3E-8123-A67E35AA8D44}" dt="2020-07-28T12:58:58.998" v="18491" actId="478"/>
          <ac:spMkLst>
            <pc:docMk/>
            <pc:sldMk cId="3225245280" sldId="2134804347"/>
            <ac:spMk id="25" creationId="{52F94A51-0420-4FE6-A012-EEC8917EB93D}"/>
          </ac:spMkLst>
        </pc:spChg>
        <pc:spChg chg="add mod">
          <ac:chgData name="Mariam Daniela Tristancho Pineda (MISION TEMPORAL LTDA)" userId="a45a17f7-7950-4cb5-bfab-f5c894f959a9" providerId="ADAL" clId="{9D150B60-33B5-4A3E-8123-A67E35AA8D44}" dt="2020-07-28T14:46:18.189" v="19505" actId="1076"/>
          <ac:spMkLst>
            <pc:docMk/>
            <pc:sldMk cId="3225245280" sldId="2134804347"/>
            <ac:spMk id="26" creationId="{75A6E1CB-F9BA-4F62-A008-32BA52F24F62}"/>
          </ac:spMkLst>
        </pc:spChg>
        <pc:spChg chg="add del mod">
          <ac:chgData name="Mariam Daniela Tristancho Pineda (MISION TEMPORAL LTDA)" userId="a45a17f7-7950-4cb5-bfab-f5c894f959a9" providerId="ADAL" clId="{9D150B60-33B5-4A3E-8123-A67E35AA8D44}" dt="2020-07-28T13:19:31.368" v="18938" actId="21"/>
          <ac:spMkLst>
            <pc:docMk/>
            <pc:sldMk cId="3225245280" sldId="2134804347"/>
            <ac:spMk id="27" creationId="{A4DDFDA4-5A6D-40C9-98EA-B84E216B4838}"/>
          </ac:spMkLst>
        </pc:spChg>
        <pc:spChg chg="add del mod">
          <ac:chgData name="Mariam Daniela Tristancho Pineda (MISION TEMPORAL LTDA)" userId="a45a17f7-7950-4cb5-bfab-f5c894f959a9" providerId="ADAL" clId="{9D150B60-33B5-4A3E-8123-A67E35AA8D44}" dt="2020-07-28T13:19:31.368" v="18938" actId="21"/>
          <ac:spMkLst>
            <pc:docMk/>
            <pc:sldMk cId="3225245280" sldId="2134804347"/>
            <ac:spMk id="28" creationId="{87554E03-00FE-40DC-AC54-3C0758B2DF61}"/>
          </ac:spMkLst>
        </pc:spChg>
        <pc:spChg chg="mod">
          <ac:chgData name="Mariam Daniela Tristancho Pineda (MISION TEMPORAL LTDA)" userId="a45a17f7-7950-4cb5-bfab-f5c894f959a9" providerId="ADAL" clId="{9D150B60-33B5-4A3E-8123-A67E35AA8D44}" dt="2020-07-28T13:20:50.746" v="19049" actId="554"/>
          <ac:spMkLst>
            <pc:docMk/>
            <pc:sldMk cId="3225245280" sldId="2134804347"/>
            <ac:spMk id="29" creationId="{46F67329-EAA2-4B09-AD5B-91FE70391A81}"/>
          </ac:spMkLst>
        </pc:spChg>
        <pc:spChg chg="mod">
          <ac:chgData name="Mariam Daniela Tristancho Pineda (MISION TEMPORAL LTDA)" userId="a45a17f7-7950-4cb5-bfab-f5c894f959a9" providerId="ADAL" clId="{9D150B60-33B5-4A3E-8123-A67E35AA8D44}" dt="2020-07-28T13:51:49.326" v="19261" actId="20577"/>
          <ac:spMkLst>
            <pc:docMk/>
            <pc:sldMk cId="3225245280" sldId="2134804347"/>
            <ac:spMk id="30" creationId="{5BF08848-45AE-451C-A99D-7322CF796742}"/>
          </ac:spMkLst>
        </pc:spChg>
        <pc:spChg chg="add del mod">
          <ac:chgData name="Mariam Daniela Tristancho Pineda (MISION TEMPORAL LTDA)" userId="a45a17f7-7950-4cb5-bfab-f5c894f959a9" providerId="ADAL" clId="{9D150B60-33B5-4A3E-8123-A67E35AA8D44}" dt="2020-07-28T14:45:07.879" v="19487" actId="21"/>
          <ac:spMkLst>
            <pc:docMk/>
            <pc:sldMk cId="3225245280" sldId="2134804347"/>
            <ac:spMk id="31" creationId="{59428A1F-2041-4837-B423-F3FCFFBFFB80}"/>
          </ac:spMkLst>
        </pc:spChg>
        <pc:spChg chg="add del mod">
          <ac:chgData name="Mariam Daniela Tristancho Pineda (MISION TEMPORAL LTDA)" userId="a45a17f7-7950-4cb5-bfab-f5c894f959a9" providerId="ADAL" clId="{9D150B60-33B5-4A3E-8123-A67E35AA8D44}" dt="2020-07-28T14:45:07.879" v="19487" actId="21"/>
          <ac:spMkLst>
            <pc:docMk/>
            <pc:sldMk cId="3225245280" sldId="2134804347"/>
            <ac:spMk id="32" creationId="{AFA202D3-C782-408B-A77B-F62124D909AA}"/>
          </ac:spMkLst>
        </pc:spChg>
        <pc:spChg chg="add del mod">
          <ac:chgData name="Mariam Daniela Tristancho Pineda (MISION TEMPORAL LTDA)" userId="a45a17f7-7950-4cb5-bfab-f5c894f959a9" providerId="ADAL" clId="{9D150B60-33B5-4A3E-8123-A67E35AA8D44}" dt="2020-07-28T13:19:31.368" v="18938" actId="21"/>
          <ac:spMkLst>
            <pc:docMk/>
            <pc:sldMk cId="3225245280" sldId="2134804347"/>
            <ac:spMk id="33" creationId="{0090E786-D587-490E-9185-AB0D1BBFF9D3}"/>
          </ac:spMkLst>
        </pc:spChg>
        <pc:spChg chg="mod">
          <ac:chgData name="Mariam Daniela Tristancho Pineda (MISION TEMPORAL LTDA)" userId="a45a17f7-7950-4cb5-bfab-f5c894f959a9" providerId="ADAL" clId="{9D150B60-33B5-4A3E-8123-A67E35AA8D44}" dt="2020-07-28T13:19:07.086" v="18886" actId="1037"/>
          <ac:spMkLst>
            <pc:docMk/>
            <pc:sldMk cId="3225245280" sldId="2134804347"/>
            <ac:spMk id="34" creationId="{2858742F-5FD0-4B7E-9334-0D1DB2CF525E}"/>
          </ac:spMkLst>
        </pc:spChg>
        <pc:spChg chg="mod">
          <ac:chgData name="Mariam Daniela Tristancho Pineda (MISION TEMPORAL LTDA)" userId="a45a17f7-7950-4cb5-bfab-f5c894f959a9" providerId="ADAL" clId="{9D150B60-33B5-4A3E-8123-A67E35AA8D44}" dt="2020-07-28T13:20:50.746" v="19049" actId="554"/>
          <ac:spMkLst>
            <pc:docMk/>
            <pc:sldMk cId="3225245280" sldId="2134804347"/>
            <ac:spMk id="35" creationId="{5F2982C9-1317-4114-BC67-9EA6763899B8}"/>
          </ac:spMkLst>
        </pc:spChg>
        <pc:spChg chg="mod">
          <ac:chgData name="Mariam Daniela Tristancho Pineda (MISION TEMPORAL LTDA)" userId="a45a17f7-7950-4cb5-bfab-f5c894f959a9" providerId="ADAL" clId="{9D150B60-33B5-4A3E-8123-A67E35AA8D44}" dt="2020-07-28T14:53:03.982" v="19702" actId="108"/>
          <ac:spMkLst>
            <pc:docMk/>
            <pc:sldMk cId="3225245280" sldId="2134804347"/>
            <ac:spMk id="36" creationId="{80930BAD-CC8E-47DD-9473-5B8864A2680A}"/>
          </ac:spMkLst>
        </pc:spChg>
        <pc:spChg chg="add del mod">
          <ac:chgData name="Mariam Daniela Tristancho Pineda (MISION TEMPORAL LTDA)" userId="a45a17f7-7950-4cb5-bfab-f5c894f959a9" providerId="ADAL" clId="{9D150B60-33B5-4A3E-8123-A67E35AA8D44}" dt="2020-07-28T13:19:31.368" v="18938" actId="21"/>
          <ac:spMkLst>
            <pc:docMk/>
            <pc:sldMk cId="3225245280" sldId="2134804347"/>
            <ac:spMk id="37" creationId="{0B274EAC-9D93-466A-9A13-2E2430379FBF}"/>
          </ac:spMkLst>
        </pc:spChg>
        <pc:spChg chg="add del mod">
          <ac:chgData name="Mariam Daniela Tristancho Pineda (MISION TEMPORAL LTDA)" userId="a45a17f7-7950-4cb5-bfab-f5c894f959a9" providerId="ADAL" clId="{9D150B60-33B5-4A3E-8123-A67E35AA8D44}" dt="2020-07-28T14:45:07.879" v="19487" actId="21"/>
          <ac:spMkLst>
            <pc:docMk/>
            <pc:sldMk cId="3225245280" sldId="2134804347"/>
            <ac:spMk id="38" creationId="{75342685-2A4E-43FF-A4A9-E917B76016F5}"/>
          </ac:spMkLst>
        </pc:spChg>
        <pc:spChg chg="add del mod">
          <ac:chgData name="Mariam Daniela Tristancho Pineda (MISION TEMPORAL LTDA)" userId="a45a17f7-7950-4cb5-bfab-f5c894f959a9" providerId="ADAL" clId="{9D150B60-33B5-4A3E-8123-A67E35AA8D44}" dt="2020-07-28T14:44:01.398" v="19434" actId="22"/>
          <ac:spMkLst>
            <pc:docMk/>
            <pc:sldMk cId="3225245280" sldId="2134804347"/>
            <ac:spMk id="39" creationId="{D9F3AACB-9506-4875-A0E6-5704F22F1A8F}"/>
          </ac:spMkLst>
        </pc:spChg>
        <pc:spChg chg="mod">
          <ac:chgData name="Mariam Daniela Tristancho Pineda (MISION TEMPORAL LTDA)" userId="a45a17f7-7950-4cb5-bfab-f5c894f959a9" providerId="ADAL" clId="{9D150B60-33B5-4A3E-8123-A67E35AA8D44}" dt="2020-07-28T14:47:11.165" v="19541" actId="20577"/>
          <ac:spMkLst>
            <pc:docMk/>
            <pc:sldMk cId="3225245280" sldId="2134804347"/>
            <ac:spMk id="40" creationId="{F9005A44-E530-4972-BBE0-B3ED015A6ED4}"/>
          </ac:spMkLst>
        </pc:spChg>
        <pc:spChg chg="mod">
          <ac:chgData name="Mariam Daniela Tristancho Pineda (MISION TEMPORAL LTDA)" userId="a45a17f7-7950-4cb5-bfab-f5c894f959a9" providerId="ADAL" clId="{9D150B60-33B5-4A3E-8123-A67E35AA8D44}" dt="2020-07-28T13:20:42.219" v="19047" actId="408"/>
          <ac:spMkLst>
            <pc:docMk/>
            <pc:sldMk cId="3225245280" sldId="2134804347"/>
            <ac:spMk id="41" creationId="{A6323A01-8860-4B1B-BDAF-6B75ABC06BEC}"/>
          </ac:spMkLst>
        </pc:spChg>
        <pc:spChg chg="mod">
          <ac:chgData name="Mariam Daniela Tristancho Pineda (MISION TEMPORAL LTDA)" userId="a45a17f7-7950-4cb5-bfab-f5c894f959a9" providerId="ADAL" clId="{9D150B60-33B5-4A3E-8123-A67E35AA8D44}" dt="2020-07-28T14:45:47.501" v="19496" actId="1076"/>
          <ac:spMkLst>
            <pc:docMk/>
            <pc:sldMk cId="3225245280" sldId="2134804347"/>
            <ac:spMk id="42" creationId="{4101169F-B3FD-425D-90F0-D9CCBE1BF3D2}"/>
          </ac:spMkLst>
        </pc:spChg>
        <pc:spChg chg="mod">
          <ac:chgData name="Mariam Daniela Tristancho Pineda (MISION TEMPORAL LTDA)" userId="a45a17f7-7950-4cb5-bfab-f5c894f959a9" providerId="ADAL" clId="{9D150B60-33B5-4A3E-8123-A67E35AA8D44}" dt="2020-07-28T14:45:51.613" v="19499" actId="1037"/>
          <ac:spMkLst>
            <pc:docMk/>
            <pc:sldMk cId="3225245280" sldId="2134804347"/>
            <ac:spMk id="43" creationId="{34452114-CA9E-44D1-9755-DF275F1BF2A9}"/>
          </ac:spMkLst>
        </pc:spChg>
        <pc:spChg chg="add del mod">
          <ac:chgData name="Mariam Daniela Tristancho Pineda (MISION TEMPORAL LTDA)" userId="a45a17f7-7950-4cb5-bfab-f5c894f959a9" providerId="ADAL" clId="{9D150B60-33B5-4A3E-8123-A67E35AA8D44}" dt="2020-07-28T14:44:01.398" v="19434" actId="22"/>
          <ac:spMkLst>
            <pc:docMk/>
            <pc:sldMk cId="3225245280" sldId="2134804347"/>
            <ac:spMk id="44" creationId="{FDC080F2-E0C4-46C8-B0F1-E40A6ADF49CF}"/>
          </ac:spMkLst>
        </pc:spChg>
        <pc:spChg chg="del mod">
          <ac:chgData name="Mariam Daniela Tristancho Pineda (MISION TEMPORAL LTDA)" userId="a45a17f7-7950-4cb5-bfab-f5c894f959a9" providerId="ADAL" clId="{9D150B60-33B5-4A3E-8123-A67E35AA8D44}" dt="2020-07-28T00:23:08.893" v="15999" actId="478"/>
          <ac:spMkLst>
            <pc:docMk/>
            <pc:sldMk cId="3225245280" sldId="2134804347"/>
            <ac:spMk id="45" creationId="{476FBBD3-1877-4B8E-A2BA-965C36FBD73D}"/>
          </ac:spMkLst>
        </pc:spChg>
        <pc:spChg chg="add mod ord">
          <ac:chgData name="Mariam Daniela Tristancho Pineda (MISION TEMPORAL LTDA)" userId="a45a17f7-7950-4cb5-bfab-f5c894f959a9" providerId="ADAL" clId="{9D150B60-33B5-4A3E-8123-A67E35AA8D44}" dt="2020-07-28T14:54:20.012" v="19753" actId="208"/>
          <ac:spMkLst>
            <pc:docMk/>
            <pc:sldMk cId="3225245280" sldId="2134804347"/>
            <ac:spMk id="45" creationId="{9ACB673E-4A63-4F00-B5CB-5E9908EDEBDB}"/>
          </ac:spMkLst>
        </pc:spChg>
        <pc:spChg chg="add mod">
          <ac:chgData name="Mariam Daniela Tristancho Pineda (MISION TEMPORAL LTDA)" userId="a45a17f7-7950-4cb5-bfab-f5c894f959a9" providerId="ADAL" clId="{9D150B60-33B5-4A3E-8123-A67E35AA8D44}" dt="2020-07-28T14:54:20.012" v="19753" actId="208"/>
          <ac:spMkLst>
            <pc:docMk/>
            <pc:sldMk cId="3225245280" sldId="2134804347"/>
            <ac:spMk id="46" creationId="{E0149A14-BFC3-44E2-87D8-379AA9113E44}"/>
          </ac:spMkLst>
        </pc:spChg>
        <pc:spChg chg="add del mod">
          <ac:chgData name="Mariam Daniela Tristancho Pineda (MISION TEMPORAL LTDA)" userId="a45a17f7-7950-4cb5-bfab-f5c894f959a9" providerId="ADAL" clId="{9D150B60-33B5-4A3E-8123-A67E35AA8D44}" dt="2020-07-28T14:44:42.655" v="19448" actId="478"/>
          <ac:spMkLst>
            <pc:docMk/>
            <pc:sldMk cId="3225245280" sldId="2134804347"/>
            <ac:spMk id="47" creationId="{706064DC-282C-4055-970F-A86AEF6E2948}"/>
          </ac:spMkLst>
        </pc:spChg>
        <pc:spChg chg="add mod">
          <ac:chgData name="Mariam Daniela Tristancho Pineda (MISION TEMPORAL LTDA)" userId="a45a17f7-7950-4cb5-bfab-f5c894f959a9" providerId="ADAL" clId="{9D150B60-33B5-4A3E-8123-A67E35AA8D44}" dt="2020-07-28T14:47:01.090" v="19539" actId="1036"/>
          <ac:spMkLst>
            <pc:docMk/>
            <pc:sldMk cId="3225245280" sldId="2134804347"/>
            <ac:spMk id="48" creationId="{20CF924E-D349-40FC-ABAF-4BBC6F96F0AC}"/>
          </ac:spMkLst>
        </pc:spChg>
        <pc:spChg chg="add del mod">
          <ac:chgData name="Mariam Daniela Tristancho Pineda (MISION TEMPORAL LTDA)" userId="a45a17f7-7950-4cb5-bfab-f5c894f959a9" providerId="ADAL" clId="{9D150B60-33B5-4A3E-8123-A67E35AA8D44}" dt="2020-07-28T13:10:09.475" v="18630" actId="478"/>
          <ac:spMkLst>
            <pc:docMk/>
            <pc:sldMk cId="3225245280" sldId="2134804347"/>
            <ac:spMk id="59" creationId="{4F121D26-3EB4-4AC9-9EFE-9ED264617670}"/>
          </ac:spMkLst>
        </pc:spChg>
        <pc:spChg chg="add del mod">
          <ac:chgData name="Mariam Daniela Tristancho Pineda (MISION TEMPORAL LTDA)" userId="a45a17f7-7950-4cb5-bfab-f5c894f959a9" providerId="ADAL" clId="{9D150B60-33B5-4A3E-8123-A67E35AA8D44}" dt="2020-07-28T13:10:09.475" v="18630" actId="478"/>
          <ac:spMkLst>
            <pc:docMk/>
            <pc:sldMk cId="3225245280" sldId="2134804347"/>
            <ac:spMk id="60" creationId="{4B121BD2-5F2B-45E0-8553-3A243EE53920}"/>
          </ac:spMkLst>
        </pc:spChg>
        <pc:spChg chg="add del mod">
          <ac:chgData name="Mariam Daniela Tristancho Pineda (MISION TEMPORAL LTDA)" userId="a45a17f7-7950-4cb5-bfab-f5c894f959a9" providerId="ADAL" clId="{9D150B60-33B5-4A3E-8123-A67E35AA8D44}" dt="2020-07-28T13:10:09.475" v="18630" actId="478"/>
          <ac:spMkLst>
            <pc:docMk/>
            <pc:sldMk cId="3225245280" sldId="2134804347"/>
            <ac:spMk id="61" creationId="{551A62B2-D8E7-4F76-A260-3ED66D28EE00}"/>
          </ac:spMkLst>
        </pc:spChg>
        <pc:spChg chg="add del mod">
          <ac:chgData name="Mariam Daniela Tristancho Pineda (MISION TEMPORAL LTDA)" userId="a45a17f7-7950-4cb5-bfab-f5c894f959a9" providerId="ADAL" clId="{9D150B60-33B5-4A3E-8123-A67E35AA8D44}" dt="2020-07-28T13:10:09.475" v="18630" actId="478"/>
          <ac:spMkLst>
            <pc:docMk/>
            <pc:sldMk cId="3225245280" sldId="2134804347"/>
            <ac:spMk id="62" creationId="{DCDA948A-130B-4620-8A79-27D9F3E9D587}"/>
          </ac:spMkLst>
        </pc:spChg>
        <pc:spChg chg="add del mod">
          <ac:chgData name="Mariam Daniela Tristancho Pineda (MISION TEMPORAL LTDA)" userId="a45a17f7-7950-4cb5-bfab-f5c894f959a9" providerId="ADAL" clId="{9D150B60-33B5-4A3E-8123-A67E35AA8D44}" dt="2020-07-28T13:10:09.475" v="18630" actId="478"/>
          <ac:spMkLst>
            <pc:docMk/>
            <pc:sldMk cId="3225245280" sldId="2134804347"/>
            <ac:spMk id="63" creationId="{2E5468AD-E56D-48B3-890D-8C791729CE65}"/>
          </ac:spMkLst>
        </pc:spChg>
        <pc:spChg chg="mod">
          <ac:chgData name="Mariam Daniela Tristancho Pineda (MISION TEMPORAL LTDA)" userId="a45a17f7-7950-4cb5-bfab-f5c894f959a9" providerId="ADAL" clId="{9D150B60-33B5-4A3E-8123-A67E35AA8D44}" dt="2020-07-28T12:42:58.456" v="18367"/>
          <ac:spMkLst>
            <pc:docMk/>
            <pc:sldMk cId="3225245280" sldId="2134804347"/>
            <ac:spMk id="65" creationId="{5482D2B6-E178-416C-84F7-64108F8A40B1}"/>
          </ac:spMkLst>
        </pc:spChg>
        <pc:spChg chg="mod">
          <ac:chgData name="Mariam Daniela Tristancho Pineda (MISION TEMPORAL LTDA)" userId="a45a17f7-7950-4cb5-bfab-f5c894f959a9" providerId="ADAL" clId="{9D150B60-33B5-4A3E-8123-A67E35AA8D44}" dt="2020-07-28T12:50:49.080" v="18409" actId="6549"/>
          <ac:spMkLst>
            <pc:docMk/>
            <pc:sldMk cId="3225245280" sldId="2134804347"/>
            <ac:spMk id="66" creationId="{2132FA72-65F5-43A2-9B2E-5F978722074B}"/>
          </ac:spMkLst>
        </pc:spChg>
        <pc:spChg chg="mod">
          <ac:chgData name="Mariam Daniela Tristancho Pineda (MISION TEMPORAL LTDA)" userId="a45a17f7-7950-4cb5-bfab-f5c894f959a9" providerId="ADAL" clId="{9D150B60-33B5-4A3E-8123-A67E35AA8D44}" dt="2020-07-28T12:42:58.456" v="18367"/>
          <ac:spMkLst>
            <pc:docMk/>
            <pc:sldMk cId="3225245280" sldId="2134804347"/>
            <ac:spMk id="68" creationId="{CD469040-BB79-4AEA-B275-4C4407C1E401}"/>
          </ac:spMkLst>
        </pc:spChg>
        <pc:spChg chg="mod">
          <ac:chgData name="Mariam Daniela Tristancho Pineda (MISION TEMPORAL LTDA)" userId="a45a17f7-7950-4cb5-bfab-f5c894f959a9" providerId="ADAL" clId="{9D150B60-33B5-4A3E-8123-A67E35AA8D44}" dt="2020-07-28T12:42:58.456" v="18367"/>
          <ac:spMkLst>
            <pc:docMk/>
            <pc:sldMk cId="3225245280" sldId="2134804347"/>
            <ac:spMk id="69" creationId="{46F502EF-0783-4A90-891E-639C7EB5F616}"/>
          </ac:spMkLst>
        </pc:spChg>
        <pc:spChg chg="mod">
          <ac:chgData name="Mariam Daniela Tristancho Pineda (MISION TEMPORAL LTDA)" userId="a45a17f7-7950-4cb5-bfab-f5c894f959a9" providerId="ADAL" clId="{9D150B60-33B5-4A3E-8123-A67E35AA8D44}" dt="2020-07-28T12:42:58.456" v="18367"/>
          <ac:spMkLst>
            <pc:docMk/>
            <pc:sldMk cId="3225245280" sldId="2134804347"/>
            <ac:spMk id="71" creationId="{1F005E05-288A-4F0D-AF73-ABEE4CEA22BA}"/>
          </ac:spMkLst>
        </pc:spChg>
        <pc:spChg chg="mod">
          <ac:chgData name="Mariam Daniela Tristancho Pineda (MISION TEMPORAL LTDA)" userId="a45a17f7-7950-4cb5-bfab-f5c894f959a9" providerId="ADAL" clId="{9D150B60-33B5-4A3E-8123-A67E35AA8D44}" dt="2020-07-28T12:46:29.282" v="18393" actId="1037"/>
          <ac:spMkLst>
            <pc:docMk/>
            <pc:sldMk cId="3225245280" sldId="2134804347"/>
            <ac:spMk id="72" creationId="{1E36FE8B-E6D8-49D8-A861-7D9766198F10}"/>
          </ac:spMkLst>
        </pc:spChg>
        <pc:spChg chg="mod">
          <ac:chgData name="Mariam Daniela Tristancho Pineda (MISION TEMPORAL LTDA)" userId="a45a17f7-7950-4cb5-bfab-f5c894f959a9" providerId="ADAL" clId="{9D150B60-33B5-4A3E-8123-A67E35AA8D44}" dt="2020-07-28T12:42:58.456" v="18367"/>
          <ac:spMkLst>
            <pc:docMk/>
            <pc:sldMk cId="3225245280" sldId="2134804347"/>
            <ac:spMk id="74" creationId="{FFF36CE0-324C-4D44-B224-05ACFE31F9CF}"/>
          </ac:spMkLst>
        </pc:spChg>
        <pc:spChg chg="mod">
          <ac:chgData name="Mariam Daniela Tristancho Pineda (MISION TEMPORAL LTDA)" userId="a45a17f7-7950-4cb5-bfab-f5c894f959a9" providerId="ADAL" clId="{9D150B60-33B5-4A3E-8123-A67E35AA8D44}" dt="2020-07-28T12:46:32.412" v="18396" actId="1038"/>
          <ac:spMkLst>
            <pc:docMk/>
            <pc:sldMk cId="3225245280" sldId="2134804347"/>
            <ac:spMk id="75" creationId="{A0683787-8C69-4305-A421-6B35609C9F10}"/>
          </ac:spMkLst>
        </pc:spChg>
        <pc:spChg chg="mod">
          <ac:chgData name="Mariam Daniela Tristancho Pineda (MISION TEMPORAL LTDA)" userId="a45a17f7-7950-4cb5-bfab-f5c894f959a9" providerId="ADAL" clId="{9D150B60-33B5-4A3E-8123-A67E35AA8D44}" dt="2020-07-28T12:42:58.456" v="18367"/>
          <ac:spMkLst>
            <pc:docMk/>
            <pc:sldMk cId="3225245280" sldId="2134804347"/>
            <ac:spMk id="77" creationId="{F4F38F2B-AFC7-4BC1-950B-60A90BF78D06}"/>
          </ac:spMkLst>
        </pc:spChg>
        <pc:spChg chg="mod">
          <ac:chgData name="Mariam Daniela Tristancho Pineda (MISION TEMPORAL LTDA)" userId="a45a17f7-7950-4cb5-bfab-f5c894f959a9" providerId="ADAL" clId="{9D150B60-33B5-4A3E-8123-A67E35AA8D44}" dt="2020-07-28T12:42:58.456" v="18367"/>
          <ac:spMkLst>
            <pc:docMk/>
            <pc:sldMk cId="3225245280" sldId="2134804347"/>
            <ac:spMk id="78" creationId="{BC61775B-0DAD-4E13-904E-0FA157128E5B}"/>
          </ac:spMkLst>
        </pc:spChg>
        <pc:spChg chg="mod">
          <ac:chgData name="Mariam Daniela Tristancho Pineda (MISION TEMPORAL LTDA)" userId="a45a17f7-7950-4cb5-bfab-f5c894f959a9" providerId="ADAL" clId="{9D150B60-33B5-4A3E-8123-A67E35AA8D44}" dt="2020-07-28T12:42:58.456" v="18367"/>
          <ac:spMkLst>
            <pc:docMk/>
            <pc:sldMk cId="3225245280" sldId="2134804347"/>
            <ac:spMk id="80" creationId="{753A7416-75AB-4D5A-A084-AD8D12537E42}"/>
          </ac:spMkLst>
        </pc:spChg>
        <pc:spChg chg="mod">
          <ac:chgData name="Mariam Daniela Tristancho Pineda (MISION TEMPORAL LTDA)" userId="a45a17f7-7950-4cb5-bfab-f5c894f959a9" providerId="ADAL" clId="{9D150B60-33B5-4A3E-8123-A67E35AA8D44}" dt="2020-07-28T13:03:51.688" v="18562" actId="1035"/>
          <ac:spMkLst>
            <pc:docMk/>
            <pc:sldMk cId="3225245280" sldId="2134804347"/>
            <ac:spMk id="81" creationId="{2275A485-153A-43E9-9576-22B39CD3AF7F}"/>
          </ac:spMkLst>
        </pc:spChg>
        <pc:spChg chg="mod">
          <ac:chgData name="Mariam Daniela Tristancho Pineda (MISION TEMPORAL LTDA)" userId="a45a17f7-7950-4cb5-bfab-f5c894f959a9" providerId="ADAL" clId="{9D150B60-33B5-4A3E-8123-A67E35AA8D44}" dt="2020-07-28T12:42:58.456" v="18367"/>
          <ac:spMkLst>
            <pc:docMk/>
            <pc:sldMk cId="3225245280" sldId="2134804347"/>
            <ac:spMk id="83" creationId="{4F08461F-7E31-49C2-9D73-9A5E7B697A5D}"/>
          </ac:spMkLst>
        </pc:spChg>
        <pc:spChg chg="mod">
          <ac:chgData name="Mariam Daniela Tristancho Pineda (MISION TEMPORAL LTDA)" userId="a45a17f7-7950-4cb5-bfab-f5c894f959a9" providerId="ADAL" clId="{9D150B60-33B5-4A3E-8123-A67E35AA8D44}" dt="2020-07-28T12:53:18.801" v="18423" actId="1038"/>
          <ac:spMkLst>
            <pc:docMk/>
            <pc:sldMk cId="3225245280" sldId="2134804347"/>
            <ac:spMk id="84" creationId="{260A21A7-D32F-42A6-BACF-A5360FDD58B2}"/>
          </ac:spMkLst>
        </pc:spChg>
        <pc:spChg chg="mod">
          <ac:chgData name="Mariam Daniela Tristancho Pineda (MISION TEMPORAL LTDA)" userId="a45a17f7-7950-4cb5-bfab-f5c894f959a9" providerId="ADAL" clId="{9D150B60-33B5-4A3E-8123-A67E35AA8D44}" dt="2020-07-28T12:42:58.456" v="18367"/>
          <ac:spMkLst>
            <pc:docMk/>
            <pc:sldMk cId="3225245280" sldId="2134804347"/>
            <ac:spMk id="86" creationId="{83483AF0-63A2-4EA4-9762-17AB3C291586}"/>
          </ac:spMkLst>
        </pc:spChg>
        <pc:spChg chg="mod">
          <ac:chgData name="Mariam Daniela Tristancho Pineda (MISION TEMPORAL LTDA)" userId="a45a17f7-7950-4cb5-bfab-f5c894f959a9" providerId="ADAL" clId="{9D150B60-33B5-4A3E-8123-A67E35AA8D44}" dt="2020-07-28T12:42:58.456" v="18367"/>
          <ac:spMkLst>
            <pc:docMk/>
            <pc:sldMk cId="3225245280" sldId="2134804347"/>
            <ac:spMk id="87" creationId="{D8B08FCD-AC30-49A1-96D8-80DBC3DEFDCF}"/>
          </ac:spMkLst>
        </pc:spChg>
        <pc:spChg chg="mod">
          <ac:chgData name="Mariam Daniela Tristancho Pineda (MISION TEMPORAL LTDA)" userId="a45a17f7-7950-4cb5-bfab-f5c894f959a9" providerId="ADAL" clId="{9D150B60-33B5-4A3E-8123-A67E35AA8D44}" dt="2020-07-28T12:42:58.456" v="18367"/>
          <ac:spMkLst>
            <pc:docMk/>
            <pc:sldMk cId="3225245280" sldId="2134804347"/>
            <ac:spMk id="89" creationId="{39BFF4BB-B10B-4B52-A4C7-D6DA06FE2867}"/>
          </ac:spMkLst>
        </pc:spChg>
        <pc:spChg chg="mod">
          <ac:chgData name="Mariam Daniela Tristancho Pineda (MISION TEMPORAL LTDA)" userId="a45a17f7-7950-4cb5-bfab-f5c894f959a9" providerId="ADAL" clId="{9D150B60-33B5-4A3E-8123-A67E35AA8D44}" dt="2020-07-28T12:42:58.456" v="18367"/>
          <ac:spMkLst>
            <pc:docMk/>
            <pc:sldMk cId="3225245280" sldId="2134804347"/>
            <ac:spMk id="90" creationId="{2C039B59-C0A3-49BB-8E21-8DD52AF3E623}"/>
          </ac:spMkLst>
        </pc:spChg>
        <pc:spChg chg="mod">
          <ac:chgData name="Mariam Daniela Tristancho Pineda (MISION TEMPORAL LTDA)" userId="a45a17f7-7950-4cb5-bfab-f5c894f959a9" providerId="ADAL" clId="{9D150B60-33B5-4A3E-8123-A67E35AA8D44}" dt="2020-07-28T13:49:27.166" v="19194" actId="20577"/>
          <ac:spMkLst>
            <pc:docMk/>
            <pc:sldMk cId="3225245280" sldId="2134804347"/>
            <ac:spMk id="97" creationId="{99300021-C267-43BD-A0F5-B3ECE622345E}"/>
          </ac:spMkLst>
        </pc:spChg>
        <pc:spChg chg="del mod">
          <ac:chgData name="Mariam Daniela Tristancho Pineda (MISION TEMPORAL LTDA)" userId="a45a17f7-7950-4cb5-bfab-f5c894f959a9" providerId="ADAL" clId="{9D150B60-33B5-4A3E-8123-A67E35AA8D44}" dt="2020-07-28T12:42:57.966" v="18366" actId="478"/>
          <ac:spMkLst>
            <pc:docMk/>
            <pc:sldMk cId="3225245280" sldId="2134804347"/>
            <ac:spMk id="102" creationId="{B96F32B9-C8DD-46F9-956E-8E03D52C0F41}"/>
          </ac:spMkLst>
        </pc:spChg>
        <pc:spChg chg="del mod">
          <ac:chgData name="Mariam Daniela Tristancho Pineda (MISION TEMPORAL LTDA)" userId="a45a17f7-7950-4cb5-bfab-f5c894f959a9" providerId="ADAL" clId="{9D150B60-33B5-4A3E-8123-A67E35AA8D44}" dt="2020-07-28T12:42:57.966" v="18366" actId="478"/>
          <ac:spMkLst>
            <pc:docMk/>
            <pc:sldMk cId="3225245280" sldId="2134804347"/>
            <ac:spMk id="103" creationId="{CFADED31-A026-4175-BA8F-E9EEDB618661}"/>
          </ac:spMkLst>
        </pc:spChg>
        <pc:spChg chg="del mod">
          <ac:chgData name="Mariam Daniela Tristancho Pineda (MISION TEMPORAL LTDA)" userId="a45a17f7-7950-4cb5-bfab-f5c894f959a9" providerId="ADAL" clId="{9D150B60-33B5-4A3E-8123-A67E35AA8D44}" dt="2020-07-28T12:42:57.966" v="18366" actId="478"/>
          <ac:spMkLst>
            <pc:docMk/>
            <pc:sldMk cId="3225245280" sldId="2134804347"/>
            <ac:spMk id="104" creationId="{45E4BA50-5C5C-49E7-B47A-4E288555721B}"/>
          </ac:spMkLst>
        </pc:spChg>
        <pc:spChg chg="del mod">
          <ac:chgData name="Mariam Daniela Tristancho Pineda (MISION TEMPORAL LTDA)" userId="a45a17f7-7950-4cb5-bfab-f5c894f959a9" providerId="ADAL" clId="{9D150B60-33B5-4A3E-8123-A67E35AA8D44}" dt="2020-07-28T12:42:57.966" v="18366" actId="478"/>
          <ac:spMkLst>
            <pc:docMk/>
            <pc:sldMk cId="3225245280" sldId="2134804347"/>
            <ac:spMk id="105" creationId="{024AAB50-1106-4D17-A526-2466A739E547}"/>
          </ac:spMkLst>
        </pc:spChg>
        <pc:spChg chg="del mod">
          <ac:chgData name="Mariam Daniela Tristancho Pineda (MISION TEMPORAL LTDA)" userId="a45a17f7-7950-4cb5-bfab-f5c894f959a9" providerId="ADAL" clId="{9D150B60-33B5-4A3E-8123-A67E35AA8D44}" dt="2020-07-28T12:42:57.966" v="18366" actId="478"/>
          <ac:spMkLst>
            <pc:docMk/>
            <pc:sldMk cId="3225245280" sldId="2134804347"/>
            <ac:spMk id="106" creationId="{C860F367-548C-4F86-9F0E-099751FB5386}"/>
          </ac:spMkLst>
        </pc:spChg>
        <pc:spChg chg="mod">
          <ac:chgData name="Mariam Daniela Tristancho Pineda (MISION TEMPORAL LTDA)" userId="a45a17f7-7950-4cb5-bfab-f5c894f959a9" providerId="ADAL" clId="{9D150B60-33B5-4A3E-8123-A67E35AA8D44}" dt="2020-07-28T00:22:36.484" v="15982" actId="20577"/>
          <ac:spMkLst>
            <pc:docMk/>
            <pc:sldMk cId="3225245280" sldId="2134804347"/>
            <ac:spMk id="109" creationId="{5EEADFA6-AC99-4B05-8F76-DB574E8A98DA}"/>
          </ac:spMkLst>
        </pc:spChg>
        <pc:spChg chg="mod">
          <ac:chgData name="Mariam Daniela Tristancho Pineda (MISION TEMPORAL LTDA)" userId="a45a17f7-7950-4cb5-bfab-f5c894f959a9" providerId="ADAL" clId="{9D150B60-33B5-4A3E-8123-A67E35AA8D44}" dt="2020-07-28T01:29:46.317" v="18010" actId="1036"/>
          <ac:spMkLst>
            <pc:docMk/>
            <pc:sldMk cId="3225245280" sldId="2134804347"/>
            <ac:spMk id="112" creationId="{DC56F305-D03F-48AC-AB08-56E07FD63316}"/>
          </ac:spMkLst>
        </pc:spChg>
        <pc:spChg chg="del mod">
          <ac:chgData name="Mariam Daniela Tristancho Pineda (MISION TEMPORAL LTDA)" userId="a45a17f7-7950-4cb5-bfab-f5c894f959a9" providerId="ADAL" clId="{9D150B60-33B5-4A3E-8123-A67E35AA8D44}" dt="2020-07-28T12:42:57.966" v="18366" actId="478"/>
          <ac:spMkLst>
            <pc:docMk/>
            <pc:sldMk cId="3225245280" sldId="2134804347"/>
            <ac:spMk id="116" creationId="{0D5C8E0C-75B1-4F60-978B-87BC75B4F73E}"/>
          </ac:spMkLst>
        </pc:spChg>
        <pc:spChg chg="del mod">
          <ac:chgData name="Mariam Daniela Tristancho Pineda (MISION TEMPORAL LTDA)" userId="a45a17f7-7950-4cb5-bfab-f5c894f959a9" providerId="ADAL" clId="{9D150B60-33B5-4A3E-8123-A67E35AA8D44}" dt="2020-07-28T12:42:57.966" v="18366" actId="478"/>
          <ac:spMkLst>
            <pc:docMk/>
            <pc:sldMk cId="3225245280" sldId="2134804347"/>
            <ac:spMk id="120" creationId="{D377565B-0CDB-41A7-9B7E-6314304F4D8B}"/>
          </ac:spMkLst>
        </pc:spChg>
        <pc:spChg chg="del mod">
          <ac:chgData name="Mariam Daniela Tristancho Pineda (MISION TEMPORAL LTDA)" userId="a45a17f7-7950-4cb5-bfab-f5c894f959a9" providerId="ADAL" clId="{9D150B60-33B5-4A3E-8123-A67E35AA8D44}" dt="2020-07-28T12:42:57.966" v="18366" actId="478"/>
          <ac:spMkLst>
            <pc:docMk/>
            <pc:sldMk cId="3225245280" sldId="2134804347"/>
            <ac:spMk id="121" creationId="{92658A65-3BF4-46B8-B66C-95A7D7D16E85}"/>
          </ac:spMkLst>
        </pc:spChg>
        <pc:spChg chg="del mod">
          <ac:chgData name="Mariam Daniela Tristancho Pineda (MISION TEMPORAL LTDA)" userId="a45a17f7-7950-4cb5-bfab-f5c894f959a9" providerId="ADAL" clId="{9D150B60-33B5-4A3E-8123-A67E35AA8D44}" dt="2020-07-28T12:42:57.966" v="18366" actId="478"/>
          <ac:spMkLst>
            <pc:docMk/>
            <pc:sldMk cId="3225245280" sldId="2134804347"/>
            <ac:spMk id="122" creationId="{8E1A3EA7-EB49-48D7-A032-F1442013F701}"/>
          </ac:spMkLst>
        </pc:spChg>
        <pc:spChg chg="del mod">
          <ac:chgData name="Mariam Daniela Tristancho Pineda (MISION TEMPORAL LTDA)" userId="a45a17f7-7950-4cb5-bfab-f5c894f959a9" providerId="ADAL" clId="{9D150B60-33B5-4A3E-8123-A67E35AA8D44}" dt="2020-07-28T12:42:57.966" v="18366" actId="478"/>
          <ac:spMkLst>
            <pc:docMk/>
            <pc:sldMk cId="3225245280" sldId="2134804347"/>
            <ac:spMk id="123" creationId="{24FAE5DC-7E4D-4DB7-ADC4-C3A74A096DFB}"/>
          </ac:spMkLst>
        </pc:spChg>
        <pc:spChg chg="del mod">
          <ac:chgData name="Mariam Daniela Tristancho Pineda (MISION TEMPORAL LTDA)" userId="a45a17f7-7950-4cb5-bfab-f5c894f959a9" providerId="ADAL" clId="{9D150B60-33B5-4A3E-8123-A67E35AA8D44}" dt="2020-07-28T12:42:57.966" v="18366" actId="478"/>
          <ac:spMkLst>
            <pc:docMk/>
            <pc:sldMk cId="3225245280" sldId="2134804347"/>
            <ac:spMk id="124" creationId="{365BB008-880B-4CA6-8668-ADF51B0D3426}"/>
          </ac:spMkLst>
        </pc:spChg>
        <pc:spChg chg="del mod">
          <ac:chgData name="Mariam Daniela Tristancho Pineda (MISION TEMPORAL LTDA)" userId="a45a17f7-7950-4cb5-bfab-f5c894f959a9" providerId="ADAL" clId="{9D150B60-33B5-4A3E-8123-A67E35AA8D44}" dt="2020-07-28T12:42:57.966" v="18366" actId="478"/>
          <ac:spMkLst>
            <pc:docMk/>
            <pc:sldMk cId="3225245280" sldId="2134804347"/>
            <ac:spMk id="125" creationId="{0210704A-0B63-43B8-B214-88F30F6F5A9A}"/>
          </ac:spMkLst>
        </pc:spChg>
        <pc:spChg chg="del mod">
          <ac:chgData name="Mariam Daniela Tristancho Pineda (MISION TEMPORAL LTDA)" userId="a45a17f7-7950-4cb5-bfab-f5c894f959a9" providerId="ADAL" clId="{9D150B60-33B5-4A3E-8123-A67E35AA8D44}" dt="2020-07-28T12:42:57.966" v="18366" actId="478"/>
          <ac:spMkLst>
            <pc:docMk/>
            <pc:sldMk cId="3225245280" sldId="2134804347"/>
            <ac:spMk id="126" creationId="{1B625495-01EC-47BE-936D-FCB6474F12A3}"/>
          </ac:spMkLst>
        </pc:spChg>
        <pc:spChg chg="del mod">
          <ac:chgData name="Mariam Daniela Tristancho Pineda (MISION TEMPORAL LTDA)" userId="a45a17f7-7950-4cb5-bfab-f5c894f959a9" providerId="ADAL" clId="{9D150B60-33B5-4A3E-8123-A67E35AA8D44}" dt="2020-07-28T12:42:57.966" v="18366" actId="478"/>
          <ac:spMkLst>
            <pc:docMk/>
            <pc:sldMk cId="3225245280" sldId="2134804347"/>
            <ac:spMk id="127" creationId="{50B7BAA7-A31D-437D-98EC-A2EEFCFA0EE0}"/>
          </ac:spMkLst>
        </pc:spChg>
        <pc:spChg chg="del mod">
          <ac:chgData name="Mariam Daniela Tristancho Pineda (MISION TEMPORAL LTDA)" userId="a45a17f7-7950-4cb5-bfab-f5c894f959a9" providerId="ADAL" clId="{9D150B60-33B5-4A3E-8123-A67E35AA8D44}" dt="2020-07-28T12:42:57.966" v="18366" actId="478"/>
          <ac:spMkLst>
            <pc:docMk/>
            <pc:sldMk cId="3225245280" sldId="2134804347"/>
            <ac:spMk id="128" creationId="{64673F48-F641-4C58-8C99-0D3B34C67D63}"/>
          </ac:spMkLst>
        </pc:spChg>
        <pc:spChg chg="del mod">
          <ac:chgData name="Mariam Daniela Tristancho Pineda (MISION TEMPORAL LTDA)" userId="a45a17f7-7950-4cb5-bfab-f5c894f959a9" providerId="ADAL" clId="{9D150B60-33B5-4A3E-8123-A67E35AA8D44}" dt="2020-07-28T12:42:57.966" v="18366" actId="478"/>
          <ac:spMkLst>
            <pc:docMk/>
            <pc:sldMk cId="3225245280" sldId="2134804347"/>
            <ac:spMk id="129" creationId="{99DDFE88-F4B6-4F2E-9670-B2764B91B976}"/>
          </ac:spMkLst>
        </pc:spChg>
        <pc:spChg chg="del mod">
          <ac:chgData name="Mariam Daniela Tristancho Pineda (MISION TEMPORAL LTDA)" userId="a45a17f7-7950-4cb5-bfab-f5c894f959a9" providerId="ADAL" clId="{9D150B60-33B5-4A3E-8123-A67E35AA8D44}" dt="2020-07-28T12:42:57.966" v="18366" actId="478"/>
          <ac:spMkLst>
            <pc:docMk/>
            <pc:sldMk cId="3225245280" sldId="2134804347"/>
            <ac:spMk id="130" creationId="{AA94FD5D-CEA8-40A7-8EAE-0C5655D9B18E}"/>
          </ac:spMkLst>
        </pc:spChg>
        <pc:spChg chg="add mod">
          <ac:chgData name="Mariam Daniela Tristancho Pineda (MISION TEMPORAL LTDA)" userId="a45a17f7-7950-4cb5-bfab-f5c894f959a9" providerId="ADAL" clId="{9D150B60-33B5-4A3E-8123-A67E35AA8D44}" dt="2020-07-28T14:46:22.877" v="19506" actId="1076"/>
          <ac:spMkLst>
            <pc:docMk/>
            <pc:sldMk cId="3225245280" sldId="2134804347"/>
            <ac:spMk id="134" creationId="{4442C9A5-A733-471D-8F13-08ADD413B9D3}"/>
          </ac:spMkLst>
        </pc:spChg>
        <pc:spChg chg="mod">
          <ac:chgData name="Mariam Daniela Tristancho Pineda (MISION TEMPORAL LTDA)" userId="a45a17f7-7950-4cb5-bfab-f5c894f959a9" providerId="ADAL" clId="{9D150B60-33B5-4A3E-8123-A67E35AA8D44}" dt="2020-07-28T14:53:29.021" v="19725" actId="20577"/>
          <ac:spMkLst>
            <pc:docMk/>
            <pc:sldMk cId="3225245280" sldId="2134804347"/>
            <ac:spMk id="135" creationId="{C1823568-A421-4254-9106-BAEB76F16B72}"/>
          </ac:spMkLst>
        </pc:spChg>
        <pc:spChg chg="add mod">
          <ac:chgData name="Mariam Daniela Tristancho Pineda (MISION TEMPORAL LTDA)" userId="a45a17f7-7950-4cb5-bfab-f5c894f959a9" providerId="ADAL" clId="{9D150B60-33B5-4A3E-8123-A67E35AA8D44}" dt="2020-07-28T14:46:22.877" v="19506" actId="1076"/>
          <ac:spMkLst>
            <pc:docMk/>
            <pc:sldMk cId="3225245280" sldId="2134804347"/>
            <ac:spMk id="136" creationId="{3E679F1B-F264-4A53-9627-51AF9A58E0A3}"/>
          </ac:spMkLst>
        </pc:spChg>
        <pc:spChg chg="add mod">
          <ac:chgData name="Mariam Daniela Tristancho Pineda (MISION TEMPORAL LTDA)" userId="a45a17f7-7950-4cb5-bfab-f5c894f959a9" providerId="ADAL" clId="{9D150B60-33B5-4A3E-8123-A67E35AA8D44}" dt="2020-07-28T14:46:22.877" v="19506" actId="1076"/>
          <ac:spMkLst>
            <pc:docMk/>
            <pc:sldMk cId="3225245280" sldId="2134804347"/>
            <ac:spMk id="137" creationId="{730474FC-E2F9-4F74-B68F-DF4ADA249AB1}"/>
          </ac:spMkLst>
        </pc:spChg>
        <pc:spChg chg="add mod">
          <ac:chgData name="Mariam Daniela Tristancho Pineda (MISION TEMPORAL LTDA)" userId="a45a17f7-7950-4cb5-bfab-f5c894f959a9" providerId="ADAL" clId="{9D150B60-33B5-4A3E-8123-A67E35AA8D44}" dt="2020-07-28T14:46:22.877" v="19506" actId="1076"/>
          <ac:spMkLst>
            <pc:docMk/>
            <pc:sldMk cId="3225245280" sldId="2134804347"/>
            <ac:spMk id="138" creationId="{14ECB9F5-C6EC-49AA-93E6-081670E9DB8B}"/>
          </ac:spMkLst>
        </pc:spChg>
        <pc:spChg chg="add mod">
          <ac:chgData name="Mariam Daniela Tristancho Pineda (MISION TEMPORAL LTDA)" userId="a45a17f7-7950-4cb5-bfab-f5c894f959a9" providerId="ADAL" clId="{9D150B60-33B5-4A3E-8123-A67E35AA8D44}" dt="2020-07-28T14:46:22.877" v="19506" actId="1076"/>
          <ac:spMkLst>
            <pc:docMk/>
            <pc:sldMk cId="3225245280" sldId="2134804347"/>
            <ac:spMk id="139" creationId="{E6FA0830-AEFB-4202-9F4F-DDC9DDCEAA0F}"/>
          </ac:spMkLst>
        </pc:spChg>
        <pc:spChg chg="mod">
          <ac:chgData name="Mariam Daniela Tristancho Pineda (MISION TEMPORAL LTDA)" userId="a45a17f7-7950-4cb5-bfab-f5c894f959a9" providerId="ADAL" clId="{9D150B60-33B5-4A3E-8123-A67E35AA8D44}" dt="2020-07-28T13:18:51.423" v="18869"/>
          <ac:spMkLst>
            <pc:docMk/>
            <pc:sldMk cId="3225245280" sldId="2134804347"/>
            <ac:spMk id="141" creationId="{A20D8D95-026E-42AC-952B-D531E19734AE}"/>
          </ac:spMkLst>
        </pc:spChg>
        <pc:spChg chg="mod">
          <ac:chgData name="Mariam Daniela Tristancho Pineda (MISION TEMPORAL LTDA)" userId="a45a17f7-7950-4cb5-bfab-f5c894f959a9" providerId="ADAL" clId="{9D150B60-33B5-4A3E-8123-A67E35AA8D44}" dt="2020-07-28T14:52:37.893" v="19697" actId="20577"/>
          <ac:spMkLst>
            <pc:docMk/>
            <pc:sldMk cId="3225245280" sldId="2134804347"/>
            <ac:spMk id="142" creationId="{C783885A-CB0A-4076-81E8-8B34A15F58CC}"/>
          </ac:spMkLst>
        </pc:spChg>
        <pc:spChg chg="mod">
          <ac:chgData name="Mariam Daniela Tristancho Pineda (MISION TEMPORAL LTDA)" userId="a45a17f7-7950-4cb5-bfab-f5c894f959a9" providerId="ADAL" clId="{9D150B60-33B5-4A3E-8123-A67E35AA8D44}" dt="2020-07-28T14:52:35.652" v="19693" actId="20577"/>
          <ac:spMkLst>
            <pc:docMk/>
            <pc:sldMk cId="3225245280" sldId="2134804347"/>
            <ac:spMk id="144" creationId="{B676753F-4D23-4F09-AE05-C30904D4C57B}"/>
          </ac:spMkLst>
        </pc:spChg>
        <pc:spChg chg="mod">
          <ac:chgData name="Mariam Daniela Tristancho Pineda (MISION TEMPORAL LTDA)" userId="a45a17f7-7950-4cb5-bfab-f5c894f959a9" providerId="ADAL" clId="{9D150B60-33B5-4A3E-8123-A67E35AA8D44}" dt="2020-07-28T13:18:51.423" v="18869"/>
          <ac:spMkLst>
            <pc:docMk/>
            <pc:sldMk cId="3225245280" sldId="2134804347"/>
            <ac:spMk id="145" creationId="{27419505-AD42-47CC-A8E4-D14E83ED19EB}"/>
          </ac:spMkLst>
        </pc:spChg>
        <pc:spChg chg="mod">
          <ac:chgData name="Mariam Daniela Tristancho Pineda (MISION TEMPORAL LTDA)" userId="a45a17f7-7950-4cb5-bfab-f5c894f959a9" providerId="ADAL" clId="{9D150B60-33B5-4A3E-8123-A67E35AA8D44}" dt="2020-07-28T13:18:51.423" v="18869"/>
          <ac:spMkLst>
            <pc:docMk/>
            <pc:sldMk cId="3225245280" sldId="2134804347"/>
            <ac:spMk id="147" creationId="{2A3A667C-331F-40EE-9A20-DE84C0A6019A}"/>
          </ac:spMkLst>
        </pc:spChg>
        <pc:spChg chg="mod">
          <ac:chgData name="Mariam Daniela Tristancho Pineda (MISION TEMPORAL LTDA)" userId="a45a17f7-7950-4cb5-bfab-f5c894f959a9" providerId="ADAL" clId="{9D150B60-33B5-4A3E-8123-A67E35AA8D44}" dt="2020-07-28T14:52:24.626" v="19691" actId="6549"/>
          <ac:spMkLst>
            <pc:docMk/>
            <pc:sldMk cId="3225245280" sldId="2134804347"/>
            <ac:spMk id="148" creationId="{2F7C3792-AAD5-4C2A-9455-42AE7D53AB52}"/>
          </ac:spMkLst>
        </pc:spChg>
        <pc:spChg chg="mod">
          <ac:chgData name="Mariam Daniela Tristancho Pineda (MISION TEMPORAL LTDA)" userId="a45a17f7-7950-4cb5-bfab-f5c894f959a9" providerId="ADAL" clId="{9D150B60-33B5-4A3E-8123-A67E35AA8D44}" dt="2020-07-28T13:18:51.423" v="18869"/>
          <ac:spMkLst>
            <pc:docMk/>
            <pc:sldMk cId="3225245280" sldId="2134804347"/>
            <ac:spMk id="150" creationId="{4C4C71EB-C7C8-46B2-93B9-BB77F5FF43EF}"/>
          </ac:spMkLst>
        </pc:spChg>
        <pc:spChg chg="mod">
          <ac:chgData name="Mariam Daniela Tristancho Pineda (MISION TEMPORAL LTDA)" userId="a45a17f7-7950-4cb5-bfab-f5c894f959a9" providerId="ADAL" clId="{9D150B60-33B5-4A3E-8123-A67E35AA8D44}" dt="2020-07-28T13:50:19.943" v="19195" actId="20577"/>
          <ac:spMkLst>
            <pc:docMk/>
            <pc:sldMk cId="3225245280" sldId="2134804347"/>
            <ac:spMk id="151" creationId="{3FB1705B-8E5E-43E5-A072-3B508CFFF5CD}"/>
          </ac:spMkLst>
        </pc:spChg>
        <pc:spChg chg="mod">
          <ac:chgData name="Mariam Daniela Tristancho Pineda (MISION TEMPORAL LTDA)" userId="a45a17f7-7950-4cb5-bfab-f5c894f959a9" providerId="ADAL" clId="{9D150B60-33B5-4A3E-8123-A67E35AA8D44}" dt="2020-07-28T13:18:51.423" v="18869"/>
          <ac:spMkLst>
            <pc:docMk/>
            <pc:sldMk cId="3225245280" sldId="2134804347"/>
            <ac:spMk id="153" creationId="{E81C83F1-A89C-44B5-A038-D448BBBE0F62}"/>
          </ac:spMkLst>
        </pc:spChg>
        <pc:spChg chg="mod">
          <ac:chgData name="Mariam Daniela Tristancho Pineda (MISION TEMPORAL LTDA)" userId="a45a17f7-7950-4cb5-bfab-f5c894f959a9" providerId="ADAL" clId="{9D150B60-33B5-4A3E-8123-A67E35AA8D44}" dt="2020-07-28T14:51:46.896" v="19689" actId="20577"/>
          <ac:spMkLst>
            <pc:docMk/>
            <pc:sldMk cId="3225245280" sldId="2134804347"/>
            <ac:spMk id="154" creationId="{91AE69E5-1CE5-463E-A734-440EB07C71E7}"/>
          </ac:spMkLst>
        </pc:spChg>
        <pc:spChg chg="mod">
          <ac:chgData name="Mariam Daniela Tristancho Pineda (MISION TEMPORAL LTDA)" userId="a45a17f7-7950-4cb5-bfab-f5c894f959a9" providerId="ADAL" clId="{9D150B60-33B5-4A3E-8123-A67E35AA8D44}" dt="2020-07-28T13:18:51.423" v="18869"/>
          <ac:spMkLst>
            <pc:docMk/>
            <pc:sldMk cId="3225245280" sldId="2134804347"/>
            <ac:spMk id="156" creationId="{B35B3620-B829-436E-B9EF-A404760000B1}"/>
          </ac:spMkLst>
        </pc:spChg>
        <pc:spChg chg="mod">
          <ac:chgData name="Mariam Daniela Tristancho Pineda (MISION TEMPORAL LTDA)" userId="a45a17f7-7950-4cb5-bfab-f5c894f959a9" providerId="ADAL" clId="{9D150B60-33B5-4A3E-8123-A67E35AA8D44}" dt="2020-07-28T13:18:51.423" v="18869"/>
          <ac:spMkLst>
            <pc:docMk/>
            <pc:sldMk cId="3225245280" sldId="2134804347"/>
            <ac:spMk id="157" creationId="{C8E517A0-38F2-4455-8C4D-340F4880A976}"/>
          </ac:spMkLst>
        </pc:spChg>
        <pc:spChg chg="mod">
          <ac:chgData name="Mariam Daniela Tristancho Pineda (MISION TEMPORAL LTDA)" userId="a45a17f7-7950-4cb5-bfab-f5c894f959a9" providerId="ADAL" clId="{9D150B60-33B5-4A3E-8123-A67E35AA8D44}" dt="2020-07-28T13:18:51.423" v="18869"/>
          <ac:spMkLst>
            <pc:docMk/>
            <pc:sldMk cId="3225245280" sldId="2134804347"/>
            <ac:spMk id="159" creationId="{38CABC61-9D2E-4194-ABB0-6D34479EF164}"/>
          </ac:spMkLst>
        </pc:spChg>
        <pc:spChg chg="mod">
          <ac:chgData name="Mariam Daniela Tristancho Pineda (MISION TEMPORAL LTDA)" userId="a45a17f7-7950-4cb5-bfab-f5c894f959a9" providerId="ADAL" clId="{9D150B60-33B5-4A3E-8123-A67E35AA8D44}" dt="2020-07-28T13:18:51.423" v="18869"/>
          <ac:spMkLst>
            <pc:docMk/>
            <pc:sldMk cId="3225245280" sldId="2134804347"/>
            <ac:spMk id="160" creationId="{3072C5E4-3547-45EB-9BBF-354F4AB12A79}"/>
          </ac:spMkLst>
        </pc:spChg>
        <pc:spChg chg="mod">
          <ac:chgData name="Mariam Daniela Tristancho Pineda (MISION TEMPORAL LTDA)" userId="a45a17f7-7950-4cb5-bfab-f5c894f959a9" providerId="ADAL" clId="{9D150B60-33B5-4A3E-8123-A67E35AA8D44}" dt="2020-07-28T13:18:51.423" v="18869"/>
          <ac:spMkLst>
            <pc:docMk/>
            <pc:sldMk cId="3225245280" sldId="2134804347"/>
            <ac:spMk id="162" creationId="{2F14FB17-BECB-4B1B-8B21-2A1D4EE6E111}"/>
          </ac:spMkLst>
        </pc:spChg>
        <pc:spChg chg="mod">
          <ac:chgData name="Mariam Daniela Tristancho Pineda (MISION TEMPORAL LTDA)" userId="a45a17f7-7950-4cb5-bfab-f5c894f959a9" providerId="ADAL" clId="{9D150B60-33B5-4A3E-8123-A67E35AA8D44}" dt="2020-07-28T13:18:51.423" v="18869"/>
          <ac:spMkLst>
            <pc:docMk/>
            <pc:sldMk cId="3225245280" sldId="2134804347"/>
            <ac:spMk id="163" creationId="{C61A9C37-55DD-4C90-A9F7-B6E0FFF3F0E3}"/>
          </ac:spMkLst>
        </pc:spChg>
        <pc:spChg chg="mod">
          <ac:chgData name="Mariam Daniela Tristancho Pineda (MISION TEMPORAL LTDA)" userId="a45a17f7-7950-4cb5-bfab-f5c894f959a9" providerId="ADAL" clId="{9D150B60-33B5-4A3E-8123-A67E35AA8D44}" dt="2020-07-28T13:18:51.423" v="18869"/>
          <ac:spMkLst>
            <pc:docMk/>
            <pc:sldMk cId="3225245280" sldId="2134804347"/>
            <ac:spMk id="165" creationId="{C8255FF3-D6FC-46C9-AE95-D66C4B74C3F8}"/>
          </ac:spMkLst>
        </pc:spChg>
        <pc:spChg chg="mod">
          <ac:chgData name="Mariam Daniela Tristancho Pineda (MISION TEMPORAL LTDA)" userId="a45a17f7-7950-4cb5-bfab-f5c894f959a9" providerId="ADAL" clId="{9D150B60-33B5-4A3E-8123-A67E35AA8D44}" dt="2020-07-28T14:52:41.977" v="19701" actId="20577"/>
          <ac:spMkLst>
            <pc:docMk/>
            <pc:sldMk cId="3225245280" sldId="2134804347"/>
            <ac:spMk id="166" creationId="{9FDE8763-1403-4DA7-9E51-39BBD4CD3A59}"/>
          </ac:spMkLst>
        </pc:spChg>
        <pc:spChg chg="mod">
          <ac:chgData name="Mariam Daniela Tristancho Pineda (MISION TEMPORAL LTDA)" userId="a45a17f7-7950-4cb5-bfab-f5c894f959a9" providerId="ADAL" clId="{9D150B60-33B5-4A3E-8123-A67E35AA8D44}" dt="2020-07-28T13:18:51.423" v="18869"/>
          <ac:spMkLst>
            <pc:docMk/>
            <pc:sldMk cId="3225245280" sldId="2134804347"/>
            <ac:spMk id="168" creationId="{480BA5A4-2490-443D-99DF-A87C050AD8CC}"/>
          </ac:spMkLst>
        </pc:spChg>
        <pc:spChg chg="mod">
          <ac:chgData name="Mariam Daniela Tristancho Pineda (MISION TEMPORAL LTDA)" userId="a45a17f7-7950-4cb5-bfab-f5c894f959a9" providerId="ADAL" clId="{9D150B60-33B5-4A3E-8123-A67E35AA8D44}" dt="2020-07-28T14:51:19.884" v="19685" actId="20577"/>
          <ac:spMkLst>
            <pc:docMk/>
            <pc:sldMk cId="3225245280" sldId="2134804347"/>
            <ac:spMk id="169" creationId="{3627E2EC-EFA8-4377-BB00-3AB8FAD333E2}"/>
          </ac:spMkLst>
        </pc:spChg>
        <pc:grpChg chg="add del mod">
          <ac:chgData name="Mariam Daniela Tristancho Pineda (MISION TEMPORAL LTDA)" userId="a45a17f7-7950-4cb5-bfab-f5c894f959a9" providerId="ADAL" clId="{9D150B60-33B5-4A3E-8123-A67E35AA8D44}" dt="2020-07-28T13:10:04.747" v="18629" actId="478"/>
          <ac:grpSpMkLst>
            <pc:docMk/>
            <pc:sldMk cId="3225245280" sldId="2134804347"/>
            <ac:grpSpMk id="23" creationId="{D632FE50-4FD1-407A-957D-8D3A19C237A4}"/>
          </ac:grpSpMkLst>
        </pc:grpChg>
        <pc:grpChg chg="add del mod">
          <ac:chgData name="Mariam Daniela Tristancho Pineda (MISION TEMPORAL LTDA)" userId="a45a17f7-7950-4cb5-bfab-f5c894f959a9" providerId="ADAL" clId="{9D150B60-33B5-4A3E-8123-A67E35AA8D44}" dt="2020-07-28T13:10:09.475" v="18630" actId="478"/>
          <ac:grpSpMkLst>
            <pc:docMk/>
            <pc:sldMk cId="3225245280" sldId="2134804347"/>
            <ac:grpSpMk id="64" creationId="{16D0A230-E999-4BC3-91F2-9F0B4D360AA4}"/>
          </ac:grpSpMkLst>
        </pc:grpChg>
        <pc:grpChg chg="add del mod">
          <ac:chgData name="Mariam Daniela Tristancho Pineda (MISION TEMPORAL LTDA)" userId="a45a17f7-7950-4cb5-bfab-f5c894f959a9" providerId="ADAL" clId="{9D150B60-33B5-4A3E-8123-A67E35AA8D44}" dt="2020-07-28T13:10:09.475" v="18630" actId="478"/>
          <ac:grpSpMkLst>
            <pc:docMk/>
            <pc:sldMk cId="3225245280" sldId="2134804347"/>
            <ac:grpSpMk id="67" creationId="{8538D7F5-EA5A-4CF3-852F-4F0CB34B2B66}"/>
          </ac:grpSpMkLst>
        </pc:grpChg>
        <pc:grpChg chg="add del mod">
          <ac:chgData name="Mariam Daniela Tristancho Pineda (MISION TEMPORAL LTDA)" userId="a45a17f7-7950-4cb5-bfab-f5c894f959a9" providerId="ADAL" clId="{9D150B60-33B5-4A3E-8123-A67E35AA8D44}" dt="2020-07-28T13:10:09.475" v="18630" actId="478"/>
          <ac:grpSpMkLst>
            <pc:docMk/>
            <pc:sldMk cId="3225245280" sldId="2134804347"/>
            <ac:grpSpMk id="70" creationId="{EE36BC2A-C1DF-4BD7-8AE6-70A5F7A40C50}"/>
          </ac:grpSpMkLst>
        </pc:grpChg>
        <pc:grpChg chg="add del mod">
          <ac:chgData name="Mariam Daniela Tristancho Pineda (MISION TEMPORAL LTDA)" userId="a45a17f7-7950-4cb5-bfab-f5c894f959a9" providerId="ADAL" clId="{9D150B60-33B5-4A3E-8123-A67E35AA8D44}" dt="2020-07-28T13:10:09.475" v="18630" actId="478"/>
          <ac:grpSpMkLst>
            <pc:docMk/>
            <pc:sldMk cId="3225245280" sldId="2134804347"/>
            <ac:grpSpMk id="73" creationId="{7C8B27D7-4612-4A49-8825-A6379094BF26}"/>
          </ac:grpSpMkLst>
        </pc:grpChg>
        <pc:grpChg chg="add del mod">
          <ac:chgData name="Mariam Daniela Tristancho Pineda (MISION TEMPORAL LTDA)" userId="a45a17f7-7950-4cb5-bfab-f5c894f959a9" providerId="ADAL" clId="{9D150B60-33B5-4A3E-8123-A67E35AA8D44}" dt="2020-07-28T13:10:09.475" v="18630" actId="478"/>
          <ac:grpSpMkLst>
            <pc:docMk/>
            <pc:sldMk cId="3225245280" sldId="2134804347"/>
            <ac:grpSpMk id="76" creationId="{45E662E2-DADC-42C9-AAAE-3490D0CC9280}"/>
          </ac:grpSpMkLst>
        </pc:grpChg>
        <pc:grpChg chg="add del mod">
          <ac:chgData name="Mariam Daniela Tristancho Pineda (MISION TEMPORAL LTDA)" userId="a45a17f7-7950-4cb5-bfab-f5c894f959a9" providerId="ADAL" clId="{9D150B60-33B5-4A3E-8123-A67E35AA8D44}" dt="2020-07-28T13:10:09.475" v="18630" actId="478"/>
          <ac:grpSpMkLst>
            <pc:docMk/>
            <pc:sldMk cId="3225245280" sldId="2134804347"/>
            <ac:grpSpMk id="79" creationId="{2977CF4F-DA95-452D-A9F9-31E4F6F21F61}"/>
          </ac:grpSpMkLst>
        </pc:grpChg>
        <pc:grpChg chg="add del mod">
          <ac:chgData name="Mariam Daniela Tristancho Pineda (MISION TEMPORAL LTDA)" userId="a45a17f7-7950-4cb5-bfab-f5c894f959a9" providerId="ADAL" clId="{9D150B60-33B5-4A3E-8123-A67E35AA8D44}" dt="2020-07-28T13:10:09.475" v="18630" actId="478"/>
          <ac:grpSpMkLst>
            <pc:docMk/>
            <pc:sldMk cId="3225245280" sldId="2134804347"/>
            <ac:grpSpMk id="82" creationId="{7251B024-5D9B-4028-87FC-10D811FFEEC2}"/>
          </ac:grpSpMkLst>
        </pc:grpChg>
        <pc:grpChg chg="add del mod">
          <ac:chgData name="Mariam Daniela Tristancho Pineda (MISION TEMPORAL LTDA)" userId="a45a17f7-7950-4cb5-bfab-f5c894f959a9" providerId="ADAL" clId="{9D150B60-33B5-4A3E-8123-A67E35AA8D44}" dt="2020-07-28T13:10:09.475" v="18630" actId="478"/>
          <ac:grpSpMkLst>
            <pc:docMk/>
            <pc:sldMk cId="3225245280" sldId="2134804347"/>
            <ac:grpSpMk id="85" creationId="{DA556841-30ED-47E0-B342-FC01970D383B}"/>
          </ac:grpSpMkLst>
        </pc:grpChg>
        <pc:grpChg chg="add del mod">
          <ac:chgData name="Mariam Daniela Tristancho Pineda (MISION TEMPORAL LTDA)" userId="a45a17f7-7950-4cb5-bfab-f5c894f959a9" providerId="ADAL" clId="{9D150B60-33B5-4A3E-8123-A67E35AA8D44}" dt="2020-07-28T12:50:03.928" v="18401" actId="478"/>
          <ac:grpSpMkLst>
            <pc:docMk/>
            <pc:sldMk cId="3225245280" sldId="2134804347"/>
            <ac:grpSpMk id="88" creationId="{AB89121C-4379-470D-958C-21F39F86497D}"/>
          </ac:grpSpMkLst>
        </pc:grpChg>
        <pc:grpChg chg="del mod">
          <ac:chgData name="Mariam Daniela Tristancho Pineda (MISION TEMPORAL LTDA)" userId="a45a17f7-7950-4cb5-bfab-f5c894f959a9" providerId="ADAL" clId="{9D150B60-33B5-4A3E-8123-A67E35AA8D44}" dt="2020-07-28T12:42:57.966" v="18366" actId="478"/>
          <ac:grpSpMkLst>
            <pc:docMk/>
            <pc:sldMk cId="3225245280" sldId="2134804347"/>
            <ac:grpSpMk id="107" creationId="{FBAD03AC-C73E-4701-B989-793F8E1E9D2D}"/>
          </ac:grpSpMkLst>
        </pc:grpChg>
        <pc:grpChg chg="del mod">
          <ac:chgData name="Mariam Daniela Tristancho Pineda (MISION TEMPORAL LTDA)" userId="a45a17f7-7950-4cb5-bfab-f5c894f959a9" providerId="ADAL" clId="{9D150B60-33B5-4A3E-8123-A67E35AA8D44}" dt="2020-07-28T12:42:57.966" v="18366" actId="478"/>
          <ac:grpSpMkLst>
            <pc:docMk/>
            <pc:sldMk cId="3225245280" sldId="2134804347"/>
            <ac:grpSpMk id="110" creationId="{C4B98B9D-649B-4278-A04C-A7248F5B4966}"/>
          </ac:grpSpMkLst>
        </pc:grpChg>
        <pc:grpChg chg="del mod">
          <ac:chgData name="Mariam Daniela Tristancho Pineda (MISION TEMPORAL LTDA)" userId="a45a17f7-7950-4cb5-bfab-f5c894f959a9" providerId="ADAL" clId="{9D150B60-33B5-4A3E-8123-A67E35AA8D44}" dt="2020-07-28T12:42:57.966" v="18366" actId="478"/>
          <ac:grpSpMkLst>
            <pc:docMk/>
            <pc:sldMk cId="3225245280" sldId="2134804347"/>
            <ac:grpSpMk id="113" creationId="{0954B190-3C56-4795-8C1B-0587851BF8FA}"/>
          </ac:grpSpMkLst>
        </pc:grpChg>
        <pc:grpChg chg="add mod">
          <ac:chgData name="Mariam Daniela Tristancho Pineda (MISION TEMPORAL LTDA)" userId="a45a17f7-7950-4cb5-bfab-f5c894f959a9" providerId="ADAL" clId="{9D150B60-33B5-4A3E-8123-A67E35AA8D44}" dt="2020-07-28T14:46:22.877" v="19506" actId="1076"/>
          <ac:grpSpMkLst>
            <pc:docMk/>
            <pc:sldMk cId="3225245280" sldId="2134804347"/>
            <ac:grpSpMk id="140" creationId="{1778203D-1CDF-4BBC-B19C-6A9DA9D69BEA}"/>
          </ac:grpSpMkLst>
        </pc:grpChg>
        <pc:grpChg chg="add mod">
          <ac:chgData name="Mariam Daniela Tristancho Pineda (MISION TEMPORAL LTDA)" userId="a45a17f7-7950-4cb5-bfab-f5c894f959a9" providerId="ADAL" clId="{9D150B60-33B5-4A3E-8123-A67E35AA8D44}" dt="2020-07-28T14:46:22.877" v="19506" actId="1076"/>
          <ac:grpSpMkLst>
            <pc:docMk/>
            <pc:sldMk cId="3225245280" sldId="2134804347"/>
            <ac:grpSpMk id="143" creationId="{B27E5097-D998-4BDE-89CA-161A527A87C0}"/>
          </ac:grpSpMkLst>
        </pc:grpChg>
        <pc:grpChg chg="add mod">
          <ac:chgData name="Mariam Daniela Tristancho Pineda (MISION TEMPORAL LTDA)" userId="a45a17f7-7950-4cb5-bfab-f5c894f959a9" providerId="ADAL" clId="{9D150B60-33B5-4A3E-8123-A67E35AA8D44}" dt="2020-07-28T14:46:22.877" v="19506" actId="1076"/>
          <ac:grpSpMkLst>
            <pc:docMk/>
            <pc:sldMk cId="3225245280" sldId="2134804347"/>
            <ac:grpSpMk id="146" creationId="{2CA2D048-1963-4AF1-A71E-9C7566E1243D}"/>
          </ac:grpSpMkLst>
        </pc:grpChg>
        <pc:grpChg chg="add mod">
          <ac:chgData name="Mariam Daniela Tristancho Pineda (MISION TEMPORAL LTDA)" userId="a45a17f7-7950-4cb5-bfab-f5c894f959a9" providerId="ADAL" clId="{9D150B60-33B5-4A3E-8123-A67E35AA8D44}" dt="2020-07-28T14:46:22.877" v="19506" actId="1076"/>
          <ac:grpSpMkLst>
            <pc:docMk/>
            <pc:sldMk cId="3225245280" sldId="2134804347"/>
            <ac:grpSpMk id="149" creationId="{30016BC2-F5FC-41B1-8042-294B5ED710A9}"/>
          </ac:grpSpMkLst>
        </pc:grpChg>
        <pc:grpChg chg="add mod">
          <ac:chgData name="Mariam Daniela Tristancho Pineda (MISION TEMPORAL LTDA)" userId="a45a17f7-7950-4cb5-bfab-f5c894f959a9" providerId="ADAL" clId="{9D150B60-33B5-4A3E-8123-A67E35AA8D44}" dt="2020-07-28T14:46:22.877" v="19506" actId="1076"/>
          <ac:grpSpMkLst>
            <pc:docMk/>
            <pc:sldMk cId="3225245280" sldId="2134804347"/>
            <ac:grpSpMk id="152" creationId="{0C9E3AE5-4FE2-4EF4-9D3F-ECFA92247FBD}"/>
          </ac:grpSpMkLst>
        </pc:grpChg>
        <pc:grpChg chg="add mod">
          <ac:chgData name="Mariam Daniela Tristancho Pineda (MISION TEMPORAL LTDA)" userId="a45a17f7-7950-4cb5-bfab-f5c894f959a9" providerId="ADAL" clId="{9D150B60-33B5-4A3E-8123-A67E35AA8D44}" dt="2020-07-28T14:46:22.877" v="19506" actId="1076"/>
          <ac:grpSpMkLst>
            <pc:docMk/>
            <pc:sldMk cId="3225245280" sldId="2134804347"/>
            <ac:grpSpMk id="155" creationId="{AF0A7E91-D29C-4DC8-87E7-351583AC6A42}"/>
          </ac:grpSpMkLst>
        </pc:grpChg>
        <pc:grpChg chg="add mod">
          <ac:chgData name="Mariam Daniela Tristancho Pineda (MISION TEMPORAL LTDA)" userId="a45a17f7-7950-4cb5-bfab-f5c894f959a9" providerId="ADAL" clId="{9D150B60-33B5-4A3E-8123-A67E35AA8D44}" dt="2020-07-28T14:46:22.877" v="19506" actId="1076"/>
          <ac:grpSpMkLst>
            <pc:docMk/>
            <pc:sldMk cId="3225245280" sldId="2134804347"/>
            <ac:grpSpMk id="158" creationId="{18236BF5-121B-4103-92E9-4A1EA3D1F5F7}"/>
          </ac:grpSpMkLst>
        </pc:grpChg>
        <pc:grpChg chg="add mod">
          <ac:chgData name="Mariam Daniela Tristancho Pineda (MISION TEMPORAL LTDA)" userId="a45a17f7-7950-4cb5-bfab-f5c894f959a9" providerId="ADAL" clId="{9D150B60-33B5-4A3E-8123-A67E35AA8D44}" dt="2020-07-28T14:46:22.877" v="19506" actId="1076"/>
          <ac:grpSpMkLst>
            <pc:docMk/>
            <pc:sldMk cId="3225245280" sldId="2134804347"/>
            <ac:grpSpMk id="161" creationId="{7B0D0DED-F383-470F-96D9-C423BC826F33}"/>
          </ac:grpSpMkLst>
        </pc:grpChg>
        <pc:grpChg chg="add mod">
          <ac:chgData name="Mariam Daniela Tristancho Pineda (MISION TEMPORAL LTDA)" userId="a45a17f7-7950-4cb5-bfab-f5c894f959a9" providerId="ADAL" clId="{9D150B60-33B5-4A3E-8123-A67E35AA8D44}" dt="2020-07-28T14:46:22.877" v="19506" actId="1076"/>
          <ac:grpSpMkLst>
            <pc:docMk/>
            <pc:sldMk cId="3225245280" sldId="2134804347"/>
            <ac:grpSpMk id="164" creationId="{C681AC81-BC19-45C4-81AC-2BC618854FD5}"/>
          </ac:grpSpMkLst>
        </pc:grpChg>
        <pc:grpChg chg="add mod">
          <ac:chgData name="Mariam Daniela Tristancho Pineda (MISION TEMPORAL LTDA)" userId="a45a17f7-7950-4cb5-bfab-f5c894f959a9" providerId="ADAL" clId="{9D150B60-33B5-4A3E-8123-A67E35AA8D44}" dt="2020-07-28T14:46:22.877" v="19506" actId="1076"/>
          <ac:grpSpMkLst>
            <pc:docMk/>
            <pc:sldMk cId="3225245280" sldId="2134804347"/>
            <ac:grpSpMk id="167" creationId="{F3C347DC-9AE7-44D9-A9B1-B67D2D0F7C03}"/>
          </ac:grpSpMkLst>
        </pc:grpChg>
      </pc:sldChg>
      <pc:sldChg chg="addSp delSp modSp mod ord">
        <pc:chgData name="Mariam Daniela Tristancho Pineda (MISION TEMPORAL LTDA)" userId="a45a17f7-7950-4cb5-bfab-f5c894f959a9" providerId="ADAL" clId="{9D150B60-33B5-4A3E-8123-A67E35AA8D44}" dt="2020-07-28T15:02:27.406" v="19925"/>
        <pc:sldMkLst>
          <pc:docMk/>
          <pc:sldMk cId="335391689" sldId="2134804348"/>
        </pc:sldMkLst>
        <pc:spChg chg="del mod">
          <ac:chgData name="Mariam Daniela Tristancho Pineda (MISION TEMPORAL LTDA)" userId="a45a17f7-7950-4cb5-bfab-f5c894f959a9" providerId="ADAL" clId="{9D150B60-33B5-4A3E-8123-A67E35AA8D44}" dt="2020-07-28T13:12:06.501" v="18656" actId="21"/>
          <ac:spMkLst>
            <pc:docMk/>
            <pc:sldMk cId="335391689" sldId="2134804348"/>
            <ac:spMk id="3" creationId="{815B10B7-60B3-4C63-8431-70CC556387C9}"/>
          </ac:spMkLst>
        </pc:spChg>
        <pc:spChg chg="del mod">
          <ac:chgData name="Mariam Daniela Tristancho Pineda (MISION TEMPORAL LTDA)" userId="a45a17f7-7950-4cb5-bfab-f5c894f959a9" providerId="ADAL" clId="{9D150B60-33B5-4A3E-8123-A67E35AA8D44}" dt="2020-07-28T01:30:04.576" v="18018" actId="478"/>
          <ac:spMkLst>
            <pc:docMk/>
            <pc:sldMk cId="335391689" sldId="2134804348"/>
            <ac:spMk id="6" creationId="{41FB5058-5D6D-4057-8091-3FEDAE9C7B2F}"/>
          </ac:spMkLst>
        </pc:spChg>
        <pc:spChg chg="del mod">
          <ac:chgData name="Mariam Daniela Tristancho Pineda (MISION TEMPORAL LTDA)" userId="a45a17f7-7950-4cb5-bfab-f5c894f959a9" providerId="ADAL" clId="{9D150B60-33B5-4A3E-8123-A67E35AA8D44}" dt="2020-07-28T01:30:04.576" v="18018" actId="478"/>
          <ac:spMkLst>
            <pc:docMk/>
            <pc:sldMk cId="335391689" sldId="2134804348"/>
            <ac:spMk id="7" creationId="{8B7F7536-70E5-4D84-B987-71AE1FD79A6B}"/>
          </ac:spMkLst>
        </pc:spChg>
        <pc:spChg chg="mod">
          <ac:chgData name="Mariam Daniela Tristancho Pineda (MISION TEMPORAL LTDA)" userId="a45a17f7-7950-4cb5-bfab-f5c894f959a9" providerId="ADAL" clId="{9D150B60-33B5-4A3E-8123-A67E35AA8D44}" dt="2020-07-28T14:58:21.890" v="19839" actId="1038"/>
          <ac:spMkLst>
            <pc:docMk/>
            <pc:sldMk cId="335391689" sldId="2134804348"/>
            <ac:spMk id="8" creationId="{2E27193E-8A49-44E9-91B8-50C765DA6DDA}"/>
          </ac:spMkLst>
        </pc:spChg>
        <pc:spChg chg="mod">
          <ac:chgData name="Mariam Daniela Tristancho Pineda (MISION TEMPORAL LTDA)" userId="a45a17f7-7950-4cb5-bfab-f5c894f959a9" providerId="ADAL" clId="{9D150B60-33B5-4A3E-8123-A67E35AA8D44}" dt="2020-07-28T14:56:31.605" v="19778" actId="1036"/>
          <ac:spMkLst>
            <pc:docMk/>
            <pc:sldMk cId="335391689" sldId="2134804348"/>
            <ac:spMk id="9" creationId="{044EA7DA-DC7D-4022-9DEC-F3B676A62032}"/>
          </ac:spMkLst>
        </pc:spChg>
        <pc:spChg chg="mod">
          <ac:chgData name="Mariam Daniela Tristancho Pineda (MISION TEMPORAL LTDA)" userId="a45a17f7-7950-4cb5-bfab-f5c894f959a9" providerId="ADAL" clId="{9D150B60-33B5-4A3E-8123-A67E35AA8D44}" dt="2020-07-28T14:58:31.919" v="19880" actId="1038"/>
          <ac:spMkLst>
            <pc:docMk/>
            <pc:sldMk cId="335391689" sldId="2134804348"/>
            <ac:spMk id="10" creationId="{1C27DADA-AD5A-4DFF-A22B-78E230D3896D}"/>
          </ac:spMkLst>
        </pc:spChg>
        <pc:spChg chg="del mod">
          <ac:chgData name="Mariam Daniela Tristancho Pineda (MISION TEMPORAL LTDA)" userId="a45a17f7-7950-4cb5-bfab-f5c894f959a9" providerId="ADAL" clId="{9D150B60-33B5-4A3E-8123-A67E35AA8D44}" dt="2020-07-28T13:12:06.501" v="18656" actId="21"/>
          <ac:spMkLst>
            <pc:docMk/>
            <pc:sldMk cId="335391689" sldId="2134804348"/>
            <ac:spMk id="11" creationId="{772CA61D-742C-45F0-BAFA-0F3B90176E98}"/>
          </ac:spMkLst>
        </pc:spChg>
        <pc:spChg chg="del mod">
          <ac:chgData name="Mariam Daniela Tristancho Pineda (MISION TEMPORAL LTDA)" userId="a45a17f7-7950-4cb5-bfab-f5c894f959a9" providerId="ADAL" clId="{9D150B60-33B5-4A3E-8123-A67E35AA8D44}" dt="2020-07-28T13:12:06.501" v="18656" actId="21"/>
          <ac:spMkLst>
            <pc:docMk/>
            <pc:sldMk cId="335391689" sldId="2134804348"/>
            <ac:spMk id="12" creationId="{7F3CEC4C-7588-4B74-823D-9CF22E2DAD79}"/>
          </ac:spMkLst>
        </pc:spChg>
        <pc:spChg chg="del mod">
          <ac:chgData name="Mariam Daniela Tristancho Pineda (MISION TEMPORAL LTDA)" userId="a45a17f7-7950-4cb5-bfab-f5c894f959a9" providerId="ADAL" clId="{9D150B60-33B5-4A3E-8123-A67E35AA8D44}" dt="2020-07-28T01:30:04.576" v="18018" actId="478"/>
          <ac:spMkLst>
            <pc:docMk/>
            <pc:sldMk cId="335391689" sldId="2134804348"/>
            <ac:spMk id="13" creationId="{1D596647-3DA8-4B78-83AD-CC623C803E18}"/>
          </ac:spMkLst>
        </pc:spChg>
        <pc:spChg chg="add del mod">
          <ac:chgData name="Mariam Daniela Tristancho Pineda (MISION TEMPORAL LTDA)" userId="a45a17f7-7950-4cb5-bfab-f5c894f959a9" providerId="ADAL" clId="{9D150B60-33B5-4A3E-8123-A67E35AA8D44}" dt="2020-07-28T14:39:32.530" v="19383" actId="478"/>
          <ac:spMkLst>
            <pc:docMk/>
            <pc:sldMk cId="335391689" sldId="2134804348"/>
            <ac:spMk id="14" creationId="{6FCAE7F4-D309-4A31-A5D2-C6A035E0EF82}"/>
          </ac:spMkLst>
        </pc:spChg>
        <pc:spChg chg="mod">
          <ac:chgData name="Mariam Daniela Tristancho Pineda (MISION TEMPORAL LTDA)" userId="a45a17f7-7950-4cb5-bfab-f5c894f959a9" providerId="ADAL" clId="{9D150B60-33B5-4A3E-8123-A67E35AA8D44}" dt="2020-07-28T14:56:31.605" v="19778" actId="1036"/>
          <ac:spMkLst>
            <pc:docMk/>
            <pc:sldMk cId="335391689" sldId="2134804348"/>
            <ac:spMk id="15" creationId="{EC155108-24C9-41BB-AFB7-1D8B4E0A3839}"/>
          </ac:spMkLst>
        </pc:spChg>
        <pc:spChg chg="del mod">
          <ac:chgData name="Mariam Daniela Tristancho Pineda (MISION TEMPORAL LTDA)" userId="a45a17f7-7950-4cb5-bfab-f5c894f959a9" providerId="ADAL" clId="{9D150B60-33B5-4A3E-8123-A67E35AA8D44}" dt="2020-07-28T13:04:01.285" v="18563" actId="478"/>
          <ac:spMkLst>
            <pc:docMk/>
            <pc:sldMk cId="335391689" sldId="2134804348"/>
            <ac:spMk id="16" creationId="{E4BC2CA1-2901-471E-A924-486FA0786DAE}"/>
          </ac:spMkLst>
        </pc:spChg>
        <pc:spChg chg="del mod">
          <ac:chgData name="Mariam Daniela Tristancho Pineda (MISION TEMPORAL LTDA)" userId="a45a17f7-7950-4cb5-bfab-f5c894f959a9" providerId="ADAL" clId="{9D150B60-33B5-4A3E-8123-A67E35AA8D44}" dt="2020-07-28T01:30:04.576" v="18018" actId="478"/>
          <ac:spMkLst>
            <pc:docMk/>
            <pc:sldMk cId="335391689" sldId="2134804348"/>
            <ac:spMk id="17" creationId="{495102E0-0B06-46DA-8B01-74CB2AE7392D}"/>
          </ac:spMkLst>
        </pc:spChg>
        <pc:spChg chg="mod">
          <ac:chgData name="Mariam Daniela Tristancho Pineda (MISION TEMPORAL LTDA)" userId="a45a17f7-7950-4cb5-bfab-f5c894f959a9" providerId="ADAL" clId="{9D150B60-33B5-4A3E-8123-A67E35AA8D44}" dt="2020-07-28T14:56:31.605" v="19778" actId="1036"/>
          <ac:spMkLst>
            <pc:docMk/>
            <pc:sldMk cId="335391689" sldId="2134804348"/>
            <ac:spMk id="18" creationId="{B9A102DE-B6E2-4A96-917C-4764462F2DDA}"/>
          </ac:spMkLst>
        </pc:spChg>
        <pc:spChg chg="mod">
          <ac:chgData name="Mariam Daniela Tristancho Pineda (MISION TEMPORAL LTDA)" userId="a45a17f7-7950-4cb5-bfab-f5c894f959a9" providerId="ADAL" clId="{9D150B60-33B5-4A3E-8123-A67E35AA8D44}" dt="2020-07-28T14:58:10.483" v="19825" actId="1037"/>
          <ac:spMkLst>
            <pc:docMk/>
            <pc:sldMk cId="335391689" sldId="2134804348"/>
            <ac:spMk id="19" creationId="{70675E72-95A3-4317-B24A-EF51AC8AE239}"/>
          </ac:spMkLst>
        </pc:spChg>
        <pc:spChg chg="del mod">
          <ac:chgData name="Mariam Daniela Tristancho Pineda (MISION TEMPORAL LTDA)" userId="a45a17f7-7950-4cb5-bfab-f5c894f959a9" providerId="ADAL" clId="{9D150B60-33B5-4A3E-8123-A67E35AA8D44}" dt="2020-07-28T01:30:04.576" v="18018" actId="478"/>
          <ac:spMkLst>
            <pc:docMk/>
            <pc:sldMk cId="335391689" sldId="2134804348"/>
            <ac:spMk id="20" creationId="{571727EA-EA8A-4BD3-A5B4-4CB13C53C1D4}"/>
          </ac:spMkLst>
        </pc:spChg>
        <pc:spChg chg="del mod">
          <ac:chgData name="Mariam Daniela Tristancho Pineda (MISION TEMPORAL LTDA)" userId="a45a17f7-7950-4cb5-bfab-f5c894f959a9" providerId="ADAL" clId="{9D150B60-33B5-4A3E-8123-A67E35AA8D44}" dt="2020-07-28T13:12:06.501" v="18656" actId="21"/>
          <ac:spMkLst>
            <pc:docMk/>
            <pc:sldMk cId="335391689" sldId="2134804348"/>
            <ac:spMk id="21" creationId="{E2738FDF-0742-473E-B459-0FA49EB64687}"/>
          </ac:spMkLst>
        </pc:spChg>
        <pc:spChg chg="add mod">
          <ac:chgData name="Mariam Daniela Tristancho Pineda (MISION TEMPORAL LTDA)" userId="a45a17f7-7950-4cb5-bfab-f5c894f959a9" providerId="ADAL" clId="{9D150B60-33B5-4A3E-8123-A67E35AA8D44}" dt="2020-07-28T14:56:33.610" v="19779" actId="1076"/>
          <ac:spMkLst>
            <pc:docMk/>
            <pc:sldMk cId="335391689" sldId="2134804348"/>
            <ac:spMk id="23" creationId="{5DB1FF86-7D4A-4D95-BFED-8DC3F579D0AE}"/>
          </ac:spMkLst>
        </pc:spChg>
        <pc:spChg chg="add del mod">
          <ac:chgData name="Mariam Daniela Tristancho Pineda (MISION TEMPORAL LTDA)" userId="a45a17f7-7950-4cb5-bfab-f5c894f959a9" providerId="ADAL" clId="{9D150B60-33B5-4A3E-8123-A67E35AA8D44}" dt="2020-07-28T13:12:06.501" v="18656" actId="21"/>
          <ac:spMkLst>
            <pc:docMk/>
            <pc:sldMk cId="335391689" sldId="2134804348"/>
            <ac:spMk id="24" creationId="{B06F4D58-E17C-42FB-B07A-678C70465FC2}"/>
          </ac:spMkLst>
        </pc:spChg>
        <pc:spChg chg="del mod">
          <ac:chgData name="Mariam Daniela Tristancho Pineda (MISION TEMPORAL LTDA)" userId="a45a17f7-7950-4cb5-bfab-f5c894f959a9" providerId="ADAL" clId="{9D150B60-33B5-4A3E-8123-A67E35AA8D44}" dt="2020-07-28T01:30:04.576" v="18018" actId="478"/>
          <ac:spMkLst>
            <pc:docMk/>
            <pc:sldMk cId="335391689" sldId="2134804348"/>
            <ac:spMk id="25" creationId="{2E356564-3550-4800-944D-BEBA2884DF10}"/>
          </ac:spMkLst>
        </pc:spChg>
        <pc:spChg chg="add del mod">
          <ac:chgData name="Mariam Daniela Tristancho Pineda (MISION TEMPORAL LTDA)" userId="a45a17f7-7950-4cb5-bfab-f5c894f959a9" providerId="ADAL" clId="{9D150B60-33B5-4A3E-8123-A67E35AA8D44}" dt="2020-07-28T14:39:32.530" v="19383" actId="478"/>
          <ac:spMkLst>
            <pc:docMk/>
            <pc:sldMk cId="335391689" sldId="2134804348"/>
            <ac:spMk id="25" creationId="{2EB099B9-D1C2-4CB6-A432-6844337B3B04}"/>
          </ac:spMkLst>
        </pc:spChg>
        <pc:spChg chg="add del mod">
          <ac:chgData name="Mariam Daniela Tristancho Pineda (MISION TEMPORAL LTDA)" userId="a45a17f7-7950-4cb5-bfab-f5c894f959a9" providerId="ADAL" clId="{9D150B60-33B5-4A3E-8123-A67E35AA8D44}" dt="2020-07-28T14:38:24.429" v="19380" actId="478"/>
          <ac:spMkLst>
            <pc:docMk/>
            <pc:sldMk cId="335391689" sldId="2134804348"/>
            <ac:spMk id="26" creationId="{29930A4C-BF5B-439B-AFA4-026C2500A20F}"/>
          </ac:spMkLst>
        </pc:spChg>
        <pc:spChg chg="del mod">
          <ac:chgData name="Mariam Daniela Tristancho Pineda (MISION TEMPORAL LTDA)" userId="a45a17f7-7950-4cb5-bfab-f5c894f959a9" providerId="ADAL" clId="{9D150B60-33B5-4A3E-8123-A67E35AA8D44}" dt="2020-07-28T01:30:04.576" v="18018" actId="478"/>
          <ac:spMkLst>
            <pc:docMk/>
            <pc:sldMk cId="335391689" sldId="2134804348"/>
            <ac:spMk id="26" creationId="{617D6CD1-124E-4C15-A7E7-80D2412020E8}"/>
          </ac:spMkLst>
        </pc:spChg>
        <pc:spChg chg="del mod">
          <ac:chgData name="Mariam Daniela Tristancho Pineda (MISION TEMPORAL LTDA)" userId="a45a17f7-7950-4cb5-bfab-f5c894f959a9" providerId="ADAL" clId="{9D150B60-33B5-4A3E-8123-A67E35AA8D44}" dt="2020-07-28T01:30:04.576" v="18018" actId="478"/>
          <ac:spMkLst>
            <pc:docMk/>
            <pc:sldMk cId="335391689" sldId="2134804348"/>
            <ac:spMk id="27" creationId="{7776E912-DE06-47B0-8605-89EA6C171B15}"/>
          </ac:spMkLst>
        </pc:spChg>
        <pc:spChg chg="add mod ord">
          <ac:chgData name="Mariam Daniela Tristancho Pineda (MISION TEMPORAL LTDA)" userId="a45a17f7-7950-4cb5-bfab-f5c894f959a9" providerId="ADAL" clId="{9D150B60-33B5-4A3E-8123-A67E35AA8D44}" dt="2020-07-28T14:58:31.919" v="19880" actId="1038"/>
          <ac:spMkLst>
            <pc:docMk/>
            <pc:sldMk cId="335391689" sldId="2134804348"/>
            <ac:spMk id="27" creationId="{7F32EAE5-7D23-41BF-B948-664D0797EFC2}"/>
          </ac:spMkLst>
        </pc:spChg>
        <pc:spChg chg="add mod">
          <ac:chgData name="Mariam Daniela Tristancho Pineda (MISION TEMPORAL LTDA)" userId="a45a17f7-7950-4cb5-bfab-f5c894f959a9" providerId="ADAL" clId="{9D150B60-33B5-4A3E-8123-A67E35AA8D44}" dt="2020-07-28T14:58:31.919" v="19880" actId="1038"/>
          <ac:spMkLst>
            <pc:docMk/>
            <pc:sldMk cId="335391689" sldId="2134804348"/>
            <ac:spMk id="28" creationId="{0A0468CC-6255-4B2C-9972-B59508A81602}"/>
          </ac:spMkLst>
        </pc:spChg>
        <pc:spChg chg="del mod">
          <ac:chgData name="Mariam Daniela Tristancho Pineda (MISION TEMPORAL LTDA)" userId="a45a17f7-7950-4cb5-bfab-f5c894f959a9" providerId="ADAL" clId="{9D150B60-33B5-4A3E-8123-A67E35AA8D44}" dt="2020-07-28T01:30:04.576" v="18018" actId="478"/>
          <ac:spMkLst>
            <pc:docMk/>
            <pc:sldMk cId="335391689" sldId="2134804348"/>
            <ac:spMk id="28" creationId="{21D868A6-FE71-478B-8FD0-57CA5B91F75D}"/>
          </ac:spMkLst>
        </pc:spChg>
        <pc:spChg chg="del mod">
          <ac:chgData name="Mariam Daniela Tristancho Pineda (MISION TEMPORAL LTDA)" userId="a45a17f7-7950-4cb5-bfab-f5c894f959a9" providerId="ADAL" clId="{9D150B60-33B5-4A3E-8123-A67E35AA8D44}" dt="2020-07-28T13:01:22.051" v="18497" actId="478"/>
          <ac:spMkLst>
            <pc:docMk/>
            <pc:sldMk cId="335391689" sldId="2134804348"/>
            <ac:spMk id="29" creationId="{46F67329-EAA2-4B09-AD5B-91FE70391A81}"/>
          </ac:spMkLst>
        </pc:spChg>
        <pc:spChg chg="mod ord">
          <ac:chgData name="Mariam Daniela Tristancho Pineda (MISION TEMPORAL LTDA)" userId="a45a17f7-7950-4cb5-bfab-f5c894f959a9" providerId="ADAL" clId="{9D150B60-33B5-4A3E-8123-A67E35AA8D44}" dt="2020-07-28T14:58:21.890" v="19839" actId="1038"/>
          <ac:spMkLst>
            <pc:docMk/>
            <pc:sldMk cId="335391689" sldId="2134804348"/>
            <ac:spMk id="30" creationId="{5BF08848-45AE-451C-A99D-7322CF796742}"/>
          </ac:spMkLst>
        </pc:spChg>
        <pc:spChg chg="del mod">
          <ac:chgData name="Mariam Daniela Tristancho Pineda (MISION TEMPORAL LTDA)" userId="a45a17f7-7950-4cb5-bfab-f5c894f959a9" providerId="ADAL" clId="{9D150B60-33B5-4A3E-8123-A67E35AA8D44}" dt="2020-07-28T01:30:04.576" v="18018" actId="478"/>
          <ac:spMkLst>
            <pc:docMk/>
            <pc:sldMk cId="335391689" sldId="2134804348"/>
            <ac:spMk id="31" creationId="{8FC9BB00-75DF-48A3-9F2F-B00C04089B14}"/>
          </ac:spMkLst>
        </pc:spChg>
        <pc:spChg chg="add del mod">
          <ac:chgData name="Mariam Daniela Tristancho Pineda (MISION TEMPORAL LTDA)" userId="a45a17f7-7950-4cb5-bfab-f5c894f959a9" providerId="ADAL" clId="{9D150B60-33B5-4A3E-8123-A67E35AA8D44}" dt="2020-07-28T14:58:02.681" v="19820" actId="478"/>
          <ac:spMkLst>
            <pc:docMk/>
            <pc:sldMk cId="335391689" sldId="2134804348"/>
            <ac:spMk id="31" creationId="{B952288C-44E8-4F88-AC36-56C01FDA3961}"/>
          </ac:spMkLst>
        </pc:spChg>
        <pc:spChg chg="add del mod">
          <ac:chgData name="Mariam Daniela Tristancho Pineda (MISION TEMPORAL LTDA)" userId="a45a17f7-7950-4cb5-bfab-f5c894f959a9" providerId="ADAL" clId="{9D150B60-33B5-4A3E-8123-A67E35AA8D44}" dt="2020-07-28T14:58:02.081" v="19819" actId="478"/>
          <ac:spMkLst>
            <pc:docMk/>
            <pc:sldMk cId="335391689" sldId="2134804348"/>
            <ac:spMk id="32" creationId="{ADDB0103-203D-4BF7-B5F6-AAD932084A7A}"/>
          </ac:spMkLst>
        </pc:spChg>
        <pc:spChg chg="del mod">
          <ac:chgData name="Mariam Daniela Tristancho Pineda (MISION TEMPORAL LTDA)" userId="a45a17f7-7950-4cb5-bfab-f5c894f959a9" providerId="ADAL" clId="{9D150B60-33B5-4A3E-8123-A67E35AA8D44}" dt="2020-07-28T01:30:04.576" v="18018" actId="478"/>
          <ac:spMkLst>
            <pc:docMk/>
            <pc:sldMk cId="335391689" sldId="2134804348"/>
            <ac:spMk id="32" creationId="{DA499184-DBD6-4E08-B1D0-F2F62150E2E4}"/>
          </ac:spMkLst>
        </pc:spChg>
        <pc:spChg chg="add mod ord">
          <ac:chgData name="Mariam Daniela Tristancho Pineda (MISION TEMPORAL LTDA)" userId="a45a17f7-7950-4cb5-bfab-f5c894f959a9" providerId="ADAL" clId="{9D150B60-33B5-4A3E-8123-A67E35AA8D44}" dt="2020-07-28T14:58:34.420" v="19888" actId="1038"/>
          <ac:spMkLst>
            <pc:docMk/>
            <pc:sldMk cId="335391689" sldId="2134804348"/>
            <ac:spMk id="33" creationId="{930E8CEC-501E-450A-8333-EE9FBB1D92FE}"/>
          </ac:spMkLst>
        </pc:spChg>
        <pc:spChg chg="del mod">
          <ac:chgData name="Mariam Daniela Tristancho Pineda (MISION TEMPORAL LTDA)" userId="a45a17f7-7950-4cb5-bfab-f5c894f959a9" providerId="ADAL" clId="{9D150B60-33B5-4A3E-8123-A67E35AA8D44}" dt="2020-07-28T01:30:04.576" v="18018" actId="478"/>
          <ac:spMkLst>
            <pc:docMk/>
            <pc:sldMk cId="335391689" sldId="2134804348"/>
            <ac:spMk id="33" creationId="{BB0B2CF6-C366-401B-9566-C9A605ED7428}"/>
          </ac:spMkLst>
        </pc:spChg>
        <pc:spChg chg="mod">
          <ac:chgData name="Mariam Daniela Tristancho Pineda (MISION TEMPORAL LTDA)" userId="a45a17f7-7950-4cb5-bfab-f5c894f959a9" providerId="ADAL" clId="{9D150B60-33B5-4A3E-8123-A67E35AA8D44}" dt="2020-07-28T14:47:24.794" v="19588" actId="1037"/>
          <ac:spMkLst>
            <pc:docMk/>
            <pc:sldMk cId="335391689" sldId="2134804348"/>
            <ac:spMk id="34" creationId="{2858742F-5FD0-4B7E-9334-0D1DB2CF525E}"/>
          </ac:spMkLst>
        </pc:spChg>
        <pc:spChg chg="del mod">
          <ac:chgData name="Mariam Daniela Tristancho Pineda (MISION TEMPORAL LTDA)" userId="a45a17f7-7950-4cb5-bfab-f5c894f959a9" providerId="ADAL" clId="{9D150B60-33B5-4A3E-8123-A67E35AA8D44}" dt="2020-07-28T01:30:04.576" v="18018" actId="478"/>
          <ac:spMkLst>
            <pc:docMk/>
            <pc:sldMk cId="335391689" sldId="2134804348"/>
            <ac:spMk id="35" creationId="{0E85A5F7-D781-4563-A3B3-313B070319DC}"/>
          </ac:spMkLst>
        </pc:spChg>
        <pc:spChg chg="add mod">
          <ac:chgData name="Mariam Daniela Tristancho Pineda (MISION TEMPORAL LTDA)" userId="a45a17f7-7950-4cb5-bfab-f5c894f959a9" providerId="ADAL" clId="{9D150B60-33B5-4A3E-8123-A67E35AA8D44}" dt="2020-07-28T14:58:34.420" v="19888" actId="1038"/>
          <ac:spMkLst>
            <pc:docMk/>
            <pc:sldMk cId="335391689" sldId="2134804348"/>
            <ac:spMk id="35" creationId="{370A0884-B0D9-4B7C-828E-66DA080283A1}"/>
          </ac:spMkLst>
        </pc:spChg>
        <pc:spChg chg="mod ord">
          <ac:chgData name="Mariam Daniela Tristancho Pineda (MISION TEMPORAL LTDA)" userId="a45a17f7-7950-4cb5-bfab-f5c894f959a9" providerId="ADAL" clId="{9D150B60-33B5-4A3E-8123-A67E35AA8D44}" dt="2020-07-28T14:58:29.400" v="19874" actId="1037"/>
          <ac:spMkLst>
            <pc:docMk/>
            <pc:sldMk cId="335391689" sldId="2134804348"/>
            <ac:spMk id="36" creationId="{80930BAD-CC8E-47DD-9473-5B8864A2680A}"/>
          </ac:spMkLst>
        </pc:spChg>
        <pc:spChg chg="del mod">
          <ac:chgData name="Mariam Daniela Tristancho Pineda (MISION TEMPORAL LTDA)" userId="a45a17f7-7950-4cb5-bfab-f5c894f959a9" providerId="ADAL" clId="{9D150B60-33B5-4A3E-8123-A67E35AA8D44}" dt="2020-07-28T01:30:04.576" v="18018" actId="478"/>
          <ac:spMkLst>
            <pc:docMk/>
            <pc:sldMk cId="335391689" sldId="2134804348"/>
            <ac:spMk id="37" creationId="{0D48E18A-A10E-4682-B14A-1326B0F00736}"/>
          </ac:spMkLst>
        </pc:spChg>
        <pc:spChg chg="add mod">
          <ac:chgData name="Mariam Daniela Tristancho Pineda (MISION TEMPORAL LTDA)" userId="a45a17f7-7950-4cb5-bfab-f5c894f959a9" providerId="ADAL" clId="{9D150B60-33B5-4A3E-8123-A67E35AA8D44}" dt="2020-07-28T14:58:34.420" v="19888" actId="1038"/>
          <ac:spMkLst>
            <pc:docMk/>
            <pc:sldMk cId="335391689" sldId="2134804348"/>
            <ac:spMk id="37" creationId="{B42AA6ED-55EB-4C68-AB89-1C98B4667EEE}"/>
          </ac:spMkLst>
        </pc:spChg>
        <pc:spChg chg="del mod">
          <ac:chgData name="Mariam Daniela Tristancho Pineda (MISION TEMPORAL LTDA)" userId="a45a17f7-7950-4cb5-bfab-f5c894f959a9" providerId="ADAL" clId="{9D150B60-33B5-4A3E-8123-A67E35AA8D44}" dt="2020-07-28T01:30:04.576" v="18018" actId="478"/>
          <ac:spMkLst>
            <pc:docMk/>
            <pc:sldMk cId="335391689" sldId="2134804348"/>
            <ac:spMk id="38" creationId="{62C85554-BA76-486C-A762-2619103FEC1D}"/>
          </ac:spMkLst>
        </pc:spChg>
        <pc:spChg chg="add mod">
          <ac:chgData name="Mariam Daniela Tristancho Pineda (MISION TEMPORAL LTDA)" userId="a45a17f7-7950-4cb5-bfab-f5c894f959a9" providerId="ADAL" clId="{9D150B60-33B5-4A3E-8123-A67E35AA8D44}" dt="2020-07-28T14:58:34.420" v="19888" actId="1038"/>
          <ac:spMkLst>
            <pc:docMk/>
            <pc:sldMk cId="335391689" sldId="2134804348"/>
            <ac:spMk id="38" creationId="{6F153D85-C1B3-4812-B661-65B2B287C920}"/>
          </ac:spMkLst>
        </pc:spChg>
        <pc:spChg chg="add del mod">
          <ac:chgData name="Mariam Daniela Tristancho Pineda (MISION TEMPORAL LTDA)" userId="a45a17f7-7950-4cb5-bfab-f5c894f959a9" providerId="ADAL" clId="{9D150B60-33B5-4A3E-8123-A67E35AA8D44}" dt="2020-07-28T14:39:32.530" v="19383" actId="478"/>
          <ac:spMkLst>
            <pc:docMk/>
            <pc:sldMk cId="335391689" sldId="2134804348"/>
            <ac:spMk id="39" creationId="{017CCD0D-A155-4639-88E9-52E70266C452}"/>
          </ac:spMkLst>
        </pc:spChg>
        <pc:spChg chg="del mod">
          <ac:chgData name="Mariam Daniela Tristancho Pineda (MISION TEMPORAL LTDA)" userId="a45a17f7-7950-4cb5-bfab-f5c894f959a9" providerId="ADAL" clId="{9D150B60-33B5-4A3E-8123-A67E35AA8D44}" dt="2020-07-28T01:30:04.576" v="18018" actId="478"/>
          <ac:spMkLst>
            <pc:docMk/>
            <pc:sldMk cId="335391689" sldId="2134804348"/>
            <ac:spMk id="39" creationId="{1FFCCFD3-0CE2-4FB0-B843-11168206DF22}"/>
          </ac:spMkLst>
        </pc:spChg>
        <pc:spChg chg="mod">
          <ac:chgData name="Mariam Daniela Tristancho Pineda (MISION TEMPORAL LTDA)" userId="a45a17f7-7950-4cb5-bfab-f5c894f959a9" providerId="ADAL" clId="{9D150B60-33B5-4A3E-8123-A67E35AA8D44}" dt="2020-07-28T14:58:29.400" v="19874" actId="1037"/>
          <ac:spMkLst>
            <pc:docMk/>
            <pc:sldMk cId="335391689" sldId="2134804348"/>
            <ac:spMk id="40" creationId="{F9005A44-E530-4972-BBE0-B3ED015A6ED4}"/>
          </ac:spMkLst>
        </pc:spChg>
        <pc:spChg chg="del mod ord">
          <ac:chgData name="Mariam Daniela Tristancho Pineda (MISION TEMPORAL LTDA)" userId="a45a17f7-7950-4cb5-bfab-f5c894f959a9" providerId="ADAL" clId="{9D150B60-33B5-4A3E-8123-A67E35AA8D44}" dt="2020-07-28T14:56:51.499" v="19785" actId="478"/>
          <ac:spMkLst>
            <pc:docMk/>
            <pc:sldMk cId="335391689" sldId="2134804348"/>
            <ac:spMk id="41" creationId="{A6323A01-8860-4B1B-BDAF-6B75ABC06BEC}"/>
          </ac:spMkLst>
        </pc:spChg>
        <pc:spChg chg="del mod">
          <ac:chgData name="Mariam Daniela Tristancho Pineda (MISION TEMPORAL LTDA)" userId="a45a17f7-7950-4cb5-bfab-f5c894f959a9" providerId="ADAL" clId="{9D150B60-33B5-4A3E-8123-A67E35AA8D44}" dt="2020-07-28T14:44:51.995" v="19451" actId="478"/>
          <ac:spMkLst>
            <pc:docMk/>
            <pc:sldMk cId="335391689" sldId="2134804348"/>
            <ac:spMk id="42" creationId="{4101169F-B3FD-425D-90F0-D9CCBE1BF3D2}"/>
          </ac:spMkLst>
        </pc:spChg>
        <pc:spChg chg="del mod">
          <ac:chgData name="Mariam Daniela Tristancho Pineda (MISION TEMPORAL LTDA)" userId="a45a17f7-7950-4cb5-bfab-f5c894f959a9" providerId="ADAL" clId="{9D150B60-33B5-4A3E-8123-A67E35AA8D44}" dt="2020-07-28T14:44:51.995" v="19451" actId="478"/>
          <ac:spMkLst>
            <pc:docMk/>
            <pc:sldMk cId="335391689" sldId="2134804348"/>
            <ac:spMk id="43" creationId="{34452114-CA9E-44D1-9755-DF275F1BF2A9}"/>
          </ac:spMkLst>
        </pc:spChg>
        <pc:spChg chg="mod">
          <ac:chgData name="Mariam Daniela Tristancho Pineda (MISION TEMPORAL LTDA)" userId="a45a17f7-7950-4cb5-bfab-f5c894f959a9" providerId="ADAL" clId="{9D150B60-33B5-4A3E-8123-A67E35AA8D44}" dt="2020-07-28T14:58:21.890" v="19839" actId="1038"/>
          <ac:spMkLst>
            <pc:docMk/>
            <pc:sldMk cId="335391689" sldId="2134804348"/>
            <ac:spMk id="44" creationId="{4EFA847F-1C48-4D9F-B34E-65102CE660F2}"/>
          </ac:spMkLst>
        </pc:spChg>
        <pc:spChg chg="del mod">
          <ac:chgData name="Mariam Daniela Tristancho Pineda (MISION TEMPORAL LTDA)" userId="a45a17f7-7950-4cb5-bfab-f5c894f959a9" providerId="ADAL" clId="{9D150B60-33B5-4A3E-8123-A67E35AA8D44}" dt="2020-07-28T01:30:04.576" v="18018" actId="478"/>
          <ac:spMkLst>
            <pc:docMk/>
            <pc:sldMk cId="335391689" sldId="2134804348"/>
            <ac:spMk id="45" creationId="{CA313353-BBC4-4C5B-B84F-DD1F14B41200}"/>
          </ac:spMkLst>
        </pc:spChg>
        <pc:spChg chg="add mod">
          <ac:chgData name="Mariam Daniela Tristancho Pineda (MISION TEMPORAL LTDA)" userId="a45a17f7-7950-4cb5-bfab-f5c894f959a9" providerId="ADAL" clId="{9D150B60-33B5-4A3E-8123-A67E35AA8D44}" dt="2020-07-28T14:56:31.605" v="19778" actId="1036"/>
          <ac:spMkLst>
            <pc:docMk/>
            <pc:sldMk cId="335391689" sldId="2134804348"/>
            <ac:spMk id="45" creationId="{FDAC7417-BED0-4FA7-A135-61AE3C3597AE}"/>
          </ac:spMkLst>
        </pc:spChg>
        <pc:spChg chg="add mod ord">
          <ac:chgData name="Mariam Daniela Tristancho Pineda (MISION TEMPORAL LTDA)" userId="a45a17f7-7950-4cb5-bfab-f5c894f959a9" providerId="ADAL" clId="{9D150B60-33B5-4A3E-8123-A67E35AA8D44}" dt="2020-07-28T14:53:15.593" v="19703" actId="108"/>
          <ac:spMkLst>
            <pc:docMk/>
            <pc:sldMk cId="335391689" sldId="2134804348"/>
            <ac:spMk id="46" creationId="{51140379-3346-4002-94A5-9E19B087B3C5}"/>
          </ac:spMkLst>
        </pc:spChg>
        <pc:spChg chg="add del mod">
          <ac:chgData name="Mariam Daniela Tristancho Pineda (MISION TEMPORAL LTDA)" userId="a45a17f7-7950-4cb5-bfab-f5c894f959a9" providerId="ADAL" clId="{9D150B60-33B5-4A3E-8123-A67E35AA8D44}" dt="2020-07-28T14:47:17.387" v="19542" actId="478"/>
          <ac:spMkLst>
            <pc:docMk/>
            <pc:sldMk cId="335391689" sldId="2134804348"/>
            <ac:spMk id="47" creationId="{F6D57CCE-3447-4D38-973C-E603993426F7}"/>
          </ac:spMkLst>
        </pc:spChg>
        <pc:spChg chg="add mod">
          <ac:chgData name="Mariam Daniela Tristancho Pineda (MISION TEMPORAL LTDA)" userId="a45a17f7-7950-4cb5-bfab-f5c894f959a9" providerId="ADAL" clId="{9D150B60-33B5-4A3E-8123-A67E35AA8D44}" dt="2020-07-28T14:49:58.987" v="19679" actId="555"/>
          <ac:spMkLst>
            <pc:docMk/>
            <pc:sldMk cId="335391689" sldId="2134804348"/>
            <ac:spMk id="48" creationId="{D4A054AF-B99F-463D-9AAF-BC2533A6EA5C}"/>
          </ac:spMkLst>
        </pc:spChg>
        <pc:spChg chg="add mod">
          <ac:chgData name="Mariam Daniela Tristancho Pineda (MISION TEMPORAL LTDA)" userId="a45a17f7-7950-4cb5-bfab-f5c894f959a9" providerId="ADAL" clId="{9D150B60-33B5-4A3E-8123-A67E35AA8D44}" dt="2020-07-28T14:58:16.140" v="19833" actId="1038"/>
          <ac:spMkLst>
            <pc:docMk/>
            <pc:sldMk cId="335391689" sldId="2134804348"/>
            <ac:spMk id="49" creationId="{BC0989A0-F438-469C-B078-7A0539BAE3C2}"/>
          </ac:spMkLst>
        </pc:spChg>
        <pc:spChg chg="add mod">
          <ac:chgData name="Mariam Daniela Tristancho Pineda (MISION TEMPORAL LTDA)" userId="a45a17f7-7950-4cb5-bfab-f5c894f959a9" providerId="ADAL" clId="{9D150B60-33B5-4A3E-8123-A67E35AA8D44}" dt="2020-07-28T14:58:16.140" v="19833" actId="1038"/>
          <ac:spMkLst>
            <pc:docMk/>
            <pc:sldMk cId="335391689" sldId="2134804348"/>
            <ac:spMk id="50" creationId="{06921F70-A23A-4234-AEF0-735C4590F318}"/>
          </ac:spMkLst>
        </pc:spChg>
        <pc:spChg chg="add mod">
          <ac:chgData name="Mariam Daniela Tristancho Pineda (MISION TEMPORAL LTDA)" userId="a45a17f7-7950-4cb5-bfab-f5c894f959a9" providerId="ADAL" clId="{9D150B60-33B5-4A3E-8123-A67E35AA8D44}" dt="2020-07-28T14:58:29.400" v="19874" actId="1037"/>
          <ac:spMkLst>
            <pc:docMk/>
            <pc:sldMk cId="335391689" sldId="2134804348"/>
            <ac:spMk id="51" creationId="{A5998CEB-AC3A-43B3-8AFE-FC1F90E2C6A6}"/>
          </ac:spMkLst>
        </pc:spChg>
        <pc:spChg chg="add mod ord">
          <ac:chgData name="Mariam Daniela Tristancho Pineda (MISION TEMPORAL LTDA)" userId="a45a17f7-7950-4cb5-bfab-f5c894f959a9" providerId="ADAL" clId="{9D150B60-33B5-4A3E-8123-A67E35AA8D44}" dt="2020-07-28T14:58:21.890" v="19839" actId="1038"/>
          <ac:spMkLst>
            <pc:docMk/>
            <pc:sldMk cId="335391689" sldId="2134804348"/>
            <ac:spMk id="52" creationId="{D9D4C4FD-C516-42D8-9705-F75D5FE24DFE}"/>
          </ac:spMkLst>
        </pc:spChg>
        <pc:spChg chg="add mod ord">
          <ac:chgData name="Mariam Daniela Tristancho Pineda (MISION TEMPORAL LTDA)" userId="a45a17f7-7950-4cb5-bfab-f5c894f959a9" providerId="ADAL" clId="{9D150B60-33B5-4A3E-8123-A67E35AA8D44}" dt="2020-07-28T14:58:21.890" v="19839" actId="1038"/>
          <ac:spMkLst>
            <pc:docMk/>
            <pc:sldMk cId="335391689" sldId="2134804348"/>
            <ac:spMk id="53" creationId="{8593FFF2-44E4-496E-BE2E-AF43086D7402}"/>
          </ac:spMkLst>
        </pc:spChg>
        <pc:spChg chg="mod">
          <ac:chgData name="Mariam Daniela Tristancho Pineda (MISION TEMPORAL LTDA)" userId="a45a17f7-7950-4cb5-bfab-f5c894f959a9" providerId="ADAL" clId="{9D150B60-33B5-4A3E-8123-A67E35AA8D44}" dt="2020-07-28T14:58:21.890" v="19839" actId="1038"/>
          <ac:spMkLst>
            <pc:docMk/>
            <pc:sldMk cId="335391689" sldId="2134804348"/>
            <ac:spMk id="60" creationId="{590D738E-748E-456C-AEEB-CF74A81C8AA1}"/>
          </ac:spMkLst>
        </pc:spChg>
        <pc:spChg chg="del mod">
          <ac:chgData name="Mariam Daniela Tristancho Pineda (MISION TEMPORAL LTDA)" userId="a45a17f7-7950-4cb5-bfab-f5c894f959a9" providerId="ADAL" clId="{9D150B60-33B5-4A3E-8123-A67E35AA8D44}" dt="2020-07-28T14:49:26.001" v="19675" actId="478"/>
          <ac:spMkLst>
            <pc:docMk/>
            <pc:sldMk cId="335391689" sldId="2134804348"/>
            <ac:spMk id="62" creationId="{16213BFD-A1AA-459A-B882-81AFD08AECCC}"/>
          </ac:spMkLst>
        </pc:spChg>
        <pc:spChg chg="del mod">
          <ac:chgData name="Mariam Daniela Tristancho Pineda (MISION TEMPORAL LTDA)" userId="a45a17f7-7950-4cb5-bfab-f5c894f959a9" providerId="ADAL" clId="{9D150B60-33B5-4A3E-8123-A67E35AA8D44}" dt="2020-07-28T13:12:06.501" v="18656" actId="21"/>
          <ac:spMkLst>
            <pc:docMk/>
            <pc:sldMk cId="335391689" sldId="2134804348"/>
            <ac:spMk id="64" creationId="{DD46A893-847F-4C21-B3C9-CE11CD78666B}"/>
          </ac:spMkLst>
        </pc:spChg>
        <pc:spChg chg="mod">
          <ac:chgData name="Mariam Daniela Tristancho Pineda (MISION TEMPORAL LTDA)" userId="a45a17f7-7950-4cb5-bfab-f5c894f959a9" providerId="ADAL" clId="{9D150B60-33B5-4A3E-8123-A67E35AA8D44}" dt="2020-07-28T14:47:24.794" v="19588" actId="1037"/>
          <ac:spMkLst>
            <pc:docMk/>
            <pc:sldMk cId="335391689" sldId="2134804348"/>
            <ac:spMk id="66" creationId="{85A29B39-6312-442A-AFE1-79138F45D053}"/>
          </ac:spMkLst>
        </pc:spChg>
        <pc:spChg chg="mod">
          <ac:chgData name="Mariam Daniela Tristancho Pineda (MISION TEMPORAL LTDA)" userId="a45a17f7-7950-4cb5-bfab-f5c894f959a9" providerId="ADAL" clId="{9D150B60-33B5-4A3E-8123-A67E35AA8D44}" dt="2020-07-28T14:58:21.890" v="19839" actId="1038"/>
          <ac:spMkLst>
            <pc:docMk/>
            <pc:sldMk cId="335391689" sldId="2134804348"/>
            <ac:spMk id="68" creationId="{4EF4C980-19F2-4264-BE5C-AA28E61C7265}"/>
          </ac:spMkLst>
        </pc:spChg>
        <pc:spChg chg="mod">
          <ac:chgData name="Mariam Daniela Tristancho Pineda (MISION TEMPORAL LTDA)" userId="a45a17f7-7950-4cb5-bfab-f5c894f959a9" providerId="ADAL" clId="{9D150B60-33B5-4A3E-8123-A67E35AA8D44}" dt="2020-07-28T14:56:31.605" v="19778" actId="1036"/>
          <ac:spMkLst>
            <pc:docMk/>
            <pc:sldMk cId="335391689" sldId="2134804348"/>
            <ac:spMk id="69" creationId="{38D18292-C467-4CD3-890E-670905EDE7F1}"/>
          </ac:spMkLst>
        </pc:spChg>
        <pc:spChg chg="mod">
          <ac:chgData name="Mariam Daniela Tristancho Pineda (MISION TEMPORAL LTDA)" userId="a45a17f7-7950-4cb5-bfab-f5c894f959a9" providerId="ADAL" clId="{9D150B60-33B5-4A3E-8123-A67E35AA8D44}" dt="2020-07-28T14:58:29.400" v="19874" actId="1037"/>
          <ac:spMkLst>
            <pc:docMk/>
            <pc:sldMk cId="335391689" sldId="2134804348"/>
            <ac:spMk id="70" creationId="{228128D6-7178-4610-A82E-598F630C4F9A}"/>
          </ac:spMkLst>
        </pc:spChg>
        <pc:spChg chg="del mod">
          <ac:chgData name="Mariam Daniela Tristancho Pineda (MISION TEMPORAL LTDA)" userId="a45a17f7-7950-4cb5-bfab-f5c894f959a9" providerId="ADAL" clId="{9D150B60-33B5-4A3E-8123-A67E35AA8D44}" dt="2020-07-28T14:44:51.995" v="19451" actId="478"/>
          <ac:spMkLst>
            <pc:docMk/>
            <pc:sldMk cId="335391689" sldId="2134804348"/>
            <ac:spMk id="72" creationId="{E6ACBC4D-0F52-4BE1-A867-525E7D039259}"/>
          </ac:spMkLst>
        </pc:spChg>
        <pc:spChg chg="mod">
          <ac:chgData name="Mariam Daniela Tristancho Pineda (MISION TEMPORAL LTDA)" userId="a45a17f7-7950-4cb5-bfab-f5c894f959a9" providerId="ADAL" clId="{9D150B60-33B5-4A3E-8123-A67E35AA8D44}" dt="2020-07-28T14:58:05.859" v="19821" actId="1076"/>
          <ac:spMkLst>
            <pc:docMk/>
            <pc:sldMk cId="335391689" sldId="2134804348"/>
            <ac:spMk id="73" creationId="{FD23D240-7BB7-4D74-9842-9A4BFE5CAB08}"/>
          </ac:spMkLst>
        </pc:spChg>
        <pc:spChg chg="mod">
          <ac:chgData name="Mariam Daniela Tristancho Pineda (MISION TEMPORAL LTDA)" userId="a45a17f7-7950-4cb5-bfab-f5c894f959a9" providerId="ADAL" clId="{9D150B60-33B5-4A3E-8123-A67E35AA8D44}" dt="2020-07-28T14:56:31.605" v="19778" actId="1036"/>
          <ac:spMkLst>
            <pc:docMk/>
            <pc:sldMk cId="335391689" sldId="2134804348"/>
            <ac:spMk id="74" creationId="{D5140A26-6B24-4EF8-BA11-E02E558E1609}"/>
          </ac:spMkLst>
        </pc:spChg>
        <pc:spChg chg="mod">
          <ac:chgData name="Mariam Daniela Tristancho Pineda (MISION TEMPORAL LTDA)" userId="a45a17f7-7950-4cb5-bfab-f5c894f959a9" providerId="ADAL" clId="{9D150B60-33B5-4A3E-8123-A67E35AA8D44}" dt="2020-07-28T14:58:05.859" v="19821" actId="1076"/>
          <ac:spMkLst>
            <pc:docMk/>
            <pc:sldMk cId="335391689" sldId="2134804348"/>
            <ac:spMk id="75" creationId="{EC5A3F27-F09F-406D-862F-A6BF15171850}"/>
          </ac:spMkLst>
        </pc:spChg>
        <pc:spChg chg="del mod">
          <ac:chgData name="Mariam Daniela Tristancho Pineda (MISION TEMPORAL LTDA)" userId="a45a17f7-7950-4cb5-bfab-f5c894f959a9" providerId="ADAL" clId="{9D150B60-33B5-4A3E-8123-A67E35AA8D44}" dt="2020-07-28T14:44:51.995" v="19451" actId="478"/>
          <ac:spMkLst>
            <pc:docMk/>
            <pc:sldMk cId="335391689" sldId="2134804348"/>
            <ac:spMk id="78" creationId="{F460B3E9-213A-496A-8578-9190BAD544F3}"/>
          </ac:spMkLst>
        </pc:spChg>
        <pc:spChg chg="mod">
          <ac:chgData name="Mariam Daniela Tristancho Pineda (MISION TEMPORAL LTDA)" userId="a45a17f7-7950-4cb5-bfab-f5c894f959a9" providerId="ADAL" clId="{9D150B60-33B5-4A3E-8123-A67E35AA8D44}" dt="2020-07-28T14:58:31.919" v="19880" actId="1038"/>
          <ac:spMkLst>
            <pc:docMk/>
            <pc:sldMk cId="335391689" sldId="2134804348"/>
            <ac:spMk id="80" creationId="{18FBBB80-789C-4617-A528-93CC43F5E853}"/>
          </ac:spMkLst>
        </pc:spChg>
        <pc:spChg chg="add del mod">
          <ac:chgData name="Mariam Daniela Tristancho Pineda (MISION TEMPORAL LTDA)" userId="a45a17f7-7950-4cb5-bfab-f5c894f959a9" providerId="ADAL" clId="{9D150B60-33B5-4A3E-8123-A67E35AA8D44}" dt="2020-07-28T14:54:28.992" v="19754" actId="478"/>
          <ac:spMkLst>
            <pc:docMk/>
            <pc:sldMk cId="335391689" sldId="2134804348"/>
            <ac:spMk id="81" creationId="{98415DFC-4EEE-4343-A501-7BB6E5370E50}"/>
          </ac:spMkLst>
        </pc:spChg>
        <pc:spChg chg="mod">
          <ac:chgData name="Mariam Daniela Tristancho Pineda (MISION TEMPORAL LTDA)" userId="a45a17f7-7950-4cb5-bfab-f5c894f959a9" providerId="ADAL" clId="{9D150B60-33B5-4A3E-8123-A67E35AA8D44}" dt="2020-07-28T14:58:10.483" v="19825" actId="1037"/>
          <ac:spMkLst>
            <pc:docMk/>
            <pc:sldMk cId="335391689" sldId="2134804348"/>
            <ac:spMk id="82" creationId="{3732F2E4-0A29-43A4-B01E-2185E8950783}"/>
          </ac:spMkLst>
        </pc:spChg>
        <pc:spChg chg="add del mod">
          <ac:chgData name="Mariam Daniela Tristancho Pineda (MISION TEMPORAL LTDA)" userId="a45a17f7-7950-4cb5-bfab-f5c894f959a9" providerId="ADAL" clId="{9D150B60-33B5-4A3E-8123-A67E35AA8D44}" dt="2020-07-28T14:54:28.992" v="19754" actId="478"/>
          <ac:spMkLst>
            <pc:docMk/>
            <pc:sldMk cId="335391689" sldId="2134804348"/>
            <ac:spMk id="83" creationId="{DDE07833-7EEB-4C9D-B80C-D9402FC2C184}"/>
          </ac:spMkLst>
        </pc:spChg>
        <pc:spChg chg="add del mod">
          <ac:chgData name="Mariam Daniela Tristancho Pineda (MISION TEMPORAL LTDA)" userId="a45a17f7-7950-4cb5-bfab-f5c894f959a9" providerId="ADAL" clId="{9D150B60-33B5-4A3E-8123-A67E35AA8D44}" dt="2020-07-28T14:54:28.992" v="19754" actId="478"/>
          <ac:spMkLst>
            <pc:docMk/>
            <pc:sldMk cId="335391689" sldId="2134804348"/>
            <ac:spMk id="84" creationId="{F76D7A89-C0B1-4EC2-8002-2D2FCB04B24D}"/>
          </ac:spMkLst>
        </pc:spChg>
        <pc:spChg chg="add del mod">
          <ac:chgData name="Mariam Daniela Tristancho Pineda (MISION TEMPORAL LTDA)" userId="a45a17f7-7950-4cb5-bfab-f5c894f959a9" providerId="ADAL" clId="{9D150B60-33B5-4A3E-8123-A67E35AA8D44}" dt="2020-07-28T14:54:28.992" v="19754" actId="478"/>
          <ac:spMkLst>
            <pc:docMk/>
            <pc:sldMk cId="335391689" sldId="2134804348"/>
            <ac:spMk id="85" creationId="{1CA8FABA-D6C2-427F-9C19-39B36EE0B238}"/>
          </ac:spMkLst>
        </pc:spChg>
        <pc:spChg chg="add del mod">
          <ac:chgData name="Mariam Daniela Tristancho Pineda (MISION TEMPORAL LTDA)" userId="a45a17f7-7950-4cb5-bfab-f5c894f959a9" providerId="ADAL" clId="{9D150B60-33B5-4A3E-8123-A67E35AA8D44}" dt="2020-07-28T14:54:28.992" v="19754" actId="478"/>
          <ac:spMkLst>
            <pc:docMk/>
            <pc:sldMk cId="335391689" sldId="2134804348"/>
            <ac:spMk id="86" creationId="{01C05179-B0E5-4703-88AB-C6926359DC12}"/>
          </ac:spMkLst>
        </pc:spChg>
        <pc:spChg chg="mod">
          <ac:chgData name="Mariam Daniela Tristancho Pineda (MISION TEMPORAL LTDA)" userId="a45a17f7-7950-4cb5-bfab-f5c894f959a9" providerId="ADAL" clId="{9D150B60-33B5-4A3E-8123-A67E35AA8D44}" dt="2020-07-28T14:56:31.605" v="19778" actId="1036"/>
          <ac:spMkLst>
            <pc:docMk/>
            <pc:sldMk cId="335391689" sldId="2134804348"/>
            <ac:spMk id="88" creationId="{7973398C-2C52-4B8D-8FCE-88F4A0575383}"/>
          </ac:spMkLst>
        </pc:spChg>
        <pc:spChg chg="mod">
          <ac:chgData name="Mariam Daniela Tristancho Pineda (MISION TEMPORAL LTDA)" userId="a45a17f7-7950-4cb5-bfab-f5c894f959a9" providerId="ADAL" clId="{9D150B60-33B5-4A3E-8123-A67E35AA8D44}" dt="2020-07-28T12:50:57.608" v="18411"/>
          <ac:spMkLst>
            <pc:docMk/>
            <pc:sldMk cId="335391689" sldId="2134804348"/>
            <ac:spMk id="89" creationId="{DA060B31-2B69-42B2-A9DF-8ADB3C8DD176}"/>
          </ac:spMkLst>
        </pc:spChg>
        <pc:spChg chg="mod">
          <ac:chgData name="Mariam Daniela Tristancho Pineda (MISION TEMPORAL LTDA)" userId="a45a17f7-7950-4cb5-bfab-f5c894f959a9" providerId="ADAL" clId="{9D150B60-33B5-4A3E-8123-A67E35AA8D44}" dt="2020-07-28T13:16:05" v="18856" actId="20577"/>
          <ac:spMkLst>
            <pc:docMk/>
            <pc:sldMk cId="335391689" sldId="2134804348"/>
            <ac:spMk id="90" creationId="{1D6CD451-4A5D-4CE1-84FD-F8737ED31C40}"/>
          </ac:spMkLst>
        </pc:spChg>
        <pc:spChg chg="mod">
          <ac:chgData name="Mariam Daniela Tristancho Pineda (MISION TEMPORAL LTDA)" userId="a45a17f7-7950-4cb5-bfab-f5c894f959a9" providerId="ADAL" clId="{9D150B60-33B5-4A3E-8123-A67E35AA8D44}" dt="2020-07-28T14:56:31.605" v="19778" actId="1036"/>
          <ac:spMkLst>
            <pc:docMk/>
            <pc:sldMk cId="335391689" sldId="2134804348"/>
            <ac:spMk id="92" creationId="{FFD441DF-7C6A-48D7-996D-F60C3B04B450}"/>
          </ac:spMkLst>
        </pc:spChg>
        <pc:spChg chg="mod">
          <ac:chgData name="Mariam Daniela Tristancho Pineda (MISION TEMPORAL LTDA)" userId="a45a17f7-7950-4cb5-bfab-f5c894f959a9" providerId="ADAL" clId="{9D150B60-33B5-4A3E-8123-A67E35AA8D44}" dt="2020-07-28T13:18:20.172" v="18866" actId="20577"/>
          <ac:spMkLst>
            <pc:docMk/>
            <pc:sldMk cId="335391689" sldId="2134804348"/>
            <ac:spMk id="93" creationId="{35BCCC3F-B86F-4773-9F16-5345C74C6BB5}"/>
          </ac:spMkLst>
        </pc:spChg>
        <pc:spChg chg="mod">
          <ac:chgData name="Mariam Daniela Tristancho Pineda (MISION TEMPORAL LTDA)" userId="a45a17f7-7950-4cb5-bfab-f5c894f959a9" providerId="ADAL" clId="{9D150B60-33B5-4A3E-8123-A67E35AA8D44}" dt="2020-07-28T14:56:31.605" v="19778" actId="1036"/>
          <ac:spMkLst>
            <pc:docMk/>
            <pc:sldMk cId="335391689" sldId="2134804348"/>
            <ac:spMk id="94" creationId="{4DE4A526-D337-4C45-B9BF-7953B17E4C8C}"/>
          </ac:spMkLst>
        </pc:spChg>
        <pc:spChg chg="mod">
          <ac:chgData name="Mariam Daniela Tristancho Pineda (MISION TEMPORAL LTDA)" userId="a45a17f7-7950-4cb5-bfab-f5c894f959a9" providerId="ADAL" clId="{9D150B60-33B5-4A3E-8123-A67E35AA8D44}" dt="2020-07-28T12:50:57.608" v="18411"/>
          <ac:spMkLst>
            <pc:docMk/>
            <pc:sldMk cId="335391689" sldId="2134804348"/>
            <ac:spMk id="95" creationId="{13F3A0C7-629F-471A-A627-90CADFF3E12A}"/>
          </ac:spMkLst>
        </pc:spChg>
        <pc:spChg chg="del mod">
          <ac:chgData name="Mariam Daniela Tristancho Pineda (MISION TEMPORAL LTDA)" userId="a45a17f7-7950-4cb5-bfab-f5c894f959a9" providerId="ADAL" clId="{9D150B60-33B5-4A3E-8123-A67E35AA8D44}" dt="2020-07-28T13:12:06.501" v="18656" actId="21"/>
          <ac:spMkLst>
            <pc:docMk/>
            <pc:sldMk cId="335391689" sldId="2134804348"/>
            <ac:spMk id="97" creationId="{99300021-C267-43BD-A0F5-B3ECE622345E}"/>
          </ac:spMkLst>
        </pc:spChg>
        <pc:spChg chg="mod">
          <ac:chgData name="Mariam Daniela Tristancho Pineda (MISION TEMPORAL LTDA)" userId="a45a17f7-7950-4cb5-bfab-f5c894f959a9" providerId="ADAL" clId="{9D150B60-33B5-4A3E-8123-A67E35AA8D44}" dt="2020-07-28T12:50:57.608" v="18411"/>
          <ac:spMkLst>
            <pc:docMk/>
            <pc:sldMk cId="335391689" sldId="2134804348"/>
            <ac:spMk id="98" creationId="{DDA9CD45-1606-4AFF-8BD2-C5B6596D08C2}"/>
          </ac:spMkLst>
        </pc:spChg>
        <pc:spChg chg="mod">
          <ac:chgData name="Mariam Daniela Tristancho Pineda (MISION TEMPORAL LTDA)" userId="a45a17f7-7950-4cb5-bfab-f5c894f959a9" providerId="ADAL" clId="{9D150B60-33B5-4A3E-8123-A67E35AA8D44}" dt="2020-07-28T12:50:57.608" v="18411"/>
          <ac:spMkLst>
            <pc:docMk/>
            <pc:sldMk cId="335391689" sldId="2134804348"/>
            <ac:spMk id="99" creationId="{A0E6D9A8-A5AA-4DAA-845A-C7C34912520D}"/>
          </ac:spMkLst>
        </pc:spChg>
        <pc:spChg chg="del mod">
          <ac:chgData name="Mariam Daniela Tristancho Pineda (MISION TEMPORAL LTDA)" userId="a45a17f7-7950-4cb5-bfab-f5c894f959a9" providerId="ADAL" clId="{9D150B60-33B5-4A3E-8123-A67E35AA8D44}" dt="2020-07-28T12:49:15.540" v="18398" actId="478"/>
          <ac:spMkLst>
            <pc:docMk/>
            <pc:sldMk cId="335391689" sldId="2134804348"/>
            <ac:spMk id="100" creationId="{905942AB-5884-4A1A-AB62-3C01B5CEF502}"/>
          </ac:spMkLst>
        </pc:spChg>
        <pc:spChg chg="mod">
          <ac:chgData name="Mariam Daniela Tristancho Pineda (MISION TEMPORAL LTDA)" userId="a45a17f7-7950-4cb5-bfab-f5c894f959a9" providerId="ADAL" clId="{9D150B60-33B5-4A3E-8123-A67E35AA8D44}" dt="2020-07-28T12:50:57.608" v="18411"/>
          <ac:spMkLst>
            <pc:docMk/>
            <pc:sldMk cId="335391689" sldId="2134804348"/>
            <ac:spMk id="102" creationId="{3D5F0861-6ED6-4AD5-A924-51683DD17E13}"/>
          </ac:spMkLst>
        </pc:spChg>
        <pc:spChg chg="mod">
          <ac:chgData name="Mariam Daniela Tristancho Pineda (MISION TEMPORAL LTDA)" userId="a45a17f7-7950-4cb5-bfab-f5c894f959a9" providerId="ADAL" clId="{9D150B60-33B5-4A3E-8123-A67E35AA8D44}" dt="2020-07-28T13:11:29.229" v="18655" actId="20577"/>
          <ac:spMkLst>
            <pc:docMk/>
            <pc:sldMk cId="335391689" sldId="2134804348"/>
            <ac:spMk id="103" creationId="{5AB2506A-4DDB-4C7E-969B-6E0BFA9BBC74}"/>
          </ac:spMkLst>
        </pc:spChg>
        <pc:spChg chg="mod">
          <ac:chgData name="Mariam Daniela Tristancho Pineda (MISION TEMPORAL LTDA)" userId="a45a17f7-7950-4cb5-bfab-f5c894f959a9" providerId="ADAL" clId="{9D150B60-33B5-4A3E-8123-A67E35AA8D44}" dt="2020-07-28T12:50:57.608" v="18411"/>
          <ac:spMkLst>
            <pc:docMk/>
            <pc:sldMk cId="335391689" sldId="2134804348"/>
            <ac:spMk id="105" creationId="{554398F1-A08A-456B-887B-DCC75A85645D}"/>
          </ac:spMkLst>
        </pc:spChg>
        <pc:spChg chg="mod">
          <ac:chgData name="Mariam Daniela Tristancho Pineda (MISION TEMPORAL LTDA)" userId="a45a17f7-7950-4cb5-bfab-f5c894f959a9" providerId="ADAL" clId="{9D150B60-33B5-4A3E-8123-A67E35AA8D44}" dt="2020-07-28T12:50:57.608" v="18411"/>
          <ac:spMkLst>
            <pc:docMk/>
            <pc:sldMk cId="335391689" sldId="2134804348"/>
            <ac:spMk id="106" creationId="{DE0C37B6-245A-4791-BE76-B088CDA16277}"/>
          </ac:spMkLst>
        </pc:spChg>
        <pc:spChg chg="mod">
          <ac:chgData name="Mariam Daniela Tristancho Pineda (MISION TEMPORAL LTDA)" userId="a45a17f7-7950-4cb5-bfab-f5c894f959a9" providerId="ADAL" clId="{9D150B60-33B5-4A3E-8123-A67E35AA8D44}" dt="2020-07-28T12:50:57.608" v="18411"/>
          <ac:spMkLst>
            <pc:docMk/>
            <pc:sldMk cId="335391689" sldId="2134804348"/>
            <ac:spMk id="108" creationId="{5327C6DF-5D13-49C3-9052-8BC2A3F50BCB}"/>
          </ac:spMkLst>
        </pc:spChg>
        <pc:spChg chg="mod">
          <ac:chgData name="Mariam Daniela Tristancho Pineda (MISION TEMPORAL LTDA)" userId="a45a17f7-7950-4cb5-bfab-f5c894f959a9" providerId="ADAL" clId="{9D150B60-33B5-4A3E-8123-A67E35AA8D44}" dt="2020-07-28T13:03:43.567" v="18533" actId="1035"/>
          <ac:spMkLst>
            <pc:docMk/>
            <pc:sldMk cId="335391689" sldId="2134804348"/>
            <ac:spMk id="109" creationId="{967BC089-2D5F-4761-BEEE-D7145F5A8A78}"/>
          </ac:spMkLst>
        </pc:spChg>
        <pc:spChg chg="mod">
          <ac:chgData name="Mariam Daniela Tristancho Pineda (MISION TEMPORAL LTDA)" userId="a45a17f7-7950-4cb5-bfab-f5c894f959a9" providerId="ADAL" clId="{9D150B60-33B5-4A3E-8123-A67E35AA8D44}" dt="2020-07-28T12:50:57.608" v="18411"/>
          <ac:spMkLst>
            <pc:docMk/>
            <pc:sldMk cId="335391689" sldId="2134804348"/>
            <ac:spMk id="111" creationId="{3EBDF276-DF4A-4AF1-8A4C-02375AAC7C79}"/>
          </ac:spMkLst>
        </pc:spChg>
        <pc:spChg chg="mod">
          <ac:chgData name="Mariam Daniela Tristancho Pineda (MISION TEMPORAL LTDA)" userId="a45a17f7-7950-4cb5-bfab-f5c894f959a9" providerId="ADAL" clId="{9D150B60-33B5-4A3E-8123-A67E35AA8D44}" dt="2020-07-28T12:50:57.608" v="18411"/>
          <ac:spMkLst>
            <pc:docMk/>
            <pc:sldMk cId="335391689" sldId="2134804348"/>
            <ac:spMk id="112" creationId="{FBF30C4A-95D7-4267-9A4F-CC762D5116A5}"/>
          </ac:spMkLst>
        </pc:spChg>
        <pc:spChg chg="mod">
          <ac:chgData name="Mariam Daniela Tristancho Pineda (MISION TEMPORAL LTDA)" userId="a45a17f7-7950-4cb5-bfab-f5c894f959a9" providerId="ADAL" clId="{9D150B60-33B5-4A3E-8123-A67E35AA8D44}" dt="2020-07-28T12:50:57.608" v="18411"/>
          <ac:spMkLst>
            <pc:docMk/>
            <pc:sldMk cId="335391689" sldId="2134804348"/>
            <ac:spMk id="114" creationId="{C2B30A16-81FC-45D7-A48E-2893919C76F1}"/>
          </ac:spMkLst>
        </pc:spChg>
        <pc:spChg chg="mod">
          <ac:chgData name="Mariam Daniela Tristancho Pineda (MISION TEMPORAL LTDA)" userId="a45a17f7-7950-4cb5-bfab-f5c894f959a9" providerId="ADAL" clId="{9D150B60-33B5-4A3E-8123-A67E35AA8D44}" dt="2020-07-28T13:17:03.163" v="18864" actId="20577"/>
          <ac:spMkLst>
            <pc:docMk/>
            <pc:sldMk cId="335391689" sldId="2134804348"/>
            <ac:spMk id="115" creationId="{DB30841A-2BC3-4CC5-89B7-A8CEB23DA697}"/>
          </ac:spMkLst>
        </pc:spChg>
        <pc:spChg chg="mod">
          <ac:chgData name="Mariam Daniela Tristancho Pineda (MISION TEMPORAL LTDA)" userId="a45a17f7-7950-4cb5-bfab-f5c894f959a9" providerId="ADAL" clId="{9D150B60-33B5-4A3E-8123-A67E35AA8D44}" dt="2020-07-28T13:01:15.427" v="18494"/>
          <ac:spMkLst>
            <pc:docMk/>
            <pc:sldMk cId="335391689" sldId="2134804348"/>
            <ac:spMk id="117" creationId="{1C57C135-BFCA-48C3-BB18-685939FCFB1D}"/>
          </ac:spMkLst>
        </pc:spChg>
        <pc:spChg chg="mod">
          <ac:chgData name="Mariam Daniela Tristancho Pineda (MISION TEMPORAL LTDA)" userId="a45a17f7-7950-4cb5-bfab-f5c894f959a9" providerId="ADAL" clId="{9D150B60-33B5-4A3E-8123-A67E35AA8D44}" dt="2020-07-28T13:18:46.462" v="18868" actId="20577"/>
          <ac:spMkLst>
            <pc:docMk/>
            <pc:sldMk cId="335391689" sldId="2134804348"/>
            <ac:spMk id="118" creationId="{707FAA41-B3E4-4D1A-AEB3-9421ED45AAEC}"/>
          </ac:spMkLst>
        </pc:spChg>
        <pc:spChg chg="mod">
          <ac:chgData name="Mariam Daniela Tristancho Pineda (MISION TEMPORAL LTDA)" userId="a45a17f7-7950-4cb5-bfab-f5c894f959a9" providerId="ADAL" clId="{9D150B60-33B5-4A3E-8123-A67E35AA8D44}" dt="2020-07-28T13:04:42.060" v="18608" actId="208"/>
          <ac:spMkLst>
            <pc:docMk/>
            <pc:sldMk cId="335391689" sldId="2134804348"/>
            <ac:spMk id="121" creationId="{ACE1D9F7-2DBC-40D9-B048-9167C0764809}"/>
          </ac:spMkLst>
        </pc:spChg>
        <pc:spChg chg="mod">
          <ac:chgData name="Mariam Daniela Tristancho Pineda (MISION TEMPORAL LTDA)" userId="a45a17f7-7950-4cb5-bfab-f5c894f959a9" providerId="ADAL" clId="{9D150B60-33B5-4A3E-8123-A67E35AA8D44}" dt="2020-07-28T13:11:24.454" v="18653" actId="20577"/>
          <ac:spMkLst>
            <pc:docMk/>
            <pc:sldMk cId="335391689" sldId="2134804348"/>
            <ac:spMk id="122" creationId="{34D692E1-2086-4D3B-950B-F62D17492DAD}"/>
          </ac:spMkLst>
        </pc:spChg>
        <pc:spChg chg="mod">
          <ac:chgData name="Mariam Daniela Tristancho Pineda (MISION TEMPORAL LTDA)" userId="a45a17f7-7950-4cb5-bfab-f5c894f959a9" providerId="ADAL" clId="{9D150B60-33B5-4A3E-8123-A67E35AA8D44}" dt="2020-07-28T14:53:44.916" v="19747" actId="20577"/>
          <ac:spMkLst>
            <pc:docMk/>
            <pc:sldMk cId="335391689" sldId="2134804348"/>
            <ac:spMk id="135" creationId="{C1823568-A421-4254-9106-BAEB76F16B72}"/>
          </ac:spMkLst>
        </pc:spChg>
        <pc:spChg chg="add mod">
          <ac:chgData name="Mariam Daniela Tristancho Pineda (MISION TEMPORAL LTDA)" userId="a45a17f7-7950-4cb5-bfab-f5c894f959a9" providerId="ADAL" clId="{9D150B60-33B5-4A3E-8123-A67E35AA8D44}" dt="2020-07-28T00:25:28.866" v="16071" actId="571"/>
          <ac:spMkLst>
            <pc:docMk/>
            <pc:sldMk cId="335391689" sldId="2134804348"/>
            <ac:spMk id="139" creationId="{F603CECA-D54C-4CAE-AE5F-78300BE8E0AC}"/>
          </ac:spMkLst>
        </pc:spChg>
        <pc:spChg chg="add mod">
          <ac:chgData name="Mariam Daniela Tristancho Pineda (MISION TEMPORAL LTDA)" userId="a45a17f7-7950-4cb5-bfab-f5c894f959a9" providerId="ADAL" clId="{9D150B60-33B5-4A3E-8123-A67E35AA8D44}" dt="2020-07-28T00:25:28.866" v="16071" actId="571"/>
          <ac:spMkLst>
            <pc:docMk/>
            <pc:sldMk cId="335391689" sldId="2134804348"/>
            <ac:spMk id="140" creationId="{753907B7-DEC6-40C2-B3C1-ABAF491781A1}"/>
          </ac:spMkLst>
        </pc:spChg>
        <pc:spChg chg="add mod">
          <ac:chgData name="Mariam Daniela Tristancho Pineda (MISION TEMPORAL LTDA)" userId="a45a17f7-7950-4cb5-bfab-f5c894f959a9" providerId="ADAL" clId="{9D150B60-33B5-4A3E-8123-A67E35AA8D44}" dt="2020-07-28T00:25:28.866" v="16071" actId="571"/>
          <ac:spMkLst>
            <pc:docMk/>
            <pc:sldMk cId="335391689" sldId="2134804348"/>
            <ac:spMk id="141" creationId="{DA70DB6B-39E6-40DA-ABEC-B244891F2DBB}"/>
          </ac:spMkLst>
        </pc:spChg>
        <pc:spChg chg="add del mod">
          <ac:chgData name="Mariam Daniela Tristancho Pineda (MISION TEMPORAL LTDA)" userId="a45a17f7-7950-4cb5-bfab-f5c894f959a9" providerId="ADAL" clId="{9D150B60-33B5-4A3E-8123-A67E35AA8D44}" dt="2020-07-28T12:50:57.298" v="18410" actId="478"/>
          <ac:spMkLst>
            <pc:docMk/>
            <pc:sldMk cId="335391689" sldId="2134804348"/>
            <ac:spMk id="142" creationId="{BDF37C52-9C1C-4F83-B8FB-76134C7C7B03}"/>
          </ac:spMkLst>
        </pc:spChg>
        <pc:spChg chg="add del mod">
          <ac:chgData name="Mariam Daniela Tristancho Pineda (MISION TEMPORAL LTDA)" userId="a45a17f7-7950-4cb5-bfab-f5c894f959a9" providerId="ADAL" clId="{9D150B60-33B5-4A3E-8123-A67E35AA8D44}" dt="2020-07-28T12:50:57.298" v="18410" actId="478"/>
          <ac:spMkLst>
            <pc:docMk/>
            <pc:sldMk cId="335391689" sldId="2134804348"/>
            <ac:spMk id="143" creationId="{75BF113A-B173-43E6-AB59-728B19D83B18}"/>
          </ac:spMkLst>
        </pc:spChg>
        <pc:spChg chg="add del mod">
          <ac:chgData name="Mariam Daniela Tristancho Pineda (MISION TEMPORAL LTDA)" userId="a45a17f7-7950-4cb5-bfab-f5c894f959a9" providerId="ADAL" clId="{9D150B60-33B5-4A3E-8123-A67E35AA8D44}" dt="2020-07-28T12:50:57.298" v="18410" actId="478"/>
          <ac:spMkLst>
            <pc:docMk/>
            <pc:sldMk cId="335391689" sldId="2134804348"/>
            <ac:spMk id="144" creationId="{D45BA3E3-D9D4-4299-8DBC-72D669CAAC6A}"/>
          </ac:spMkLst>
        </pc:spChg>
        <pc:spChg chg="add del mod">
          <ac:chgData name="Mariam Daniela Tristancho Pineda (MISION TEMPORAL LTDA)" userId="a45a17f7-7950-4cb5-bfab-f5c894f959a9" providerId="ADAL" clId="{9D150B60-33B5-4A3E-8123-A67E35AA8D44}" dt="2020-07-28T12:50:57.298" v="18410" actId="478"/>
          <ac:spMkLst>
            <pc:docMk/>
            <pc:sldMk cId="335391689" sldId="2134804348"/>
            <ac:spMk id="145" creationId="{9546A2A0-61D7-4595-B686-0F0FC288D30F}"/>
          </ac:spMkLst>
        </pc:spChg>
        <pc:spChg chg="add del mod">
          <ac:chgData name="Mariam Daniela Tristancho Pineda (MISION TEMPORAL LTDA)" userId="a45a17f7-7950-4cb5-bfab-f5c894f959a9" providerId="ADAL" clId="{9D150B60-33B5-4A3E-8123-A67E35AA8D44}" dt="2020-07-28T12:50:57.298" v="18410" actId="478"/>
          <ac:spMkLst>
            <pc:docMk/>
            <pc:sldMk cId="335391689" sldId="2134804348"/>
            <ac:spMk id="146" creationId="{EC2DCA10-B285-49CB-A6D9-2F7543C92B46}"/>
          </ac:spMkLst>
        </pc:spChg>
        <pc:spChg chg="mod">
          <ac:chgData name="Mariam Daniela Tristancho Pineda (MISION TEMPORAL LTDA)" userId="a45a17f7-7950-4cb5-bfab-f5c894f959a9" providerId="ADAL" clId="{9D150B60-33B5-4A3E-8123-A67E35AA8D44}" dt="2020-07-28T01:30:04.932" v="18019"/>
          <ac:spMkLst>
            <pc:docMk/>
            <pc:sldMk cId="335391689" sldId="2134804348"/>
            <ac:spMk id="148" creationId="{ADB39B24-A596-4D15-91FA-C14A2D65DF7F}"/>
          </ac:spMkLst>
        </pc:spChg>
        <pc:spChg chg="mod">
          <ac:chgData name="Mariam Daniela Tristancho Pineda (MISION TEMPORAL LTDA)" userId="a45a17f7-7950-4cb5-bfab-f5c894f959a9" providerId="ADAL" clId="{9D150B60-33B5-4A3E-8123-A67E35AA8D44}" dt="2020-07-28T01:30:04.932" v="18019"/>
          <ac:spMkLst>
            <pc:docMk/>
            <pc:sldMk cId="335391689" sldId="2134804348"/>
            <ac:spMk id="149" creationId="{27366938-51EE-4674-B1A5-411B2B32F81F}"/>
          </ac:spMkLst>
        </pc:spChg>
        <pc:spChg chg="mod">
          <ac:chgData name="Mariam Daniela Tristancho Pineda (MISION TEMPORAL LTDA)" userId="a45a17f7-7950-4cb5-bfab-f5c894f959a9" providerId="ADAL" clId="{9D150B60-33B5-4A3E-8123-A67E35AA8D44}" dt="2020-07-28T01:30:04.932" v="18019"/>
          <ac:spMkLst>
            <pc:docMk/>
            <pc:sldMk cId="335391689" sldId="2134804348"/>
            <ac:spMk id="151" creationId="{30DFACE3-4090-4333-AF9A-6556D751518F}"/>
          </ac:spMkLst>
        </pc:spChg>
        <pc:spChg chg="mod">
          <ac:chgData name="Mariam Daniela Tristancho Pineda (MISION TEMPORAL LTDA)" userId="a45a17f7-7950-4cb5-bfab-f5c894f959a9" providerId="ADAL" clId="{9D150B60-33B5-4A3E-8123-A67E35AA8D44}" dt="2020-07-28T01:30:04.932" v="18019"/>
          <ac:spMkLst>
            <pc:docMk/>
            <pc:sldMk cId="335391689" sldId="2134804348"/>
            <ac:spMk id="152" creationId="{00893CDA-6CCA-4C10-B592-0B0B2FBBCDE6}"/>
          </ac:spMkLst>
        </pc:spChg>
        <pc:spChg chg="mod">
          <ac:chgData name="Mariam Daniela Tristancho Pineda (MISION TEMPORAL LTDA)" userId="a45a17f7-7950-4cb5-bfab-f5c894f959a9" providerId="ADAL" clId="{9D150B60-33B5-4A3E-8123-A67E35AA8D44}" dt="2020-07-28T01:30:04.932" v="18019"/>
          <ac:spMkLst>
            <pc:docMk/>
            <pc:sldMk cId="335391689" sldId="2134804348"/>
            <ac:spMk id="154" creationId="{916EBA7F-97A5-4C86-A045-C0018726F310}"/>
          </ac:spMkLst>
        </pc:spChg>
        <pc:spChg chg="mod">
          <ac:chgData name="Mariam Daniela Tristancho Pineda (MISION TEMPORAL LTDA)" userId="a45a17f7-7950-4cb5-bfab-f5c894f959a9" providerId="ADAL" clId="{9D150B60-33B5-4A3E-8123-A67E35AA8D44}" dt="2020-07-28T12:42:43.464" v="18363" actId="1035"/>
          <ac:spMkLst>
            <pc:docMk/>
            <pc:sldMk cId="335391689" sldId="2134804348"/>
            <ac:spMk id="155" creationId="{89CD8D39-9BFD-4B29-9E78-866A2D8BCED4}"/>
          </ac:spMkLst>
        </pc:spChg>
        <pc:spChg chg="add mod">
          <ac:chgData name="Mariam Daniela Tristancho Pineda (MISION TEMPORAL LTDA)" userId="a45a17f7-7950-4cb5-bfab-f5c894f959a9" providerId="ADAL" clId="{9D150B60-33B5-4A3E-8123-A67E35AA8D44}" dt="2020-07-28T12:41:32.198" v="18342" actId="164"/>
          <ac:spMkLst>
            <pc:docMk/>
            <pc:sldMk cId="335391689" sldId="2134804348"/>
            <ac:spMk id="156" creationId="{8E600CA1-F563-444B-A510-E812CF429720}"/>
          </ac:spMkLst>
        </pc:spChg>
        <pc:spChg chg="add mod">
          <ac:chgData name="Mariam Daniela Tristancho Pineda (MISION TEMPORAL LTDA)" userId="a45a17f7-7950-4cb5-bfab-f5c894f959a9" providerId="ADAL" clId="{9D150B60-33B5-4A3E-8123-A67E35AA8D44}" dt="2020-07-28T12:41:32.198" v="18342" actId="164"/>
          <ac:spMkLst>
            <pc:docMk/>
            <pc:sldMk cId="335391689" sldId="2134804348"/>
            <ac:spMk id="157" creationId="{3C77890E-EBE3-4B3C-947C-AFB66F811410}"/>
          </ac:spMkLst>
        </pc:spChg>
        <pc:spChg chg="add mod">
          <ac:chgData name="Mariam Daniela Tristancho Pineda (MISION TEMPORAL LTDA)" userId="a45a17f7-7950-4cb5-bfab-f5c894f959a9" providerId="ADAL" clId="{9D150B60-33B5-4A3E-8123-A67E35AA8D44}" dt="2020-07-28T12:42:08.277" v="18351" actId="164"/>
          <ac:spMkLst>
            <pc:docMk/>
            <pc:sldMk cId="335391689" sldId="2134804348"/>
            <ac:spMk id="158" creationId="{B82D5867-547B-4903-8940-0ABC6A3EA714}"/>
          </ac:spMkLst>
        </pc:spChg>
        <pc:spChg chg="add mod">
          <ac:chgData name="Mariam Daniela Tristancho Pineda (MISION TEMPORAL LTDA)" userId="a45a17f7-7950-4cb5-bfab-f5c894f959a9" providerId="ADAL" clId="{9D150B60-33B5-4A3E-8123-A67E35AA8D44}" dt="2020-07-28T12:42:08.277" v="18351" actId="164"/>
          <ac:spMkLst>
            <pc:docMk/>
            <pc:sldMk cId="335391689" sldId="2134804348"/>
            <ac:spMk id="159" creationId="{B792A217-993F-480D-B770-DFBE598F1D38}"/>
          </ac:spMkLst>
        </pc:spChg>
        <pc:spChg chg="add mod">
          <ac:chgData name="Mariam Daniela Tristancho Pineda (MISION TEMPORAL LTDA)" userId="a45a17f7-7950-4cb5-bfab-f5c894f959a9" providerId="ADAL" clId="{9D150B60-33B5-4A3E-8123-A67E35AA8D44}" dt="2020-07-28T12:42:31.894" v="18357" actId="164"/>
          <ac:spMkLst>
            <pc:docMk/>
            <pc:sldMk cId="335391689" sldId="2134804348"/>
            <ac:spMk id="160" creationId="{0CA21356-DD8A-44C7-8C43-4123306BA0EB}"/>
          </ac:spMkLst>
        </pc:spChg>
        <pc:spChg chg="add mod">
          <ac:chgData name="Mariam Daniela Tristancho Pineda (MISION TEMPORAL LTDA)" userId="a45a17f7-7950-4cb5-bfab-f5c894f959a9" providerId="ADAL" clId="{9D150B60-33B5-4A3E-8123-A67E35AA8D44}" dt="2020-07-28T12:42:31.894" v="18357" actId="164"/>
          <ac:spMkLst>
            <pc:docMk/>
            <pc:sldMk cId="335391689" sldId="2134804348"/>
            <ac:spMk id="161" creationId="{9EC624E5-993A-45F7-9393-D68277528E03}"/>
          </ac:spMkLst>
        </pc:spChg>
        <pc:spChg chg="add mod">
          <ac:chgData name="Mariam Daniela Tristancho Pineda (MISION TEMPORAL LTDA)" userId="a45a17f7-7950-4cb5-bfab-f5c894f959a9" providerId="ADAL" clId="{9D150B60-33B5-4A3E-8123-A67E35AA8D44}" dt="2020-07-28T12:41:49.103" v="18346" actId="164"/>
          <ac:spMkLst>
            <pc:docMk/>
            <pc:sldMk cId="335391689" sldId="2134804348"/>
            <ac:spMk id="162" creationId="{E069B6A8-C97A-4D26-B707-B67E19175D97}"/>
          </ac:spMkLst>
        </pc:spChg>
        <pc:spChg chg="add mod">
          <ac:chgData name="Mariam Daniela Tristancho Pineda (MISION TEMPORAL LTDA)" userId="a45a17f7-7950-4cb5-bfab-f5c894f959a9" providerId="ADAL" clId="{9D150B60-33B5-4A3E-8123-A67E35AA8D44}" dt="2020-07-28T12:41:49.103" v="18346" actId="164"/>
          <ac:spMkLst>
            <pc:docMk/>
            <pc:sldMk cId="335391689" sldId="2134804348"/>
            <ac:spMk id="163" creationId="{A5F6193C-D7F3-4F8B-8F8F-C6B97F6971AD}"/>
          </ac:spMkLst>
        </pc:spChg>
        <pc:spChg chg="add mod">
          <ac:chgData name="Mariam Daniela Tristancho Pineda (MISION TEMPORAL LTDA)" userId="a45a17f7-7950-4cb5-bfab-f5c894f959a9" providerId="ADAL" clId="{9D150B60-33B5-4A3E-8123-A67E35AA8D44}" dt="2020-07-28T12:41:40.110" v="18344" actId="164"/>
          <ac:spMkLst>
            <pc:docMk/>
            <pc:sldMk cId="335391689" sldId="2134804348"/>
            <ac:spMk id="164" creationId="{28BFFFFE-BFDE-4EB8-BACB-A3B184862770}"/>
          </ac:spMkLst>
        </pc:spChg>
        <pc:spChg chg="add mod">
          <ac:chgData name="Mariam Daniela Tristancho Pineda (MISION TEMPORAL LTDA)" userId="a45a17f7-7950-4cb5-bfab-f5c894f959a9" providerId="ADAL" clId="{9D150B60-33B5-4A3E-8123-A67E35AA8D44}" dt="2020-07-28T12:41:40.110" v="18344" actId="164"/>
          <ac:spMkLst>
            <pc:docMk/>
            <pc:sldMk cId="335391689" sldId="2134804348"/>
            <ac:spMk id="165" creationId="{B37F180C-098F-4F95-9169-E7E62BF978C1}"/>
          </ac:spMkLst>
        </pc:spChg>
        <pc:spChg chg="add mod">
          <ac:chgData name="Mariam Daniela Tristancho Pineda (MISION TEMPORAL LTDA)" userId="a45a17f7-7950-4cb5-bfab-f5c894f959a9" providerId="ADAL" clId="{9D150B60-33B5-4A3E-8123-A67E35AA8D44}" dt="2020-07-28T12:41:54.941" v="18348" actId="164"/>
          <ac:spMkLst>
            <pc:docMk/>
            <pc:sldMk cId="335391689" sldId="2134804348"/>
            <ac:spMk id="166" creationId="{7DA7C8B5-3AF2-44D0-8825-B0348291320F}"/>
          </ac:spMkLst>
        </pc:spChg>
        <pc:spChg chg="add mod">
          <ac:chgData name="Mariam Daniela Tristancho Pineda (MISION TEMPORAL LTDA)" userId="a45a17f7-7950-4cb5-bfab-f5c894f959a9" providerId="ADAL" clId="{9D150B60-33B5-4A3E-8123-A67E35AA8D44}" dt="2020-07-28T12:41:54.941" v="18348" actId="164"/>
          <ac:spMkLst>
            <pc:docMk/>
            <pc:sldMk cId="335391689" sldId="2134804348"/>
            <ac:spMk id="167" creationId="{62CDAA3D-C687-48E7-A3B2-98DFAA8D13CB}"/>
          </ac:spMkLst>
        </pc:spChg>
        <pc:spChg chg="add mod">
          <ac:chgData name="Mariam Daniela Tristancho Pineda (MISION TEMPORAL LTDA)" userId="a45a17f7-7950-4cb5-bfab-f5c894f959a9" providerId="ADAL" clId="{9D150B60-33B5-4A3E-8123-A67E35AA8D44}" dt="2020-07-28T14:54:29.699" v="19755"/>
          <ac:spMkLst>
            <pc:docMk/>
            <pc:sldMk cId="335391689" sldId="2134804348"/>
            <ac:spMk id="173" creationId="{A59E9B9B-6E55-43A6-816F-4A6877135663}"/>
          </ac:spMkLst>
        </pc:spChg>
        <pc:spChg chg="add mod">
          <ac:chgData name="Mariam Daniela Tristancho Pineda (MISION TEMPORAL LTDA)" userId="a45a17f7-7950-4cb5-bfab-f5c894f959a9" providerId="ADAL" clId="{9D150B60-33B5-4A3E-8123-A67E35AA8D44}" dt="2020-07-28T14:57:31.329" v="19801" actId="20577"/>
          <ac:spMkLst>
            <pc:docMk/>
            <pc:sldMk cId="335391689" sldId="2134804348"/>
            <ac:spMk id="174" creationId="{B6E88447-75F0-4EE2-B00C-59DD503751AD}"/>
          </ac:spMkLst>
        </pc:spChg>
        <pc:spChg chg="add mod">
          <ac:chgData name="Mariam Daniela Tristancho Pineda (MISION TEMPORAL LTDA)" userId="a45a17f7-7950-4cb5-bfab-f5c894f959a9" providerId="ADAL" clId="{9D150B60-33B5-4A3E-8123-A67E35AA8D44}" dt="2020-07-28T14:54:29.699" v="19755"/>
          <ac:spMkLst>
            <pc:docMk/>
            <pc:sldMk cId="335391689" sldId="2134804348"/>
            <ac:spMk id="175" creationId="{B392BBA3-5A1B-4056-A99C-159F53CB8496}"/>
          </ac:spMkLst>
        </pc:spChg>
        <pc:spChg chg="add mod">
          <ac:chgData name="Mariam Daniela Tristancho Pineda (MISION TEMPORAL LTDA)" userId="a45a17f7-7950-4cb5-bfab-f5c894f959a9" providerId="ADAL" clId="{9D150B60-33B5-4A3E-8123-A67E35AA8D44}" dt="2020-07-28T14:54:29.699" v="19755"/>
          <ac:spMkLst>
            <pc:docMk/>
            <pc:sldMk cId="335391689" sldId="2134804348"/>
            <ac:spMk id="176" creationId="{A04628AA-53DA-4B65-A25A-80441B5234DB}"/>
          </ac:spMkLst>
        </pc:spChg>
        <pc:spChg chg="add mod">
          <ac:chgData name="Mariam Daniela Tristancho Pineda (MISION TEMPORAL LTDA)" userId="a45a17f7-7950-4cb5-bfab-f5c894f959a9" providerId="ADAL" clId="{9D150B60-33B5-4A3E-8123-A67E35AA8D44}" dt="2020-07-28T14:54:29.699" v="19755"/>
          <ac:spMkLst>
            <pc:docMk/>
            <pc:sldMk cId="335391689" sldId="2134804348"/>
            <ac:spMk id="177" creationId="{2E125876-499F-4500-8332-59B11A9D359B}"/>
          </ac:spMkLst>
        </pc:spChg>
        <pc:spChg chg="mod">
          <ac:chgData name="Mariam Daniela Tristancho Pineda (MISION TEMPORAL LTDA)" userId="a45a17f7-7950-4cb5-bfab-f5c894f959a9" providerId="ADAL" clId="{9D150B60-33B5-4A3E-8123-A67E35AA8D44}" dt="2020-07-28T14:54:29.699" v="19755"/>
          <ac:spMkLst>
            <pc:docMk/>
            <pc:sldMk cId="335391689" sldId="2134804348"/>
            <ac:spMk id="179" creationId="{A5770874-544B-4FED-9363-660522118A42}"/>
          </ac:spMkLst>
        </pc:spChg>
        <pc:spChg chg="mod">
          <ac:chgData name="Mariam Daniela Tristancho Pineda (MISION TEMPORAL LTDA)" userId="a45a17f7-7950-4cb5-bfab-f5c894f959a9" providerId="ADAL" clId="{9D150B60-33B5-4A3E-8123-A67E35AA8D44}" dt="2020-07-28T14:54:29.699" v="19755"/>
          <ac:spMkLst>
            <pc:docMk/>
            <pc:sldMk cId="335391689" sldId="2134804348"/>
            <ac:spMk id="180" creationId="{0ED8D42C-3267-40C3-80DF-AB88BB7326F2}"/>
          </ac:spMkLst>
        </pc:spChg>
        <pc:spChg chg="mod">
          <ac:chgData name="Mariam Daniela Tristancho Pineda (MISION TEMPORAL LTDA)" userId="a45a17f7-7950-4cb5-bfab-f5c894f959a9" providerId="ADAL" clId="{9D150B60-33B5-4A3E-8123-A67E35AA8D44}" dt="2020-07-28T14:54:29.699" v="19755"/>
          <ac:spMkLst>
            <pc:docMk/>
            <pc:sldMk cId="335391689" sldId="2134804348"/>
            <ac:spMk id="182" creationId="{45CA3AAF-DB9C-4655-8F86-37142F0D9FA5}"/>
          </ac:spMkLst>
        </pc:spChg>
        <pc:spChg chg="mod">
          <ac:chgData name="Mariam Daniela Tristancho Pineda (MISION TEMPORAL LTDA)" userId="a45a17f7-7950-4cb5-bfab-f5c894f959a9" providerId="ADAL" clId="{9D150B60-33B5-4A3E-8123-A67E35AA8D44}" dt="2020-07-28T14:54:29.699" v="19755"/>
          <ac:spMkLst>
            <pc:docMk/>
            <pc:sldMk cId="335391689" sldId="2134804348"/>
            <ac:spMk id="183" creationId="{7DDD00D3-557D-4C2B-92D4-D76A9CB061DE}"/>
          </ac:spMkLst>
        </pc:spChg>
        <pc:spChg chg="mod">
          <ac:chgData name="Mariam Daniela Tristancho Pineda (MISION TEMPORAL LTDA)" userId="a45a17f7-7950-4cb5-bfab-f5c894f959a9" providerId="ADAL" clId="{9D150B60-33B5-4A3E-8123-A67E35AA8D44}" dt="2020-07-28T14:54:29.699" v="19755"/>
          <ac:spMkLst>
            <pc:docMk/>
            <pc:sldMk cId="335391689" sldId="2134804348"/>
            <ac:spMk id="185" creationId="{784B555C-D7A6-44E6-98C8-944AF02337C7}"/>
          </ac:spMkLst>
        </pc:spChg>
        <pc:spChg chg="mod">
          <ac:chgData name="Mariam Daniela Tristancho Pineda (MISION TEMPORAL LTDA)" userId="a45a17f7-7950-4cb5-bfab-f5c894f959a9" providerId="ADAL" clId="{9D150B60-33B5-4A3E-8123-A67E35AA8D44}" dt="2020-07-28T14:54:29.699" v="19755"/>
          <ac:spMkLst>
            <pc:docMk/>
            <pc:sldMk cId="335391689" sldId="2134804348"/>
            <ac:spMk id="186" creationId="{8E7119C3-0FC6-4A7F-9BA5-29A21E43C720}"/>
          </ac:spMkLst>
        </pc:spChg>
        <pc:spChg chg="mod">
          <ac:chgData name="Mariam Daniela Tristancho Pineda (MISION TEMPORAL LTDA)" userId="a45a17f7-7950-4cb5-bfab-f5c894f959a9" providerId="ADAL" clId="{9D150B60-33B5-4A3E-8123-A67E35AA8D44}" dt="2020-07-28T14:54:29.699" v="19755"/>
          <ac:spMkLst>
            <pc:docMk/>
            <pc:sldMk cId="335391689" sldId="2134804348"/>
            <ac:spMk id="188" creationId="{6E1707E5-8EB6-4FDF-9FA3-58202AB3CCB5}"/>
          </ac:spMkLst>
        </pc:spChg>
        <pc:spChg chg="mod">
          <ac:chgData name="Mariam Daniela Tristancho Pineda (MISION TEMPORAL LTDA)" userId="a45a17f7-7950-4cb5-bfab-f5c894f959a9" providerId="ADAL" clId="{9D150B60-33B5-4A3E-8123-A67E35AA8D44}" dt="2020-07-28T14:54:29.699" v="19755"/>
          <ac:spMkLst>
            <pc:docMk/>
            <pc:sldMk cId="335391689" sldId="2134804348"/>
            <ac:spMk id="189" creationId="{9EE28E74-AD85-4938-B864-ABBB9E2D681E}"/>
          </ac:spMkLst>
        </pc:spChg>
        <pc:spChg chg="mod">
          <ac:chgData name="Mariam Daniela Tristancho Pineda (MISION TEMPORAL LTDA)" userId="a45a17f7-7950-4cb5-bfab-f5c894f959a9" providerId="ADAL" clId="{9D150B60-33B5-4A3E-8123-A67E35AA8D44}" dt="2020-07-28T14:54:29.699" v="19755"/>
          <ac:spMkLst>
            <pc:docMk/>
            <pc:sldMk cId="335391689" sldId="2134804348"/>
            <ac:spMk id="191" creationId="{3619EF1A-08C3-4B42-9DB7-0325C584737D}"/>
          </ac:spMkLst>
        </pc:spChg>
        <pc:spChg chg="mod">
          <ac:chgData name="Mariam Daniela Tristancho Pineda (MISION TEMPORAL LTDA)" userId="a45a17f7-7950-4cb5-bfab-f5c894f959a9" providerId="ADAL" clId="{9D150B60-33B5-4A3E-8123-A67E35AA8D44}" dt="2020-07-28T14:54:29.699" v="19755"/>
          <ac:spMkLst>
            <pc:docMk/>
            <pc:sldMk cId="335391689" sldId="2134804348"/>
            <ac:spMk id="192" creationId="{61662BD8-916E-4113-8905-F43E83C2DE1D}"/>
          </ac:spMkLst>
        </pc:spChg>
        <pc:spChg chg="mod">
          <ac:chgData name="Mariam Daniela Tristancho Pineda (MISION TEMPORAL LTDA)" userId="a45a17f7-7950-4cb5-bfab-f5c894f959a9" providerId="ADAL" clId="{9D150B60-33B5-4A3E-8123-A67E35AA8D44}" dt="2020-07-28T14:54:29.699" v="19755"/>
          <ac:spMkLst>
            <pc:docMk/>
            <pc:sldMk cId="335391689" sldId="2134804348"/>
            <ac:spMk id="194" creationId="{69360A7B-FAC4-41D8-926A-FB82B4F6B4E8}"/>
          </ac:spMkLst>
        </pc:spChg>
        <pc:spChg chg="mod">
          <ac:chgData name="Mariam Daniela Tristancho Pineda (MISION TEMPORAL LTDA)" userId="a45a17f7-7950-4cb5-bfab-f5c894f959a9" providerId="ADAL" clId="{9D150B60-33B5-4A3E-8123-A67E35AA8D44}" dt="2020-07-28T14:54:29.699" v="19755"/>
          <ac:spMkLst>
            <pc:docMk/>
            <pc:sldMk cId="335391689" sldId="2134804348"/>
            <ac:spMk id="195" creationId="{26D773CF-9B01-4D8C-94CF-1F8318FC8C13}"/>
          </ac:spMkLst>
        </pc:spChg>
        <pc:spChg chg="mod">
          <ac:chgData name="Mariam Daniela Tristancho Pineda (MISION TEMPORAL LTDA)" userId="a45a17f7-7950-4cb5-bfab-f5c894f959a9" providerId="ADAL" clId="{9D150B60-33B5-4A3E-8123-A67E35AA8D44}" dt="2020-07-28T14:54:29.699" v="19755"/>
          <ac:spMkLst>
            <pc:docMk/>
            <pc:sldMk cId="335391689" sldId="2134804348"/>
            <ac:spMk id="197" creationId="{6B595585-330D-4099-B080-352799E646F2}"/>
          </ac:spMkLst>
        </pc:spChg>
        <pc:spChg chg="mod">
          <ac:chgData name="Mariam Daniela Tristancho Pineda (MISION TEMPORAL LTDA)" userId="a45a17f7-7950-4cb5-bfab-f5c894f959a9" providerId="ADAL" clId="{9D150B60-33B5-4A3E-8123-A67E35AA8D44}" dt="2020-07-28T14:54:29.699" v="19755"/>
          <ac:spMkLst>
            <pc:docMk/>
            <pc:sldMk cId="335391689" sldId="2134804348"/>
            <ac:spMk id="198" creationId="{46EFEEBF-1B85-4856-BF36-34D82FD3EA0B}"/>
          </ac:spMkLst>
        </pc:spChg>
        <pc:spChg chg="mod">
          <ac:chgData name="Mariam Daniela Tristancho Pineda (MISION TEMPORAL LTDA)" userId="a45a17f7-7950-4cb5-bfab-f5c894f959a9" providerId="ADAL" clId="{9D150B60-33B5-4A3E-8123-A67E35AA8D44}" dt="2020-07-28T14:54:29.699" v="19755"/>
          <ac:spMkLst>
            <pc:docMk/>
            <pc:sldMk cId="335391689" sldId="2134804348"/>
            <ac:spMk id="200" creationId="{C00FBD88-F810-4811-8D5C-6137DB74731A}"/>
          </ac:spMkLst>
        </pc:spChg>
        <pc:spChg chg="mod">
          <ac:chgData name="Mariam Daniela Tristancho Pineda (MISION TEMPORAL LTDA)" userId="a45a17f7-7950-4cb5-bfab-f5c894f959a9" providerId="ADAL" clId="{9D150B60-33B5-4A3E-8123-A67E35AA8D44}" dt="2020-07-28T14:54:29.699" v="19755"/>
          <ac:spMkLst>
            <pc:docMk/>
            <pc:sldMk cId="335391689" sldId="2134804348"/>
            <ac:spMk id="201" creationId="{3CE6E4E9-4649-4273-903B-17EF0D137699}"/>
          </ac:spMkLst>
        </pc:spChg>
        <pc:spChg chg="mod">
          <ac:chgData name="Mariam Daniela Tristancho Pineda (MISION TEMPORAL LTDA)" userId="a45a17f7-7950-4cb5-bfab-f5c894f959a9" providerId="ADAL" clId="{9D150B60-33B5-4A3E-8123-A67E35AA8D44}" dt="2020-07-28T14:54:29.699" v="19755"/>
          <ac:spMkLst>
            <pc:docMk/>
            <pc:sldMk cId="335391689" sldId="2134804348"/>
            <ac:spMk id="203" creationId="{FF0856CC-16D7-47D8-98DA-7EC5E9B7DA5C}"/>
          </ac:spMkLst>
        </pc:spChg>
        <pc:spChg chg="mod">
          <ac:chgData name="Mariam Daniela Tristancho Pineda (MISION TEMPORAL LTDA)" userId="a45a17f7-7950-4cb5-bfab-f5c894f959a9" providerId="ADAL" clId="{9D150B60-33B5-4A3E-8123-A67E35AA8D44}" dt="2020-07-28T14:54:29.699" v="19755"/>
          <ac:spMkLst>
            <pc:docMk/>
            <pc:sldMk cId="335391689" sldId="2134804348"/>
            <ac:spMk id="204" creationId="{B2B089ED-E6C9-41D7-919E-DFF6983DD071}"/>
          </ac:spMkLst>
        </pc:spChg>
        <pc:spChg chg="mod">
          <ac:chgData name="Mariam Daniela Tristancho Pineda (MISION TEMPORAL LTDA)" userId="a45a17f7-7950-4cb5-bfab-f5c894f959a9" providerId="ADAL" clId="{9D150B60-33B5-4A3E-8123-A67E35AA8D44}" dt="2020-07-28T14:54:29.699" v="19755"/>
          <ac:spMkLst>
            <pc:docMk/>
            <pc:sldMk cId="335391689" sldId="2134804348"/>
            <ac:spMk id="206" creationId="{A7AB1F47-BC50-4B8C-A799-E696CCE59426}"/>
          </ac:spMkLst>
        </pc:spChg>
        <pc:spChg chg="mod">
          <ac:chgData name="Mariam Daniela Tristancho Pineda (MISION TEMPORAL LTDA)" userId="a45a17f7-7950-4cb5-bfab-f5c894f959a9" providerId="ADAL" clId="{9D150B60-33B5-4A3E-8123-A67E35AA8D44}" dt="2020-07-28T14:54:29.699" v="19755"/>
          <ac:spMkLst>
            <pc:docMk/>
            <pc:sldMk cId="335391689" sldId="2134804348"/>
            <ac:spMk id="207" creationId="{05EA9AD6-56B8-48FB-8910-F838E5F7DCD5}"/>
          </ac:spMkLst>
        </pc:spChg>
        <pc:grpChg chg="add del mod">
          <ac:chgData name="Mariam Daniela Tristancho Pineda (MISION TEMPORAL LTDA)" userId="a45a17f7-7950-4cb5-bfab-f5c894f959a9" providerId="ADAL" clId="{9D150B60-33B5-4A3E-8123-A67E35AA8D44}" dt="2020-07-28T12:50:57.298" v="18410" actId="478"/>
          <ac:grpSpMkLst>
            <pc:docMk/>
            <pc:sldMk cId="335391689" sldId="2134804348"/>
            <ac:grpSpMk id="6" creationId="{08A6D12E-52CA-42FC-8BFB-5A03AA6AAE38}"/>
          </ac:grpSpMkLst>
        </pc:grpChg>
        <pc:grpChg chg="add del mod">
          <ac:chgData name="Mariam Daniela Tristancho Pineda (MISION TEMPORAL LTDA)" userId="a45a17f7-7950-4cb5-bfab-f5c894f959a9" providerId="ADAL" clId="{9D150B60-33B5-4A3E-8123-A67E35AA8D44}" dt="2020-07-28T12:50:57.298" v="18410" actId="478"/>
          <ac:grpSpMkLst>
            <pc:docMk/>
            <pc:sldMk cId="335391689" sldId="2134804348"/>
            <ac:grpSpMk id="7" creationId="{30AED380-EE4E-4668-AE1C-503791F86AEA}"/>
          </ac:grpSpMkLst>
        </pc:grpChg>
        <pc:grpChg chg="add del mod">
          <ac:chgData name="Mariam Daniela Tristancho Pineda (MISION TEMPORAL LTDA)" userId="a45a17f7-7950-4cb5-bfab-f5c894f959a9" providerId="ADAL" clId="{9D150B60-33B5-4A3E-8123-A67E35AA8D44}" dt="2020-07-28T12:50:57.298" v="18410" actId="478"/>
          <ac:grpSpMkLst>
            <pc:docMk/>
            <pc:sldMk cId="335391689" sldId="2134804348"/>
            <ac:grpSpMk id="13" creationId="{9236D9E6-DFD7-4578-B4EA-574E77D4D336}"/>
          </ac:grpSpMkLst>
        </pc:grpChg>
        <pc:grpChg chg="add del mod">
          <ac:chgData name="Mariam Daniela Tristancho Pineda (MISION TEMPORAL LTDA)" userId="a45a17f7-7950-4cb5-bfab-f5c894f959a9" providerId="ADAL" clId="{9D150B60-33B5-4A3E-8123-A67E35AA8D44}" dt="2020-07-28T12:49:13.912" v="18397" actId="478"/>
          <ac:grpSpMkLst>
            <pc:docMk/>
            <pc:sldMk cId="335391689" sldId="2134804348"/>
            <ac:grpSpMk id="17" creationId="{9AE9BB67-BA6C-4254-B955-2DC7E7A12D81}"/>
          </ac:grpSpMkLst>
        </pc:grpChg>
        <pc:grpChg chg="add del mod">
          <ac:chgData name="Mariam Daniela Tristancho Pineda (MISION TEMPORAL LTDA)" userId="a45a17f7-7950-4cb5-bfab-f5c894f959a9" providerId="ADAL" clId="{9D150B60-33B5-4A3E-8123-A67E35AA8D44}" dt="2020-07-28T12:50:57.298" v="18410" actId="478"/>
          <ac:grpSpMkLst>
            <pc:docMk/>
            <pc:sldMk cId="335391689" sldId="2134804348"/>
            <ac:grpSpMk id="20" creationId="{1E2B41E7-ED3C-4FB5-8C99-8029C0151E52}"/>
          </ac:grpSpMkLst>
        </pc:grpChg>
        <pc:grpChg chg="add del mod">
          <ac:chgData name="Mariam Daniela Tristancho Pineda (MISION TEMPORAL LTDA)" userId="a45a17f7-7950-4cb5-bfab-f5c894f959a9" providerId="ADAL" clId="{9D150B60-33B5-4A3E-8123-A67E35AA8D44}" dt="2020-07-28T12:50:57.298" v="18410" actId="478"/>
          <ac:grpSpMkLst>
            <pc:docMk/>
            <pc:sldMk cId="335391689" sldId="2134804348"/>
            <ac:grpSpMk id="22" creationId="{00AE900D-F4B7-4F3B-88B2-50DABA95D875}"/>
          </ac:grpSpMkLst>
        </pc:grpChg>
        <pc:grpChg chg="del mod">
          <ac:chgData name="Mariam Daniela Tristancho Pineda (MISION TEMPORAL LTDA)" userId="a45a17f7-7950-4cb5-bfab-f5c894f959a9" providerId="ADAL" clId="{9D150B60-33B5-4A3E-8123-A67E35AA8D44}" dt="2020-07-28T01:30:04.576" v="18018" actId="478"/>
          <ac:grpSpMkLst>
            <pc:docMk/>
            <pc:sldMk cId="335391689" sldId="2134804348"/>
            <ac:grpSpMk id="22" creationId="{72FAFFCB-F63F-4304-AE13-F0D0DD223DDC}"/>
          </ac:grpSpMkLst>
        </pc:grpChg>
        <pc:grpChg chg="del mod">
          <ac:chgData name="Mariam Daniela Tristancho Pineda (MISION TEMPORAL LTDA)" userId="a45a17f7-7950-4cb5-bfab-f5c894f959a9" providerId="ADAL" clId="{9D150B60-33B5-4A3E-8123-A67E35AA8D44}" dt="2020-07-28T01:30:04.576" v="18018" actId="478"/>
          <ac:grpSpMkLst>
            <pc:docMk/>
            <pc:sldMk cId="335391689" sldId="2134804348"/>
            <ac:grpSpMk id="23" creationId="{FB9D6B12-95DF-4BC6-8C69-5BE27394DB2C}"/>
          </ac:grpSpMkLst>
        </pc:grpChg>
        <pc:grpChg chg="del mod">
          <ac:chgData name="Mariam Daniela Tristancho Pineda (MISION TEMPORAL LTDA)" userId="a45a17f7-7950-4cb5-bfab-f5c894f959a9" providerId="ADAL" clId="{9D150B60-33B5-4A3E-8123-A67E35AA8D44}" dt="2020-07-28T01:30:04.576" v="18018" actId="478"/>
          <ac:grpSpMkLst>
            <pc:docMk/>
            <pc:sldMk cId="335391689" sldId="2134804348"/>
            <ac:grpSpMk id="24" creationId="{F1FBEC39-EF79-4055-816C-BEB159C468C9}"/>
          </ac:grpSpMkLst>
        </pc:grpChg>
        <pc:grpChg chg="add del mod">
          <ac:chgData name="Mariam Daniela Tristancho Pineda (MISION TEMPORAL LTDA)" userId="a45a17f7-7950-4cb5-bfab-f5c894f959a9" providerId="ADAL" clId="{9D150B60-33B5-4A3E-8123-A67E35AA8D44}" dt="2020-07-28T14:54:28.992" v="19754" actId="478"/>
          <ac:grpSpMkLst>
            <pc:docMk/>
            <pc:sldMk cId="335391689" sldId="2134804348"/>
            <ac:grpSpMk id="87" creationId="{C993AED2-5944-47B6-9765-318071845C6F}"/>
          </ac:grpSpMkLst>
        </pc:grpChg>
        <pc:grpChg chg="add del mod">
          <ac:chgData name="Mariam Daniela Tristancho Pineda (MISION TEMPORAL LTDA)" userId="a45a17f7-7950-4cb5-bfab-f5c894f959a9" providerId="ADAL" clId="{9D150B60-33B5-4A3E-8123-A67E35AA8D44}" dt="2020-07-28T14:54:28.992" v="19754" actId="478"/>
          <ac:grpSpMkLst>
            <pc:docMk/>
            <pc:sldMk cId="335391689" sldId="2134804348"/>
            <ac:grpSpMk id="91" creationId="{E2682DE0-4D9C-46FB-A07B-447F7BCA3E11}"/>
          </ac:grpSpMkLst>
        </pc:grpChg>
        <pc:grpChg chg="add del mod">
          <ac:chgData name="Mariam Daniela Tristancho Pineda (MISION TEMPORAL LTDA)" userId="a45a17f7-7950-4cb5-bfab-f5c894f959a9" providerId="ADAL" clId="{9D150B60-33B5-4A3E-8123-A67E35AA8D44}" dt="2020-07-28T14:54:28.992" v="19754" actId="478"/>
          <ac:grpSpMkLst>
            <pc:docMk/>
            <pc:sldMk cId="335391689" sldId="2134804348"/>
            <ac:grpSpMk id="96" creationId="{5B2CE460-DEF6-480F-96A9-BDCEA6789B77}"/>
          </ac:grpSpMkLst>
        </pc:grpChg>
        <pc:grpChg chg="add del mod">
          <ac:chgData name="Mariam Daniela Tristancho Pineda (MISION TEMPORAL LTDA)" userId="a45a17f7-7950-4cb5-bfab-f5c894f959a9" providerId="ADAL" clId="{9D150B60-33B5-4A3E-8123-A67E35AA8D44}" dt="2020-07-28T14:54:28.992" v="19754" actId="478"/>
          <ac:grpSpMkLst>
            <pc:docMk/>
            <pc:sldMk cId="335391689" sldId="2134804348"/>
            <ac:grpSpMk id="101" creationId="{6D4054E7-44F1-41CF-9A1D-16830446B187}"/>
          </ac:grpSpMkLst>
        </pc:grpChg>
        <pc:grpChg chg="add del mod">
          <ac:chgData name="Mariam Daniela Tristancho Pineda (MISION TEMPORAL LTDA)" userId="a45a17f7-7950-4cb5-bfab-f5c894f959a9" providerId="ADAL" clId="{9D150B60-33B5-4A3E-8123-A67E35AA8D44}" dt="2020-07-28T14:54:28.992" v="19754" actId="478"/>
          <ac:grpSpMkLst>
            <pc:docMk/>
            <pc:sldMk cId="335391689" sldId="2134804348"/>
            <ac:grpSpMk id="104" creationId="{4AEE7B5A-2FCB-4AD5-BB8E-A078CA61F3BB}"/>
          </ac:grpSpMkLst>
        </pc:grpChg>
        <pc:grpChg chg="add del mod">
          <ac:chgData name="Mariam Daniela Tristancho Pineda (MISION TEMPORAL LTDA)" userId="a45a17f7-7950-4cb5-bfab-f5c894f959a9" providerId="ADAL" clId="{9D150B60-33B5-4A3E-8123-A67E35AA8D44}" dt="2020-07-28T14:54:28.992" v="19754" actId="478"/>
          <ac:grpSpMkLst>
            <pc:docMk/>
            <pc:sldMk cId="335391689" sldId="2134804348"/>
            <ac:grpSpMk id="107" creationId="{643E8E70-596E-4D11-9D76-39C6B321BE65}"/>
          </ac:grpSpMkLst>
        </pc:grpChg>
        <pc:grpChg chg="add del mod">
          <ac:chgData name="Mariam Daniela Tristancho Pineda (MISION TEMPORAL LTDA)" userId="a45a17f7-7950-4cb5-bfab-f5c894f959a9" providerId="ADAL" clId="{9D150B60-33B5-4A3E-8123-A67E35AA8D44}" dt="2020-07-28T14:54:28.992" v="19754" actId="478"/>
          <ac:grpSpMkLst>
            <pc:docMk/>
            <pc:sldMk cId="335391689" sldId="2134804348"/>
            <ac:grpSpMk id="110" creationId="{C5D2CD2F-DF7C-4E79-8765-FC953ACE739D}"/>
          </ac:grpSpMkLst>
        </pc:grpChg>
        <pc:grpChg chg="add del mod">
          <ac:chgData name="Mariam Daniela Tristancho Pineda (MISION TEMPORAL LTDA)" userId="a45a17f7-7950-4cb5-bfab-f5c894f959a9" providerId="ADAL" clId="{9D150B60-33B5-4A3E-8123-A67E35AA8D44}" dt="2020-07-28T14:54:28.992" v="19754" actId="478"/>
          <ac:grpSpMkLst>
            <pc:docMk/>
            <pc:sldMk cId="335391689" sldId="2134804348"/>
            <ac:grpSpMk id="113" creationId="{85EF45F9-A1E0-4EFF-8CDD-1FD0EBBD58A7}"/>
          </ac:grpSpMkLst>
        </pc:grpChg>
        <pc:grpChg chg="add del mod">
          <ac:chgData name="Mariam Daniela Tristancho Pineda (MISION TEMPORAL LTDA)" userId="a45a17f7-7950-4cb5-bfab-f5c894f959a9" providerId="ADAL" clId="{9D150B60-33B5-4A3E-8123-A67E35AA8D44}" dt="2020-07-28T14:54:28.992" v="19754" actId="478"/>
          <ac:grpSpMkLst>
            <pc:docMk/>
            <pc:sldMk cId="335391689" sldId="2134804348"/>
            <ac:grpSpMk id="116" creationId="{25B620D1-90C4-4D1A-8C70-324D376F4896}"/>
          </ac:grpSpMkLst>
        </pc:grpChg>
        <pc:grpChg chg="add del mod">
          <ac:chgData name="Mariam Daniela Tristancho Pineda (MISION TEMPORAL LTDA)" userId="a45a17f7-7950-4cb5-bfab-f5c894f959a9" providerId="ADAL" clId="{9D150B60-33B5-4A3E-8123-A67E35AA8D44}" dt="2020-07-28T14:54:28.992" v="19754" actId="478"/>
          <ac:grpSpMkLst>
            <pc:docMk/>
            <pc:sldMk cId="335391689" sldId="2134804348"/>
            <ac:grpSpMk id="120" creationId="{1A549F64-953D-40EA-9E0E-D0DA077D4F9F}"/>
          </ac:grpSpMkLst>
        </pc:grpChg>
        <pc:grpChg chg="add del mod">
          <ac:chgData name="Mariam Daniela Tristancho Pineda (MISION TEMPORAL LTDA)" userId="a45a17f7-7950-4cb5-bfab-f5c894f959a9" providerId="ADAL" clId="{9D150B60-33B5-4A3E-8123-A67E35AA8D44}" dt="2020-07-28T12:50:57.298" v="18410" actId="478"/>
          <ac:grpSpMkLst>
            <pc:docMk/>
            <pc:sldMk cId="335391689" sldId="2134804348"/>
            <ac:grpSpMk id="147" creationId="{8E62CF16-9A48-4946-9753-97422E8EDFDA}"/>
          </ac:grpSpMkLst>
        </pc:grpChg>
        <pc:grpChg chg="add del mod">
          <ac:chgData name="Mariam Daniela Tristancho Pineda (MISION TEMPORAL LTDA)" userId="a45a17f7-7950-4cb5-bfab-f5c894f959a9" providerId="ADAL" clId="{9D150B60-33B5-4A3E-8123-A67E35AA8D44}" dt="2020-07-28T12:50:57.298" v="18410" actId="478"/>
          <ac:grpSpMkLst>
            <pc:docMk/>
            <pc:sldMk cId="335391689" sldId="2134804348"/>
            <ac:grpSpMk id="150" creationId="{7F43EA77-C58C-45EA-923E-66390828359A}"/>
          </ac:grpSpMkLst>
        </pc:grpChg>
        <pc:grpChg chg="add del mod">
          <ac:chgData name="Mariam Daniela Tristancho Pineda (MISION TEMPORAL LTDA)" userId="a45a17f7-7950-4cb5-bfab-f5c894f959a9" providerId="ADAL" clId="{9D150B60-33B5-4A3E-8123-A67E35AA8D44}" dt="2020-07-28T12:50:57.298" v="18410" actId="478"/>
          <ac:grpSpMkLst>
            <pc:docMk/>
            <pc:sldMk cId="335391689" sldId="2134804348"/>
            <ac:grpSpMk id="153" creationId="{F12086D2-036B-4F51-A875-A97606D381C0}"/>
          </ac:grpSpMkLst>
        </pc:grpChg>
        <pc:grpChg chg="add mod">
          <ac:chgData name="Mariam Daniela Tristancho Pineda (MISION TEMPORAL LTDA)" userId="a45a17f7-7950-4cb5-bfab-f5c894f959a9" providerId="ADAL" clId="{9D150B60-33B5-4A3E-8123-A67E35AA8D44}" dt="2020-07-28T14:54:29.699" v="19755"/>
          <ac:grpSpMkLst>
            <pc:docMk/>
            <pc:sldMk cId="335391689" sldId="2134804348"/>
            <ac:grpSpMk id="178" creationId="{AB40EB61-E9B4-4B33-9F05-E96C6A61939D}"/>
          </ac:grpSpMkLst>
        </pc:grpChg>
        <pc:grpChg chg="add mod">
          <ac:chgData name="Mariam Daniela Tristancho Pineda (MISION TEMPORAL LTDA)" userId="a45a17f7-7950-4cb5-bfab-f5c894f959a9" providerId="ADAL" clId="{9D150B60-33B5-4A3E-8123-A67E35AA8D44}" dt="2020-07-28T14:54:29.699" v="19755"/>
          <ac:grpSpMkLst>
            <pc:docMk/>
            <pc:sldMk cId="335391689" sldId="2134804348"/>
            <ac:grpSpMk id="181" creationId="{62E8C510-673D-4909-AE2E-5A0FB8872DD3}"/>
          </ac:grpSpMkLst>
        </pc:grpChg>
        <pc:grpChg chg="add mod">
          <ac:chgData name="Mariam Daniela Tristancho Pineda (MISION TEMPORAL LTDA)" userId="a45a17f7-7950-4cb5-bfab-f5c894f959a9" providerId="ADAL" clId="{9D150B60-33B5-4A3E-8123-A67E35AA8D44}" dt="2020-07-28T14:54:29.699" v="19755"/>
          <ac:grpSpMkLst>
            <pc:docMk/>
            <pc:sldMk cId="335391689" sldId="2134804348"/>
            <ac:grpSpMk id="184" creationId="{884E2EF6-A695-4099-A2B6-0F9547F822CE}"/>
          </ac:grpSpMkLst>
        </pc:grpChg>
        <pc:grpChg chg="add mod">
          <ac:chgData name="Mariam Daniela Tristancho Pineda (MISION TEMPORAL LTDA)" userId="a45a17f7-7950-4cb5-bfab-f5c894f959a9" providerId="ADAL" clId="{9D150B60-33B5-4A3E-8123-A67E35AA8D44}" dt="2020-07-28T14:54:29.699" v="19755"/>
          <ac:grpSpMkLst>
            <pc:docMk/>
            <pc:sldMk cId="335391689" sldId="2134804348"/>
            <ac:grpSpMk id="187" creationId="{DCDAF61C-0635-4BC1-A730-863B28E19F95}"/>
          </ac:grpSpMkLst>
        </pc:grpChg>
        <pc:grpChg chg="add mod">
          <ac:chgData name="Mariam Daniela Tristancho Pineda (MISION TEMPORAL LTDA)" userId="a45a17f7-7950-4cb5-bfab-f5c894f959a9" providerId="ADAL" clId="{9D150B60-33B5-4A3E-8123-A67E35AA8D44}" dt="2020-07-28T14:54:29.699" v="19755"/>
          <ac:grpSpMkLst>
            <pc:docMk/>
            <pc:sldMk cId="335391689" sldId="2134804348"/>
            <ac:grpSpMk id="190" creationId="{981B98F0-CA0A-43A1-83BA-CF10C39FD866}"/>
          </ac:grpSpMkLst>
        </pc:grpChg>
        <pc:grpChg chg="add mod">
          <ac:chgData name="Mariam Daniela Tristancho Pineda (MISION TEMPORAL LTDA)" userId="a45a17f7-7950-4cb5-bfab-f5c894f959a9" providerId="ADAL" clId="{9D150B60-33B5-4A3E-8123-A67E35AA8D44}" dt="2020-07-28T14:54:29.699" v="19755"/>
          <ac:grpSpMkLst>
            <pc:docMk/>
            <pc:sldMk cId="335391689" sldId="2134804348"/>
            <ac:grpSpMk id="193" creationId="{19993FF3-042F-44D4-94B1-522465835A98}"/>
          </ac:grpSpMkLst>
        </pc:grpChg>
        <pc:grpChg chg="add mod">
          <ac:chgData name="Mariam Daniela Tristancho Pineda (MISION TEMPORAL LTDA)" userId="a45a17f7-7950-4cb5-bfab-f5c894f959a9" providerId="ADAL" clId="{9D150B60-33B5-4A3E-8123-A67E35AA8D44}" dt="2020-07-28T14:54:29.699" v="19755"/>
          <ac:grpSpMkLst>
            <pc:docMk/>
            <pc:sldMk cId="335391689" sldId="2134804348"/>
            <ac:grpSpMk id="196" creationId="{6BC4BE6A-330A-4333-9513-D80FD514C415}"/>
          </ac:grpSpMkLst>
        </pc:grpChg>
        <pc:grpChg chg="add mod">
          <ac:chgData name="Mariam Daniela Tristancho Pineda (MISION TEMPORAL LTDA)" userId="a45a17f7-7950-4cb5-bfab-f5c894f959a9" providerId="ADAL" clId="{9D150B60-33B5-4A3E-8123-A67E35AA8D44}" dt="2020-07-28T14:54:29.699" v="19755"/>
          <ac:grpSpMkLst>
            <pc:docMk/>
            <pc:sldMk cId="335391689" sldId="2134804348"/>
            <ac:grpSpMk id="199" creationId="{0DA33037-BC53-4E89-89A8-4E4008E6F02B}"/>
          </ac:grpSpMkLst>
        </pc:grpChg>
        <pc:grpChg chg="add mod">
          <ac:chgData name="Mariam Daniela Tristancho Pineda (MISION TEMPORAL LTDA)" userId="a45a17f7-7950-4cb5-bfab-f5c894f959a9" providerId="ADAL" clId="{9D150B60-33B5-4A3E-8123-A67E35AA8D44}" dt="2020-07-28T14:54:29.699" v="19755"/>
          <ac:grpSpMkLst>
            <pc:docMk/>
            <pc:sldMk cId="335391689" sldId="2134804348"/>
            <ac:grpSpMk id="202" creationId="{0D6396ED-3E1C-4D30-927C-4166E9665353}"/>
          </ac:grpSpMkLst>
        </pc:grpChg>
        <pc:grpChg chg="add mod">
          <ac:chgData name="Mariam Daniela Tristancho Pineda (MISION TEMPORAL LTDA)" userId="a45a17f7-7950-4cb5-bfab-f5c894f959a9" providerId="ADAL" clId="{9D150B60-33B5-4A3E-8123-A67E35AA8D44}" dt="2020-07-28T14:54:29.699" v="19755"/>
          <ac:grpSpMkLst>
            <pc:docMk/>
            <pc:sldMk cId="335391689" sldId="2134804348"/>
            <ac:grpSpMk id="205" creationId="{7F51F9D1-2BEA-4F61-8537-0FBC2725E248}"/>
          </ac:grpSpMkLst>
        </pc:grpChg>
      </pc:sldChg>
      <pc:sldChg chg="addSp delSp modSp add mod ord">
        <pc:chgData name="Mariam Daniela Tristancho Pineda (MISION TEMPORAL LTDA)" userId="a45a17f7-7950-4cb5-bfab-f5c894f959a9" providerId="ADAL" clId="{9D150B60-33B5-4A3E-8123-A67E35AA8D44}" dt="2020-07-28T20:54:38.125" v="20221" actId="14100"/>
        <pc:sldMkLst>
          <pc:docMk/>
          <pc:sldMk cId="1733347535" sldId="2134804349"/>
        </pc:sldMkLst>
        <pc:spChg chg="mod">
          <ac:chgData name="Mariam Daniela Tristancho Pineda (MISION TEMPORAL LTDA)" userId="a45a17f7-7950-4cb5-bfab-f5c894f959a9" providerId="ADAL" clId="{9D150B60-33B5-4A3E-8123-A67E35AA8D44}" dt="2020-07-28T20:50:50.489" v="20104" actId="1038"/>
          <ac:spMkLst>
            <pc:docMk/>
            <pc:sldMk cId="1733347535" sldId="2134804349"/>
            <ac:spMk id="3" creationId="{DDD289A7-0369-45FE-98EE-B73187DDD6B0}"/>
          </ac:spMkLst>
        </pc:spChg>
        <pc:spChg chg="mod">
          <ac:chgData name="Mariam Daniela Tristancho Pineda (MISION TEMPORAL LTDA)" userId="a45a17f7-7950-4cb5-bfab-f5c894f959a9" providerId="ADAL" clId="{9D150B60-33B5-4A3E-8123-A67E35AA8D44}" dt="2020-07-28T20:50:55.871" v="20109" actId="1035"/>
          <ac:spMkLst>
            <pc:docMk/>
            <pc:sldMk cId="1733347535" sldId="2134804349"/>
            <ac:spMk id="8" creationId="{0C366AD2-426E-4B9E-9347-2E20FFA2E6E0}"/>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15" creationId="{F5F6020F-918E-4261-B79A-8D7C5966BB0C}"/>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16" creationId="{ECDAB3D1-5BE4-45F7-BE33-9D8F60352953}"/>
          </ac:spMkLst>
        </pc:spChg>
        <pc:spChg chg="del">
          <ac:chgData name="Mariam Daniela Tristancho Pineda (MISION TEMPORAL LTDA)" userId="a45a17f7-7950-4cb5-bfab-f5c894f959a9" providerId="ADAL" clId="{9D150B60-33B5-4A3E-8123-A67E35AA8D44}" dt="2020-07-27T23:15:35.767" v="14558" actId="478"/>
          <ac:spMkLst>
            <pc:docMk/>
            <pc:sldMk cId="1733347535" sldId="2134804349"/>
            <ac:spMk id="17" creationId="{27EF5D95-3B07-44E6-B011-1AC68AA3644F}"/>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19" creationId="{F04331EA-3C34-4632-A33B-964C955FEA5B}"/>
          </ac:spMkLst>
        </pc:spChg>
        <pc:spChg chg="mod">
          <ac:chgData name="Mariam Daniela Tristancho Pineda (MISION TEMPORAL LTDA)" userId="a45a17f7-7950-4cb5-bfab-f5c894f959a9" providerId="ADAL" clId="{9D150B60-33B5-4A3E-8123-A67E35AA8D44}" dt="2020-07-28T00:11:48.333" v="15719" actId="20577"/>
          <ac:spMkLst>
            <pc:docMk/>
            <pc:sldMk cId="1733347535" sldId="2134804349"/>
            <ac:spMk id="20" creationId="{61B4F436-B882-46F2-9213-21298E84A788}"/>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21" creationId="{D56367BF-110C-466E-A427-18C278C78276}"/>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23" creationId="{53BFD633-DD81-4820-8BB0-84F3F711C502}"/>
          </ac:spMkLst>
        </pc:spChg>
        <pc:spChg chg="mod">
          <ac:chgData name="Mariam Daniela Tristancho Pineda (MISION TEMPORAL LTDA)" userId="a45a17f7-7950-4cb5-bfab-f5c894f959a9" providerId="ADAL" clId="{9D150B60-33B5-4A3E-8123-A67E35AA8D44}" dt="2020-07-28T00:05:13.143" v="15545" actId="20577"/>
          <ac:spMkLst>
            <pc:docMk/>
            <pc:sldMk cId="1733347535" sldId="2134804349"/>
            <ac:spMk id="27" creationId="{910DCB24-1C9B-45BE-9592-B8EC86E558A4}"/>
          </ac:spMkLst>
        </pc:spChg>
        <pc:spChg chg="mod">
          <ac:chgData name="Mariam Daniela Tristancho Pineda (MISION TEMPORAL LTDA)" userId="a45a17f7-7950-4cb5-bfab-f5c894f959a9" providerId="ADAL" clId="{9D150B60-33B5-4A3E-8123-A67E35AA8D44}" dt="2020-07-28T20:50:50.489" v="20104" actId="1038"/>
          <ac:spMkLst>
            <pc:docMk/>
            <pc:sldMk cId="1733347535" sldId="2134804349"/>
            <ac:spMk id="30" creationId="{5F7E5016-DD23-4661-804E-B6C4BAE33B30}"/>
          </ac:spMkLst>
        </pc:spChg>
        <pc:spChg chg="mod">
          <ac:chgData name="Mariam Daniela Tristancho Pineda (MISION TEMPORAL LTDA)" userId="a45a17f7-7950-4cb5-bfab-f5c894f959a9" providerId="ADAL" clId="{9D150B60-33B5-4A3E-8123-A67E35AA8D44}" dt="2020-07-28T00:07:10.391" v="15582" actId="20577"/>
          <ac:spMkLst>
            <pc:docMk/>
            <pc:sldMk cId="1733347535" sldId="2134804349"/>
            <ac:spMk id="33" creationId="{99A98136-5ADE-4ACF-97B1-9869591C8748}"/>
          </ac:spMkLst>
        </pc:spChg>
        <pc:spChg chg="mod">
          <ac:chgData name="Mariam Daniela Tristancho Pineda (MISION TEMPORAL LTDA)" userId="a45a17f7-7950-4cb5-bfab-f5c894f959a9" providerId="ADAL" clId="{9D150B60-33B5-4A3E-8123-A67E35AA8D44}" dt="2020-07-28T20:50:50.489" v="20104" actId="1038"/>
          <ac:spMkLst>
            <pc:docMk/>
            <pc:sldMk cId="1733347535" sldId="2134804349"/>
            <ac:spMk id="35" creationId="{DFED8390-B0BE-47C4-A314-7B9F72D0F9E6}"/>
          </ac:spMkLst>
        </pc:spChg>
        <pc:spChg chg="mod">
          <ac:chgData name="Mariam Daniela Tristancho Pineda (MISION TEMPORAL LTDA)" userId="a45a17f7-7950-4cb5-bfab-f5c894f959a9" providerId="ADAL" clId="{9D150B60-33B5-4A3E-8123-A67E35AA8D44}" dt="2020-07-28T20:50:50.489" v="20104" actId="1038"/>
          <ac:spMkLst>
            <pc:docMk/>
            <pc:sldMk cId="1733347535" sldId="2134804349"/>
            <ac:spMk id="36" creationId="{EDA60A94-0872-407F-85FC-F3F9C3EF25A4}"/>
          </ac:spMkLst>
        </pc:spChg>
        <pc:spChg chg="mod">
          <ac:chgData name="Mariam Daniela Tristancho Pineda (MISION TEMPORAL LTDA)" userId="a45a17f7-7950-4cb5-bfab-f5c894f959a9" providerId="ADAL" clId="{9D150B60-33B5-4A3E-8123-A67E35AA8D44}" dt="2020-07-27T23:54:54.911" v="15421" actId="1038"/>
          <ac:spMkLst>
            <pc:docMk/>
            <pc:sldMk cId="1733347535" sldId="2134804349"/>
            <ac:spMk id="39" creationId="{5FAD9D39-0163-48A2-AB90-B7B2E4C2CCC8}"/>
          </ac:spMkLst>
        </pc:spChg>
        <pc:spChg chg="mod">
          <ac:chgData name="Mariam Daniela Tristancho Pineda (MISION TEMPORAL LTDA)" userId="a45a17f7-7950-4cb5-bfab-f5c894f959a9" providerId="ADAL" clId="{9D150B60-33B5-4A3E-8123-A67E35AA8D44}" dt="2020-07-27T23:45:17.889" v="15225" actId="1038"/>
          <ac:spMkLst>
            <pc:docMk/>
            <pc:sldMk cId="1733347535" sldId="2134804349"/>
            <ac:spMk id="41" creationId="{064F22B7-719F-4DB7-AE4F-0C24E6C6F360}"/>
          </ac:spMkLst>
        </pc:spChg>
        <pc:spChg chg="mod">
          <ac:chgData name="Mariam Daniela Tristancho Pineda (MISION TEMPORAL LTDA)" userId="a45a17f7-7950-4cb5-bfab-f5c894f959a9" providerId="ADAL" clId="{9D150B60-33B5-4A3E-8123-A67E35AA8D44}" dt="2020-07-27T23:45:26.723" v="15229" actId="1038"/>
          <ac:spMkLst>
            <pc:docMk/>
            <pc:sldMk cId="1733347535" sldId="2134804349"/>
            <ac:spMk id="44" creationId="{46E9D7FD-BF26-46B8-B7E3-9CB37E4D07A8}"/>
          </ac:spMkLst>
        </pc:spChg>
        <pc:spChg chg="mod">
          <ac:chgData name="Mariam Daniela Tristancho Pineda (MISION TEMPORAL LTDA)" userId="a45a17f7-7950-4cb5-bfab-f5c894f959a9" providerId="ADAL" clId="{9D150B60-33B5-4A3E-8123-A67E35AA8D44}" dt="2020-07-27T23:54:45.097" v="15411" actId="1037"/>
          <ac:spMkLst>
            <pc:docMk/>
            <pc:sldMk cId="1733347535" sldId="2134804349"/>
            <ac:spMk id="47" creationId="{EFA49506-2534-42A7-80DC-155A5CF0A7FB}"/>
          </ac:spMkLst>
        </pc:spChg>
        <pc:spChg chg="mod">
          <ac:chgData name="Mariam Daniela Tristancho Pineda (MISION TEMPORAL LTDA)" userId="a45a17f7-7950-4cb5-bfab-f5c894f959a9" providerId="ADAL" clId="{9D150B60-33B5-4A3E-8123-A67E35AA8D44}" dt="2020-07-28T20:52:41.319" v="20151" actId="1038"/>
          <ac:spMkLst>
            <pc:docMk/>
            <pc:sldMk cId="1733347535" sldId="2134804349"/>
            <ac:spMk id="49" creationId="{5A708229-9B28-490D-903F-5AB937B8DCCB}"/>
          </ac:spMkLst>
        </pc:spChg>
        <pc:spChg chg="mod">
          <ac:chgData name="Mariam Daniela Tristancho Pineda (MISION TEMPORAL LTDA)" userId="a45a17f7-7950-4cb5-bfab-f5c894f959a9" providerId="ADAL" clId="{9D150B60-33B5-4A3E-8123-A67E35AA8D44}" dt="2020-07-28T20:53:04.410" v="20183" actId="1036"/>
          <ac:spMkLst>
            <pc:docMk/>
            <pc:sldMk cId="1733347535" sldId="2134804349"/>
            <ac:spMk id="51" creationId="{350F2DB1-0F66-4C61-809B-C437241509A5}"/>
          </ac:spMkLst>
        </pc:spChg>
        <pc:spChg chg="mod">
          <ac:chgData name="Mariam Daniela Tristancho Pineda (MISION TEMPORAL LTDA)" userId="a45a17f7-7950-4cb5-bfab-f5c894f959a9" providerId="ADAL" clId="{9D150B60-33B5-4A3E-8123-A67E35AA8D44}" dt="2020-07-28T20:53:02.265" v="20176" actId="1036"/>
          <ac:spMkLst>
            <pc:docMk/>
            <pc:sldMk cId="1733347535" sldId="2134804349"/>
            <ac:spMk id="52" creationId="{4407EECE-98B4-40AB-96BB-77D7A61DA8B5}"/>
          </ac:spMkLst>
        </pc:spChg>
        <pc:spChg chg="mod">
          <ac:chgData name="Mariam Daniela Tristancho Pineda (MISION TEMPORAL LTDA)" userId="a45a17f7-7950-4cb5-bfab-f5c894f959a9" providerId="ADAL" clId="{9D150B60-33B5-4A3E-8123-A67E35AA8D44}" dt="2020-07-28T20:53:00.511" v="20169" actId="1036"/>
          <ac:spMkLst>
            <pc:docMk/>
            <pc:sldMk cId="1733347535" sldId="2134804349"/>
            <ac:spMk id="54" creationId="{1DF61A54-2AFD-421C-81E7-70B64E75F3D8}"/>
          </ac:spMkLst>
        </pc:spChg>
        <pc:spChg chg="mod">
          <ac:chgData name="Mariam Daniela Tristancho Pineda (MISION TEMPORAL LTDA)" userId="a45a17f7-7950-4cb5-bfab-f5c894f959a9" providerId="ADAL" clId="{9D150B60-33B5-4A3E-8123-A67E35AA8D44}" dt="2020-07-28T00:06:40.816" v="15572" actId="20577"/>
          <ac:spMkLst>
            <pc:docMk/>
            <pc:sldMk cId="1733347535" sldId="2134804349"/>
            <ac:spMk id="56" creationId="{30228C31-EF71-4412-B19C-CEFAE9DC60E1}"/>
          </ac:spMkLst>
        </pc:spChg>
        <pc:spChg chg="mod">
          <ac:chgData name="Mariam Daniela Tristancho Pineda (MISION TEMPORAL LTDA)" userId="a45a17f7-7950-4cb5-bfab-f5c894f959a9" providerId="ADAL" clId="{9D150B60-33B5-4A3E-8123-A67E35AA8D44}" dt="2020-07-28T20:54:23.190" v="20214" actId="1037"/>
          <ac:spMkLst>
            <pc:docMk/>
            <pc:sldMk cId="1733347535" sldId="2134804349"/>
            <ac:spMk id="57" creationId="{E424978D-3298-4D61-9C24-342DF5218E94}"/>
          </ac:spMkLst>
        </pc:spChg>
        <pc:spChg chg="mod">
          <ac:chgData name="Mariam Daniela Tristancho Pineda (MISION TEMPORAL LTDA)" userId="a45a17f7-7950-4cb5-bfab-f5c894f959a9" providerId="ADAL" clId="{9D150B60-33B5-4A3E-8123-A67E35AA8D44}" dt="2020-07-28T20:54:31.701" v="20220" actId="1076"/>
          <ac:spMkLst>
            <pc:docMk/>
            <pc:sldMk cId="1733347535" sldId="2134804349"/>
            <ac:spMk id="58" creationId="{51D97962-D1FD-45CE-94F7-68488BED6062}"/>
          </ac:spMkLst>
        </pc:spChg>
        <pc:spChg chg="mod">
          <ac:chgData name="Mariam Daniela Tristancho Pineda (MISION TEMPORAL LTDA)" userId="a45a17f7-7950-4cb5-bfab-f5c894f959a9" providerId="ADAL" clId="{9D150B60-33B5-4A3E-8123-A67E35AA8D44}" dt="2020-07-28T20:54:23.190" v="20214" actId="1037"/>
          <ac:spMkLst>
            <pc:docMk/>
            <pc:sldMk cId="1733347535" sldId="2134804349"/>
            <ac:spMk id="59" creationId="{CA0293E5-6CDE-4F7F-B7BB-01753F923E25}"/>
          </ac:spMkLst>
        </pc:spChg>
        <pc:spChg chg="mod">
          <ac:chgData name="Mariam Daniela Tristancho Pineda (MISION TEMPORAL LTDA)" userId="a45a17f7-7950-4cb5-bfab-f5c894f959a9" providerId="ADAL" clId="{9D150B60-33B5-4A3E-8123-A67E35AA8D44}" dt="2020-07-28T20:54:23.190" v="20214" actId="1037"/>
          <ac:spMkLst>
            <pc:docMk/>
            <pc:sldMk cId="1733347535" sldId="2134804349"/>
            <ac:spMk id="60" creationId="{AAE09F5F-0A44-413D-B46E-3708871A0C92}"/>
          </ac:spMkLst>
        </pc:spChg>
        <pc:spChg chg="mod">
          <ac:chgData name="Mariam Daniela Tristancho Pineda (MISION TEMPORAL LTDA)" userId="a45a17f7-7950-4cb5-bfab-f5c894f959a9" providerId="ADAL" clId="{9D150B60-33B5-4A3E-8123-A67E35AA8D44}" dt="2020-07-28T20:54:26.760" v="20219" actId="1037"/>
          <ac:spMkLst>
            <pc:docMk/>
            <pc:sldMk cId="1733347535" sldId="2134804349"/>
            <ac:spMk id="61" creationId="{FDAFCC60-7C16-48C3-839A-2546E8A9832C}"/>
          </ac:spMkLst>
        </pc:spChg>
        <pc:spChg chg="mod">
          <ac:chgData name="Mariam Daniela Tristancho Pineda (MISION TEMPORAL LTDA)" userId="a45a17f7-7950-4cb5-bfab-f5c894f959a9" providerId="ADAL" clId="{9D150B60-33B5-4A3E-8123-A67E35AA8D44}" dt="2020-07-28T20:54:26.760" v="20219" actId="1037"/>
          <ac:spMkLst>
            <pc:docMk/>
            <pc:sldMk cId="1733347535" sldId="2134804349"/>
            <ac:spMk id="63" creationId="{183A3FB7-4D5F-4E25-954E-1CB39C43D36A}"/>
          </ac:spMkLst>
        </pc:spChg>
        <pc:spChg chg="mod">
          <ac:chgData name="Mariam Daniela Tristancho Pineda (MISION TEMPORAL LTDA)" userId="a45a17f7-7950-4cb5-bfab-f5c894f959a9" providerId="ADAL" clId="{9D150B60-33B5-4A3E-8123-A67E35AA8D44}" dt="2020-07-28T20:54:26.760" v="20219" actId="1037"/>
          <ac:spMkLst>
            <pc:docMk/>
            <pc:sldMk cId="1733347535" sldId="2134804349"/>
            <ac:spMk id="64" creationId="{3B1A5D6F-8203-4E15-B30A-BAAAAB00FBDB}"/>
          </ac:spMkLst>
        </pc:spChg>
        <pc:spChg chg="mod">
          <ac:chgData name="Mariam Daniela Tristancho Pineda (MISION TEMPORAL LTDA)" userId="a45a17f7-7950-4cb5-bfab-f5c894f959a9" providerId="ADAL" clId="{9D150B60-33B5-4A3E-8123-A67E35AA8D44}" dt="2020-07-28T20:54:26.760" v="20219" actId="1037"/>
          <ac:spMkLst>
            <pc:docMk/>
            <pc:sldMk cId="1733347535" sldId="2134804349"/>
            <ac:spMk id="65" creationId="{D3761158-1427-4892-A593-EFA9206EAC44}"/>
          </ac:spMkLst>
        </pc:spChg>
        <pc:spChg chg="mod">
          <ac:chgData name="Mariam Daniela Tristancho Pineda (MISION TEMPORAL LTDA)" userId="a45a17f7-7950-4cb5-bfab-f5c894f959a9" providerId="ADAL" clId="{9D150B60-33B5-4A3E-8123-A67E35AA8D44}" dt="2020-07-28T20:54:23.190" v="20214" actId="1037"/>
          <ac:spMkLst>
            <pc:docMk/>
            <pc:sldMk cId="1733347535" sldId="2134804349"/>
            <ac:spMk id="66" creationId="{66C4A00A-4D64-4945-9A1E-1FBEC3B1F06D}"/>
          </ac:spMkLst>
        </pc:spChg>
        <pc:spChg chg="mod">
          <ac:chgData name="Mariam Daniela Tristancho Pineda (MISION TEMPORAL LTDA)" userId="a45a17f7-7950-4cb5-bfab-f5c894f959a9" providerId="ADAL" clId="{9D150B60-33B5-4A3E-8123-A67E35AA8D44}" dt="2020-07-28T20:54:23.190" v="20214" actId="1037"/>
          <ac:spMkLst>
            <pc:docMk/>
            <pc:sldMk cId="1733347535" sldId="2134804349"/>
            <ac:spMk id="67" creationId="{3E63B4EF-B0E9-4C7F-817D-51259CFEBAB3}"/>
          </ac:spMkLst>
        </pc:spChg>
        <pc:spChg chg="mod">
          <ac:chgData name="Mariam Daniela Tristancho Pineda (MISION TEMPORAL LTDA)" userId="a45a17f7-7950-4cb5-bfab-f5c894f959a9" providerId="ADAL" clId="{9D150B60-33B5-4A3E-8123-A67E35AA8D44}" dt="2020-07-28T20:54:23.190" v="20214" actId="1037"/>
          <ac:spMkLst>
            <pc:docMk/>
            <pc:sldMk cId="1733347535" sldId="2134804349"/>
            <ac:spMk id="68" creationId="{EC4A468B-7CE8-45B5-96D6-08A54CE27F1D}"/>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69" creationId="{19A1630B-DA92-4FE5-8C69-AFF7139B1FFA}"/>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71" creationId="{1781D2B9-25A1-4883-B3CF-CA0BB0C946D1}"/>
          </ac:spMkLst>
        </pc:spChg>
        <pc:spChg chg="del">
          <ac:chgData name="Mariam Daniela Tristancho Pineda (MISION TEMPORAL LTDA)" userId="a45a17f7-7950-4cb5-bfab-f5c894f959a9" providerId="ADAL" clId="{9D150B60-33B5-4A3E-8123-A67E35AA8D44}" dt="2020-07-27T23:15:50.774" v="14561" actId="478"/>
          <ac:spMkLst>
            <pc:docMk/>
            <pc:sldMk cId="1733347535" sldId="2134804349"/>
            <ac:spMk id="73" creationId="{B6699A73-EDB1-419B-ADD3-D71E0B177E0A}"/>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74" creationId="{02238FA8-CD97-4ED0-9834-B628DBE001FC}"/>
          </ac:spMkLst>
        </pc:spChg>
        <pc:spChg chg="mod">
          <ac:chgData name="Mariam Daniela Tristancho Pineda (MISION TEMPORAL LTDA)" userId="a45a17f7-7950-4cb5-bfab-f5c894f959a9" providerId="ADAL" clId="{9D150B60-33B5-4A3E-8123-A67E35AA8D44}" dt="2020-07-28T20:54:38.125" v="20221" actId="14100"/>
          <ac:spMkLst>
            <pc:docMk/>
            <pc:sldMk cId="1733347535" sldId="2134804349"/>
            <ac:spMk id="75" creationId="{2661451E-D5D5-4E61-ACCE-D44BDCEFB3E1}"/>
          </ac:spMkLst>
        </pc:spChg>
        <pc:spChg chg="mod">
          <ac:chgData name="Mariam Daniela Tristancho Pineda (MISION TEMPORAL LTDA)" userId="a45a17f7-7950-4cb5-bfab-f5c894f959a9" providerId="ADAL" clId="{9D150B60-33B5-4A3E-8123-A67E35AA8D44}" dt="2020-07-28T00:14:31.569" v="15785" actId="13926"/>
          <ac:spMkLst>
            <pc:docMk/>
            <pc:sldMk cId="1733347535" sldId="2134804349"/>
            <ac:spMk id="77" creationId="{19024DAF-FA7E-4978-AEF2-0968B2C95CEF}"/>
          </ac:spMkLst>
        </pc:spChg>
        <pc:spChg chg="mod">
          <ac:chgData name="Mariam Daniela Tristancho Pineda (MISION TEMPORAL LTDA)" userId="a45a17f7-7950-4cb5-bfab-f5c894f959a9" providerId="ADAL" clId="{9D150B60-33B5-4A3E-8123-A67E35AA8D44}" dt="2020-07-28T20:50:38.116" v="20089" actId="465"/>
          <ac:spMkLst>
            <pc:docMk/>
            <pc:sldMk cId="1733347535" sldId="2134804349"/>
            <ac:spMk id="79" creationId="{760F56BD-3709-40D0-B01B-5BB74DB2FB5A}"/>
          </ac:spMkLst>
        </pc:spChg>
        <pc:spChg chg="mod">
          <ac:chgData name="Mariam Daniela Tristancho Pineda (MISION TEMPORAL LTDA)" userId="a45a17f7-7950-4cb5-bfab-f5c894f959a9" providerId="ADAL" clId="{9D150B60-33B5-4A3E-8123-A67E35AA8D44}" dt="2020-07-28T20:50:38.116" v="20089" actId="465"/>
          <ac:spMkLst>
            <pc:docMk/>
            <pc:sldMk cId="1733347535" sldId="2134804349"/>
            <ac:spMk id="80" creationId="{69A65156-BB61-4872-83C3-69BE7DB70071}"/>
          </ac:spMkLst>
        </pc:spChg>
        <pc:spChg chg="mod">
          <ac:chgData name="Mariam Daniela Tristancho Pineda (MISION TEMPORAL LTDA)" userId="a45a17f7-7950-4cb5-bfab-f5c894f959a9" providerId="ADAL" clId="{9D150B60-33B5-4A3E-8123-A67E35AA8D44}" dt="2020-07-28T20:50:38.116" v="20089" actId="465"/>
          <ac:spMkLst>
            <pc:docMk/>
            <pc:sldMk cId="1733347535" sldId="2134804349"/>
            <ac:spMk id="81" creationId="{9C01BBC6-8784-4E73-A8BF-AE202025C6D8}"/>
          </ac:spMkLst>
        </pc:spChg>
        <pc:spChg chg="mod">
          <ac:chgData name="Mariam Daniela Tristancho Pineda (MISION TEMPORAL LTDA)" userId="a45a17f7-7950-4cb5-bfab-f5c894f959a9" providerId="ADAL" clId="{9D150B60-33B5-4A3E-8123-A67E35AA8D44}" dt="2020-07-28T00:18:29.647" v="15894" actId="12788"/>
          <ac:spMkLst>
            <pc:docMk/>
            <pc:sldMk cId="1733347535" sldId="2134804349"/>
            <ac:spMk id="84" creationId="{293DBAF3-3942-4C58-8A63-D4484E215E20}"/>
          </ac:spMkLst>
        </pc:spChg>
        <pc:spChg chg="mod">
          <ac:chgData name="Mariam Daniela Tristancho Pineda (MISION TEMPORAL LTDA)" userId="a45a17f7-7950-4cb5-bfab-f5c894f959a9" providerId="ADAL" clId="{9D150B60-33B5-4A3E-8123-A67E35AA8D44}" dt="2020-07-28T00:18:03.478" v="15872" actId="20577"/>
          <ac:spMkLst>
            <pc:docMk/>
            <pc:sldMk cId="1733347535" sldId="2134804349"/>
            <ac:spMk id="86" creationId="{7696A978-4362-4DE3-8C58-0F58608C4AA6}"/>
          </ac:spMkLst>
        </pc:spChg>
        <pc:spChg chg="mod">
          <ac:chgData name="Mariam Daniela Tristancho Pineda (MISION TEMPORAL LTDA)" userId="a45a17f7-7950-4cb5-bfab-f5c894f959a9" providerId="ADAL" clId="{9D150B60-33B5-4A3E-8123-A67E35AA8D44}" dt="2020-07-28T20:53:22.356" v="20188" actId="555"/>
          <ac:spMkLst>
            <pc:docMk/>
            <pc:sldMk cId="1733347535" sldId="2134804349"/>
            <ac:spMk id="87" creationId="{F991C183-F691-42BB-986A-1D4B3D0103EB}"/>
          </ac:spMkLst>
        </pc:spChg>
        <pc:spChg chg="mod">
          <ac:chgData name="Mariam Daniela Tristancho Pineda (MISION TEMPORAL LTDA)" userId="a45a17f7-7950-4cb5-bfab-f5c894f959a9" providerId="ADAL" clId="{9D150B60-33B5-4A3E-8123-A67E35AA8D44}" dt="2020-07-28T20:52:41.319" v="20151" actId="1038"/>
          <ac:spMkLst>
            <pc:docMk/>
            <pc:sldMk cId="1733347535" sldId="2134804349"/>
            <ac:spMk id="91" creationId="{18F9C7D0-B217-4434-8D0C-695D97120E3B}"/>
          </ac:spMkLst>
        </pc:spChg>
        <pc:spChg chg="mod">
          <ac:chgData name="Mariam Daniela Tristancho Pineda (MISION TEMPORAL LTDA)" userId="a45a17f7-7950-4cb5-bfab-f5c894f959a9" providerId="ADAL" clId="{9D150B60-33B5-4A3E-8123-A67E35AA8D44}" dt="2020-07-28T20:52:56.516" v="20161" actId="465"/>
          <ac:spMkLst>
            <pc:docMk/>
            <pc:sldMk cId="1733347535" sldId="2134804349"/>
            <ac:spMk id="98" creationId="{D7FEAE21-9F37-4A63-909A-1A7AC2BC0417}"/>
          </ac:spMkLst>
        </pc:spChg>
        <pc:spChg chg="mod">
          <ac:chgData name="Mariam Daniela Tristancho Pineda (MISION TEMPORAL LTDA)" userId="a45a17f7-7950-4cb5-bfab-f5c894f959a9" providerId="ADAL" clId="{9D150B60-33B5-4A3E-8123-A67E35AA8D44}" dt="2020-07-28T20:52:56.516" v="20161" actId="465"/>
          <ac:spMkLst>
            <pc:docMk/>
            <pc:sldMk cId="1733347535" sldId="2134804349"/>
            <ac:spMk id="101" creationId="{79B59DCD-FE2A-4CB0-A0BF-16552D365CC8}"/>
          </ac:spMkLst>
        </pc:spChg>
        <pc:spChg chg="mod">
          <ac:chgData name="Mariam Daniela Tristancho Pineda (MISION TEMPORAL LTDA)" userId="a45a17f7-7950-4cb5-bfab-f5c894f959a9" providerId="ADAL" clId="{9D150B60-33B5-4A3E-8123-A67E35AA8D44}" dt="2020-07-28T20:52:56.516" v="20161" actId="465"/>
          <ac:spMkLst>
            <pc:docMk/>
            <pc:sldMk cId="1733347535" sldId="2134804349"/>
            <ac:spMk id="107" creationId="{DCDB75E1-F08D-48E6-BD8F-C8C43CF0E9E4}"/>
          </ac:spMkLst>
        </pc:spChg>
        <pc:spChg chg="mod">
          <ac:chgData name="Mariam Daniela Tristancho Pineda (MISION TEMPORAL LTDA)" userId="a45a17f7-7950-4cb5-bfab-f5c894f959a9" providerId="ADAL" clId="{9D150B60-33B5-4A3E-8123-A67E35AA8D44}" dt="2020-07-28T20:52:56.516" v="20161" actId="465"/>
          <ac:spMkLst>
            <pc:docMk/>
            <pc:sldMk cId="1733347535" sldId="2134804349"/>
            <ac:spMk id="112" creationId="{D3449E55-D9E7-48E9-9077-F060D307C218}"/>
          </ac:spMkLst>
        </pc:spChg>
        <pc:spChg chg="mod">
          <ac:chgData name="Mariam Daniela Tristancho Pineda (MISION TEMPORAL LTDA)" userId="a45a17f7-7950-4cb5-bfab-f5c894f959a9" providerId="ADAL" clId="{9D150B60-33B5-4A3E-8123-A67E35AA8D44}" dt="2020-07-28T20:53:22.356" v="20188" actId="555"/>
          <ac:spMkLst>
            <pc:docMk/>
            <pc:sldMk cId="1733347535" sldId="2134804349"/>
            <ac:spMk id="113" creationId="{F23ED729-3677-42FF-A4D9-F74AADEEAC49}"/>
          </ac:spMkLst>
        </pc:spChg>
        <pc:spChg chg="mod">
          <ac:chgData name="Mariam Daniela Tristancho Pineda (MISION TEMPORAL LTDA)" userId="a45a17f7-7950-4cb5-bfab-f5c894f959a9" providerId="ADAL" clId="{9D150B60-33B5-4A3E-8123-A67E35AA8D44}" dt="2020-07-28T20:54:23.190" v="20214" actId="1037"/>
          <ac:spMkLst>
            <pc:docMk/>
            <pc:sldMk cId="1733347535" sldId="2134804349"/>
            <ac:spMk id="114" creationId="{DAB2F9B5-A408-483C-BB0C-541C04A64603}"/>
          </ac:spMkLst>
        </pc:spChg>
        <pc:spChg chg="mod">
          <ac:chgData name="Mariam Daniela Tristancho Pineda (MISION TEMPORAL LTDA)" userId="a45a17f7-7950-4cb5-bfab-f5c894f959a9" providerId="ADAL" clId="{9D150B60-33B5-4A3E-8123-A67E35AA8D44}" dt="2020-07-28T00:18:24.424" v="15893" actId="1038"/>
          <ac:spMkLst>
            <pc:docMk/>
            <pc:sldMk cId="1733347535" sldId="2134804349"/>
            <ac:spMk id="117" creationId="{8960734A-1053-42D2-BD72-6674DCCE6A97}"/>
          </ac:spMkLst>
        </pc:spChg>
        <pc:spChg chg="mod">
          <ac:chgData name="Mariam Daniela Tristancho Pineda (MISION TEMPORAL LTDA)" userId="a45a17f7-7950-4cb5-bfab-f5c894f959a9" providerId="ADAL" clId="{9D150B60-33B5-4A3E-8123-A67E35AA8D44}" dt="2020-07-28T00:18:29.647" v="15894" actId="12788"/>
          <ac:spMkLst>
            <pc:docMk/>
            <pc:sldMk cId="1733347535" sldId="2134804349"/>
            <ac:spMk id="118" creationId="{C77431EE-A761-4323-B75F-692D4CAEC462}"/>
          </ac:spMkLst>
        </pc:spChg>
        <pc:spChg chg="mod">
          <ac:chgData name="Mariam Daniela Tristancho Pineda (MISION TEMPORAL LTDA)" userId="a45a17f7-7950-4cb5-bfab-f5c894f959a9" providerId="ADAL" clId="{9D150B60-33B5-4A3E-8123-A67E35AA8D44}" dt="2020-07-28T00:18:24.424" v="15893" actId="1038"/>
          <ac:spMkLst>
            <pc:docMk/>
            <pc:sldMk cId="1733347535" sldId="2134804349"/>
            <ac:spMk id="119" creationId="{A66DDFF6-8990-4632-9B16-3852035C81BA}"/>
          </ac:spMkLst>
        </pc:spChg>
        <pc:spChg chg="mod">
          <ac:chgData name="Mariam Daniela Tristancho Pineda (MISION TEMPORAL LTDA)" userId="a45a17f7-7950-4cb5-bfab-f5c894f959a9" providerId="ADAL" clId="{9D150B60-33B5-4A3E-8123-A67E35AA8D44}" dt="2020-07-28T20:54:23.190" v="20214" actId="1037"/>
          <ac:spMkLst>
            <pc:docMk/>
            <pc:sldMk cId="1733347535" sldId="2134804349"/>
            <ac:spMk id="121" creationId="{DCD85B41-E0F2-49DE-BE7E-2285DCE4306F}"/>
          </ac:spMkLst>
        </pc:spChg>
        <pc:spChg chg="mod">
          <ac:chgData name="Mariam Daniela Tristancho Pineda (MISION TEMPORAL LTDA)" userId="a45a17f7-7950-4cb5-bfab-f5c894f959a9" providerId="ADAL" clId="{9D150B60-33B5-4A3E-8123-A67E35AA8D44}" dt="2020-07-28T20:54:23.190" v="20214" actId="1037"/>
          <ac:spMkLst>
            <pc:docMk/>
            <pc:sldMk cId="1733347535" sldId="2134804349"/>
            <ac:spMk id="123" creationId="{96309232-3CEA-4DD6-AFA6-EB7949BDC5D2}"/>
          </ac:spMkLst>
        </pc:spChg>
        <pc:spChg chg="mod">
          <ac:chgData name="Mariam Daniela Tristancho Pineda (MISION TEMPORAL LTDA)" userId="a45a17f7-7950-4cb5-bfab-f5c894f959a9" providerId="ADAL" clId="{9D150B60-33B5-4A3E-8123-A67E35AA8D44}" dt="2020-07-28T20:54:26.760" v="20219" actId="1037"/>
          <ac:spMkLst>
            <pc:docMk/>
            <pc:sldMk cId="1733347535" sldId="2134804349"/>
            <ac:spMk id="128" creationId="{8C357E4C-4A5B-4328-8E90-B9521B819DA8}"/>
          </ac:spMkLst>
        </pc:spChg>
        <pc:spChg chg="mod">
          <ac:chgData name="Mariam Daniela Tristancho Pineda (MISION TEMPORAL LTDA)" userId="a45a17f7-7950-4cb5-bfab-f5c894f959a9" providerId="ADAL" clId="{9D150B60-33B5-4A3E-8123-A67E35AA8D44}" dt="2020-07-28T20:54:26.760" v="20219" actId="1037"/>
          <ac:spMkLst>
            <pc:docMk/>
            <pc:sldMk cId="1733347535" sldId="2134804349"/>
            <ac:spMk id="129" creationId="{24CA492A-FC13-4941-B289-964D9D2C0595}"/>
          </ac:spMkLst>
        </pc:spChg>
        <pc:spChg chg="mod">
          <ac:chgData name="Mariam Daniela Tristancho Pineda (MISION TEMPORAL LTDA)" userId="a45a17f7-7950-4cb5-bfab-f5c894f959a9" providerId="ADAL" clId="{9D150B60-33B5-4A3E-8123-A67E35AA8D44}" dt="2020-07-28T20:54:26.760" v="20219" actId="1037"/>
          <ac:spMkLst>
            <pc:docMk/>
            <pc:sldMk cId="1733347535" sldId="2134804349"/>
            <ac:spMk id="131" creationId="{659F8239-3772-4B5D-84D9-B6820973AB7D}"/>
          </ac:spMkLst>
        </pc:spChg>
        <pc:spChg chg="mod">
          <ac:chgData name="Mariam Daniela Tristancho Pineda (MISION TEMPORAL LTDA)" userId="a45a17f7-7950-4cb5-bfab-f5c894f959a9" providerId="ADAL" clId="{9D150B60-33B5-4A3E-8123-A67E35AA8D44}" dt="2020-07-28T00:30:11.642" v="16276" actId="20577"/>
          <ac:spMkLst>
            <pc:docMk/>
            <pc:sldMk cId="1733347535" sldId="2134804349"/>
            <ac:spMk id="135" creationId="{C1823568-A421-4254-9106-BAEB76F16B72}"/>
          </ac:spMkLst>
        </pc:spChg>
        <pc:spChg chg="mod">
          <ac:chgData name="Mariam Daniela Tristancho Pineda (MISION TEMPORAL LTDA)" userId="a45a17f7-7950-4cb5-bfab-f5c894f959a9" providerId="ADAL" clId="{9D150B60-33B5-4A3E-8123-A67E35AA8D44}" dt="2020-07-28T20:54:26.760" v="20219" actId="1037"/>
          <ac:spMkLst>
            <pc:docMk/>
            <pc:sldMk cId="1733347535" sldId="2134804349"/>
            <ac:spMk id="139" creationId="{9F2C6947-6656-4F12-920F-7F25FE0E0A75}"/>
          </ac:spMkLst>
        </pc:spChg>
        <pc:spChg chg="mod">
          <ac:chgData name="Mariam Daniela Tristancho Pineda (MISION TEMPORAL LTDA)" userId="a45a17f7-7950-4cb5-bfab-f5c894f959a9" providerId="ADAL" clId="{9D150B60-33B5-4A3E-8123-A67E35AA8D44}" dt="2020-07-28T20:54:23.190" v="20214" actId="1037"/>
          <ac:spMkLst>
            <pc:docMk/>
            <pc:sldMk cId="1733347535" sldId="2134804349"/>
            <ac:spMk id="141" creationId="{B4C15846-F4C9-4548-B734-938F5E1AC7DD}"/>
          </ac:spMkLst>
        </pc:spChg>
        <pc:spChg chg="mod">
          <ac:chgData name="Mariam Daniela Tristancho Pineda (MISION TEMPORAL LTDA)" userId="a45a17f7-7950-4cb5-bfab-f5c894f959a9" providerId="ADAL" clId="{9D150B60-33B5-4A3E-8123-A67E35AA8D44}" dt="2020-07-28T20:54:23.190" v="20214" actId="1037"/>
          <ac:spMkLst>
            <pc:docMk/>
            <pc:sldMk cId="1733347535" sldId="2134804349"/>
            <ac:spMk id="143" creationId="{D6B161C2-FF96-468A-8368-81C555D3426A}"/>
          </ac:spMkLst>
        </pc:spChg>
        <pc:spChg chg="mod">
          <ac:chgData name="Mariam Daniela Tristancho Pineda (MISION TEMPORAL LTDA)" userId="a45a17f7-7950-4cb5-bfab-f5c894f959a9" providerId="ADAL" clId="{9D150B60-33B5-4A3E-8123-A67E35AA8D44}" dt="2020-07-28T20:54:23.190" v="20214" actId="1037"/>
          <ac:spMkLst>
            <pc:docMk/>
            <pc:sldMk cId="1733347535" sldId="2134804349"/>
            <ac:spMk id="150" creationId="{C28A80CF-1701-4EF2-8A2B-1130DC0D68B0}"/>
          </ac:spMkLst>
        </pc:spChg>
        <pc:spChg chg="mod topLvl">
          <ac:chgData name="Mariam Daniela Tristancho Pineda (MISION TEMPORAL LTDA)" userId="a45a17f7-7950-4cb5-bfab-f5c894f959a9" providerId="ADAL" clId="{9D150B60-33B5-4A3E-8123-A67E35AA8D44}" dt="2020-07-27T23:26:23.381" v="14851" actId="20577"/>
          <ac:spMkLst>
            <pc:docMk/>
            <pc:sldMk cId="1733347535" sldId="2134804349"/>
            <ac:spMk id="155" creationId="{FE76AC8F-D97E-47CE-BED9-B7092D0CB7B2}"/>
          </ac:spMkLst>
        </pc:spChg>
        <pc:spChg chg="del mod topLvl">
          <ac:chgData name="Mariam Daniela Tristancho Pineda (MISION TEMPORAL LTDA)" userId="a45a17f7-7950-4cb5-bfab-f5c894f959a9" providerId="ADAL" clId="{9D150B60-33B5-4A3E-8123-A67E35AA8D44}" dt="2020-07-27T23:26:21.214" v="14850" actId="478"/>
          <ac:spMkLst>
            <pc:docMk/>
            <pc:sldMk cId="1733347535" sldId="2134804349"/>
            <ac:spMk id="157" creationId="{825B4315-B28B-499F-ABF7-77B636AE6191}"/>
          </ac:spMkLst>
        </pc:spChg>
        <pc:spChg chg="mod">
          <ac:chgData name="Mariam Daniela Tristancho Pineda (MISION TEMPORAL LTDA)" userId="a45a17f7-7950-4cb5-bfab-f5c894f959a9" providerId="ADAL" clId="{9D150B60-33B5-4A3E-8123-A67E35AA8D44}" dt="2020-07-28T00:10:58.362" v="15688" actId="1035"/>
          <ac:spMkLst>
            <pc:docMk/>
            <pc:sldMk cId="1733347535" sldId="2134804349"/>
            <ac:spMk id="169" creationId="{41B9922E-6AB6-4BE2-8AB9-1E9616B45BCF}"/>
          </ac:spMkLst>
        </pc:spChg>
        <pc:spChg chg="mod">
          <ac:chgData name="Mariam Daniela Tristancho Pineda (MISION TEMPORAL LTDA)" userId="a45a17f7-7950-4cb5-bfab-f5c894f959a9" providerId="ADAL" clId="{9D150B60-33B5-4A3E-8123-A67E35AA8D44}" dt="2020-07-28T00:14:14.853" v="15782" actId="20577"/>
          <ac:spMkLst>
            <pc:docMk/>
            <pc:sldMk cId="1733347535" sldId="2134804349"/>
            <ac:spMk id="176" creationId="{46FC7FF0-770D-4257-9C65-A46DAC1DCCC6}"/>
          </ac:spMkLst>
        </pc:spChg>
        <pc:spChg chg="mod">
          <ac:chgData name="Mariam Daniela Tristancho Pineda (MISION TEMPORAL LTDA)" userId="a45a17f7-7950-4cb5-bfab-f5c894f959a9" providerId="ADAL" clId="{9D150B60-33B5-4A3E-8123-A67E35AA8D44}" dt="2020-07-28T00:11:08.558" v="15696" actId="1035"/>
          <ac:spMkLst>
            <pc:docMk/>
            <pc:sldMk cId="1733347535" sldId="2134804349"/>
            <ac:spMk id="180" creationId="{0117387A-7B68-42A3-92C5-25DEBE10BBDC}"/>
          </ac:spMkLst>
        </pc:spChg>
        <pc:spChg chg="mod">
          <ac:chgData name="Mariam Daniela Tristancho Pineda (MISION TEMPORAL LTDA)" userId="a45a17f7-7950-4cb5-bfab-f5c894f959a9" providerId="ADAL" clId="{9D150B60-33B5-4A3E-8123-A67E35AA8D44}" dt="2020-07-28T00:14:16.813" v="15784" actId="20577"/>
          <ac:spMkLst>
            <pc:docMk/>
            <pc:sldMk cId="1733347535" sldId="2134804349"/>
            <ac:spMk id="183" creationId="{95C868E9-B916-48E1-8918-4365584CC914}"/>
          </ac:spMkLst>
        </pc:spChg>
        <pc:spChg chg="mod">
          <ac:chgData name="Mariam Daniela Tristancho Pineda (MISION TEMPORAL LTDA)" userId="a45a17f7-7950-4cb5-bfab-f5c894f959a9" providerId="ADAL" clId="{9D150B60-33B5-4A3E-8123-A67E35AA8D44}" dt="2020-07-28T00:11:41.595" v="15716" actId="1035"/>
          <ac:spMkLst>
            <pc:docMk/>
            <pc:sldMk cId="1733347535" sldId="2134804349"/>
            <ac:spMk id="188" creationId="{B335F6AC-E23B-4A63-8385-CEF715A737A3}"/>
          </ac:spMkLst>
        </pc:spChg>
        <pc:spChg chg="mod">
          <ac:chgData name="Mariam Daniela Tristancho Pineda (MISION TEMPORAL LTDA)" userId="a45a17f7-7950-4cb5-bfab-f5c894f959a9" providerId="ADAL" clId="{9D150B60-33B5-4A3E-8123-A67E35AA8D44}" dt="2020-07-28T00:11:14.926" v="15704" actId="1035"/>
          <ac:spMkLst>
            <pc:docMk/>
            <pc:sldMk cId="1733347535" sldId="2134804349"/>
            <ac:spMk id="193" creationId="{36F94EA4-7FF0-4A77-9EC7-82EF66D611D1}"/>
          </ac:spMkLst>
        </pc:spChg>
        <pc:spChg chg="mod">
          <ac:chgData name="Mariam Daniela Tristancho Pineda (MISION TEMPORAL LTDA)" userId="a45a17f7-7950-4cb5-bfab-f5c894f959a9" providerId="ADAL" clId="{9D150B60-33B5-4A3E-8123-A67E35AA8D44}" dt="2020-07-28T00:12:39.795" v="15780" actId="1036"/>
          <ac:spMkLst>
            <pc:docMk/>
            <pc:sldMk cId="1733347535" sldId="2134804349"/>
            <ac:spMk id="202" creationId="{46E3048B-B6A6-40B9-B5FF-1DE37E3D0ADD}"/>
          </ac:spMkLst>
        </pc:spChg>
        <pc:spChg chg="mod">
          <ac:chgData name="Mariam Daniela Tristancho Pineda (MISION TEMPORAL LTDA)" userId="a45a17f7-7950-4cb5-bfab-f5c894f959a9" providerId="ADAL" clId="{9D150B60-33B5-4A3E-8123-A67E35AA8D44}" dt="2020-07-28T00:12:28.358" v="15756" actId="1035"/>
          <ac:spMkLst>
            <pc:docMk/>
            <pc:sldMk cId="1733347535" sldId="2134804349"/>
            <ac:spMk id="212" creationId="{A7173743-7B0D-42C7-AD5F-F8C137BBD2E8}"/>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219" creationId="{62FC86D8-1E1F-477E-A8C1-DE0EA4C4AB17}"/>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221" creationId="{C23958D9-8D2A-476C-A650-5C5842068126}"/>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223" creationId="{99E0F853-4FD1-46B7-8A75-EA8670F01C90}"/>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233" creationId="{A9C794B6-CC7C-44F8-BC30-A0E42B3A6EAF}"/>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235" creationId="{67397329-06CB-4EAD-BB20-9DB9C847A3B1}"/>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237" creationId="{51598549-7FE1-4A9E-8F40-B2099285B661}"/>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245" creationId="{949AE6BC-C4BD-42D8-A565-AB7EDB4317E3}"/>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250" creationId="{283034AC-573E-4107-9EF2-89F51EF2A205}"/>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259" creationId="{06833351-5094-45E5-BD2C-6B56549573F5}"/>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264" creationId="{38FBE262-4DE2-4BFB-92ED-2D8B628EA74B}"/>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266" creationId="{3F5EB619-321B-4051-ADC8-A5FF99ED0CED}"/>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268" creationId="{BA6697D6-3D1D-4926-859F-D1F6118C71E9}"/>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270" creationId="{E0A77003-E797-44F0-AA39-E958F4CCF4F6}"/>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275" creationId="{AA44D995-3733-4034-9C79-2150FB82BEAD}"/>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277" creationId="{8C179BE5-9C31-4DC6-92CF-18666A46155E}"/>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279" creationId="{D2382CA9-8FE7-409F-94B6-FC3C93B2E2C2}"/>
          </ac:spMkLst>
        </pc:spChg>
        <pc:spChg chg="del">
          <ac:chgData name="Mariam Daniela Tristancho Pineda (MISION TEMPORAL LTDA)" userId="a45a17f7-7950-4cb5-bfab-f5c894f959a9" providerId="ADAL" clId="{9D150B60-33B5-4A3E-8123-A67E35AA8D44}" dt="2020-07-27T23:15:35.767" v="14558" actId="478"/>
          <ac:spMkLst>
            <pc:docMk/>
            <pc:sldMk cId="1733347535" sldId="2134804349"/>
            <ac:spMk id="281" creationId="{BFE021B3-7541-4086-AE13-E0AEBDB16A7C}"/>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283" creationId="{5B397935-C4A0-45CD-9F44-64AC2D6438E5}"/>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289" creationId="{31F7DDF3-B54D-4052-9A28-CCF92FB2E3A4}"/>
          </ac:spMkLst>
        </pc:spChg>
        <pc:spChg chg="del">
          <ac:chgData name="Mariam Daniela Tristancho Pineda (MISION TEMPORAL LTDA)" userId="a45a17f7-7950-4cb5-bfab-f5c894f959a9" providerId="ADAL" clId="{9D150B60-33B5-4A3E-8123-A67E35AA8D44}" dt="2020-07-27T23:15:26.039" v="14557" actId="478"/>
          <ac:spMkLst>
            <pc:docMk/>
            <pc:sldMk cId="1733347535" sldId="2134804349"/>
            <ac:spMk id="294" creationId="{79DB0C09-F46C-41B0-9923-1FFB6676262E}"/>
          </ac:spMkLst>
        </pc:spChg>
        <pc:grpChg chg="mod">
          <ac:chgData name="Mariam Daniela Tristancho Pineda (MISION TEMPORAL LTDA)" userId="a45a17f7-7950-4cb5-bfab-f5c894f959a9" providerId="ADAL" clId="{9D150B60-33B5-4A3E-8123-A67E35AA8D44}" dt="2020-07-28T01:04:45.959" v="17342" actId="1038"/>
          <ac:grpSpMkLst>
            <pc:docMk/>
            <pc:sldMk cId="1733347535" sldId="2134804349"/>
            <ac:grpSpMk id="22" creationId="{2B98B6A7-7227-4CB8-80CE-DF246B94E3DA}"/>
          </ac:grpSpMkLst>
        </pc:grpChg>
        <pc:grpChg chg="add del mod">
          <ac:chgData name="Mariam Daniela Tristancho Pineda (MISION TEMPORAL LTDA)" userId="a45a17f7-7950-4cb5-bfab-f5c894f959a9" providerId="ADAL" clId="{9D150B60-33B5-4A3E-8123-A67E35AA8D44}" dt="2020-07-28T01:04:45.959" v="17342" actId="1038"/>
          <ac:grpSpMkLst>
            <pc:docMk/>
            <pc:sldMk cId="1733347535" sldId="2134804349"/>
            <ac:grpSpMk id="26" creationId="{5B1CDA9C-37CE-441A-94E7-5A5F38503613}"/>
          </ac:grpSpMkLst>
        </pc:grpChg>
        <pc:grpChg chg="mod">
          <ac:chgData name="Mariam Daniela Tristancho Pineda (MISION TEMPORAL LTDA)" userId="a45a17f7-7950-4cb5-bfab-f5c894f959a9" providerId="ADAL" clId="{9D150B60-33B5-4A3E-8123-A67E35AA8D44}" dt="2020-07-28T01:04:45.959" v="17342" actId="1038"/>
          <ac:grpSpMkLst>
            <pc:docMk/>
            <pc:sldMk cId="1733347535" sldId="2134804349"/>
            <ac:grpSpMk id="31" creationId="{A0B07E6C-42EA-42D4-BF18-74CF8467911A}"/>
          </ac:grpSpMkLst>
        </pc:grpChg>
        <pc:grpChg chg="add del mod">
          <ac:chgData name="Mariam Daniela Tristancho Pineda (MISION TEMPORAL LTDA)" userId="a45a17f7-7950-4cb5-bfab-f5c894f959a9" providerId="ADAL" clId="{9D150B60-33B5-4A3E-8123-A67E35AA8D44}" dt="2020-07-27T23:57:32.668" v="15445" actId="478"/>
          <ac:grpSpMkLst>
            <pc:docMk/>
            <pc:sldMk cId="1733347535" sldId="2134804349"/>
            <ac:grpSpMk id="37" creationId="{33A4F641-6F0E-462A-898E-0641B151AA65}"/>
          </ac:grpSpMkLst>
        </pc:grpChg>
        <pc:grpChg chg="mod">
          <ac:chgData name="Mariam Daniela Tristancho Pineda (MISION TEMPORAL LTDA)" userId="a45a17f7-7950-4cb5-bfab-f5c894f959a9" providerId="ADAL" clId="{9D150B60-33B5-4A3E-8123-A67E35AA8D44}" dt="2020-07-28T20:52:41.319" v="20151" actId="1038"/>
          <ac:grpSpMkLst>
            <pc:docMk/>
            <pc:sldMk cId="1733347535" sldId="2134804349"/>
            <ac:grpSpMk id="42" creationId="{C86E4A92-2D9B-4D15-AFAF-2C673F30F819}"/>
          </ac:grpSpMkLst>
        </pc:grpChg>
        <pc:grpChg chg="mod">
          <ac:chgData name="Mariam Daniela Tristancho Pineda (MISION TEMPORAL LTDA)" userId="a45a17f7-7950-4cb5-bfab-f5c894f959a9" providerId="ADAL" clId="{9D150B60-33B5-4A3E-8123-A67E35AA8D44}" dt="2020-07-28T20:53:07.244" v="20185" actId="1036"/>
          <ac:grpSpMkLst>
            <pc:docMk/>
            <pc:sldMk cId="1733347535" sldId="2134804349"/>
            <ac:grpSpMk id="45" creationId="{EF7C10BB-35CE-43C5-B743-38C4E6BD74F1}"/>
          </ac:grpSpMkLst>
        </pc:grpChg>
        <pc:grpChg chg="add del mod">
          <ac:chgData name="Mariam Daniela Tristancho Pineda (MISION TEMPORAL LTDA)" userId="a45a17f7-7950-4cb5-bfab-f5c894f959a9" providerId="ADAL" clId="{9D150B60-33B5-4A3E-8123-A67E35AA8D44}" dt="2020-07-27T23:57:32.668" v="15445" actId="478"/>
          <ac:grpSpMkLst>
            <pc:docMk/>
            <pc:sldMk cId="1733347535" sldId="2134804349"/>
            <ac:grpSpMk id="46" creationId="{4DCAF9D3-E260-43CE-8958-9F0BA7AFCD3A}"/>
          </ac:grpSpMkLst>
        </pc:grpChg>
        <pc:grpChg chg="add del mod">
          <ac:chgData name="Mariam Daniela Tristancho Pineda (MISION TEMPORAL LTDA)" userId="a45a17f7-7950-4cb5-bfab-f5c894f959a9" providerId="ADAL" clId="{9D150B60-33B5-4A3E-8123-A67E35AA8D44}" dt="2020-07-28T01:04:45.959" v="17342" actId="1038"/>
          <ac:grpSpMkLst>
            <pc:docMk/>
            <pc:sldMk cId="1733347535" sldId="2134804349"/>
            <ac:grpSpMk id="53" creationId="{3873BDF9-02E9-44FD-9510-89955A3B3E89}"/>
          </ac:grpSpMkLst>
        </pc:grpChg>
        <pc:grpChg chg="del">
          <ac:chgData name="Mariam Daniela Tristancho Pineda (MISION TEMPORAL LTDA)" userId="a45a17f7-7950-4cb5-bfab-f5c894f959a9" providerId="ADAL" clId="{9D150B60-33B5-4A3E-8123-A67E35AA8D44}" dt="2020-07-27T23:26:21.214" v="14850" actId="478"/>
          <ac:grpSpMkLst>
            <pc:docMk/>
            <pc:sldMk cId="1733347535" sldId="2134804349"/>
            <ac:grpSpMk id="153" creationId="{ECC1079A-ACFE-47F5-B237-44739C19BC96}"/>
          </ac:grpSpMkLst>
        </pc:grpChg>
        <pc:grpChg chg="del">
          <ac:chgData name="Mariam Daniela Tristancho Pineda (MISION TEMPORAL LTDA)" userId="a45a17f7-7950-4cb5-bfab-f5c894f959a9" providerId="ADAL" clId="{9D150B60-33B5-4A3E-8123-A67E35AA8D44}" dt="2020-07-27T23:57:35.727" v="15446" actId="478"/>
          <ac:grpSpMkLst>
            <pc:docMk/>
            <pc:sldMk cId="1733347535" sldId="2134804349"/>
            <ac:grpSpMk id="165" creationId="{3E88F80D-5F8F-4B0A-A23A-B734C2EE0391}"/>
          </ac:grpSpMkLst>
        </pc:grpChg>
        <pc:grpChg chg="add del mod">
          <ac:chgData name="Mariam Daniela Tristancho Pineda (MISION TEMPORAL LTDA)" userId="a45a17f7-7950-4cb5-bfab-f5c894f959a9" providerId="ADAL" clId="{9D150B60-33B5-4A3E-8123-A67E35AA8D44}" dt="2020-07-28T01:04:45.959" v="17342" actId="1038"/>
          <ac:grpSpMkLst>
            <pc:docMk/>
            <pc:sldMk cId="1733347535" sldId="2134804349"/>
            <ac:grpSpMk id="167" creationId="{63AEDB8E-9F96-4691-A9CB-A70EAAEF70B8}"/>
          </ac:grpSpMkLst>
        </pc:grpChg>
        <pc:grpChg chg="add del mod">
          <ac:chgData name="Mariam Daniela Tristancho Pineda (MISION TEMPORAL LTDA)" userId="a45a17f7-7950-4cb5-bfab-f5c894f959a9" providerId="ADAL" clId="{9D150B60-33B5-4A3E-8123-A67E35AA8D44}" dt="2020-07-28T01:04:45.959" v="17342" actId="1038"/>
          <ac:grpSpMkLst>
            <pc:docMk/>
            <pc:sldMk cId="1733347535" sldId="2134804349"/>
            <ac:grpSpMk id="174" creationId="{C6C04382-85B7-4D3F-B803-EA4D1267F0BA}"/>
          </ac:grpSpMkLst>
        </pc:grpChg>
        <pc:grpChg chg="mod">
          <ac:chgData name="Mariam Daniela Tristancho Pineda (MISION TEMPORAL LTDA)" userId="a45a17f7-7950-4cb5-bfab-f5c894f959a9" providerId="ADAL" clId="{9D150B60-33B5-4A3E-8123-A67E35AA8D44}" dt="2020-07-28T01:04:45.959" v="17342" actId="1038"/>
          <ac:grpSpMkLst>
            <pc:docMk/>
            <pc:sldMk cId="1733347535" sldId="2134804349"/>
            <ac:grpSpMk id="178" creationId="{E673AC4C-B912-4B00-A07E-F353630C7D29}"/>
          </ac:grpSpMkLst>
        </pc:grpChg>
        <pc:grpChg chg="add del mod">
          <ac:chgData name="Mariam Daniela Tristancho Pineda (MISION TEMPORAL LTDA)" userId="a45a17f7-7950-4cb5-bfab-f5c894f959a9" providerId="ADAL" clId="{9D150B60-33B5-4A3E-8123-A67E35AA8D44}" dt="2020-07-28T01:04:45.959" v="17342" actId="1038"/>
          <ac:grpSpMkLst>
            <pc:docMk/>
            <pc:sldMk cId="1733347535" sldId="2134804349"/>
            <ac:grpSpMk id="181" creationId="{F41557D1-2FC7-4DE5-8691-EAF2A4C637E1}"/>
          </ac:grpSpMkLst>
        </pc:grpChg>
        <pc:grpChg chg="mod">
          <ac:chgData name="Mariam Daniela Tristancho Pineda (MISION TEMPORAL LTDA)" userId="a45a17f7-7950-4cb5-bfab-f5c894f959a9" providerId="ADAL" clId="{9D150B60-33B5-4A3E-8123-A67E35AA8D44}" dt="2020-07-28T01:04:45.959" v="17342" actId="1038"/>
          <ac:grpSpMkLst>
            <pc:docMk/>
            <pc:sldMk cId="1733347535" sldId="2134804349"/>
            <ac:grpSpMk id="186" creationId="{16DA9333-7032-45CE-9E3A-01409C1E6A05}"/>
          </ac:grpSpMkLst>
        </pc:grpChg>
        <pc:grpChg chg="mod">
          <ac:chgData name="Mariam Daniela Tristancho Pineda (MISION TEMPORAL LTDA)" userId="a45a17f7-7950-4cb5-bfab-f5c894f959a9" providerId="ADAL" clId="{9D150B60-33B5-4A3E-8123-A67E35AA8D44}" dt="2020-07-28T01:04:45.959" v="17342" actId="1038"/>
          <ac:grpSpMkLst>
            <pc:docMk/>
            <pc:sldMk cId="1733347535" sldId="2134804349"/>
            <ac:grpSpMk id="191" creationId="{FA20B0AB-4006-4C51-82AE-68A90BD76171}"/>
          </ac:grpSpMkLst>
        </pc:grpChg>
        <pc:grpChg chg="add del mod">
          <ac:chgData name="Mariam Daniela Tristancho Pineda (MISION TEMPORAL LTDA)" userId="a45a17f7-7950-4cb5-bfab-f5c894f959a9" providerId="ADAL" clId="{9D150B60-33B5-4A3E-8123-A67E35AA8D44}" dt="2020-07-28T01:04:45.959" v="17342" actId="1038"/>
          <ac:grpSpMkLst>
            <pc:docMk/>
            <pc:sldMk cId="1733347535" sldId="2134804349"/>
            <ac:grpSpMk id="200" creationId="{5EC7640D-CC76-46E2-91FB-5BC2A36E2B7B}"/>
          </ac:grpSpMkLst>
        </pc:grpChg>
        <pc:grpChg chg="add del mod">
          <ac:chgData name="Mariam Daniela Tristancho Pineda (MISION TEMPORAL LTDA)" userId="a45a17f7-7950-4cb5-bfab-f5c894f959a9" providerId="ADAL" clId="{9D150B60-33B5-4A3E-8123-A67E35AA8D44}" dt="2020-07-28T01:04:45.959" v="17342" actId="1038"/>
          <ac:grpSpMkLst>
            <pc:docMk/>
            <pc:sldMk cId="1733347535" sldId="2134804349"/>
            <ac:grpSpMk id="210" creationId="{F31D1FA4-2A54-44F7-BB5E-B6B753EC0E14}"/>
          </ac:grpSpMkLst>
        </pc:grpChg>
        <pc:grpChg chg="del">
          <ac:chgData name="Mariam Daniela Tristancho Pineda (MISION TEMPORAL LTDA)" userId="a45a17f7-7950-4cb5-bfab-f5c894f959a9" providerId="ADAL" clId="{9D150B60-33B5-4A3E-8123-A67E35AA8D44}" dt="2020-07-27T23:57:35.727" v="15446" actId="478"/>
          <ac:grpSpMkLst>
            <pc:docMk/>
            <pc:sldMk cId="1733347535" sldId="2134804349"/>
            <ac:grpSpMk id="246" creationId="{33576133-5A00-4266-B126-B2653B04E131}"/>
          </ac:grpSpMkLst>
        </pc:grpChg>
        <pc:grpChg chg="del">
          <ac:chgData name="Mariam Daniela Tristancho Pineda (MISION TEMPORAL LTDA)" userId="a45a17f7-7950-4cb5-bfab-f5c894f959a9" providerId="ADAL" clId="{9D150B60-33B5-4A3E-8123-A67E35AA8D44}" dt="2020-07-27T23:57:35.727" v="15446" actId="478"/>
          <ac:grpSpMkLst>
            <pc:docMk/>
            <pc:sldMk cId="1733347535" sldId="2134804349"/>
            <ac:grpSpMk id="251" creationId="{02EFA6D4-9012-466E-B2A2-328E003E9AE2}"/>
          </ac:grpSpMkLst>
        </pc:grpChg>
        <pc:grpChg chg="del">
          <ac:chgData name="Mariam Daniela Tristancho Pineda (MISION TEMPORAL LTDA)" userId="a45a17f7-7950-4cb5-bfab-f5c894f959a9" providerId="ADAL" clId="{9D150B60-33B5-4A3E-8123-A67E35AA8D44}" dt="2020-07-27T23:57:37.724" v="15447" actId="478"/>
          <ac:grpSpMkLst>
            <pc:docMk/>
            <pc:sldMk cId="1733347535" sldId="2134804349"/>
            <ac:grpSpMk id="260" creationId="{5094BFE4-6DFA-4A2B-A74D-946C007D2253}"/>
          </ac:grpSpMkLst>
        </pc:grpChg>
        <pc:grpChg chg="add del mod">
          <ac:chgData name="Mariam Daniela Tristancho Pineda (MISION TEMPORAL LTDA)" userId="a45a17f7-7950-4cb5-bfab-f5c894f959a9" providerId="ADAL" clId="{9D150B60-33B5-4A3E-8123-A67E35AA8D44}" dt="2020-07-27T23:57:32.668" v="15445" actId="478"/>
          <ac:grpSpMkLst>
            <pc:docMk/>
            <pc:sldMk cId="1733347535" sldId="2134804349"/>
            <ac:grpSpMk id="271" creationId="{766436A5-C27B-4952-9D9F-B481DE6E179A}"/>
          </ac:grpSpMkLst>
        </pc:grpChg>
        <pc:grpChg chg="add del mod">
          <ac:chgData name="Mariam Daniela Tristancho Pineda (MISION TEMPORAL LTDA)" userId="a45a17f7-7950-4cb5-bfab-f5c894f959a9" providerId="ADAL" clId="{9D150B60-33B5-4A3E-8123-A67E35AA8D44}" dt="2020-07-27T23:57:32.668" v="15445" actId="478"/>
          <ac:grpSpMkLst>
            <pc:docMk/>
            <pc:sldMk cId="1733347535" sldId="2134804349"/>
            <ac:grpSpMk id="290" creationId="{C77DBACA-5EAA-4731-9D52-2BFF5E1F4F24}"/>
          </ac:grpSpMkLst>
        </pc:grpChg>
      </pc:sldChg>
      <pc:sldChg chg="addSp delSp modSp add mod ord">
        <pc:chgData name="Mariam Daniela Tristancho Pineda (MISION TEMPORAL LTDA)" userId="a45a17f7-7950-4cb5-bfab-f5c894f959a9" providerId="ADAL" clId="{9D150B60-33B5-4A3E-8123-A67E35AA8D44}" dt="2020-07-28T15:01:03.530" v="19893"/>
        <pc:sldMkLst>
          <pc:docMk/>
          <pc:sldMk cId="4149911555" sldId="2134804350"/>
        </pc:sldMkLst>
        <pc:spChg chg="mod">
          <ac:chgData name="Mariam Daniela Tristancho Pineda (MISION TEMPORAL LTDA)" userId="a45a17f7-7950-4cb5-bfab-f5c894f959a9" providerId="ADAL" clId="{9D150B60-33B5-4A3E-8123-A67E35AA8D44}" dt="2020-07-28T00:30:42.949" v="16303" actId="1076"/>
          <ac:spMkLst>
            <pc:docMk/>
            <pc:sldMk cId="4149911555" sldId="2134804350"/>
            <ac:spMk id="3" creationId="{815B10B7-60B3-4C63-8431-70CC556387C9}"/>
          </ac:spMkLst>
        </pc:spChg>
        <pc:spChg chg="add mod">
          <ac:chgData name="Mariam Daniela Tristancho Pineda (MISION TEMPORAL LTDA)" userId="a45a17f7-7950-4cb5-bfab-f5c894f959a9" providerId="ADAL" clId="{9D150B60-33B5-4A3E-8123-A67E35AA8D44}" dt="2020-07-28T00:31:07.214" v="16309" actId="1076"/>
          <ac:spMkLst>
            <pc:docMk/>
            <pc:sldMk cId="4149911555" sldId="2134804350"/>
            <ac:spMk id="6" creationId="{0EA6B706-1812-4875-A6FD-3A019EB06AE1}"/>
          </ac:spMkLst>
        </pc:spChg>
        <pc:spChg chg="del">
          <ac:chgData name="Mariam Daniela Tristancho Pineda (MISION TEMPORAL LTDA)" userId="a45a17f7-7950-4cb5-bfab-f5c894f959a9" providerId="ADAL" clId="{9D150B60-33B5-4A3E-8123-A67E35AA8D44}" dt="2020-07-28T00:30:38.340" v="16302" actId="478"/>
          <ac:spMkLst>
            <pc:docMk/>
            <pc:sldMk cId="4149911555" sldId="2134804350"/>
            <ac:spMk id="7" creationId="{5F9B1E71-580F-4E7C-9DF1-2DFC90AFEE34}"/>
          </ac:spMkLst>
        </pc:spChg>
        <pc:spChg chg="del">
          <ac:chgData name="Mariam Daniela Tristancho Pineda (MISION TEMPORAL LTDA)" userId="a45a17f7-7950-4cb5-bfab-f5c894f959a9" providerId="ADAL" clId="{9D150B60-33B5-4A3E-8123-A67E35AA8D44}" dt="2020-07-28T00:32:05.338" v="16323" actId="478"/>
          <ac:spMkLst>
            <pc:docMk/>
            <pc:sldMk cId="4149911555" sldId="2134804350"/>
            <ac:spMk id="12" creationId="{54411719-0D48-4E09-865F-F0B937E53A16}"/>
          </ac:spMkLst>
        </pc:spChg>
        <pc:spChg chg="del">
          <ac:chgData name="Mariam Daniela Tristancho Pineda (MISION TEMPORAL LTDA)" userId="a45a17f7-7950-4cb5-bfab-f5c894f959a9" providerId="ADAL" clId="{9D150B60-33B5-4A3E-8123-A67E35AA8D44}" dt="2020-07-28T00:30:38.340" v="16302" actId="478"/>
          <ac:spMkLst>
            <pc:docMk/>
            <pc:sldMk cId="4149911555" sldId="2134804350"/>
            <ac:spMk id="21" creationId="{6DF582FE-4ED3-41AC-A715-CB130A94E54C}"/>
          </ac:spMkLst>
        </pc:spChg>
        <pc:spChg chg="del">
          <ac:chgData name="Mariam Daniela Tristancho Pineda (MISION TEMPORAL LTDA)" userId="a45a17f7-7950-4cb5-bfab-f5c894f959a9" providerId="ADAL" clId="{9D150B60-33B5-4A3E-8123-A67E35AA8D44}" dt="2020-07-28T00:30:38.340" v="16302" actId="478"/>
          <ac:spMkLst>
            <pc:docMk/>
            <pc:sldMk cId="4149911555" sldId="2134804350"/>
            <ac:spMk id="22" creationId="{E652DC89-A856-4D57-8E2C-B61602C127E1}"/>
          </ac:spMkLst>
        </pc:spChg>
        <pc:spChg chg="mod">
          <ac:chgData name="Mariam Daniela Tristancho Pineda (MISION TEMPORAL LTDA)" userId="a45a17f7-7950-4cb5-bfab-f5c894f959a9" providerId="ADAL" clId="{9D150B60-33B5-4A3E-8123-A67E35AA8D44}" dt="2020-07-28T00:32:10.481" v="16327" actId="1035"/>
          <ac:spMkLst>
            <pc:docMk/>
            <pc:sldMk cId="4149911555" sldId="2134804350"/>
            <ac:spMk id="41" creationId="{0DBC6410-6A59-4790-926F-E624F6953B1C}"/>
          </ac:spMkLst>
        </pc:spChg>
        <pc:spChg chg="mod">
          <ac:chgData name="Mariam Daniela Tristancho Pineda (MISION TEMPORAL LTDA)" userId="a45a17f7-7950-4cb5-bfab-f5c894f959a9" providerId="ADAL" clId="{9D150B60-33B5-4A3E-8123-A67E35AA8D44}" dt="2020-07-28T00:31:20.886" v="16317" actId="20577"/>
          <ac:spMkLst>
            <pc:docMk/>
            <pc:sldMk cId="4149911555" sldId="2134804350"/>
            <ac:spMk id="42" creationId="{F05D1EBD-E1C6-4EAD-A83A-3126DD1C70B5}"/>
          </ac:spMkLst>
        </pc:spChg>
        <pc:spChg chg="mod">
          <ac:chgData name="Mariam Daniela Tristancho Pineda (MISION TEMPORAL LTDA)" userId="a45a17f7-7950-4cb5-bfab-f5c894f959a9" providerId="ADAL" clId="{9D150B60-33B5-4A3E-8123-A67E35AA8D44}" dt="2020-07-28T00:31:31.469" v="16319" actId="1076"/>
          <ac:spMkLst>
            <pc:docMk/>
            <pc:sldMk cId="4149911555" sldId="2134804350"/>
            <ac:spMk id="84" creationId="{293DBAF3-3942-4C58-8A63-D4484E215E20}"/>
          </ac:spMkLst>
        </pc:spChg>
        <pc:spChg chg="mod">
          <ac:chgData name="Mariam Daniela Tristancho Pineda (MISION TEMPORAL LTDA)" userId="a45a17f7-7950-4cb5-bfab-f5c894f959a9" providerId="ADAL" clId="{9D150B60-33B5-4A3E-8123-A67E35AA8D44}" dt="2020-07-28T00:32:01.471" v="16322" actId="14100"/>
          <ac:spMkLst>
            <pc:docMk/>
            <pc:sldMk cId="4149911555" sldId="2134804350"/>
            <ac:spMk id="86" creationId="{7696A978-4362-4DE3-8C58-0F58608C4AA6}"/>
          </ac:spMkLst>
        </pc:spChg>
        <pc:spChg chg="mod">
          <ac:chgData name="Mariam Daniela Tristancho Pineda (MISION TEMPORAL LTDA)" userId="a45a17f7-7950-4cb5-bfab-f5c894f959a9" providerId="ADAL" clId="{9D150B60-33B5-4A3E-8123-A67E35AA8D44}" dt="2020-07-28T00:30:48.898" v="16304"/>
          <ac:spMkLst>
            <pc:docMk/>
            <pc:sldMk cId="4149911555" sldId="2134804350"/>
            <ac:spMk id="97" creationId="{99300021-C267-43BD-A0F5-B3ECE622345E}"/>
          </ac:spMkLst>
        </pc:spChg>
        <pc:spChg chg="mod">
          <ac:chgData name="Mariam Daniela Tristancho Pineda (MISION TEMPORAL LTDA)" userId="a45a17f7-7950-4cb5-bfab-f5c894f959a9" providerId="ADAL" clId="{9D150B60-33B5-4A3E-8123-A67E35AA8D44}" dt="2020-07-28T00:32:16.303" v="16330" actId="1036"/>
          <ac:spMkLst>
            <pc:docMk/>
            <pc:sldMk cId="4149911555" sldId="2134804350"/>
            <ac:spMk id="117" creationId="{8960734A-1053-42D2-BD72-6674DCCE6A97}"/>
          </ac:spMkLst>
        </pc:spChg>
        <pc:spChg chg="mod">
          <ac:chgData name="Mariam Daniela Tristancho Pineda (MISION TEMPORAL LTDA)" userId="a45a17f7-7950-4cb5-bfab-f5c894f959a9" providerId="ADAL" clId="{9D150B60-33B5-4A3E-8123-A67E35AA8D44}" dt="2020-07-28T00:32:16.303" v="16330" actId="1036"/>
          <ac:spMkLst>
            <pc:docMk/>
            <pc:sldMk cId="4149911555" sldId="2134804350"/>
            <ac:spMk id="118" creationId="{C77431EE-A761-4323-B75F-692D4CAEC462}"/>
          </ac:spMkLst>
        </pc:spChg>
        <pc:spChg chg="mod">
          <ac:chgData name="Mariam Daniela Tristancho Pineda (MISION TEMPORAL LTDA)" userId="a45a17f7-7950-4cb5-bfab-f5c894f959a9" providerId="ADAL" clId="{9D150B60-33B5-4A3E-8123-A67E35AA8D44}" dt="2020-07-28T00:32:16.303" v="16330" actId="1036"/>
          <ac:spMkLst>
            <pc:docMk/>
            <pc:sldMk cId="4149911555" sldId="2134804350"/>
            <ac:spMk id="119" creationId="{A66DDFF6-8990-4632-9B16-3852035C81BA}"/>
          </ac:spMkLst>
        </pc:spChg>
        <pc:spChg chg="mod">
          <ac:chgData name="Mariam Daniela Tristancho Pineda (MISION TEMPORAL LTDA)" userId="a45a17f7-7950-4cb5-bfab-f5c894f959a9" providerId="ADAL" clId="{9D150B60-33B5-4A3E-8123-A67E35AA8D44}" dt="2020-07-28T00:31:54.600" v="16320"/>
          <ac:spMkLst>
            <pc:docMk/>
            <pc:sldMk cId="4149911555" sldId="2134804350"/>
            <ac:spMk id="135" creationId="{C1823568-A421-4254-9106-BAEB76F16B72}"/>
          </ac:spMkLst>
        </pc:spChg>
        <pc:spChg chg="del">
          <ac:chgData name="Mariam Daniela Tristancho Pineda (MISION TEMPORAL LTDA)" userId="a45a17f7-7950-4cb5-bfab-f5c894f959a9" providerId="ADAL" clId="{9D150B60-33B5-4A3E-8123-A67E35AA8D44}" dt="2020-07-28T00:30:38.340" v="16302" actId="478"/>
          <ac:spMkLst>
            <pc:docMk/>
            <pc:sldMk cId="4149911555" sldId="2134804350"/>
            <ac:spMk id="147" creationId="{28985963-B271-4E6A-83C5-F3A62A87E6BA}"/>
          </ac:spMkLst>
        </pc:spChg>
        <pc:spChg chg="del">
          <ac:chgData name="Mariam Daniela Tristancho Pineda (MISION TEMPORAL LTDA)" userId="a45a17f7-7950-4cb5-bfab-f5c894f959a9" providerId="ADAL" clId="{9D150B60-33B5-4A3E-8123-A67E35AA8D44}" dt="2020-07-28T00:30:38.340" v="16302" actId="478"/>
          <ac:spMkLst>
            <pc:docMk/>
            <pc:sldMk cId="4149911555" sldId="2134804350"/>
            <ac:spMk id="156" creationId="{D69C9D48-D741-473B-B9DB-21F11F279802}"/>
          </ac:spMkLst>
        </pc:spChg>
        <pc:spChg chg="del mod">
          <ac:chgData name="Mariam Daniela Tristancho Pineda (MISION TEMPORAL LTDA)" userId="a45a17f7-7950-4cb5-bfab-f5c894f959a9" providerId="ADAL" clId="{9D150B60-33B5-4A3E-8123-A67E35AA8D44}" dt="2020-07-28T00:31:02.575" v="16307" actId="478"/>
          <ac:spMkLst>
            <pc:docMk/>
            <pc:sldMk cId="4149911555" sldId="2134804350"/>
            <ac:spMk id="164" creationId="{017B2A88-B738-413B-82B2-A287FE0FC4EF}"/>
          </ac:spMkLst>
        </pc:spChg>
        <pc:grpChg chg="del">
          <ac:chgData name="Mariam Daniela Tristancho Pineda (MISION TEMPORAL LTDA)" userId="a45a17f7-7950-4cb5-bfab-f5c894f959a9" providerId="ADAL" clId="{9D150B60-33B5-4A3E-8123-A67E35AA8D44}" dt="2020-07-28T00:30:38.340" v="16302" actId="478"/>
          <ac:grpSpMkLst>
            <pc:docMk/>
            <pc:sldMk cId="4149911555" sldId="2134804350"/>
            <ac:grpSpMk id="14" creationId="{F9B624AC-D760-4747-9E53-02B94BF6FD12}"/>
          </ac:grpSpMkLst>
        </pc:grpChg>
        <pc:grpChg chg="del">
          <ac:chgData name="Mariam Daniela Tristancho Pineda (MISION TEMPORAL LTDA)" userId="a45a17f7-7950-4cb5-bfab-f5c894f959a9" providerId="ADAL" clId="{9D150B60-33B5-4A3E-8123-A67E35AA8D44}" dt="2020-07-28T00:30:59.774" v="16306" actId="478"/>
          <ac:grpSpMkLst>
            <pc:docMk/>
            <pc:sldMk cId="4149911555" sldId="2134804350"/>
            <ac:grpSpMk id="16" creationId="{C2A3B512-7A1C-4FAF-A81F-067631C52819}"/>
          </ac:grpSpMkLst>
        </pc:grpChg>
        <pc:grpChg chg="del">
          <ac:chgData name="Mariam Daniela Tristancho Pineda (MISION TEMPORAL LTDA)" userId="a45a17f7-7950-4cb5-bfab-f5c894f959a9" providerId="ADAL" clId="{9D150B60-33B5-4A3E-8123-A67E35AA8D44}" dt="2020-07-28T00:30:59.774" v="16306" actId="478"/>
          <ac:grpSpMkLst>
            <pc:docMk/>
            <pc:sldMk cId="4149911555" sldId="2134804350"/>
            <ac:grpSpMk id="28" creationId="{2AEE4E67-C0FA-4308-BDBD-87AF29BE81B0}"/>
          </ac:grpSpMkLst>
        </pc:grpChg>
        <pc:grpChg chg="del">
          <ac:chgData name="Mariam Daniela Tristancho Pineda (MISION TEMPORAL LTDA)" userId="a45a17f7-7950-4cb5-bfab-f5c894f959a9" providerId="ADAL" clId="{9D150B60-33B5-4A3E-8123-A67E35AA8D44}" dt="2020-07-28T00:30:59.774" v="16306" actId="478"/>
          <ac:grpSpMkLst>
            <pc:docMk/>
            <pc:sldMk cId="4149911555" sldId="2134804350"/>
            <ac:grpSpMk id="32" creationId="{EF33476E-57EC-4B24-BF48-38DA777DD938}"/>
          </ac:grpSpMkLst>
        </pc:grpChg>
        <pc:grpChg chg="del">
          <ac:chgData name="Mariam Daniela Tristancho Pineda (MISION TEMPORAL LTDA)" userId="a45a17f7-7950-4cb5-bfab-f5c894f959a9" providerId="ADAL" clId="{9D150B60-33B5-4A3E-8123-A67E35AA8D44}" dt="2020-07-28T00:30:59.774" v="16306" actId="478"/>
          <ac:grpSpMkLst>
            <pc:docMk/>
            <pc:sldMk cId="4149911555" sldId="2134804350"/>
            <ac:grpSpMk id="37" creationId="{33A4F641-6F0E-462A-898E-0641B151AA65}"/>
          </ac:grpSpMkLst>
        </pc:grpChg>
        <pc:grpChg chg="add mod">
          <ac:chgData name="Mariam Daniela Tristancho Pineda (MISION TEMPORAL LTDA)" userId="a45a17f7-7950-4cb5-bfab-f5c894f959a9" providerId="ADAL" clId="{9D150B60-33B5-4A3E-8123-A67E35AA8D44}" dt="2020-07-28T00:31:31.469" v="16319" actId="1076"/>
          <ac:grpSpMkLst>
            <pc:docMk/>
            <pc:sldMk cId="4149911555" sldId="2134804350"/>
            <ac:grpSpMk id="40" creationId="{4AE5D7C8-E153-4872-B77B-8476720136A1}"/>
          </ac:grpSpMkLst>
        </pc:grpChg>
      </pc:sldChg>
      <pc:sldChg chg="addSp delSp modSp add mod ord">
        <pc:chgData name="Mariam Daniela Tristancho Pineda (MISION TEMPORAL LTDA)" userId="a45a17f7-7950-4cb5-bfab-f5c894f959a9" providerId="ADAL" clId="{9D150B60-33B5-4A3E-8123-A67E35AA8D44}" dt="2020-07-28T21:04:24.766" v="20438" actId="108"/>
        <pc:sldMkLst>
          <pc:docMk/>
          <pc:sldMk cId="2519932516" sldId="2134804351"/>
        </pc:sldMkLst>
        <pc:spChg chg="del mod">
          <ac:chgData name="Mariam Daniela Tristancho Pineda (MISION TEMPORAL LTDA)" userId="a45a17f7-7950-4cb5-bfab-f5c894f959a9" providerId="ADAL" clId="{9D150B60-33B5-4A3E-8123-A67E35AA8D44}" dt="2020-07-28T00:33:37.696" v="16342" actId="478"/>
          <ac:spMkLst>
            <pc:docMk/>
            <pc:sldMk cId="2519932516" sldId="2134804351"/>
            <ac:spMk id="3" creationId="{815B10B7-60B3-4C63-8431-70CC556387C9}"/>
          </ac:spMkLst>
        </pc:spChg>
        <pc:spChg chg="del mod">
          <ac:chgData name="Mariam Daniela Tristancho Pineda (MISION TEMPORAL LTDA)" userId="a45a17f7-7950-4cb5-bfab-f5c894f959a9" providerId="ADAL" clId="{9D150B60-33B5-4A3E-8123-A67E35AA8D44}" dt="2020-07-28T00:33:37.696" v="16342" actId="478"/>
          <ac:spMkLst>
            <pc:docMk/>
            <pc:sldMk cId="2519932516" sldId="2134804351"/>
            <ac:spMk id="6" creationId="{0EA6B706-1812-4875-A6FD-3A019EB06AE1}"/>
          </ac:spMkLst>
        </pc:spChg>
        <pc:spChg chg="add mod">
          <ac:chgData name="Mariam Daniela Tristancho Pineda (MISION TEMPORAL LTDA)" userId="a45a17f7-7950-4cb5-bfab-f5c894f959a9" providerId="ADAL" clId="{9D150B60-33B5-4A3E-8123-A67E35AA8D44}" dt="2020-07-28T00:43:05.387" v="16728" actId="465"/>
          <ac:spMkLst>
            <pc:docMk/>
            <pc:sldMk cId="2519932516" sldId="2134804351"/>
            <ac:spMk id="7" creationId="{8AF3B524-5EF0-4D16-B04B-B95BDA57F430}"/>
          </ac:spMkLst>
        </pc:spChg>
        <pc:spChg chg="add mod">
          <ac:chgData name="Mariam Daniela Tristancho Pineda (MISION TEMPORAL LTDA)" userId="a45a17f7-7950-4cb5-bfab-f5c894f959a9" providerId="ADAL" clId="{9D150B60-33B5-4A3E-8123-A67E35AA8D44}" dt="2020-07-28T00:42:49.924" v="16726" actId="14100"/>
          <ac:spMkLst>
            <pc:docMk/>
            <pc:sldMk cId="2519932516" sldId="2134804351"/>
            <ac:spMk id="8" creationId="{B5A4B02A-4AA2-46C5-BDD1-63C4860CAD01}"/>
          </ac:spMkLst>
        </pc:spChg>
        <pc:spChg chg="add mod">
          <ac:chgData name="Mariam Daniela Tristancho Pineda (MISION TEMPORAL LTDA)" userId="a45a17f7-7950-4cb5-bfab-f5c894f959a9" providerId="ADAL" clId="{9D150B60-33B5-4A3E-8123-A67E35AA8D44}" dt="2020-07-28T00:44:26.988" v="16774" actId="20577"/>
          <ac:spMkLst>
            <pc:docMk/>
            <pc:sldMk cId="2519932516" sldId="2134804351"/>
            <ac:spMk id="9" creationId="{CFF86BCB-1BED-4792-A396-2370CCCCB018}"/>
          </ac:spMkLst>
        </pc:spChg>
        <pc:spChg chg="add mod">
          <ac:chgData name="Mariam Daniela Tristancho Pineda (MISION TEMPORAL LTDA)" userId="a45a17f7-7950-4cb5-bfab-f5c894f959a9" providerId="ADAL" clId="{9D150B60-33B5-4A3E-8123-A67E35AA8D44}" dt="2020-07-28T00:43:05.387" v="16728" actId="465"/>
          <ac:spMkLst>
            <pc:docMk/>
            <pc:sldMk cId="2519932516" sldId="2134804351"/>
            <ac:spMk id="10" creationId="{354C1A81-D85E-40D4-9432-F14195AA0783}"/>
          </ac:spMkLst>
        </pc:spChg>
        <pc:spChg chg="add mod">
          <ac:chgData name="Mariam Daniela Tristancho Pineda (MISION TEMPORAL LTDA)" userId="a45a17f7-7950-4cb5-bfab-f5c894f959a9" providerId="ADAL" clId="{9D150B60-33B5-4A3E-8123-A67E35AA8D44}" dt="2020-07-28T00:43:05.387" v="16728" actId="465"/>
          <ac:spMkLst>
            <pc:docMk/>
            <pc:sldMk cId="2519932516" sldId="2134804351"/>
            <ac:spMk id="11" creationId="{E6765BEB-6062-4FF5-991F-74E9591E7BE0}"/>
          </ac:spMkLst>
        </pc:spChg>
        <pc:spChg chg="add mod">
          <ac:chgData name="Mariam Daniela Tristancho Pineda (MISION TEMPORAL LTDA)" userId="a45a17f7-7950-4cb5-bfab-f5c894f959a9" providerId="ADAL" clId="{9D150B60-33B5-4A3E-8123-A67E35AA8D44}" dt="2020-07-28T00:57:25.480" v="17145" actId="20577"/>
          <ac:spMkLst>
            <pc:docMk/>
            <pc:sldMk cId="2519932516" sldId="2134804351"/>
            <ac:spMk id="12" creationId="{C841B24C-61AF-41C0-8A4D-6D9D7A8B8383}"/>
          </ac:spMkLst>
        </pc:spChg>
        <pc:spChg chg="add mod">
          <ac:chgData name="Mariam Daniela Tristancho Pineda (MISION TEMPORAL LTDA)" userId="a45a17f7-7950-4cb5-bfab-f5c894f959a9" providerId="ADAL" clId="{9D150B60-33B5-4A3E-8123-A67E35AA8D44}" dt="2020-07-28T00:43:05.387" v="16728" actId="465"/>
          <ac:spMkLst>
            <pc:docMk/>
            <pc:sldMk cId="2519932516" sldId="2134804351"/>
            <ac:spMk id="13" creationId="{0D9D9488-940D-433C-A4EA-92B78BED58F5}"/>
          </ac:spMkLst>
        </pc:spChg>
        <pc:spChg chg="add mod">
          <ac:chgData name="Mariam Daniela Tristancho Pineda (MISION TEMPORAL LTDA)" userId="a45a17f7-7950-4cb5-bfab-f5c894f959a9" providerId="ADAL" clId="{9D150B60-33B5-4A3E-8123-A67E35AA8D44}" dt="2020-07-28T00:43:05.387" v="16728" actId="465"/>
          <ac:spMkLst>
            <pc:docMk/>
            <pc:sldMk cId="2519932516" sldId="2134804351"/>
            <ac:spMk id="14" creationId="{2614B80C-5E9C-4C43-9417-CE8F857DE0FE}"/>
          </ac:spMkLst>
        </pc:spChg>
        <pc:spChg chg="add mod">
          <ac:chgData name="Mariam Daniela Tristancho Pineda (MISION TEMPORAL LTDA)" userId="a45a17f7-7950-4cb5-bfab-f5c894f959a9" providerId="ADAL" clId="{9D150B60-33B5-4A3E-8123-A67E35AA8D44}" dt="2020-07-28T00:43:05.387" v="16728" actId="465"/>
          <ac:spMkLst>
            <pc:docMk/>
            <pc:sldMk cId="2519932516" sldId="2134804351"/>
            <ac:spMk id="15" creationId="{E4A5D75D-0A3C-49F0-B736-F7C27D60B3A3}"/>
          </ac:spMkLst>
        </pc:spChg>
        <pc:spChg chg="add mod">
          <ac:chgData name="Mariam Daniela Tristancho Pineda (MISION TEMPORAL LTDA)" userId="a45a17f7-7950-4cb5-bfab-f5c894f959a9" providerId="ADAL" clId="{9D150B60-33B5-4A3E-8123-A67E35AA8D44}" dt="2020-07-28T00:43:05.387" v="16728" actId="465"/>
          <ac:spMkLst>
            <pc:docMk/>
            <pc:sldMk cId="2519932516" sldId="2134804351"/>
            <ac:spMk id="16" creationId="{65995084-D3B4-451E-9E40-025A2D90EDC8}"/>
          </ac:spMkLst>
        </pc:spChg>
        <pc:spChg chg="add del mod">
          <ac:chgData name="Mariam Daniela Tristancho Pineda (MISION TEMPORAL LTDA)" userId="a45a17f7-7950-4cb5-bfab-f5c894f959a9" providerId="ADAL" clId="{9D150B60-33B5-4A3E-8123-A67E35AA8D44}" dt="2020-07-28T00:34:12.348" v="16349" actId="478"/>
          <ac:spMkLst>
            <pc:docMk/>
            <pc:sldMk cId="2519932516" sldId="2134804351"/>
            <ac:spMk id="18" creationId="{78A67997-FD62-4AB0-84DF-CC210FE3E6F2}"/>
          </ac:spMkLst>
        </pc:spChg>
        <pc:spChg chg="add del mod">
          <ac:chgData name="Mariam Daniela Tristancho Pineda (MISION TEMPORAL LTDA)" userId="a45a17f7-7950-4cb5-bfab-f5c894f959a9" providerId="ADAL" clId="{9D150B60-33B5-4A3E-8123-A67E35AA8D44}" dt="2020-07-28T00:34:12.348" v="16349" actId="478"/>
          <ac:spMkLst>
            <pc:docMk/>
            <pc:sldMk cId="2519932516" sldId="2134804351"/>
            <ac:spMk id="20" creationId="{56F93BC9-AF81-487B-9FF9-8E9F1C212711}"/>
          </ac:spMkLst>
        </pc:spChg>
        <pc:spChg chg="add del mod">
          <ac:chgData name="Mariam Daniela Tristancho Pineda (MISION TEMPORAL LTDA)" userId="a45a17f7-7950-4cb5-bfab-f5c894f959a9" providerId="ADAL" clId="{9D150B60-33B5-4A3E-8123-A67E35AA8D44}" dt="2020-07-28T00:34:12.348" v="16349" actId="478"/>
          <ac:spMkLst>
            <pc:docMk/>
            <pc:sldMk cId="2519932516" sldId="2134804351"/>
            <ac:spMk id="22" creationId="{DDD5370A-E766-46EF-B102-4A823F934A48}"/>
          </ac:spMkLst>
        </pc:spChg>
        <pc:spChg chg="add del mod">
          <ac:chgData name="Mariam Daniela Tristancho Pineda (MISION TEMPORAL LTDA)" userId="a45a17f7-7950-4cb5-bfab-f5c894f959a9" providerId="ADAL" clId="{9D150B60-33B5-4A3E-8123-A67E35AA8D44}" dt="2020-07-28T00:34:12.348" v="16349" actId="478"/>
          <ac:spMkLst>
            <pc:docMk/>
            <pc:sldMk cId="2519932516" sldId="2134804351"/>
            <ac:spMk id="24" creationId="{71F7E159-7CB4-41B9-9207-B80373909210}"/>
          </ac:spMkLst>
        </pc:spChg>
        <pc:spChg chg="add del mod">
          <ac:chgData name="Mariam Daniela Tristancho Pineda (MISION TEMPORAL LTDA)" userId="a45a17f7-7950-4cb5-bfab-f5c894f959a9" providerId="ADAL" clId="{9D150B60-33B5-4A3E-8123-A67E35AA8D44}" dt="2020-07-28T00:34:12.348" v="16349" actId="478"/>
          <ac:spMkLst>
            <pc:docMk/>
            <pc:sldMk cId="2519932516" sldId="2134804351"/>
            <ac:spMk id="26" creationId="{9ADEA6A3-C953-4EA2-ACD6-385A202C835F}"/>
          </ac:spMkLst>
        </pc:spChg>
        <pc:spChg chg="add del mod">
          <ac:chgData name="Mariam Daniela Tristancho Pineda (MISION TEMPORAL LTDA)" userId="a45a17f7-7950-4cb5-bfab-f5c894f959a9" providerId="ADAL" clId="{9D150B60-33B5-4A3E-8123-A67E35AA8D44}" dt="2020-07-28T00:34:12.348" v="16349" actId="478"/>
          <ac:spMkLst>
            <pc:docMk/>
            <pc:sldMk cId="2519932516" sldId="2134804351"/>
            <ac:spMk id="28" creationId="{1F1A2D39-CC86-437B-BEEB-61B403192D8A}"/>
          </ac:spMkLst>
        </pc:spChg>
        <pc:spChg chg="add del mod">
          <ac:chgData name="Mariam Daniela Tristancho Pineda (MISION TEMPORAL LTDA)" userId="a45a17f7-7950-4cb5-bfab-f5c894f959a9" providerId="ADAL" clId="{9D150B60-33B5-4A3E-8123-A67E35AA8D44}" dt="2020-07-28T00:34:12.348" v="16349" actId="478"/>
          <ac:spMkLst>
            <pc:docMk/>
            <pc:sldMk cId="2519932516" sldId="2134804351"/>
            <ac:spMk id="30" creationId="{B84E301A-FC18-43C3-8870-63AABE853B1B}"/>
          </ac:spMkLst>
        </pc:spChg>
        <pc:spChg chg="add del mod">
          <ac:chgData name="Mariam Daniela Tristancho Pineda (MISION TEMPORAL LTDA)" userId="a45a17f7-7950-4cb5-bfab-f5c894f959a9" providerId="ADAL" clId="{9D150B60-33B5-4A3E-8123-A67E35AA8D44}" dt="2020-07-28T00:34:12.348" v="16349" actId="478"/>
          <ac:spMkLst>
            <pc:docMk/>
            <pc:sldMk cId="2519932516" sldId="2134804351"/>
            <ac:spMk id="32" creationId="{A9AF141A-01B2-4D77-ABFA-D6D9FF92A099}"/>
          </ac:spMkLst>
        </pc:spChg>
        <pc:spChg chg="add mod">
          <ac:chgData name="Mariam Daniela Tristancho Pineda (MISION TEMPORAL LTDA)" userId="a45a17f7-7950-4cb5-bfab-f5c894f959a9" providerId="ADAL" clId="{9D150B60-33B5-4A3E-8123-A67E35AA8D44}" dt="2020-07-28T21:00:42.597" v="20244" actId="1076"/>
          <ac:spMkLst>
            <pc:docMk/>
            <pc:sldMk cId="2519932516" sldId="2134804351"/>
            <ac:spMk id="34" creationId="{07F7B6FB-193B-4E2D-A992-7286BA46E462}"/>
          </ac:spMkLst>
        </pc:spChg>
        <pc:spChg chg="add mod">
          <ac:chgData name="Mariam Daniela Tristancho Pineda (MISION TEMPORAL LTDA)" userId="a45a17f7-7950-4cb5-bfab-f5c894f959a9" providerId="ADAL" clId="{9D150B60-33B5-4A3E-8123-A67E35AA8D44}" dt="2020-07-28T21:00:45.051" v="20245" actId="1076"/>
          <ac:spMkLst>
            <pc:docMk/>
            <pc:sldMk cId="2519932516" sldId="2134804351"/>
            <ac:spMk id="36" creationId="{50A4E7E1-42F9-4862-B684-7EFB18F41008}"/>
          </ac:spMkLst>
        </pc:spChg>
        <pc:spChg chg="add mod">
          <ac:chgData name="Mariam Daniela Tristancho Pineda (MISION TEMPORAL LTDA)" userId="a45a17f7-7950-4cb5-bfab-f5c894f959a9" providerId="ADAL" clId="{9D150B60-33B5-4A3E-8123-A67E35AA8D44}" dt="2020-07-28T21:00:47.284" v="20246" actId="1076"/>
          <ac:spMkLst>
            <pc:docMk/>
            <pc:sldMk cId="2519932516" sldId="2134804351"/>
            <ac:spMk id="38" creationId="{562738C7-6E2F-4DBE-BBED-BF9F1C4708E1}"/>
          </ac:spMkLst>
        </pc:spChg>
        <pc:spChg chg="mod">
          <ac:chgData name="Mariam Daniela Tristancho Pineda (MISION TEMPORAL LTDA)" userId="a45a17f7-7950-4cb5-bfab-f5c894f959a9" providerId="ADAL" clId="{9D150B60-33B5-4A3E-8123-A67E35AA8D44}" dt="2020-07-28T00:59:55.019" v="17232" actId="20577"/>
          <ac:spMkLst>
            <pc:docMk/>
            <pc:sldMk cId="2519932516" sldId="2134804351"/>
            <ac:spMk id="42" creationId="{F05D1EBD-E1C6-4EAD-A83A-3126DD1C70B5}"/>
          </ac:spMkLst>
        </pc:spChg>
        <pc:spChg chg="add mod">
          <ac:chgData name="Mariam Daniela Tristancho Pineda (MISION TEMPORAL LTDA)" userId="a45a17f7-7950-4cb5-bfab-f5c894f959a9" providerId="ADAL" clId="{9D150B60-33B5-4A3E-8123-A67E35AA8D44}" dt="2020-07-28T21:00:50.114" v="20247" actId="1076"/>
          <ac:spMkLst>
            <pc:docMk/>
            <pc:sldMk cId="2519932516" sldId="2134804351"/>
            <ac:spMk id="46" creationId="{AC035BA3-5872-4367-A545-66323BC7A6BF}"/>
          </ac:spMkLst>
        </pc:spChg>
        <pc:spChg chg="add mod">
          <ac:chgData name="Mariam Daniela Tristancho Pineda (MISION TEMPORAL LTDA)" userId="a45a17f7-7950-4cb5-bfab-f5c894f959a9" providerId="ADAL" clId="{9D150B60-33B5-4A3E-8123-A67E35AA8D44}" dt="2020-07-28T21:00:52.106" v="20248" actId="1076"/>
          <ac:spMkLst>
            <pc:docMk/>
            <pc:sldMk cId="2519932516" sldId="2134804351"/>
            <ac:spMk id="48" creationId="{105EA8B2-A5A6-4452-8E2D-7A5FB615E17E}"/>
          </ac:spMkLst>
        </pc:spChg>
        <pc:spChg chg="add mod">
          <ac:chgData name="Mariam Daniela Tristancho Pineda (MISION TEMPORAL LTDA)" userId="a45a17f7-7950-4cb5-bfab-f5c894f959a9" providerId="ADAL" clId="{9D150B60-33B5-4A3E-8123-A67E35AA8D44}" dt="2020-07-28T21:00:56.059" v="20249" actId="1076"/>
          <ac:spMkLst>
            <pc:docMk/>
            <pc:sldMk cId="2519932516" sldId="2134804351"/>
            <ac:spMk id="50" creationId="{1E3DF021-A2F1-403D-AA67-755BFC95974E}"/>
          </ac:spMkLst>
        </pc:spChg>
        <pc:spChg chg="add mod">
          <ac:chgData name="Mariam Daniela Tristancho Pineda (MISION TEMPORAL LTDA)" userId="a45a17f7-7950-4cb5-bfab-f5c894f959a9" providerId="ADAL" clId="{9D150B60-33B5-4A3E-8123-A67E35AA8D44}" dt="2020-07-28T21:01:01.908" v="20250" actId="1076"/>
          <ac:spMkLst>
            <pc:docMk/>
            <pc:sldMk cId="2519932516" sldId="2134804351"/>
            <ac:spMk id="52" creationId="{00F34D6D-E7E1-493B-80CC-FD834C099B0B}"/>
          </ac:spMkLst>
        </pc:spChg>
        <pc:spChg chg="add mod">
          <ac:chgData name="Mariam Daniela Tristancho Pineda (MISION TEMPORAL LTDA)" userId="a45a17f7-7950-4cb5-bfab-f5c894f959a9" providerId="ADAL" clId="{9D150B60-33B5-4A3E-8123-A67E35AA8D44}" dt="2020-07-28T21:01:06.461" v="20251" actId="1076"/>
          <ac:spMkLst>
            <pc:docMk/>
            <pc:sldMk cId="2519932516" sldId="2134804351"/>
            <ac:spMk id="54" creationId="{AC3C4B28-50DE-4100-8478-C35E675FE782}"/>
          </ac:spMkLst>
        </pc:spChg>
        <pc:spChg chg="add mod ord">
          <ac:chgData name="Mariam Daniela Tristancho Pineda (MISION TEMPORAL LTDA)" userId="a45a17f7-7950-4cb5-bfab-f5c894f959a9" providerId="ADAL" clId="{9D150B60-33B5-4A3E-8123-A67E35AA8D44}" dt="2020-07-28T21:01:10.005" v="20252" actId="167"/>
          <ac:spMkLst>
            <pc:docMk/>
            <pc:sldMk cId="2519932516" sldId="2134804351"/>
            <ac:spMk id="56" creationId="{A1361919-71D6-4D71-9DC2-E64FDAB3BEB6}"/>
          </ac:spMkLst>
        </pc:spChg>
        <pc:spChg chg="mod">
          <ac:chgData name="Mariam Daniela Tristancho Pineda (MISION TEMPORAL LTDA)" userId="a45a17f7-7950-4cb5-bfab-f5c894f959a9" providerId="ADAL" clId="{9D150B60-33B5-4A3E-8123-A67E35AA8D44}" dt="2020-07-28T01:00:06.394" v="17236" actId="20577"/>
          <ac:spMkLst>
            <pc:docMk/>
            <pc:sldMk cId="2519932516" sldId="2134804351"/>
            <ac:spMk id="58" creationId="{E9D8A762-472C-4575-A48B-D824E6B85E36}"/>
          </ac:spMkLst>
        </pc:spChg>
        <pc:spChg chg="mod">
          <ac:chgData name="Mariam Daniela Tristancho Pineda (MISION TEMPORAL LTDA)" userId="a45a17f7-7950-4cb5-bfab-f5c894f959a9" providerId="ADAL" clId="{9D150B60-33B5-4A3E-8123-A67E35AA8D44}" dt="2020-07-28T00:34:41.437" v="16356"/>
          <ac:spMkLst>
            <pc:docMk/>
            <pc:sldMk cId="2519932516" sldId="2134804351"/>
            <ac:spMk id="59" creationId="{79289670-0B1A-4519-A15C-1FFA595F2428}"/>
          </ac:spMkLst>
        </pc:spChg>
        <pc:spChg chg="add mod">
          <ac:chgData name="Mariam Daniela Tristancho Pineda (MISION TEMPORAL LTDA)" userId="a45a17f7-7950-4cb5-bfab-f5c894f959a9" providerId="ADAL" clId="{9D150B60-33B5-4A3E-8123-A67E35AA8D44}" dt="2020-07-28T21:01:12.595" v="20253" actId="1076"/>
          <ac:spMkLst>
            <pc:docMk/>
            <pc:sldMk cId="2519932516" sldId="2134804351"/>
            <ac:spMk id="61" creationId="{1B9F97AE-0022-49A6-ADB7-775C91BA3649}"/>
          </ac:spMkLst>
        </pc:spChg>
        <pc:spChg chg="mod">
          <ac:chgData name="Mariam Daniela Tristancho Pineda (MISION TEMPORAL LTDA)" userId="a45a17f7-7950-4cb5-bfab-f5c894f959a9" providerId="ADAL" clId="{9D150B60-33B5-4A3E-8123-A67E35AA8D44}" dt="2020-07-28T00:35:04.348" v="16364" actId="20577"/>
          <ac:spMkLst>
            <pc:docMk/>
            <pc:sldMk cId="2519932516" sldId="2134804351"/>
            <ac:spMk id="63" creationId="{E593D65F-BE9A-48A6-A735-E4E89CA156BB}"/>
          </ac:spMkLst>
        </pc:spChg>
        <pc:spChg chg="mod">
          <ac:chgData name="Mariam Daniela Tristancho Pineda (MISION TEMPORAL LTDA)" userId="a45a17f7-7950-4cb5-bfab-f5c894f959a9" providerId="ADAL" clId="{9D150B60-33B5-4A3E-8123-A67E35AA8D44}" dt="2020-07-28T00:59:44.176" v="17227" actId="20577"/>
          <ac:spMkLst>
            <pc:docMk/>
            <pc:sldMk cId="2519932516" sldId="2134804351"/>
            <ac:spMk id="64" creationId="{F419EC28-DE2D-49A5-A5F7-375975F278C1}"/>
          </ac:spMkLst>
        </pc:spChg>
        <pc:spChg chg="add mod">
          <ac:chgData name="Mariam Daniela Tristancho Pineda (MISION TEMPORAL LTDA)" userId="a45a17f7-7950-4cb5-bfab-f5c894f959a9" providerId="ADAL" clId="{9D150B60-33B5-4A3E-8123-A67E35AA8D44}" dt="2020-07-28T00:58:39.224" v="17162" actId="1076"/>
          <ac:spMkLst>
            <pc:docMk/>
            <pc:sldMk cId="2519932516" sldId="2134804351"/>
            <ac:spMk id="66" creationId="{DB4FE9D6-43A8-4F57-B07C-3923CCC86035}"/>
          </ac:spMkLst>
        </pc:spChg>
        <pc:spChg chg="add mod">
          <ac:chgData name="Mariam Daniela Tristancho Pineda (MISION TEMPORAL LTDA)" userId="a45a17f7-7950-4cb5-bfab-f5c894f959a9" providerId="ADAL" clId="{9D150B60-33B5-4A3E-8123-A67E35AA8D44}" dt="2020-07-28T21:01:50.681" v="20282" actId="1038"/>
          <ac:spMkLst>
            <pc:docMk/>
            <pc:sldMk cId="2519932516" sldId="2134804351"/>
            <ac:spMk id="68" creationId="{E0BD316C-FAB2-49B3-90CF-8E3FEB823472}"/>
          </ac:spMkLst>
        </pc:spChg>
        <pc:spChg chg="add mod">
          <ac:chgData name="Mariam Daniela Tristancho Pineda (MISION TEMPORAL LTDA)" userId="a45a17f7-7950-4cb5-bfab-f5c894f959a9" providerId="ADAL" clId="{9D150B60-33B5-4A3E-8123-A67E35AA8D44}" dt="2020-07-28T21:01:50.681" v="20282" actId="1038"/>
          <ac:spMkLst>
            <pc:docMk/>
            <pc:sldMk cId="2519932516" sldId="2134804351"/>
            <ac:spMk id="70" creationId="{6C4699DE-8975-408F-931F-024FF6BFBAA0}"/>
          </ac:spMkLst>
        </pc:spChg>
        <pc:spChg chg="add mod">
          <ac:chgData name="Mariam Daniela Tristancho Pineda (MISION TEMPORAL LTDA)" userId="a45a17f7-7950-4cb5-bfab-f5c894f959a9" providerId="ADAL" clId="{9D150B60-33B5-4A3E-8123-A67E35AA8D44}" dt="2020-07-28T21:01:50.681" v="20282" actId="1038"/>
          <ac:spMkLst>
            <pc:docMk/>
            <pc:sldMk cId="2519932516" sldId="2134804351"/>
            <ac:spMk id="72" creationId="{0271D3F6-9B51-4788-A19E-573ECB9F7EDE}"/>
          </ac:spMkLst>
        </pc:spChg>
        <pc:spChg chg="add mod">
          <ac:chgData name="Mariam Daniela Tristancho Pineda (MISION TEMPORAL LTDA)" userId="a45a17f7-7950-4cb5-bfab-f5c894f959a9" providerId="ADAL" clId="{9D150B60-33B5-4A3E-8123-A67E35AA8D44}" dt="2020-07-28T21:01:59.117" v="20323" actId="1037"/>
          <ac:spMkLst>
            <pc:docMk/>
            <pc:sldMk cId="2519932516" sldId="2134804351"/>
            <ac:spMk id="74" creationId="{3C64144C-14AD-44C6-9A03-0DEF4A17B1B4}"/>
          </ac:spMkLst>
        </pc:spChg>
        <pc:spChg chg="add mod">
          <ac:chgData name="Mariam Daniela Tristancho Pineda (MISION TEMPORAL LTDA)" userId="a45a17f7-7950-4cb5-bfab-f5c894f959a9" providerId="ADAL" clId="{9D150B60-33B5-4A3E-8123-A67E35AA8D44}" dt="2020-07-28T21:01:50.681" v="20282" actId="1038"/>
          <ac:spMkLst>
            <pc:docMk/>
            <pc:sldMk cId="2519932516" sldId="2134804351"/>
            <ac:spMk id="76" creationId="{B3A8BA81-8E35-42BE-AF9A-7071C157828E}"/>
          </ac:spMkLst>
        </pc:spChg>
        <pc:spChg chg="add mod">
          <ac:chgData name="Mariam Daniela Tristancho Pineda (MISION TEMPORAL LTDA)" userId="a45a17f7-7950-4cb5-bfab-f5c894f959a9" providerId="ADAL" clId="{9D150B60-33B5-4A3E-8123-A67E35AA8D44}" dt="2020-07-28T21:01:59.117" v="20323" actId="1037"/>
          <ac:spMkLst>
            <pc:docMk/>
            <pc:sldMk cId="2519932516" sldId="2134804351"/>
            <ac:spMk id="78" creationId="{4F72383D-BAB2-4B4D-B8FC-F478864F7453}"/>
          </ac:spMkLst>
        </pc:spChg>
        <pc:spChg chg="add mod">
          <ac:chgData name="Mariam Daniela Tristancho Pineda (MISION TEMPORAL LTDA)" userId="a45a17f7-7950-4cb5-bfab-f5c894f959a9" providerId="ADAL" clId="{9D150B60-33B5-4A3E-8123-A67E35AA8D44}" dt="2020-07-28T21:01:50.681" v="20282" actId="1038"/>
          <ac:spMkLst>
            <pc:docMk/>
            <pc:sldMk cId="2519932516" sldId="2134804351"/>
            <ac:spMk id="80" creationId="{FFBE6AE1-2056-45BA-BCF6-ED97C1554D36}"/>
          </ac:spMkLst>
        </pc:spChg>
        <pc:spChg chg="add del mod">
          <ac:chgData name="Mariam Daniela Tristancho Pineda (MISION TEMPORAL LTDA)" userId="a45a17f7-7950-4cb5-bfab-f5c894f959a9" providerId="ADAL" clId="{9D150B60-33B5-4A3E-8123-A67E35AA8D44}" dt="2020-07-28T00:46:12.810" v="16794" actId="478"/>
          <ac:spMkLst>
            <pc:docMk/>
            <pc:sldMk cId="2519932516" sldId="2134804351"/>
            <ac:spMk id="82" creationId="{2F0DA2B2-E299-43B7-8104-BBF80B0DD76E}"/>
          </ac:spMkLst>
        </pc:spChg>
        <pc:spChg chg="mod">
          <ac:chgData name="Mariam Daniela Tristancho Pineda (MISION TEMPORAL LTDA)" userId="a45a17f7-7950-4cb5-bfab-f5c894f959a9" providerId="ADAL" clId="{9D150B60-33B5-4A3E-8123-A67E35AA8D44}" dt="2020-07-28T21:02:36.259" v="20361" actId="1036"/>
          <ac:spMkLst>
            <pc:docMk/>
            <pc:sldMk cId="2519932516" sldId="2134804351"/>
            <ac:spMk id="84" creationId="{293DBAF3-3942-4C58-8A63-D4484E215E20}"/>
          </ac:spMkLst>
        </pc:spChg>
        <pc:spChg chg="mod">
          <ac:chgData name="Mariam Daniela Tristancho Pineda (MISION TEMPORAL LTDA)" userId="a45a17f7-7950-4cb5-bfab-f5c894f959a9" providerId="ADAL" clId="{9D150B60-33B5-4A3E-8123-A67E35AA8D44}" dt="2020-07-28T21:02:22.166" v="20349" actId="1036"/>
          <ac:spMkLst>
            <pc:docMk/>
            <pc:sldMk cId="2519932516" sldId="2134804351"/>
            <ac:spMk id="86" creationId="{7696A978-4362-4DE3-8C58-0F58608C4AA6}"/>
          </ac:spMkLst>
        </pc:spChg>
        <pc:spChg chg="add mod">
          <ac:chgData name="Mariam Daniela Tristancho Pineda (MISION TEMPORAL LTDA)" userId="a45a17f7-7950-4cb5-bfab-f5c894f959a9" providerId="ADAL" clId="{9D150B60-33B5-4A3E-8123-A67E35AA8D44}" dt="2020-07-28T21:01:50.681" v="20282" actId="1038"/>
          <ac:spMkLst>
            <pc:docMk/>
            <pc:sldMk cId="2519932516" sldId="2134804351"/>
            <ac:spMk id="88" creationId="{560BB30A-7A6C-4DCB-ADB4-99EE32EEA5AD}"/>
          </ac:spMkLst>
        </pc:spChg>
        <pc:spChg chg="add del mod">
          <ac:chgData name="Mariam Daniela Tristancho Pineda (MISION TEMPORAL LTDA)" userId="a45a17f7-7950-4cb5-bfab-f5c894f959a9" providerId="ADAL" clId="{9D150B60-33B5-4A3E-8123-A67E35AA8D44}" dt="2020-07-28T00:46:30.110" v="16799" actId="478"/>
          <ac:spMkLst>
            <pc:docMk/>
            <pc:sldMk cId="2519932516" sldId="2134804351"/>
            <ac:spMk id="90" creationId="{46542398-0343-4F1D-ADFD-662D132A9944}"/>
          </ac:spMkLst>
        </pc:spChg>
        <pc:spChg chg="add mod">
          <ac:chgData name="Mariam Daniela Tristancho Pineda (MISION TEMPORAL LTDA)" userId="a45a17f7-7950-4cb5-bfab-f5c894f959a9" providerId="ADAL" clId="{9D150B60-33B5-4A3E-8123-A67E35AA8D44}" dt="2020-07-28T21:01:59.117" v="20323" actId="1037"/>
          <ac:spMkLst>
            <pc:docMk/>
            <pc:sldMk cId="2519932516" sldId="2134804351"/>
            <ac:spMk id="92" creationId="{68CB13F7-6195-4BBE-AB32-EEE81D18C564}"/>
          </ac:spMkLst>
        </pc:spChg>
        <pc:spChg chg="add mod">
          <ac:chgData name="Mariam Daniela Tristancho Pineda (MISION TEMPORAL LTDA)" userId="a45a17f7-7950-4cb5-bfab-f5c894f959a9" providerId="ADAL" clId="{9D150B60-33B5-4A3E-8123-A67E35AA8D44}" dt="2020-07-28T21:01:59.117" v="20323" actId="1037"/>
          <ac:spMkLst>
            <pc:docMk/>
            <pc:sldMk cId="2519932516" sldId="2134804351"/>
            <ac:spMk id="94" creationId="{8A5077C6-3AAF-42E3-A927-33E0AD0A5786}"/>
          </ac:spMkLst>
        </pc:spChg>
        <pc:spChg chg="add mod">
          <ac:chgData name="Mariam Daniela Tristancho Pineda (MISION TEMPORAL LTDA)" userId="a45a17f7-7950-4cb5-bfab-f5c894f959a9" providerId="ADAL" clId="{9D150B60-33B5-4A3E-8123-A67E35AA8D44}" dt="2020-07-28T21:02:59.995" v="20397" actId="14100"/>
          <ac:spMkLst>
            <pc:docMk/>
            <pc:sldMk cId="2519932516" sldId="2134804351"/>
            <ac:spMk id="96" creationId="{09E6990B-CBC6-4766-92A4-C07ABAFB1D59}"/>
          </ac:spMkLst>
        </pc:spChg>
        <pc:spChg chg="del mod">
          <ac:chgData name="Mariam Daniela Tristancho Pineda (MISION TEMPORAL LTDA)" userId="a45a17f7-7950-4cb5-bfab-f5c894f959a9" providerId="ADAL" clId="{9D150B60-33B5-4A3E-8123-A67E35AA8D44}" dt="2020-07-28T00:33:37.696" v="16342" actId="478"/>
          <ac:spMkLst>
            <pc:docMk/>
            <pc:sldMk cId="2519932516" sldId="2134804351"/>
            <ac:spMk id="97" creationId="{99300021-C267-43BD-A0F5-B3ECE622345E}"/>
          </ac:spMkLst>
        </pc:spChg>
        <pc:spChg chg="add mod">
          <ac:chgData name="Mariam Daniela Tristancho Pineda (MISION TEMPORAL LTDA)" userId="a45a17f7-7950-4cb5-bfab-f5c894f959a9" providerId="ADAL" clId="{9D150B60-33B5-4A3E-8123-A67E35AA8D44}" dt="2020-07-28T21:02:53.238" v="20396" actId="1037"/>
          <ac:spMkLst>
            <pc:docMk/>
            <pc:sldMk cId="2519932516" sldId="2134804351"/>
            <ac:spMk id="100" creationId="{6459F711-D32A-423A-9CF6-70ED657A9BA0}"/>
          </ac:spMkLst>
        </pc:spChg>
        <pc:spChg chg="add mod ord">
          <ac:chgData name="Mariam Daniela Tristancho Pineda (MISION TEMPORAL LTDA)" userId="a45a17f7-7950-4cb5-bfab-f5c894f959a9" providerId="ADAL" clId="{9D150B60-33B5-4A3E-8123-A67E35AA8D44}" dt="2020-07-28T21:03:26.897" v="20403" actId="167"/>
          <ac:spMkLst>
            <pc:docMk/>
            <pc:sldMk cId="2519932516" sldId="2134804351"/>
            <ac:spMk id="102" creationId="{357A9AB8-D778-4FF7-B653-9D3E0395B1F2}"/>
          </ac:spMkLst>
        </pc:spChg>
        <pc:spChg chg="add del mod">
          <ac:chgData name="Mariam Daniela Tristancho Pineda (MISION TEMPORAL LTDA)" userId="a45a17f7-7950-4cb5-bfab-f5c894f959a9" providerId="ADAL" clId="{9D150B60-33B5-4A3E-8123-A67E35AA8D44}" dt="2020-07-28T00:47:30.183" v="16808" actId="478"/>
          <ac:spMkLst>
            <pc:docMk/>
            <pc:sldMk cId="2519932516" sldId="2134804351"/>
            <ac:spMk id="104" creationId="{5B727416-85CD-419C-9D2E-1D175181A925}"/>
          </ac:spMkLst>
        </pc:spChg>
        <pc:spChg chg="add mod">
          <ac:chgData name="Mariam Daniela Tristancho Pineda (MISION TEMPORAL LTDA)" userId="a45a17f7-7950-4cb5-bfab-f5c894f959a9" providerId="ADAL" clId="{9D150B60-33B5-4A3E-8123-A67E35AA8D44}" dt="2020-07-28T00:49:21.842" v="16900" actId="164"/>
          <ac:spMkLst>
            <pc:docMk/>
            <pc:sldMk cId="2519932516" sldId="2134804351"/>
            <ac:spMk id="106" creationId="{578E8F3C-55C1-4C15-9275-AA0D4F05F85B}"/>
          </ac:spMkLst>
        </pc:spChg>
        <pc:spChg chg="add mod">
          <ac:chgData name="Mariam Daniela Tristancho Pineda (MISION TEMPORAL LTDA)" userId="a45a17f7-7950-4cb5-bfab-f5c894f959a9" providerId="ADAL" clId="{9D150B60-33B5-4A3E-8123-A67E35AA8D44}" dt="2020-07-28T00:49:26.687" v="16902" actId="1076"/>
          <ac:spMkLst>
            <pc:docMk/>
            <pc:sldMk cId="2519932516" sldId="2134804351"/>
            <ac:spMk id="108" creationId="{7315C8AE-7A5A-4982-9BBF-936C6A47EAEE}"/>
          </ac:spMkLst>
        </pc:spChg>
        <pc:spChg chg="add mod">
          <ac:chgData name="Mariam Daniela Tristancho Pineda (MISION TEMPORAL LTDA)" userId="a45a17f7-7950-4cb5-bfab-f5c894f959a9" providerId="ADAL" clId="{9D150B60-33B5-4A3E-8123-A67E35AA8D44}" dt="2020-07-28T00:49:21.842" v="16900" actId="164"/>
          <ac:spMkLst>
            <pc:docMk/>
            <pc:sldMk cId="2519932516" sldId="2134804351"/>
            <ac:spMk id="110" creationId="{40E37C76-26ED-4889-B618-12FEBB24A478}"/>
          </ac:spMkLst>
        </pc:spChg>
        <pc:spChg chg="mod">
          <ac:chgData name="Mariam Daniela Tristancho Pineda (MISION TEMPORAL LTDA)" userId="a45a17f7-7950-4cb5-bfab-f5c894f959a9" providerId="ADAL" clId="{9D150B60-33B5-4A3E-8123-A67E35AA8D44}" dt="2020-07-28T00:48:27.424" v="16868" actId="20577"/>
          <ac:spMkLst>
            <pc:docMk/>
            <pc:sldMk cId="2519932516" sldId="2134804351"/>
            <ac:spMk id="114" creationId="{F7E2808A-D415-417D-8E4F-10309F3BC124}"/>
          </ac:spMkLst>
        </pc:spChg>
        <pc:spChg chg="mod">
          <ac:chgData name="Mariam Daniela Tristancho Pineda (MISION TEMPORAL LTDA)" userId="a45a17f7-7950-4cb5-bfab-f5c894f959a9" providerId="ADAL" clId="{9D150B60-33B5-4A3E-8123-A67E35AA8D44}" dt="2020-07-28T01:00:21.199" v="17254" actId="1036"/>
          <ac:spMkLst>
            <pc:docMk/>
            <pc:sldMk cId="2519932516" sldId="2134804351"/>
            <ac:spMk id="115" creationId="{8B36B6E2-6AAE-4D53-8005-39FE83731962}"/>
          </ac:spMkLst>
        </pc:spChg>
        <pc:spChg chg="mod">
          <ac:chgData name="Mariam Daniela Tristancho Pineda (MISION TEMPORAL LTDA)" userId="a45a17f7-7950-4cb5-bfab-f5c894f959a9" providerId="ADAL" clId="{9D150B60-33B5-4A3E-8123-A67E35AA8D44}" dt="2020-07-28T21:02:15.763" v="20334" actId="1038"/>
          <ac:spMkLst>
            <pc:docMk/>
            <pc:sldMk cId="2519932516" sldId="2134804351"/>
            <ac:spMk id="117" creationId="{8960734A-1053-42D2-BD72-6674DCCE6A97}"/>
          </ac:spMkLst>
        </pc:spChg>
        <pc:spChg chg="mod">
          <ac:chgData name="Mariam Daniela Tristancho Pineda (MISION TEMPORAL LTDA)" userId="a45a17f7-7950-4cb5-bfab-f5c894f959a9" providerId="ADAL" clId="{9D150B60-33B5-4A3E-8123-A67E35AA8D44}" dt="2020-07-28T21:02:15.763" v="20334" actId="1038"/>
          <ac:spMkLst>
            <pc:docMk/>
            <pc:sldMk cId="2519932516" sldId="2134804351"/>
            <ac:spMk id="118" creationId="{C77431EE-A761-4323-B75F-692D4CAEC462}"/>
          </ac:spMkLst>
        </pc:spChg>
        <pc:spChg chg="mod">
          <ac:chgData name="Mariam Daniela Tristancho Pineda (MISION TEMPORAL LTDA)" userId="a45a17f7-7950-4cb5-bfab-f5c894f959a9" providerId="ADAL" clId="{9D150B60-33B5-4A3E-8123-A67E35AA8D44}" dt="2020-07-28T21:02:15.763" v="20334" actId="1038"/>
          <ac:spMkLst>
            <pc:docMk/>
            <pc:sldMk cId="2519932516" sldId="2134804351"/>
            <ac:spMk id="119" creationId="{A66DDFF6-8990-4632-9B16-3852035C81BA}"/>
          </ac:spMkLst>
        </pc:spChg>
        <pc:spChg chg="mod">
          <ac:chgData name="Mariam Daniela Tristancho Pineda (MISION TEMPORAL LTDA)" userId="a45a17f7-7950-4cb5-bfab-f5c894f959a9" providerId="ADAL" clId="{9D150B60-33B5-4A3E-8123-A67E35AA8D44}" dt="2020-07-28T00:48:47.922" v="16873" actId="208"/>
          <ac:spMkLst>
            <pc:docMk/>
            <pc:sldMk cId="2519932516" sldId="2134804351"/>
            <ac:spMk id="120" creationId="{BE7D76F4-3D5C-4FF7-8D06-CD7DE51BB2BC}"/>
          </ac:spMkLst>
        </pc:spChg>
        <pc:spChg chg="mod">
          <ac:chgData name="Mariam Daniela Tristancho Pineda (MISION TEMPORAL LTDA)" userId="a45a17f7-7950-4cb5-bfab-f5c894f959a9" providerId="ADAL" clId="{9D150B60-33B5-4A3E-8123-A67E35AA8D44}" dt="2020-07-28T01:00:13.761" v="17244" actId="1035"/>
          <ac:spMkLst>
            <pc:docMk/>
            <pc:sldMk cId="2519932516" sldId="2134804351"/>
            <ac:spMk id="121" creationId="{2F8F1742-B2D0-467A-9C27-83157E35B733}"/>
          </ac:spMkLst>
        </pc:spChg>
        <pc:spChg chg="add mod">
          <ac:chgData name="Mariam Daniela Tristancho Pineda (MISION TEMPORAL LTDA)" userId="a45a17f7-7950-4cb5-bfab-f5c894f959a9" providerId="ADAL" clId="{9D150B60-33B5-4A3E-8123-A67E35AA8D44}" dt="2020-07-28T00:50:37.986" v="16958" actId="164"/>
          <ac:spMkLst>
            <pc:docMk/>
            <pc:sldMk cId="2519932516" sldId="2134804351"/>
            <ac:spMk id="125" creationId="{C3B3A7E8-187C-416D-8785-AC187392CE83}"/>
          </ac:spMkLst>
        </pc:spChg>
        <pc:spChg chg="add mod ord">
          <ac:chgData name="Mariam Daniela Tristancho Pineda (MISION TEMPORAL LTDA)" userId="a45a17f7-7950-4cb5-bfab-f5c894f959a9" providerId="ADAL" clId="{9D150B60-33B5-4A3E-8123-A67E35AA8D44}" dt="2020-07-28T21:03:26.897" v="20403" actId="167"/>
          <ac:spMkLst>
            <pc:docMk/>
            <pc:sldMk cId="2519932516" sldId="2134804351"/>
            <ac:spMk id="126" creationId="{F3345E9D-3CDC-4990-8CC7-89A023557472}"/>
          </ac:spMkLst>
        </pc:spChg>
        <pc:spChg chg="mod">
          <ac:chgData name="Mariam Daniela Tristancho Pineda (MISION TEMPORAL LTDA)" userId="a45a17f7-7950-4cb5-bfab-f5c894f959a9" providerId="ADAL" clId="{9D150B60-33B5-4A3E-8123-A67E35AA8D44}" dt="2020-07-28T00:49:45.750" v="16904"/>
          <ac:spMkLst>
            <pc:docMk/>
            <pc:sldMk cId="2519932516" sldId="2134804351"/>
            <ac:spMk id="128" creationId="{B69F5065-F231-43A2-BEC5-8A1108AC8C97}"/>
          </ac:spMkLst>
        </pc:spChg>
        <pc:spChg chg="mod">
          <ac:chgData name="Mariam Daniela Tristancho Pineda (MISION TEMPORAL LTDA)" userId="a45a17f7-7950-4cb5-bfab-f5c894f959a9" providerId="ADAL" clId="{9D150B60-33B5-4A3E-8123-A67E35AA8D44}" dt="2020-07-28T00:49:45.750" v="16904"/>
          <ac:spMkLst>
            <pc:docMk/>
            <pc:sldMk cId="2519932516" sldId="2134804351"/>
            <ac:spMk id="129" creationId="{EA229BBE-0FFD-4BD8-9B08-7EE4931E9531}"/>
          </ac:spMkLst>
        </pc:spChg>
        <pc:spChg chg="mod">
          <ac:chgData name="Mariam Daniela Tristancho Pineda (MISION TEMPORAL LTDA)" userId="a45a17f7-7950-4cb5-bfab-f5c894f959a9" providerId="ADAL" clId="{9D150B60-33B5-4A3E-8123-A67E35AA8D44}" dt="2020-07-28T00:49:45.750" v="16904"/>
          <ac:spMkLst>
            <pc:docMk/>
            <pc:sldMk cId="2519932516" sldId="2134804351"/>
            <ac:spMk id="130" creationId="{387B00CD-1095-4AD1-9A1F-5CA3742D06A6}"/>
          </ac:spMkLst>
        </pc:spChg>
        <pc:spChg chg="mod">
          <ac:chgData name="Mariam Daniela Tristancho Pineda (MISION TEMPORAL LTDA)" userId="a45a17f7-7950-4cb5-bfab-f5c894f959a9" providerId="ADAL" clId="{9D150B60-33B5-4A3E-8123-A67E35AA8D44}" dt="2020-07-28T00:50:21.633" v="16950" actId="20577"/>
          <ac:spMkLst>
            <pc:docMk/>
            <pc:sldMk cId="2519932516" sldId="2134804351"/>
            <ac:spMk id="132" creationId="{496BD2EA-0593-4ADC-8647-2E1CC88DA730}"/>
          </ac:spMkLst>
        </pc:spChg>
        <pc:spChg chg="mod">
          <ac:chgData name="Mariam Daniela Tristancho Pineda (MISION TEMPORAL LTDA)" userId="a45a17f7-7950-4cb5-bfab-f5c894f959a9" providerId="ADAL" clId="{9D150B60-33B5-4A3E-8123-A67E35AA8D44}" dt="2020-07-28T01:00:26.967" v="17262" actId="1035"/>
          <ac:spMkLst>
            <pc:docMk/>
            <pc:sldMk cId="2519932516" sldId="2134804351"/>
            <ac:spMk id="133" creationId="{94776774-DEC0-45A6-95E5-FDA648882F5B}"/>
          </ac:spMkLst>
        </pc:spChg>
        <pc:spChg chg="mod">
          <ac:chgData name="Mariam Daniela Tristancho Pineda (MISION TEMPORAL LTDA)" userId="a45a17f7-7950-4cb5-bfab-f5c894f959a9" providerId="ADAL" clId="{9D150B60-33B5-4A3E-8123-A67E35AA8D44}" dt="2020-07-28T00:56:11.624" v="17118" actId="20577"/>
          <ac:spMkLst>
            <pc:docMk/>
            <pc:sldMk cId="2519932516" sldId="2134804351"/>
            <ac:spMk id="135" creationId="{C1823568-A421-4254-9106-BAEB76F16B72}"/>
          </ac:spMkLst>
        </pc:spChg>
        <pc:spChg chg="add mod">
          <ac:chgData name="Mariam Daniela Tristancho Pineda (MISION TEMPORAL LTDA)" userId="a45a17f7-7950-4cb5-bfab-f5c894f959a9" providerId="ADAL" clId="{9D150B60-33B5-4A3E-8123-A67E35AA8D44}" dt="2020-07-28T00:50:37.986" v="16958" actId="164"/>
          <ac:spMkLst>
            <pc:docMk/>
            <pc:sldMk cId="2519932516" sldId="2134804351"/>
            <ac:spMk id="137" creationId="{5958889A-C2B7-40A3-8E2D-AC99F979A3CE}"/>
          </ac:spMkLst>
        </pc:spChg>
        <pc:spChg chg="add mod ord">
          <ac:chgData name="Mariam Daniela Tristancho Pineda (MISION TEMPORAL LTDA)" userId="a45a17f7-7950-4cb5-bfab-f5c894f959a9" providerId="ADAL" clId="{9D150B60-33B5-4A3E-8123-A67E35AA8D44}" dt="2020-07-28T21:04:24.766" v="20438" actId="108"/>
          <ac:spMkLst>
            <pc:docMk/>
            <pc:sldMk cId="2519932516" sldId="2134804351"/>
            <ac:spMk id="140" creationId="{EA2D8879-FCAB-4E6C-84E9-57818C0A0FF5}"/>
          </ac:spMkLst>
        </pc:spChg>
        <pc:spChg chg="add mod">
          <ac:chgData name="Mariam Daniela Tristancho Pineda (MISION TEMPORAL LTDA)" userId="a45a17f7-7950-4cb5-bfab-f5c894f959a9" providerId="ADAL" clId="{9D150B60-33B5-4A3E-8123-A67E35AA8D44}" dt="2020-07-28T21:03:19.747" v="20402" actId="1076"/>
          <ac:spMkLst>
            <pc:docMk/>
            <pc:sldMk cId="2519932516" sldId="2134804351"/>
            <ac:spMk id="142" creationId="{6A2B75A2-AEFD-4D38-8DDC-C76CD38E0DA4}"/>
          </ac:spMkLst>
        </pc:spChg>
        <pc:spChg chg="add mod">
          <ac:chgData name="Mariam Daniela Tristancho Pineda (MISION TEMPORAL LTDA)" userId="a45a17f7-7950-4cb5-bfab-f5c894f959a9" providerId="ADAL" clId="{9D150B60-33B5-4A3E-8123-A67E35AA8D44}" dt="2020-07-28T21:03:35.149" v="20437" actId="1037"/>
          <ac:spMkLst>
            <pc:docMk/>
            <pc:sldMk cId="2519932516" sldId="2134804351"/>
            <ac:spMk id="144" creationId="{081CE15D-52C6-4E61-BAAC-9650B1662861}"/>
          </ac:spMkLst>
        </pc:spChg>
        <pc:spChg chg="add mod">
          <ac:chgData name="Mariam Daniela Tristancho Pineda (MISION TEMPORAL LTDA)" userId="a45a17f7-7950-4cb5-bfab-f5c894f959a9" providerId="ADAL" clId="{9D150B60-33B5-4A3E-8123-A67E35AA8D44}" dt="2020-07-28T21:03:35.149" v="20437" actId="1037"/>
          <ac:spMkLst>
            <pc:docMk/>
            <pc:sldMk cId="2519932516" sldId="2134804351"/>
            <ac:spMk id="146" creationId="{E148EF82-5728-4586-BAC7-2BEA65EEC168}"/>
          </ac:spMkLst>
        </pc:spChg>
        <pc:spChg chg="add mod">
          <ac:chgData name="Mariam Daniela Tristancho Pineda (MISION TEMPORAL LTDA)" userId="a45a17f7-7950-4cb5-bfab-f5c894f959a9" providerId="ADAL" clId="{9D150B60-33B5-4A3E-8123-A67E35AA8D44}" dt="2020-07-28T21:03:35.149" v="20437" actId="1037"/>
          <ac:spMkLst>
            <pc:docMk/>
            <pc:sldMk cId="2519932516" sldId="2134804351"/>
            <ac:spMk id="148" creationId="{A9D6B378-71F6-43BC-87C8-6B855E3F3B70}"/>
          </ac:spMkLst>
        </pc:spChg>
        <pc:spChg chg="add mod">
          <ac:chgData name="Mariam Daniela Tristancho Pineda (MISION TEMPORAL LTDA)" userId="a45a17f7-7950-4cb5-bfab-f5c894f959a9" providerId="ADAL" clId="{9D150B60-33B5-4A3E-8123-A67E35AA8D44}" dt="2020-07-28T21:03:17.195" v="20401" actId="1076"/>
          <ac:spMkLst>
            <pc:docMk/>
            <pc:sldMk cId="2519932516" sldId="2134804351"/>
            <ac:spMk id="150" creationId="{B10508DA-3022-45FB-884F-0F336EA46947}"/>
          </ac:spMkLst>
        </pc:spChg>
        <pc:spChg chg="add mod">
          <ac:chgData name="Mariam Daniela Tristancho Pineda (MISION TEMPORAL LTDA)" userId="a45a17f7-7950-4cb5-bfab-f5c894f959a9" providerId="ADAL" clId="{9D150B60-33B5-4A3E-8123-A67E35AA8D44}" dt="2020-07-28T21:03:17.195" v="20401" actId="1076"/>
          <ac:spMkLst>
            <pc:docMk/>
            <pc:sldMk cId="2519932516" sldId="2134804351"/>
            <ac:spMk id="152" creationId="{D777C5AE-8D54-433A-9FFA-D0C58F2DBD22}"/>
          </ac:spMkLst>
        </pc:spChg>
        <pc:grpChg chg="mod">
          <ac:chgData name="Mariam Daniela Tristancho Pineda (MISION TEMPORAL LTDA)" userId="a45a17f7-7950-4cb5-bfab-f5c894f959a9" providerId="ADAL" clId="{9D150B60-33B5-4A3E-8123-A67E35AA8D44}" dt="2020-07-28T21:02:22.166" v="20349" actId="1036"/>
          <ac:grpSpMkLst>
            <pc:docMk/>
            <pc:sldMk cId="2519932516" sldId="2134804351"/>
            <ac:grpSpMk id="40" creationId="{4AE5D7C8-E153-4872-B77B-8476720136A1}"/>
          </ac:grpSpMkLst>
        </pc:grpChg>
        <pc:grpChg chg="add mod">
          <ac:chgData name="Mariam Daniela Tristancho Pineda (MISION TEMPORAL LTDA)" userId="a45a17f7-7950-4cb5-bfab-f5c894f959a9" providerId="ADAL" clId="{9D150B60-33B5-4A3E-8123-A67E35AA8D44}" dt="2020-07-28T21:02:15.763" v="20334" actId="1038"/>
          <ac:grpSpMkLst>
            <pc:docMk/>
            <pc:sldMk cId="2519932516" sldId="2134804351"/>
            <ac:grpSpMk id="57" creationId="{A9983047-CFC8-48B0-AC28-3E269CED2941}"/>
          </ac:grpSpMkLst>
        </pc:grpChg>
        <pc:grpChg chg="add mod">
          <ac:chgData name="Mariam Daniela Tristancho Pineda (MISION TEMPORAL LTDA)" userId="a45a17f7-7950-4cb5-bfab-f5c894f959a9" providerId="ADAL" clId="{9D150B60-33B5-4A3E-8123-A67E35AA8D44}" dt="2020-07-28T21:02:22.166" v="20349" actId="1036"/>
          <ac:grpSpMkLst>
            <pc:docMk/>
            <pc:sldMk cId="2519932516" sldId="2134804351"/>
            <ac:grpSpMk id="62" creationId="{4F9B287D-6EA8-44AB-83B1-11986D1E785F}"/>
          </ac:grpSpMkLst>
        </pc:grpChg>
        <pc:grpChg chg="add mod">
          <ac:chgData name="Mariam Daniela Tristancho Pineda (MISION TEMPORAL LTDA)" userId="a45a17f7-7950-4cb5-bfab-f5c894f959a9" providerId="ADAL" clId="{9D150B60-33B5-4A3E-8123-A67E35AA8D44}" dt="2020-07-28T21:03:04.843" v="20398" actId="1076"/>
          <ac:grpSpMkLst>
            <pc:docMk/>
            <pc:sldMk cId="2519932516" sldId="2134804351"/>
            <ac:grpSpMk id="112" creationId="{03CD66D0-EF37-4B9D-B4CA-A4A989EADC96}"/>
          </ac:grpSpMkLst>
        </pc:grpChg>
        <pc:grpChg chg="add mod">
          <ac:chgData name="Mariam Daniela Tristancho Pineda (MISION TEMPORAL LTDA)" userId="a45a17f7-7950-4cb5-bfab-f5c894f959a9" providerId="ADAL" clId="{9D150B60-33B5-4A3E-8123-A67E35AA8D44}" dt="2020-07-28T21:02:22.166" v="20349" actId="1036"/>
          <ac:grpSpMkLst>
            <pc:docMk/>
            <pc:sldMk cId="2519932516" sldId="2134804351"/>
            <ac:grpSpMk id="113" creationId="{14D36AEA-07B7-4EB5-813B-8AE91E38CED0}"/>
          </ac:grpSpMkLst>
        </pc:grpChg>
        <pc:grpChg chg="add mod">
          <ac:chgData name="Mariam Daniela Tristancho Pineda (MISION TEMPORAL LTDA)" userId="a45a17f7-7950-4cb5-bfab-f5c894f959a9" providerId="ADAL" clId="{9D150B60-33B5-4A3E-8123-A67E35AA8D44}" dt="2020-07-28T21:02:15.763" v="20334" actId="1038"/>
          <ac:grpSpMkLst>
            <pc:docMk/>
            <pc:sldMk cId="2519932516" sldId="2134804351"/>
            <ac:grpSpMk id="116" creationId="{980462AD-F9F1-491C-BD97-CC7609A0F5B3}"/>
          </ac:grpSpMkLst>
        </pc:grpChg>
        <pc:grpChg chg="add del mod">
          <ac:chgData name="Mariam Daniela Tristancho Pineda (MISION TEMPORAL LTDA)" userId="a45a17f7-7950-4cb5-bfab-f5c894f959a9" providerId="ADAL" clId="{9D150B60-33B5-4A3E-8123-A67E35AA8D44}" dt="2020-07-28T00:49:56.798" v="16908" actId="478"/>
          <ac:grpSpMkLst>
            <pc:docMk/>
            <pc:sldMk cId="2519932516" sldId="2134804351"/>
            <ac:grpSpMk id="127" creationId="{842E1496-A156-4A85-B519-8E637F464CE0}"/>
          </ac:grpSpMkLst>
        </pc:grpChg>
        <pc:grpChg chg="add mod">
          <ac:chgData name="Mariam Daniela Tristancho Pineda (MISION TEMPORAL LTDA)" userId="a45a17f7-7950-4cb5-bfab-f5c894f959a9" providerId="ADAL" clId="{9D150B60-33B5-4A3E-8123-A67E35AA8D44}" dt="2020-07-28T21:02:15.763" v="20334" actId="1038"/>
          <ac:grpSpMkLst>
            <pc:docMk/>
            <pc:sldMk cId="2519932516" sldId="2134804351"/>
            <ac:grpSpMk id="131" creationId="{E5D60700-5E94-42C1-932A-72D27828E848}"/>
          </ac:grpSpMkLst>
        </pc:grpChg>
        <pc:grpChg chg="add mod">
          <ac:chgData name="Mariam Daniela Tristancho Pineda (MISION TEMPORAL LTDA)" userId="a45a17f7-7950-4cb5-bfab-f5c894f959a9" providerId="ADAL" clId="{9D150B60-33B5-4A3E-8123-A67E35AA8D44}" dt="2020-07-28T21:03:17.195" v="20401" actId="1076"/>
          <ac:grpSpMkLst>
            <pc:docMk/>
            <pc:sldMk cId="2519932516" sldId="2134804351"/>
            <ac:grpSpMk id="138" creationId="{15C30502-B81D-4FF7-A0CF-B3FDDE128C56}"/>
          </ac:grpSpMkLst>
        </pc:grpChg>
      </pc:sldChg>
      <pc:sldChg chg="modSp add mod ord">
        <pc:chgData name="Mariam Daniela Tristancho Pineda (MISION TEMPORAL LTDA)" userId="a45a17f7-7950-4cb5-bfab-f5c894f959a9" providerId="ADAL" clId="{9D150B60-33B5-4A3E-8123-A67E35AA8D44}" dt="2020-07-28T15:01:41.624" v="19909" actId="6549"/>
        <pc:sldMkLst>
          <pc:docMk/>
          <pc:sldMk cId="2075344503" sldId="2134804352"/>
        </pc:sldMkLst>
        <pc:spChg chg="mod">
          <ac:chgData name="Mariam Daniela Tristancho Pineda (MISION TEMPORAL LTDA)" userId="a45a17f7-7950-4cb5-bfab-f5c894f959a9" providerId="ADAL" clId="{9D150B60-33B5-4A3E-8123-A67E35AA8D44}" dt="2020-07-28T15:01:41.624" v="19909" actId="6549"/>
          <ac:spMkLst>
            <pc:docMk/>
            <pc:sldMk cId="2075344503" sldId="2134804352"/>
            <ac:spMk id="2" creationId="{6431BBCF-96E5-45A7-B7E5-D44090D06329}"/>
          </ac:spMkLst>
        </pc:spChg>
      </pc:sldChg>
      <pc:sldChg chg="add del">
        <pc:chgData name="Mariam Daniela Tristancho Pineda (MISION TEMPORAL LTDA)" userId="a45a17f7-7950-4cb5-bfab-f5c894f959a9" providerId="ADAL" clId="{9D150B60-33B5-4A3E-8123-A67E35AA8D44}" dt="2020-07-28T01:13:56.813" v="17650" actId="22"/>
        <pc:sldMkLst>
          <pc:docMk/>
          <pc:sldMk cId="2243295450" sldId="2134804352"/>
        </pc:sldMkLst>
      </pc:sldChg>
      <pc:sldChg chg="addSp delSp modSp new mod">
        <pc:chgData name="Mariam Daniela Tristancho Pineda (MISION TEMPORAL LTDA)" userId="a45a17f7-7950-4cb5-bfab-f5c894f959a9" providerId="ADAL" clId="{9D150B60-33B5-4A3E-8123-A67E35AA8D44}" dt="2020-07-28T15:01:57.339" v="19923" actId="478"/>
        <pc:sldMkLst>
          <pc:docMk/>
          <pc:sldMk cId="4009905532" sldId="2134804353"/>
        </pc:sldMkLst>
        <pc:spChg chg="add del mod">
          <ac:chgData name="Mariam Daniela Tristancho Pineda (MISION TEMPORAL LTDA)" userId="a45a17f7-7950-4cb5-bfab-f5c894f959a9" providerId="ADAL" clId="{9D150B60-33B5-4A3E-8123-A67E35AA8D44}" dt="2020-07-28T15:01:57.339" v="19923" actId="478"/>
          <ac:spMkLst>
            <pc:docMk/>
            <pc:sldMk cId="4009905532" sldId="2134804353"/>
            <ac:spMk id="3" creationId="{E7CE159D-6B10-43AF-A871-A038D1D79146}"/>
          </ac:spMkLst>
        </pc:spChg>
      </pc:sldChg>
      <pc:sldChg chg="modSp add mod">
        <pc:chgData name="Mariam Daniela Tristancho Pineda (MISION TEMPORAL LTDA)" userId="a45a17f7-7950-4cb5-bfab-f5c894f959a9" providerId="ADAL" clId="{9D150B60-33B5-4A3E-8123-A67E35AA8D44}" dt="2020-07-28T15:07:56.649" v="20077" actId="20577"/>
        <pc:sldMkLst>
          <pc:docMk/>
          <pc:sldMk cId="797326216" sldId="2134804354"/>
        </pc:sldMkLst>
        <pc:spChg chg="mod">
          <ac:chgData name="Mariam Daniela Tristancho Pineda (MISION TEMPORAL LTDA)" userId="a45a17f7-7950-4cb5-bfab-f5c894f959a9" providerId="ADAL" clId="{9D150B60-33B5-4A3E-8123-A67E35AA8D44}" dt="2020-07-28T15:07:56.649" v="20077" actId="20577"/>
          <ac:spMkLst>
            <pc:docMk/>
            <pc:sldMk cId="797326216" sldId="2134804354"/>
            <ac:spMk id="2" creationId="{6431BBCF-96E5-45A7-B7E5-D44090D06329}"/>
          </ac:spMkLst>
        </pc:spChg>
      </pc:sldChg>
    </pc:docChg>
  </pc:docChgLst>
  <pc:docChgLst>
    <pc:chgData name="Mariam Daniela Tristancho Pineda (PTA SAS)" userId="a45a17f7-7950-4cb5-bfab-f5c894f959a9" providerId="ADAL" clId="{99D59DB7-96A9-46B6-9F2E-473BE9DEF1F9}"/>
    <pc:docChg chg="undo custSel addSld delSld modSld delMainMaster">
      <pc:chgData name="Mariam Daniela Tristancho Pineda (PTA SAS)" userId="a45a17f7-7950-4cb5-bfab-f5c894f959a9" providerId="ADAL" clId="{99D59DB7-96A9-46B6-9F2E-473BE9DEF1F9}" dt="2020-10-27T19:47:01.199" v="1923" actId="20577"/>
      <pc:docMkLst>
        <pc:docMk/>
      </pc:docMkLst>
      <pc:sldChg chg="addSp delSp modSp add mod">
        <pc:chgData name="Mariam Daniela Tristancho Pineda (PTA SAS)" userId="a45a17f7-7950-4cb5-bfab-f5c894f959a9" providerId="ADAL" clId="{99D59DB7-96A9-46B6-9F2E-473BE9DEF1F9}" dt="2020-10-27T14:46:12.089" v="143" actId="1076"/>
        <pc:sldMkLst>
          <pc:docMk/>
          <pc:sldMk cId="3844388932" sldId="264"/>
        </pc:sldMkLst>
        <pc:spChg chg="add mod">
          <ac:chgData name="Mariam Daniela Tristancho Pineda (PTA SAS)" userId="a45a17f7-7950-4cb5-bfab-f5c894f959a9" providerId="ADAL" clId="{99D59DB7-96A9-46B6-9F2E-473BE9DEF1F9}" dt="2020-10-27T14:45:49.145" v="132" actId="1076"/>
          <ac:spMkLst>
            <pc:docMk/>
            <pc:sldMk cId="3844388932" sldId="264"/>
            <ac:spMk id="2" creationId="{4C033119-5051-45FE-90B0-4009E14FFC08}"/>
          </ac:spMkLst>
        </pc:spChg>
        <pc:spChg chg="del">
          <ac:chgData name="Mariam Daniela Tristancho Pineda (PTA SAS)" userId="a45a17f7-7950-4cb5-bfab-f5c894f959a9" providerId="ADAL" clId="{99D59DB7-96A9-46B6-9F2E-473BE9DEF1F9}" dt="2020-10-27T14:45:51.523" v="133" actId="478"/>
          <ac:spMkLst>
            <pc:docMk/>
            <pc:sldMk cId="3844388932" sldId="264"/>
            <ac:spMk id="9" creationId="{00000000-0000-0000-0000-000000000000}"/>
          </ac:spMkLst>
        </pc:spChg>
        <pc:spChg chg="mod ord">
          <ac:chgData name="Mariam Daniela Tristancho Pineda (PTA SAS)" userId="a45a17f7-7950-4cb5-bfab-f5c894f959a9" providerId="ADAL" clId="{99D59DB7-96A9-46B6-9F2E-473BE9DEF1F9}" dt="2020-10-27T14:46:04.882" v="140" actId="166"/>
          <ac:spMkLst>
            <pc:docMk/>
            <pc:sldMk cId="3844388932" sldId="264"/>
            <ac:spMk id="17" creationId="{00000000-0000-0000-0000-000000000000}"/>
          </ac:spMkLst>
        </pc:spChg>
        <pc:spChg chg="mod ord">
          <ac:chgData name="Mariam Daniela Tristancho Pineda (PTA SAS)" userId="a45a17f7-7950-4cb5-bfab-f5c894f959a9" providerId="ADAL" clId="{99D59DB7-96A9-46B6-9F2E-473BE9DEF1F9}" dt="2020-10-27T14:46:04.882" v="140" actId="166"/>
          <ac:spMkLst>
            <pc:docMk/>
            <pc:sldMk cId="3844388932" sldId="264"/>
            <ac:spMk id="18" creationId="{00000000-0000-0000-0000-000000000000}"/>
          </ac:spMkLst>
        </pc:spChg>
        <pc:spChg chg="del">
          <ac:chgData name="Mariam Daniela Tristancho Pineda (PTA SAS)" userId="a45a17f7-7950-4cb5-bfab-f5c894f959a9" providerId="ADAL" clId="{99D59DB7-96A9-46B6-9F2E-473BE9DEF1F9}" dt="2020-10-27T14:45:33.260" v="94" actId="478"/>
          <ac:spMkLst>
            <pc:docMk/>
            <pc:sldMk cId="3844388932" sldId="264"/>
            <ac:spMk id="23" creationId="{F8F01AF4-864E-4177-9256-C4F8CB5AAC1F}"/>
          </ac:spMkLst>
        </pc:spChg>
        <pc:grpChg chg="del">
          <ac:chgData name="Mariam Daniela Tristancho Pineda (PTA SAS)" userId="a45a17f7-7950-4cb5-bfab-f5c894f959a9" providerId="ADAL" clId="{99D59DB7-96A9-46B6-9F2E-473BE9DEF1F9}" dt="2020-10-27T14:46:08.744" v="142" actId="478"/>
          <ac:grpSpMkLst>
            <pc:docMk/>
            <pc:sldMk cId="3844388932" sldId="264"/>
            <ac:grpSpMk id="11" creationId="{00000000-0000-0000-0000-000000000000}"/>
          </ac:grpSpMkLst>
        </pc:grpChg>
        <pc:grpChg chg="del">
          <ac:chgData name="Mariam Daniela Tristancho Pineda (PTA SAS)" userId="a45a17f7-7950-4cb5-bfab-f5c894f959a9" providerId="ADAL" clId="{99D59DB7-96A9-46B6-9F2E-473BE9DEF1F9}" dt="2020-10-27T14:45:45.053" v="131" actId="478"/>
          <ac:grpSpMkLst>
            <pc:docMk/>
            <pc:sldMk cId="3844388932" sldId="264"/>
            <ac:grpSpMk id="19" creationId="{00000000-0000-0000-0000-000000000000}"/>
          </ac:grpSpMkLst>
        </pc:grpChg>
        <pc:picChg chg="mod">
          <ac:chgData name="Mariam Daniela Tristancho Pineda (PTA SAS)" userId="a45a17f7-7950-4cb5-bfab-f5c894f959a9" providerId="ADAL" clId="{99D59DB7-96A9-46B6-9F2E-473BE9DEF1F9}" dt="2020-10-27T14:46:12.089" v="143" actId="1076"/>
          <ac:picMkLst>
            <pc:docMk/>
            <pc:sldMk cId="3844388932" sldId="264"/>
            <ac:picMk id="3" creationId="{017B5FCE-7B12-4970-A969-8247FB8A5174}"/>
          </ac:picMkLst>
        </pc:picChg>
        <pc:picChg chg="del">
          <ac:chgData name="Mariam Daniela Tristancho Pineda (PTA SAS)" userId="a45a17f7-7950-4cb5-bfab-f5c894f959a9" providerId="ADAL" clId="{99D59DB7-96A9-46B6-9F2E-473BE9DEF1F9}" dt="2020-10-27T14:46:08.329" v="141" actId="478"/>
          <ac:picMkLst>
            <pc:docMk/>
            <pc:sldMk cId="3844388932" sldId="264"/>
            <ac:picMk id="16" creationId="{00000000-0000-0000-0000-000000000000}"/>
          </ac:picMkLst>
        </pc:picChg>
      </pc:sldChg>
      <pc:sldChg chg="modSp mod">
        <pc:chgData name="Mariam Daniela Tristancho Pineda (PTA SAS)" userId="a45a17f7-7950-4cb5-bfab-f5c894f959a9" providerId="ADAL" clId="{99D59DB7-96A9-46B6-9F2E-473BE9DEF1F9}" dt="2020-10-27T19:47:01.199" v="1923" actId="20577"/>
        <pc:sldMkLst>
          <pc:docMk/>
          <pc:sldMk cId="676461558" sldId="291"/>
        </pc:sldMkLst>
        <pc:spChg chg="mod">
          <ac:chgData name="Mariam Daniela Tristancho Pineda (PTA SAS)" userId="a45a17f7-7950-4cb5-bfab-f5c894f959a9" providerId="ADAL" clId="{99D59DB7-96A9-46B6-9F2E-473BE9DEF1F9}" dt="2020-10-27T19:46:44.045" v="1909" actId="20577"/>
          <ac:spMkLst>
            <pc:docMk/>
            <pc:sldMk cId="676461558" sldId="291"/>
            <ac:spMk id="115" creationId="{DB35C4D3-61DC-4194-A530-0CD186587533}"/>
          </ac:spMkLst>
        </pc:spChg>
        <pc:spChg chg="mod">
          <ac:chgData name="Mariam Daniela Tristancho Pineda (PTA SAS)" userId="a45a17f7-7950-4cb5-bfab-f5c894f959a9" providerId="ADAL" clId="{99D59DB7-96A9-46B6-9F2E-473BE9DEF1F9}" dt="2020-10-27T19:46:56.549" v="1919" actId="20577"/>
          <ac:spMkLst>
            <pc:docMk/>
            <pc:sldMk cId="676461558" sldId="291"/>
            <ac:spMk id="120" creationId="{D1B62530-57CE-4A21-A7E2-B81C22F47BB8}"/>
          </ac:spMkLst>
        </pc:spChg>
        <pc:spChg chg="mod">
          <ac:chgData name="Mariam Daniela Tristancho Pineda (PTA SAS)" userId="a45a17f7-7950-4cb5-bfab-f5c894f959a9" providerId="ADAL" clId="{99D59DB7-96A9-46B6-9F2E-473BE9DEF1F9}" dt="2020-10-27T14:39:46.522" v="4" actId="20577"/>
          <ac:spMkLst>
            <pc:docMk/>
            <pc:sldMk cId="676461558" sldId="291"/>
            <ac:spMk id="135" creationId="{0972EA45-CA71-4C58-B3E3-2CE03A37733F}"/>
          </ac:spMkLst>
        </pc:spChg>
        <pc:spChg chg="mod">
          <ac:chgData name="Mariam Daniela Tristancho Pineda (PTA SAS)" userId="a45a17f7-7950-4cb5-bfab-f5c894f959a9" providerId="ADAL" clId="{99D59DB7-96A9-46B6-9F2E-473BE9DEF1F9}" dt="2020-10-27T19:47:01.199" v="1923" actId="20577"/>
          <ac:spMkLst>
            <pc:docMk/>
            <pc:sldMk cId="676461558" sldId="291"/>
            <ac:spMk id="136" creationId="{10F2F476-E3DF-44DB-93E1-67C528B845D4}"/>
          </ac:spMkLst>
        </pc:spChg>
        <pc:spChg chg="mod">
          <ac:chgData name="Mariam Daniela Tristancho Pineda (PTA SAS)" userId="a45a17f7-7950-4cb5-bfab-f5c894f959a9" providerId="ADAL" clId="{99D59DB7-96A9-46B6-9F2E-473BE9DEF1F9}" dt="2020-10-27T14:43:51.648" v="49" actId="12"/>
          <ac:spMkLst>
            <pc:docMk/>
            <pc:sldMk cId="676461558" sldId="291"/>
            <ac:spMk id="137" creationId="{E07EEAAE-3F46-4635-B660-163BBE708926}"/>
          </ac:spMkLst>
        </pc:spChg>
        <pc:spChg chg="mod">
          <ac:chgData name="Mariam Daniela Tristancho Pineda (PTA SAS)" userId="a45a17f7-7950-4cb5-bfab-f5c894f959a9" providerId="ADAL" clId="{99D59DB7-96A9-46B6-9F2E-473BE9DEF1F9}" dt="2020-10-27T19:46:49.930" v="1913" actId="20577"/>
          <ac:spMkLst>
            <pc:docMk/>
            <pc:sldMk cId="676461558" sldId="291"/>
            <ac:spMk id="147" creationId="{7B9ED864-7CF7-4FC1-AAEB-6C50E8128BD6}"/>
          </ac:spMkLst>
        </pc:spChg>
        <pc:spChg chg="mod">
          <ac:chgData name="Mariam Daniela Tristancho Pineda (PTA SAS)" userId="a45a17f7-7950-4cb5-bfab-f5c894f959a9" providerId="ADAL" clId="{99D59DB7-96A9-46B6-9F2E-473BE9DEF1F9}" dt="2020-10-27T19:46:52.419" v="1915" actId="20577"/>
          <ac:spMkLst>
            <pc:docMk/>
            <pc:sldMk cId="676461558" sldId="291"/>
            <ac:spMk id="158" creationId="{D7DCC36E-87EB-40F0-B8DA-26802C828AF9}"/>
          </ac:spMkLst>
        </pc:spChg>
        <pc:spChg chg="mod">
          <ac:chgData name="Mariam Daniela Tristancho Pineda (PTA SAS)" userId="a45a17f7-7950-4cb5-bfab-f5c894f959a9" providerId="ADAL" clId="{99D59DB7-96A9-46B6-9F2E-473BE9DEF1F9}" dt="2020-10-27T14:43:29.384" v="31" actId="1076"/>
          <ac:spMkLst>
            <pc:docMk/>
            <pc:sldMk cId="676461558" sldId="291"/>
            <ac:spMk id="167" creationId="{6110F769-958A-47EA-9391-D7D10AB9A4BC}"/>
          </ac:spMkLst>
        </pc:spChg>
      </pc:sldChg>
      <pc:sldChg chg="del">
        <pc:chgData name="Mariam Daniela Tristancho Pineda (PTA SAS)" userId="a45a17f7-7950-4cb5-bfab-f5c894f959a9" providerId="ADAL" clId="{99D59DB7-96A9-46B6-9F2E-473BE9DEF1F9}" dt="2020-10-27T14:38:42.999" v="1" actId="47"/>
        <pc:sldMkLst>
          <pc:docMk/>
          <pc:sldMk cId="3639736222" sldId="2134803689"/>
        </pc:sldMkLst>
      </pc:sldChg>
      <pc:sldChg chg="add del">
        <pc:chgData name="Mariam Daniela Tristancho Pineda (PTA SAS)" userId="a45a17f7-7950-4cb5-bfab-f5c894f959a9" providerId="ADAL" clId="{99D59DB7-96A9-46B6-9F2E-473BE9DEF1F9}" dt="2020-10-27T14:42:43.802" v="10"/>
        <pc:sldMkLst>
          <pc:docMk/>
          <pc:sldMk cId="2695251238" sldId="2134803693"/>
        </pc:sldMkLst>
      </pc:sldChg>
      <pc:sldChg chg="del">
        <pc:chgData name="Mariam Daniela Tristancho Pineda (PTA SAS)" userId="a45a17f7-7950-4cb5-bfab-f5c894f959a9" providerId="ADAL" clId="{99D59DB7-96A9-46B6-9F2E-473BE9DEF1F9}" dt="2020-10-27T14:48:39.194" v="197" actId="47"/>
        <pc:sldMkLst>
          <pc:docMk/>
          <pc:sldMk cId="542338739" sldId="2134803694"/>
        </pc:sldMkLst>
      </pc:sldChg>
      <pc:sldChg chg="add del">
        <pc:chgData name="Mariam Daniela Tristancho Pineda (PTA SAS)" userId="a45a17f7-7950-4cb5-bfab-f5c894f959a9" providerId="ADAL" clId="{99D59DB7-96A9-46B6-9F2E-473BE9DEF1F9}" dt="2020-10-27T14:42:43.802" v="10"/>
        <pc:sldMkLst>
          <pc:docMk/>
          <pc:sldMk cId="16616583" sldId="2134803697"/>
        </pc:sldMkLst>
      </pc:sldChg>
      <pc:sldChg chg="addSp delSp modSp add mod">
        <pc:chgData name="Mariam Daniela Tristancho Pineda (PTA SAS)" userId="a45a17f7-7950-4cb5-bfab-f5c894f959a9" providerId="ADAL" clId="{99D59DB7-96A9-46B6-9F2E-473BE9DEF1F9}" dt="2020-10-27T14:45:24.633" v="93" actId="1076"/>
        <pc:sldMkLst>
          <pc:docMk/>
          <pc:sldMk cId="1040105421" sldId="2134804100"/>
        </pc:sldMkLst>
        <pc:spChg chg="add mod">
          <ac:chgData name="Mariam Daniela Tristancho Pineda (PTA SAS)" userId="a45a17f7-7950-4cb5-bfab-f5c894f959a9" providerId="ADAL" clId="{99D59DB7-96A9-46B6-9F2E-473BE9DEF1F9}" dt="2020-10-27T14:45:24.633" v="93" actId="1076"/>
          <ac:spMkLst>
            <pc:docMk/>
            <pc:sldMk cId="1040105421" sldId="2134804100"/>
            <ac:spMk id="2" creationId="{B29CE000-C825-4DDC-ADC7-E5B6D32B9F48}"/>
          </ac:spMkLst>
        </pc:spChg>
        <pc:spChg chg="del mod">
          <ac:chgData name="Mariam Daniela Tristancho Pineda (PTA SAS)" userId="a45a17f7-7950-4cb5-bfab-f5c894f959a9" providerId="ADAL" clId="{99D59DB7-96A9-46B6-9F2E-473BE9DEF1F9}" dt="2020-10-27T14:45:14.816" v="69" actId="478"/>
          <ac:spMkLst>
            <pc:docMk/>
            <pc:sldMk cId="1040105421" sldId="2134804100"/>
            <ac:spMk id="11" creationId="{00000000-0000-0000-0000-000000000000}"/>
          </ac:spMkLst>
        </pc:spChg>
        <pc:spChg chg="del mod">
          <ac:chgData name="Mariam Daniela Tristancho Pineda (PTA SAS)" userId="a45a17f7-7950-4cb5-bfab-f5c894f959a9" providerId="ADAL" clId="{99D59DB7-96A9-46B6-9F2E-473BE9DEF1F9}" dt="2020-10-27T14:45:13.991" v="68" actId="478"/>
          <ac:spMkLst>
            <pc:docMk/>
            <pc:sldMk cId="1040105421" sldId="2134804100"/>
            <ac:spMk id="18" creationId="{C49F24FC-F98D-487C-B498-814F5ABEB0BF}"/>
          </ac:spMkLst>
        </pc:spChg>
        <pc:spChg chg="mod">
          <ac:chgData name="Mariam Daniela Tristancho Pineda (PTA SAS)" userId="a45a17f7-7950-4cb5-bfab-f5c894f959a9" providerId="ADAL" clId="{99D59DB7-96A9-46B6-9F2E-473BE9DEF1F9}" dt="2020-10-27T14:44:31.227" v="56" actId="1076"/>
          <ac:spMkLst>
            <pc:docMk/>
            <pc:sldMk cId="1040105421" sldId="2134804100"/>
            <ac:spMk id="20" creationId="{00000000-0000-0000-0000-000000000000}"/>
          </ac:spMkLst>
        </pc:spChg>
        <pc:spChg chg="add del mod">
          <ac:chgData name="Mariam Daniela Tristancho Pineda (PTA SAS)" userId="a45a17f7-7950-4cb5-bfab-f5c894f959a9" providerId="ADAL" clId="{99D59DB7-96A9-46B6-9F2E-473BE9DEF1F9}" dt="2020-10-27T14:44:31.227" v="56" actId="1076"/>
          <ac:spMkLst>
            <pc:docMk/>
            <pc:sldMk cId="1040105421" sldId="2134804100"/>
            <ac:spMk id="23" creationId="{00000000-0000-0000-0000-000000000000}"/>
          </ac:spMkLst>
        </pc:spChg>
        <pc:grpChg chg="del">
          <ac:chgData name="Mariam Daniela Tristancho Pineda (PTA SAS)" userId="a45a17f7-7950-4cb5-bfab-f5c894f959a9" providerId="ADAL" clId="{99D59DB7-96A9-46B6-9F2E-473BE9DEF1F9}" dt="2020-10-27T14:44:33.702" v="57" actId="478"/>
          <ac:grpSpMkLst>
            <pc:docMk/>
            <pc:sldMk cId="1040105421" sldId="2134804100"/>
            <ac:grpSpMk id="9" creationId="{00000000-0000-0000-0000-000000000000}"/>
          </ac:grpSpMkLst>
        </pc:grpChg>
        <pc:grpChg chg="del">
          <ac:chgData name="Mariam Daniela Tristancho Pineda (PTA SAS)" userId="a45a17f7-7950-4cb5-bfab-f5c894f959a9" providerId="ADAL" clId="{99D59DB7-96A9-46B6-9F2E-473BE9DEF1F9}" dt="2020-10-27T14:44:38.138" v="59" actId="478"/>
          <ac:grpSpMkLst>
            <pc:docMk/>
            <pc:sldMk cId="1040105421" sldId="2134804100"/>
            <ac:grpSpMk id="14" creationId="{00000000-0000-0000-0000-000000000000}"/>
          </ac:grpSpMkLst>
        </pc:grpChg>
        <pc:picChg chg="mod">
          <ac:chgData name="Mariam Daniela Tristancho Pineda (PTA SAS)" userId="a45a17f7-7950-4cb5-bfab-f5c894f959a9" providerId="ADAL" clId="{99D59DB7-96A9-46B6-9F2E-473BE9DEF1F9}" dt="2020-10-27T14:45:00.098" v="65" actId="1076"/>
          <ac:picMkLst>
            <pc:docMk/>
            <pc:sldMk cId="1040105421" sldId="2134804100"/>
            <ac:picMk id="4" creationId="{88AF4AFE-DDD0-4C85-A414-65BB48768AE6}"/>
          </ac:picMkLst>
        </pc:picChg>
        <pc:picChg chg="del">
          <ac:chgData name="Mariam Daniela Tristancho Pineda (PTA SAS)" userId="a45a17f7-7950-4cb5-bfab-f5c894f959a9" providerId="ADAL" clId="{99D59DB7-96A9-46B6-9F2E-473BE9DEF1F9}" dt="2020-10-27T14:44:34.468" v="58" actId="478"/>
          <ac:picMkLst>
            <pc:docMk/>
            <pc:sldMk cId="1040105421" sldId="2134804100"/>
            <ac:picMk id="19" creationId="{00000000-0000-0000-0000-000000000000}"/>
          </ac:picMkLst>
        </pc:picChg>
        <pc:picChg chg="mod">
          <ac:chgData name="Mariam Daniela Tristancho Pineda (PTA SAS)" userId="a45a17f7-7950-4cb5-bfab-f5c894f959a9" providerId="ADAL" clId="{99D59DB7-96A9-46B6-9F2E-473BE9DEF1F9}" dt="2020-10-27T14:45:02.275" v="66" actId="1076"/>
          <ac:picMkLst>
            <pc:docMk/>
            <pc:sldMk cId="1040105421" sldId="2134804100"/>
            <ac:picMk id="21" creationId="{C4A9CCEF-9CA8-4E63-BD72-A70A516A4989}"/>
          </ac:picMkLst>
        </pc:picChg>
      </pc:sldChg>
      <pc:sldChg chg="addSp modSp del mod">
        <pc:chgData name="Mariam Daniela Tristancho Pineda (PTA SAS)" userId="a45a17f7-7950-4cb5-bfab-f5c894f959a9" providerId="ADAL" clId="{99D59DB7-96A9-46B6-9F2E-473BE9DEF1F9}" dt="2020-10-27T17:13:03.036" v="938" actId="47"/>
        <pc:sldMkLst>
          <pc:docMk/>
          <pc:sldMk cId="1072953454" sldId="2134804124"/>
        </pc:sldMkLst>
        <pc:spChg chg="add mod">
          <ac:chgData name="Mariam Daniela Tristancho Pineda (PTA SAS)" userId="a45a17f7-7950-4cb5-bfab-f5c894f959a9" providerId="ADAL" clId="{99D59DB7-96A9-46B6-9F2E-473BE9DEF1F9}" dt="2020-10-27T14:43:08.390" v="30" actId="403"/>
          <ac:spMkLst>
            <pc:docMk/>
            <pc:sldMk cId="1072953454" sldId="2134804124"/>
            <ac:spMk id="2" creationId="{301EBC29-34DE-4B7F-8FF7-845350F22036}"/>
          </ac:spMkLst>
        </pc:spChg>
      </pc:sldChg>
      <pc:sldChg chg="addSp delSp add">
        <pc:chgData name="Mariam Daniela Tristancho Pineda (PTA SAS)" userId="a45a17f7-7950-4cb5-bfab-f5c894f959a9" providerId="ADAL" clId="{99D59DB7-96A9-46B6-9F2E-473BE9DEF1F9}" dt="2020-10-27T19:18:10.860" v="950"/>
        <pc:sldMkLst>
          <pc:docMk/>
          <pc:sldMk cId="87702869" sldId="2134804135"/>
        </pc:sldMkLst>
        <pc:picChg chg="add del">
          <ac:chgData name="Mariam Daniela Tristancho Pineda (PTA SAS)" userId="a45a17f7-7950-4cb5-bfab-f5c894f959a9" providerId="ADAL" clId="{99D59DB7-96A9-46B6-9F2E-473BE9DEF1F9}" dt="2020-10-27T19:18:10.860" v="950"/>
          <ac:picMkLst>
            <pc:docMk/>
            <pc:sldMk cId="87702869" sldId="2134804135"/>
            <ac:picMk id="21" creationId="{D9189938-71F4-460A-B361-F53B63B32CA9}"/>
          </ac:picMkLst>
        </pc:picChg>
      </pc:sldChg>
      <pc:sldChg chg="addSp delSp modSp add mod">
        <pc:chgData name="Mariam Daniela Tristancho Pineda (PTA SAS)" userId="a45a17f7-7950-4cb5-bfab-f5c894f959a9" providerId="ADAL" clId="{99D59DB7-96A9-46B6-9F2E-473BE9DEF1F9}" dt="2020-10-27T14:47:54.009" v="195" actId="404"/>
        <pc:sldMkLst>
          <pc:docMk/>
          <pc:sldMk cId="3258791362" sldId="2134804198"/>
        </pc:sldMkLst>
        <pc:spChg chg="add mod">
          <ac:chgData name="Mariam Daniela Tristancho Pineda (PTA SAS)" userId="a45a17f7-7950-4cb5-bfab-f5c894f959a9" providerId="ADAL" clId="{99D59DB7-96A9-46B6-9F2E-473BE9DEF1F9}" dt="2020-10-27T14:46:55.948" v="182" actId="1076"/>
          <ac:spMkLst>
            <pc:docMk/>
            <pc:sldMk cId="3258791362" sldId="2134804198"/>
            <ac:spMk id="2" creationId="{52BF82B1-9FFD-4838-9DC3-DA470BF3F333}"/>
          </ac:spMkLst>
        </pc:spChg>
        <pc:spChg chg="del">
          <ac:chgData name="Mariam Daniela Tristancho Pineda (PTA SAS)" userId="a45a17f7-7950-4cb5-bfab-f5c894f959a9" providerId="ADAL" clId="{99D59DB7-96A9-46B6-9F2E-473BE9DEF1F9}" dt="2020-10-27T14:46:34.431" v="145" actId="478"/>
          <ac:spMkLst>
            <pc:docMk/>
            <pc:sldMk cId="3258791362" sldId="2134804198"/>
            <ac:spMk id="14" creationId="{00000000-0000-0000-0000-000000000000}"/>
          </ac:spMkLst>
        </pc:spChg>
        <pc:spChg chg="mod ord">
          <ac:chgData name="Mariam Daniela Tristancho Pineda (PTA SAS)" userId="a45a17f7-7950-4cb5-bfab-f5c894f959a9" providerId="ADAL" clId="{99D59DB7-96A9-46B6-9F2E-473BE9DEF1F9}" dt="2020-10-27T14:47:43.735" v="192" actId="1036"/>
          <ac:spMkLst>
            <pc:docMk/>
            <pc:sldMk cId="3258791362" sldId="2134804198"/>
            <ac:spMk id="28" creationId="{00000000-0000-0000-0000-000000000000}"/>
          </ac:spMkLst>
        </pc:spChg>
        <pc:spChg chg="mod ord">
          <ac:chgData name="Mariam Daniela Tristancho Pineda (PTA SAS)" userId="a45a17f7-7950-4cb5-bfab-f5c894f959a9" providerId="ADAL" clId="{99D59DB7-96A9-46B6-9F2E-473BE9DEF1F9}" dt="2020-10-27T14:47:43.735" v="192" actId="1036"/>
          <ac:spMkLst>
            <pc:docMk/>
            <pc:sldMk cId="3258791362" sldId="2134804198"/>
            <ac:spMk id="31" creationId="{00000000-0000-0000-0000-000000000000}"/>
          </ac:spMkLst>
        </pc:spChg>
        <pc:spChg chg="del">
          <ac:chgData name="Mariam Daniela Tristancho Pineda (PTA SAS)" userId="a45a17f7-7950-4cb5-bfab-f5c894f959a9" providerId="ADAL" clId="{99D59DB7-96A9-46B6-9F2E-473BE9DEF1F9}" dt="2020-10-27T14:46:31.161" v="144" actId="478"/>
          <ac:spMkLst>
            <pc:docMk/>
            <pc:sldMk cId="3258791362" sldId="2134804198"/>
            <ac:spMk id="33" creationId="{12B1C783-BCBA-4E8F-9178-D33D5C515EFC}"/>
          </ac:spMkLst>
        </pc:spChg>
        <pc:spChg chg="mod">
          <ac:chgData name="Mariam Daniela Tristancho Pineda (PTA SAS)" userId="a45a17f7-7950-4cb5-bfab-f5c894f959a9" providerId="ADAL" clId="{99D59DB7-96A9-46B6-9F2E-473BE9DEF1F9}" dt="2020-10-27T14:47:54.009" v="195" actId="404"/>
          <ac:spMkLst>
            <pc:docMk/>
            <pc:sldMk cId="3258791362" sldId="2134804198"/>
            <ac:spMk id="48" creationId="{C2B9C1FB-B696-4113-AE82-70C16D13390B}"/>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49" creationId="{D2121297-E51B-4399-8F07-883520E6F03F}"/>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50" creationId="{42D04F8F-093C-4746-9839-1591CB7E2758}"/>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51" creationId="{64EF63F0-478F-46E8-9E07-3A3B1EFF9003}"/>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52" creationId="{873AEF9B-8C55-4B78-8D0F-A313E197D685}"/>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53" creationId="{A27A6107-78A3-4260-801B-88F51CAA0D7B}"/>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58" creationId="{C03389A6-F5F9-4B22-B110-694CB01D1687}"/>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59" creationId="{8FB11EB3-2921-4554-A0E5-048EF9AE7B51}"/>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60" creationId="{2553038F-F472-4936-9152-0C6001D6F36B}"/>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62" creationId="{7C945924-4333-4F1B-A0AC-849277F5F0CA}"/>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64" creationId="{51EF21D9-C989-4930-BEA0-7EEA997A5C79}"/>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91" creationId="{041C35E3-7C7A-423A-BE0C-2FE9E8D4ADEB}"/>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92" creationId="{A2C1409D-8312-464B-9A9B-97F6D5A5915B}"/>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97" creationId="{203C448F-A951-4268-AFB9-D29BE3603725}"/>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99" creationId="{4173B3D6-8300-44D3-A820-A6BF35CB1951}"/>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100" creationId="{B006BFC4-89EF-4DE6-A011-1DA835B7D2F9}"/>
          </ac:spMkLst>
        </pc:spChg>
        <pc:spChg chg="mod">
          <ac:chgData name="Mariam Daniela Tristancho Pineda (PTA SAS)" userId="a45a17f7-7950-4cb5-bfab-f5c894f959a9" providerId="ADAL" clId="{99D59DB7-96A9-46B6-9F2E-473BE9DEF1F9}" dt="2020-10-27T14:47:51.057" v="194" actId="1076"/>
          <ac:spMkLst>
            <pc:docMk/>
            <pc:sldMk cId="3258791362" sldId="2134804198"/>
            <ac:spMk id="101" creationId="{805973EC-9B60-428B-8D15-0F53AE40DB4E}"/>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105" creationId="{09CACBDF-8E06-460A-BE52-23AA77AC9025}"/>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106" creationId="{9D6AE471-2961-44FB-BD6E-B423637AE0DC}"/>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107" creationId="{CFC07269-C21A-4081-A320-A855BB007BE8}"/>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109" creationId="{84A7833D-47CD-4C98-9A53-E13C1D6CFA70}"/>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110" creationId="{856AE0BC-9BA0-4461-894A-FA6A9E1C0F27}"/>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112" creationId="{2EF10060-250A-41CC-B2BB-0CB7F11425FA}"/>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116" creationId="{65A0D094-CAE5-43B5-A9AF-FB1127558AF1}"/>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117" creationId="{09F38C68-53E4-49B8-9C3A-6DCF2FF680E6}"/>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118" creationId="{E0C28EA0-A184-4FC8-9D9F-873DE9149E3E}"/>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119" creationId="{BA1BBDC9-EB56-4E6F-9AF3-7C2EA49370D4}"/>
          </ac:spMkLst>
        </pc:spChg>
        <pc:spChg chg="mod">
          <ac:chgData name="Mariam Daniela Tristancho Pineda (PTA SAS)" userId="a45a17f7-7950-4cb5-bfab-f5c894f959a9" providerId="ADAL" clId="{99D59DB7-96A9-46B6-9F2E-473BE9DEF1F9}" dt="2020-10-27T14:47:04.086" v="184" actId="1076"/>
          <ac:spMkLst>
            <pc:docMk/>
            <pc:sldMk cId="3258791362" sldId="2134804198"/>
            <ac:spMk id="120" creationId="{7BEAFEB6-1151-4FB1-B1FB-AE5B6F09930A}"/>
          </ac:spMkLst>
        </pc:spChg>
        <pc:grpChg chg="del">
          <ac:chgData name="Mariam Daniela Tristancho Pineda (PTA SAS)" userId="a45a17f7-7950-4cb5-bfab-f5c894f959a9" providerId="ADAL" clId="{99D59DB7-96A9-46B6-9F2E-473BE9DEF1F9}" dt="2020-10-27T14:46:57.040" v="183" actId="478"/>
          <ac:grpSpMkLst>
            <pc:docMk/>
            <pc:sldMk cId="3258791362" sldId="2134804198"/>
            <ac:grpSpMk id="23" creationId="{00000000-0000-0000-0000-000000000000}"/>
          </ac:grpSpMkLst>
        </pc:grpChg>
        <pc:cxnChg chg="mod">
          <ac:chgData name="Mariam Daniela Tristancho Pineda (PTA SAS)" userId="a45a17f7-7950-4cb5-bfab-f5c894f959a9" providerId="ADAL" clId="{99D59DB7-96A9-46B6-9F2E-473BE9DEF1F9}" dt="2020-10-27T14:47:04.086" v="184" actId="1076"/>
          <ac:cxnSpMkLst>
            <pc:docMk/>
            <pc:sldMk cId="3258791362" sldId="2134804198"/>
            <ac:cxnSpMk id="54" creationId="{2DA48FF2-B61C-4676-98BF-53816E8FBADB}"/>
          </ac:cxnSpMkLst>
        </pc:cxnChg>
        <pc:cxnChg chg="mod">
          <ac:chgData name="Mariam Daniela Tristancho Pineda (PTA SAS)" userId="a45a17f7-7950-4cb5-bfab-f5c894f959a9" providerId="ADAL" clId="{99D59DB7-96A9-46B6-9F2E-473BE9DEF1F9}" dt="2020-10-27T14:47:04.086" v="184" actId="1076"/>
          <ac:cxnSpMkLst>
            <pc:docMk/>
            <pc:sldMk cId="3258791362" sldId="2134804198"/>
            <ac:cxnSpMk id="55" creationId="{4C77E6DC-3585-4FC1-BEC6-048A35EFAE70}"/>
          </ac:cxnSpMkLst>
        </pc:cxnChg>
        <pc:cxnChg chg="mod">
          <ac:chgData name="Mariam Daniela Tristancho Pineda (PTA SAS)" userId="a45a17f7-7950-4cb5-bfab-f5c894f959a9" providerId="ADAL" clId="{99D59DB7-96A9-46B6-9F2E-473BE9DEF1F9}" dt="2020-10-27T14:47:04.086" v="184" actId="1076"/>
          <ac:cxnSpMkLst>
            <pc:docMk/>
            <pc:sldMk cId="3258791362" sldId="2134804198"/>
            <ac:cxnSpMk id="56" creationId="{2F429F4E-6C16-4D84-A6CB-F85C75A6067E}"/>
          </ac:cxnSpMkLst>
        </pc:cxnChg>
        <pc:cxnChg chg="mod">
          <ac:chgData name="Mariam Daniela Tristancho Pineda (PTA SAS)" userId="a45a17f7-7950-4cb5-bfab-f5c894f959a9" providerId="ADAL" clId="{99D59DB7-96A9-46B6-9F2E-473BE9DEF1F9}" dt="2020-10-27T14:47:08.559" v="186" actId="14100"/>
          <ac:cxnSpMkLst>
            <pc:docMk/>
            <pc:sldMk cId="3258791362" sldId="2134804198"/>
            <ac:cxnSpMk id="57" creationId="{2EC31B02-586F-446F-94DA-81550A2507ED}"/>
          </ac:cxnSpMkLst>
        </pc:cxnChg>
        <pc:cxnChg chg="mod">
          <ac:chgData name="Mariam Daniela Tristancho Pineda (PTA SAS)" userId="a45a17f7-7950-4cb5-bfab-f5c894f959a9" providerId="ADAL" clId="{99D59DB7-96A9-46B6-9F2E-473BE9DEF1F9}" dt="2020-10-27T14:47:04.086" v="184" actId="1076"/>
          <ac:cxnSpMkLst>
            <pc:docMk/>
            <pc:sldMk cId="3258791362" sldId="2134804198"/>
            <ac:cxnSpMk id="61" creationId="{7514CC13-059B-40AB-B890-CEA9CAAE97E0}"/>
          </ac:cxnSpMkLst>
        </pc:cxnChg>
        <pc:cxnChg chg="mod">
          <ac:chgData name="Mariam Daniela Tristancho Pineda (PTA SAS)" userId="a45a17f7-7950-4cb5-bfab-f5c894f959a9" providerId="ADAL" clId="{99D59DB7-96A9-46B6-9F2E-473BE9DEF1F9}" dt="2020-10-27T14:47:04.086" v="184" actId="1076"/>
          <ac:cxnSpMkLst>
            <pc:docMk/>
            <pc:sldMk cId="3258791362" sldId="2134804198"/>
            <ac:cxnSpMk id="63" creationId="{26BC84EC-D07B-49EF-9E00-B4237C0D138F}"/>
          </ac:cxnSpMkLst>
        </pc:cxnChg>
        <pc:cxnChg chg="del mod">
          <ac:chgData name="Mariam Daniela Tristancho Pineda (PTA SAS)" userId="a45a17f7-7950-4cb5-bfab-f5c894f959a9" providerId="ADAL" clId="{99D59DB7-96A9-46B6-9F2E-473BE9DEF1F9}" dt="2020-10-27T14:47:05.994" v="185" actId="478"/>
          <ac:cxnSpMkLst>
            <pc:docMk/>
            <pc:sldMk cId="3258791362" sldId="2134804198"/>
            <ac:cxnSpMk id="65" creationId="{79BC3C1B-B9AB-44E9-9630-C9929152ECD4}"/>
          </ac:cxnSpMkLst>
        </pc:cxnChg>
        <pc:cxnChg chg="mod">
          <ac:chgData name="Mariam Daniela Tristancho Pineda (PTA SAS)" userId="a45a17f7-7950-4cb5-bfab-f5c894f959a9" providerId="ADAL" clId="{99D59DB7-96A9-46B6-9F2E-473BE9DEF1F9}" dt="2020-10-27T14:47:04.086" v="184" actId="1076"/>
          <ac:cxnSpMkLst>
            <pc:docMk/>
            <pc:sldMk cId="3258791362" sldId="2134804198"/>
            <ac:cxnSpMk id="98" creationId="{2381C50E-02BC-4F58-8D75-19140F9C9C66}"/>
          </ac:cxnSpMkLst>
        </pc:cxnChg>
        <pc:cxnChg chg="mod">
          <ac:chgData name="Mariam Daniela Tristancho Pineda (PTA SAS)" userId="a45a17f7-7950-4cb5-bfab-f5c894f959a9" providerId="ADAL" clId="{99D59DB7-96A9-46B6-9F2E-473BE9DEF1F9}" dt="2020-10-27T14:47:04.086" v="184" actId="1076"/>
          <ac:cxnSpMkLst>
            <pc:docMk/>
            <pc:sldMk cId="3258791362" sldId="2134804198"/>
            <ac:cxnSpMk id="102" creationId="{5B36BA74-D718-4B84-8D5D-61AD5502EB66}"/>
          </ac:cxnSpMkLst>
        </pc:cxnChg>
        <pc:cxnChg chg="mod">
          <ac:chgData name="Mariam Daniela Tristancho Pineda (PTA SAS)" userId="a45a17f7-7950-4cb5-bfab-f5c894f959a9" providerId="ADAL" clId="{99D59DB7-96A9-46B6-9F2E-473BE9DEF1F9}" dt="2020-10-27T14:47:04.086" v="184" actId="1076"/>
          <ac:cxnSpMkLst>
            <pc:docMk/>
            <pc:sldMk cId="3258791362" sldId="2134804198"/>
            <ac:cxnSpMk id="103" creationId="{E0237C54-5ED6-42B1-AE26-1F2CA52710C8}"/>
          </ac:cxnSpMkLst>
        </pc:cxnChg>
        <pc:cxnChg chg="mod">
          <ac:chgData name="Mariam Daniela Tristancho Pineda (PTA SAS)" userId="a45a17f7-7950-4cb5-bfab-f5c894f959a9" providerId="ADAL" clId="{99D59DB7-96A9-46B6-9F2E-473BE9DEF1F9}" dt="2020-10-27T14:47:04.086" v="184" actId="1076"/>
          <ac:cxnSpMkLst>
            <pc:docMk/>
            <pc:sldMk cId="3258791362" sldId="2134804198"/>
            <ac:cxnSpMk id="104" creationId="{72602E84-B811-4783-A23E-4C69522530ED}"/>
          </ac:cxnSpMkLst>
        </pc:cxnChg>
        <pc:cxnChg chg="mod">
          <ac:chgData name="Mariam Daniela Tristancho Pineda (PTA SAS)" userId="a45a17f7-7950-4cb5-bfab-f5c894f959a9" providerId="ADAL" clId="{99D59DB7-96A9-46B6-9F2E-473BE9DEF1F9}" dt="2020-10-27T14:47:04.086" v="184" actId="1076"/>
          <ac:cxnSpMkLst>
            <pc:docMk/>
            <pc:sldMk cId="3258791362" sldId="2134804198"/>
            <ac:cxnSpMk id="108" creationId="{DDF7CB1D-D19E-4D80-B853-91A7676959AD}"/>
          </ac:cxnSpMkLst>
        </pc:cxnChg>
        <pc:cxnChg chg="mod">
          <ac:chgData name="Mariam Daniela Tristancho Pineda (PTA SAS)" userId="a45a17f7-7950-4cb5-bfab-f5c894f959a9" providerId="ADAL" clId="{99D59DB7-96A9-46B6-9F2E-473BE9DEF1F9}" dt="2020-10-27T14:47:04.086" v="184" actId="1076"/>
          <ac:cxnSpMkLst>
            <pc:docMk/>
            <pc:sldMk cId="3258791362" sldId="2134804198"/>
            <ac:cxnSpMk id="111" creationId="{04B3FA45-A2ED-4255-9D51-35B6821AC2A7}"/>
          </ac:cxnSpMkLst>
        </pc:cxnChg>
        <pc:cxnChg chg="mod">
          <ac:chgData name="Mariam Daniela Tristancho Pineda (PTA SAS)" userId="a45a17f7-7950-4cb5-bfab-f5c894f959a9" providerId="ADAL" clId="{99D59DB7-96A9-46B6-9F2E-473BE9DEF1F9}" dt="2020-10-27T14:47:04.086" v="184" actId="1076"/>
          <ac:cxnSpMkLst>
            <pc:docMk/>
            <pc:sldMk cId="3258791362" sldId="2134804198"/>
            <ac:cxnSpMk id="113" creationId="{C9B6C461-FF61-4942-8246-0263EFD83D8B}"/>
          </ac:cxnSpMkLst>
        </pc:cxnChg>
        <pc:cxnChg chg="mod">
          <ac:chgData name="Mariam Daniela Tristancho Pineda (PTA SAS)" userId="a45a17f7-7950-4cb5-bfab-f5c894f959a9" providerId="ADAL" clId="{99D59DB7-96A9-46B6-9F2E-473BE9DEF1F9}" dt="2020-10-27T14:47:04.086" v="184" actId="1076"/>
          <ac:cxnSpMkLst>
            <pc:docMk/>
            <pc:sldMk cId="3258791362" sldId="2134804198"/>
            <ac:cxnSpMk id="114" creationId="{934AEC2F-4BDF-4DAE-A0AB-6B3AFBC403B0}"/>
          </ac:cxnSpMkLst>
        </pc:cxnChg>
        <pc:cxnChg chg="mod">
          <ac:chgData name="Mariam Daniela Tristancho Pineda (PTA SAS)" userId="a45a17f7-7950-4cb5-bfab-f5c894f959a9" providerId="ADAL" clId="{99D59DB7-96A9-46B6-9F2E-473BE9DEF1F9}" dt="2020-10-27T14:47:04.086" v="184" actId="1076"/>
          <ac:cxnSpMkLst>
            <pc:docMk/>
            <pc:sldMk cId="3258791362" sldId="2134804198"/>
            <ac:cxnSpMk id="115" creationId="{B2F9D849-23C5-491E-974F-D4E717C88678}"/>
          </ac:cxnSpMkLst>
        </pc:cxnChg>
      </pc:sldChg>
      <pc:sldChg chg="addSp delSp modSp add del">
        <pc:chgData name="Mariam Daniela Tristancho Pineda (PTA SAS)" userId="a45a17f7-7950-4cb5-bfab-f5c894f959a9" providerId="ADAL" clId="{99D59DB7-96A9-46B6-9F2E-473BE9DEF1F9}" dt="2020-10-27T19:18:31.182" v="974" actId="1035"/>
        <pc:sldMkLst>
          <pc:docMk/>
          <pc:sldMk cId="4038727560" sldId="2134804223"/>
        </pc:sldMkLst>
        <pc:spChg chg="add del mod">
          <ac:chgData name="Mariam Daniela Tristancho Pineda (PTA SAS)" userId="a45a17f7-7950-4cb5-bfab-f5c894f959a9" providerId="ADAL" clId="{99D59DB7-96A9-46B6-9F2E-473BE9DEF1F9}" dt="2020-10-27T19:18:27.595" v="963" actId="478"/>
          <ac:spMkLst>
            <pc:docMk/>
            <pc:sldMk cId="4038727560" sldId="2134804223"/>
            <ac:spMk id="2" creationId="{A31E79CB-5A21-4723-A2FE-E2C4BB304B19}"/>
          </ac:spMkLst>
        </pc:spChg>
        <pc:spChg chg="del mod">
          <ac:chgData name="Mariam Daniela Tristancho Pineda (PTA SAS)" userId="a45a17f7-7950-4cb5-bfab-f5c894f959a9" providerId="ADAL" clId="{99D59DB7-96A9-46B6-9F2E-473BE9DEF1F9}" dt="2020-10-27T19:18:25.346" v="962" actId="478"/>
          <ac:spMkLst>
            <pc:docMk/>
            <pc:sldMk cId="4038727560" sldId="2134804223"/>
            <ac:spMk id="28" creationId="{611515C7-0FE8-4B59-B463-502F3261ECFE}"/>
          </ac:spMkLst>
        </pc:spChg>
        <pc:spChg chg="mod">
          <ac:chgData name="Mariam Daniela Tristancho Pineda (PTA SAS)" userId="a45a17f7-7950-4cb5-bfab-f5c894f959a9" providerId="ADAL" clId="{99D59DB7-96A9-46B6-9F2E-473BE9DEF1F9}" dt="2020-10-27T19:18:31.182" v="974" actId="1035"/>
          <ac:spMkLst>
            <pc:docMk/>
            <pc:sldMk cId="4038727560" sldId="2134804223"/>
            <ac:spMk id="30" creationId="{B83BD96B-F2AA-424F-82BE-BD486A625F3A}"/>
          </ac:spMkLst>
        </pc:spChg>
        <pc:spChg chg="mod">
          <ac:chgData name="Mariam Daniela Tristancho Pineda (PTA SAS)" userId="a45a17f7-7950-4cb5-bfab-f5c894f959a9" providerId="ADAL" clId="{99D59DB7-96A9-46B6-9F2E-473BE9DEF1F9}" dt="2020-10-27T19:18:31.182" v="974" actId="1035"/>
          <ac:spMkLst>
            <pc:docMk/>
            <pc:sldMk cId="4038727560" sldId="2134804223"/>
            <ac:spMk id="31" creationId="{68404A6E-662D-4B7F-A104-6A3E02EF753A}"/>
          </ac:spMkLst>
        </pc:spChg>
        <pc:spChg chg="mod">
          <ac:chgData name="Mariam Daniela Tristancho Pineda (PTA SAS)" userId="a45a17f7-7950-4cb5-bfab-f5c894f959a9" providerId="ADAL" clId="{99D59DB7-96A9-46B6-9F2E-473BE9DEF1F9}" dt="2020-10-27T19:18:31.182" v="974" actId="1035"/>
          <ac:spMkLst>
            <pc:docMk/>
            <pc:sldMk cId="4038727560" sldId="2134804223"/>
            <ac:spMk id="33" creationId="{7053D32B-648C-4278-B47A-845BCC5E1CFC}"/>
          </ac:spMkLst>
        </pc:spChg>
        <pc:spChg chg="mod">
          <ac:chgData name="Mariam Daniela Tristancho Pineda (PTA SAS)" userId="a45a17f7-7950-4cb5-bfab-f5c894f959a9" providerId="ADAL" clId="{99D59DB7-96A9-46B6-9F2E-473BE9DEF1F9}" dt="2020-10-27T19:18:31.182" v="974" actId="1035"/>
          <ac:spMkLst>
            <pc:docMk/>
            <pc:sldMk cId="4038727560" sldId="2134804223"/>
            <ac:spMk id="34" creationId="{0291FBC8-5FC5-4D9C-BDDA-C672CA0986C1}"/>
          </ac:spMkLst>
        </pc:spChg>
        <pc:spChg chg="mod">
          <ac:chgData name="Mariam Daniela Tristancho Pineda (PTA SAS)" userId="a45a17f7-7950-4cb5-bfab-f5c894f959a9" providerId="ADAL" clId="{99D59DB7-96A9-46B6-9F2E-473BE9DEF1F9}" dt="2020-10-27T19:18:31.182" v="974" actId="1035"/>
          <ac:spMkLst>
            <pc:docMk/>
            <pc:sldMk cId="4038727560" sldId="2134804223"/>
            <ac:spMk id="36" creationId="{8C3CAEA3-8C65-4E8C-B266-60CC2FDEA47D}"/>
          </ac:spMkLst>
        </pc:spChg>
        <pc:spChg chg="mod">
          <ac:chgData name="Mariam Daniela Tristancho Pineda (PTA SAS)" userId="a45a17f7-7950-4cb5-bfab-f5c894f959a9" providerId="ADAL" clId="{99D59DB7-96A9-46B6-9F2E-473BE9DEF1F9}" dt="2020-10-27T19:18:31.182" v="974" actId="1035"/>
          <ac:spMkLst>
            <pc:docMk/>
            <pc:sldMk cId="4038727560" sldId="2134804223"/>
            <ac:spMk id="37" creationId="{8462830F-2130-4C0A-895B-C4B8C8915102}"/>
          </ac:spMkLst>
        </pc:spChg>
        <pc:spChg chg="mod">
          <ac:chgData name="Mariam Daniela Tristancho Pineda (PTA SAS)" userId="a45a17f7-7950-4cb5-bfab-f5c894f959a9" providerId="ADAL" clId="{99D59DB7-96A9-46B6-9F2E-473BE9DEF1F9}" dt="2020-10-27T19:18:31.182" v="974" actId="1035"/>
          <ac:spMkLst>
            <pc:docMk/>
            <pc:sldMk cId="4038727560" sldId="2134804223"/>
            <ac:spMk id="39" creationId="{472F3B1D-050A-4CD8-9A7A-46A527BD7224}"/>
          </ac:spMkLst>
        </pc:spChg>
        <pc:spChg chg="mod">
          <ac:chgData name="Mariam Daniela Tristancho Pineda (PTA SAS)" userId="a45a17f7-7950-4cb5-bfab-f5c894f959a9" providerId="ADAL" clId="{99D59DB7-96A9-46B6-9F2E-473BE9DEF1F9}" dt="2020-10-27T19:18:31.182" v="974" actId="1035"/>
          <ac:spMkLst>
            <pc:docMk/>
            <pc:sldMk cId="4038727560" sldId="2134804223"/>
            <ac:spMk id="40" creationId="{BD4A308A-5CF0-49B4-A934-0FB2A2D32AE1}"/>
          </ac:spMkLst>
        </pc:spChg>
        <pc:spChg chg="mod">
          <ac:chgData name="Mariam Daniela Tristancho Pineda (PTA SAS)" userId="a45a17f7-7950-4cb5-bfab-f5c894f959a9" providerId="ADAL" clId="{99D59DB7-96A9-46B6-9F2E-473BE9DEF1F9}" dt="2020-10-27T19:18:31.182" v="974" actId="1035"/>
          <ac:spMkLst>
            <pc:docMk/>
            <pc:sldMk cId="4038727560" sldId="2134804223"/>
            <ac:spMk id="41" creationId="{05C8037A-2982-4609-A343-0A59AB5D9197}"/>
          </ac:spMkLst>
        </pc:spChg>
        <pc:grpChg chg="mod">
          <ac:chgData name="Mariam Daniela Tristancho Pineda (PTA SAS)" userId="a45a17f7-7950-4cb5-bfab-f5c894f959a9" providerId="ADAL" clId="{99D59DB7-96A9-46B6-9F2E-473BE9DEF1F9}" dt="2020-10-27T19:18:31.182" v="974" actId="1035"/>
          <ac:grpSpMkLst>
            <pc:docMk/>
            <pc:sldMk cId="4038727560" sldId="2134804223"/>
            <ac:grpSpMk id="29" creationId="{828B1F12-304B-4019-9B6F-B4EDED75F27F}"/>
          </ac:grpSpMkLst>
        </pc:grpChg>
        <pc:grpChg chg="mod">
          <ac:chgData name="Mariam Daniela Tristancho Pineda (PTA SAS)" userId="a45a17f7-7950-4cb5-bfab-f5c894f959a9" providerId="ADAL" clId="{99D59DB7-96A9-46B6-9F2E-473BE9DEF1F9}" dt="2020-10-27T19:18:31.182" v="974" actId="1035"/>
          <ac:grpSpMkLst>
            <pc:docMk/>
            <pc:sldMk cId="4038727560" sldId="2134804223"/>
            <ac:grpSpMk id="32" creationId="{E3326147-51B2-434D-921A-3D22B8166541}"/>
          </ac:grpSpMkLst>
        </pc:grpChg>
        <pc:grpChg chg="mod">
          <ac:chgData name="Mariam Daniela Tristancho Pineda (PTA SAS)" userId="a45a17f7-7950-4cb5-bfab-f5c894f959a9" providerId="ADAL" clId="{99D59DB7-96A9-46B6-9F2E-473BE9DEF1F9}" dt="2020-10-27T19:18:31.182" v="974" actId="1035"/>
          <ac:grpSpMkLst>
            <pc:docMk/>
            <pc:sldMk cId="4038727560" sldId="2134804223"/>
            <ac:grpSpMk id="35" creationId="{38FABB30-5A0F-461D-A5E8-72C4600EBC3A}"/>
          </ac:grpSpMkLst>
        </pc:grpChg>
        <pc:grpChg chg="mod">
          <ac:chgData name="Mariam Daniela Tristancho Pineda (PTA SAS)" userId="a45a17f7-7950-4cb5-bfab-f5c894f959a9" providerId="ADAL" clId="{99D59DB7-96A9-46B6-9F2E-473BE9DEF1F9}" dt="2020-10-27T19:18:31.182" v="974" actId="1035"/>
          <ac:grpSpMkLst>
            <pc:docMk/>
            <pc:sldMk cId="4038727560" sldId="2134804223"/>
            <ac:grpSpMk id="38" creationId="{215F62EC-89A1-4FD6-A033-EADAA5DFB70E}"/>
          </ac:grpSpMkLst>
        </pc:grpChg>
        <pc:graphicFrameChg chg="mod">
          <ac:chgData name="Mariam Daniela Tristancho Pineda (PTA SAS)" userId="a45a17f7-7950-4cb5-bfab-f5c894f959a9" providerId="ADAL" clId="{99D59DB7-96A9-46B6-9F2E-473BE9DEF1F9}" dt="2020-10-27T19:18:31.182" v="974" actId="1035"/>
          <ac:graphicFrameMkLst>
            <pc:docMk/>
            <pc:sldMk cId="4038727560" sldId="2134804223"/>
            <ac:graphicFrameMk id="4" creationId="{B7E2797F-E3EA-48A4-BAC5-48BF0EC683BE}"/>
          </ac:graphicFrameMkLst>
        </pc:graphicFrameChg>
        <pc:graphicFrameChg chg="mod">
          <ac:chgData name="Mariam Daniela Tristancho Pineda (PTA SAS)" userId="a45a17f7-7950-4cb5-bfab-f5c894f959a9" providerId="ADAL" clId="{99D59DB7-96A9-46B6-9F2E-473BE9DEF1F9}" dt="2020-10-27T19:18:31.182" v="974" actId="1035"/>
          <ac:graphicFrameMkLst>
            <pc:docMk/>
            <pc:sldMk cId="4038727560" sldId="2134804223"/>
            <ac:graphicFrameMk id="6" creationId="{94C895AE-9D01-4DFC-88E2-8F3A969FE37D}"/>
          </ac:graphicFrameMkLst>
        </pc:graphicFrameChg>
        <pc:graphicFrameChg chg="mod">
          <ac:chgData name="Mariam Daniela Tristancho Pineda (PTA SAS)" userId="a45a17f7-7950-4cb5-bfab-f5c894f959a9" providerId="ADAL" clId="{99D59DB7-96A9-46B6-9F2E-473BE9DEF1F9}" dt="2020-10-27T19:18:31.182" v="974" actId="1035"/>
          <ac:graphicFrameMkLst>
            <pc:docMk/>
            <pc:sldMk cId="4038727560" sldId="2134804223"/>
            <ac:graphicFrameMk id="7" creationId="{2E6F0088-A408-4CA6-94C2-99B83E56B500}"/>
          </ac:graphicFrameMkLst>
        </pc:graphicFrameChg>
        <pc:graphicFrameChg chg="mod">
          <ac:chgData name="Mariam Daniela Tristancho Pineda (PTA SAS)" userId="a45a17f7-7950-4cb5-bfab-f5c894f959a9" providerId="ADAL" clId="{99D59DB7-96A9-46B6-9F2E-473BE9DEF1F9}" dt="2020-10-27T19:18:31.182" v="974" actId="1035"/>
          <ac:graphicFrameMkLst>
            <pc:docMk/>
            <pc:sldMk cId="4038727560" sldId="2134804223"/>
            <ac:graphicFrameMk id="20" creationId="{7DF5C1C9-2C82-44A7-A26E-9255CA5ADBA1}"/>
          </ac:graphicFrameMkLst>
        </pc:graphicFrameChg>
        <pc:graphicFrameChg chg="mod">
          <ac:chgData name="Mariam Daniela Tristancho Pineda (PTA SAS)" userId="a45a17f7-7950-4cb5-bfab-f5c894f959a9" providerId="ADAL" clId="{99D59DB7-96A9-46B6-9F2E-473BE9DEF1F9}" dt="2020-10-27T19:18:31.182" v="974" actId="1035"/>
          <ac:graphicFrameMkLst>
            <pc:docMk/>
            <pc:sldMk cId="4038727560" sldId="2134804223"/>
            <ac:graphicFrameMk id="21" creationId="{C033B295-2B87-48D4-BEB5-1430C9AAEB8E}"/>
          </ac:graphicFrameMkLst>
        </pc:graphicFrameChg>
      </pc:sldChg>
      <pc:sldChg chg="del">
        <pc:chgData name="Mariam Daniela Tristancho Pineda (PTA SAS)" userId="a45a17f7-7950-4cb5-bfab-f5c894f959a9" providerId="ADAL" clId="{99D59DB7-96A9-46B6-9F2E-473BE9DEF1F9}" dt="2020-10-27T14:42:49.466" v="11" actId="47"/>
        <pc:sldMkLst>
          <pc:docMk/>
          <pc:sldMk cId="3710465496" sldId="2134804241"/>
        </pc:sldMkLst>
      </pc:sldChg>
      <pc:sldChg chg="del">
        <pc:chgData name="Mariam Daniela Tristancho Pineda (PTA SAS)" userId="a45a17f7-7950-4cb5-bfab-f5c894f959a9" providerId="ADAL" clId="{99D59DB7-96A9-46B6-9F2E-473BE9DEF1F9}" dt="2020-10-27T14:42:58.685" v="12" actId="47"/>
        <pc:sldMkLst>
          <pc:docMk/>
          <pc:sldMk cId="1120597878" sldId="2134804243"/>
        </pc:sldMkLst>
      </pc:sldChg>
      <pc:sldChg chg="del">
        <pc:chgData name="Mariam Daniela Tristancho Pineda (PTA SAS)" userId="a45a17f7-7950-4cb5-bfab-f5c894f959a9" providerId="ADAL" clId="{99D59DB7-96A9-46B6-9F2E-473BE9DEF1F9}" dt="2020-10-27T14:42:59.156" v="13" actId="47"/>
        <pc:sldMkLst>
          <pc:docMk/>
          <pc:sldMk cId="1810729596" sldId="2134804244"/>
        </pc:sldMkLst>
      </pc:sldChg>
      <pc:sldChg chg="del">
        <pc:chgData name="Mariam Daniela Tristancho Pineda (PTA SAS)" userId="a45a17f7-7950-4cb5-bfab-f5c894f959a9" providerId="ADAL" clId="{99D59DB7-96A9-46B6-9F2E-473BE9DEF1F9}" dt="2020-10-27T15:01:48.456" v="508" actId="47"/>
        <pc:sldMkLst>
          <pc:docMk/>
          <pc:sldMk cId="685398324" sldId="2134804277"/>
        </pc:sldMkLst>
      </pc:sldChg>
      <pc:sldChg chg="del">
        <pc:chgData name="Mariam Daniela Tristancho Pineda (PTA SAS)" userId="a45a17f7-7950-4cb5-bfab-f5c894f959a9" providerId="ADAL" clId="{99D59DB7-96A9-46B6-9F2E-473BE9DEF1F9}" dt="2020-10-27T17:11:11.986" v="935" actId="47"/>
        <pc:sldMkLst>
          <pc:docMk/>
          <pc:sldMk cId="3831308622" sldId="2134804279"/>
        </pc:sldMkLst>
      </pc:sldChg>
      <pc:sldChg chg="del">
        <pc:chgData name="Mariam Daniela Tristancho Pineda (PTA SAS)" userId="a45a17f7-7950-4cb5-bfab-f5c894f959a9" providerId="ADAL" clId="{99D59DB7-96A9-46B6-9F2E-473BE9DEF1F9}" dt="2020-10-27T15:01:50.005" v="509" actId="47"/>
        <pc:sldMkLst>
          <pc:docMk/>
          <pc:sldMk cId="689766239" sldId="2134804294"/>
        </pc:sldMkLst>
      </pc:sldChg>
      <pc:sldChg chg="addSp delSp modSp add mod">
        <pc:chgData name="Mariam Daniela Tristancho Pineda (PTA SAS)" userId="a45a17f7-7950-4cb5-bfab-f5c894f959a9" providerId="ADAL" clId="{99D59DB7-96A9-46B6-9F2E-473BE9DEF1F9}" dt="2020-10-27T17:11:15.588" v="936" actId="1076"/>
        <pc:sldMkLst>
          <pc:docMk/>
          <pc:sldMk cId="1313712019" sldId="2134804331"/>
        </pc:sldMkLst>
        <pc:spChg chg="add mod">
          <ac:chgData name="Mariam Daniela Tristancho Pineda (PTA SAS)" userId="a45a17f7-7950-4cb5-bfab-f5c894f959a9" providerId="ADAL" clId="{99D59DB7-96A9-46B6-9F2E-473BE9DEF1F9}" dt="2020-10-27T17:11:00.190" v="905" actId="20577"/>
          <ac:spMkLst>
            <pc:docMk/>
            <pc:sldMk cId="1313712019" sldId="2134804331"/>
            <ac:spMk id="3" creationId="{93BA62D6-7879-40A1-B2AB-E4EDBD9AC4F0}"/>
          </ac:spMkLst>
        </pc:spChg>
        <pc:spChg chg="del">
          <ac:chgData name="Mariam Daniela Tristancho Pineda (PTA SAS)" userId="a45a17f7-7950-4cb5-bfab-f5c894f959a9" providerId="ADAL" clId="{99D59DB7-96A9-46B6-9F2E-473BE9DEF1F9}" dt="2020-10-27T17:10:55.453" v="886" actId="478"/>
          <ac:spMkLst>
            <pc:docMk/>
            <pc:sldMk cId="1313712019" sldId="2134804331"/>
            <ac:spMk id="4" creationId="{C47780CB-210E-480D-AF15-355BDC7F6E93}"/>
          </ac:spMkLst>
        </pc:spChg>
        <pc:spChg chg="mod">
          <ac:chgData name="Mariam Daniela Tristancho Pineda (PTA SAS)" userId="a45a17f7-7950-4cb5-bfab-f5c894f959a9" providerId="ADAL" clId="{99D59DB7-96A9-46B6-9F2E-473BE9DEF1F9}" dt="2020-10-27T17:11:15.588" v="936" actId="1076"/>
          <ac:spMkLst>
            <pc:docMk/>
            <pc:sldMk cId="1313712019" sldId="2134804331"/>
            <ac:spMk id="9" creationId="{843A89DC-9148-428C-8B25-E10F36D4E507}"/>
          </ac:spMkLst>
        </pc:spChg>
      </pc:sldChg>
      <pc:sldChg chg="addSp delSp modSp add mod">
        <pc:chgData name="Mariam Daniela Tristancho Pineda (PTA SAS)" userId="a45a17f7-7950-4cb5-bfab-f5c894f959a9" providerId="ADAL" clId="{99D59DB7-96A9-46B6-9F2E-473BE9DEF1F9}" dt="2020-10-27T17:11:18.893" v="937" actId="1076"/>
        <pc:sldMkLst>
          <pc:docMk/>
          <pc:sldMk cId="2716615917" sldId="2134804335"/>
        </pc:sldMkLst>
        <pc:spChg chg="add mod">
          <ac:chgData name="Mariam Daniela Tristancho Pineda (PTA SAS)" userId="a45a17f7-7950-4cb5-bfab-f5c894f959a9" providerId="ADAL" clId="{99D59DB7-96A9-46B6-9F2E-473BE9DEF1F9}" dt="2020-10-27T17:11:08.251" v="934" actId="20577"/>
          <ac:spMkLst>
            <pc:docMk/>
            <pc:sldMk cId="2716615917" sldId="2134804335"/>
            <ac:spMk id="3" creationId="{0D4902ED-859C-48CF-A91A-D41B17938B5C}"/>
          </ac:spMkLst>
        </pc:spChg>
        <pc:spChg chg="del">
          <ac:chgData name="Mariam Daniela Tristancho Pineda (PTA SAS)" userId="a45a17f7-7950-4cb5-bfab-f5c894f959a9" providerId="ADAL" clId="{99D59DB7-96A9-46B6-9F2E-473BE9DEF1F9}" dt="2020-10-27T17:11:03.429" v="906" actId="478"/>
          <ac:spMkLst>
            <pc:docMk/>
            <pc:sldMk cId="2716615917" sldId="2134804335"/>
            <ac:spMk id="4" creationId="{C47780CB-210E-480D-AF15-355BDC7F6E93}"/>
          </ac:spMkLst>
        </pc:spChg>
        <pc:spChg chg="mod">
          <ac:chgData name="Mariam Daniela Tristancho Pineda (PTA SAS)" userId="a45a17f7-7950-4cb5-bfab-f5c894f959a9" providerId="ADAL" clId="{99D59DB7-96A9-46B6-9F2E-473BE9DEF1F9}" dt="2020-10-27T17:11:18.893" v="937" actId="1076"/>
          <ac:spMkLst>
            <pc:docMk/>
            <pc:sldMk cId="2716615917" sldId="2134804335"/>
            <ac:spMk id="9" creationId="{843A89DC-9148-428C-8B25-E10F36D4E507}"/>
          </ac:spMkLst>
        </pc:spChg>
      </pc:sldChg>
      <pc:sldChg chg="addSp delSp modSp add mod">
        <pc:chgData name="Mariam Daniela Tristancho Pineda (PTA SAS)" userId="a45a17f7-7950-4cb5-bfab-f5c894f959a9" providerId="ADAL" clId="{99D59DB7-96A9-46B6-9F2E-473BE9DEF1F9}" dt="2020-10-27T19:45:11.593" v="1903" actId="13926"/>
        <pc:sldMkLst>
          <pc:docMk/>
          <pc:sldMk cId="1108072925" sldId="2134804343"/>
        </pc:sldMkLst>
        <pc:spChg chg="mod">
          <ac:chgData name="Mariam Daniela Tristancho Pineda (PTA SAS)" userId="a45a17f7-7950-4cb5-bfab-f5c894f959a9" providerId="ADAL" clId="{99D59DB7-96A9-46B6-9F2E-473BE9DEF1F9}" dt="2020-10-27T19:45:11.593" v="1903" actId="13926"/>
          <ac:spMkLst>
            <pc:docMk/>
            <pc:sldMk cId="1108072925" sldId="2134804343"/>
            <ac:spMk id="3" creationId="{164DF9F9-0719-4943-934C-41A1DA9BF0D5}"/>
          </ac:spMkLst>
        </pc:spChg>
        <pc:spChg chg="mod">
          <ac:chgData name="Mariam Daniela Tristancho Pineda (PTA SAS)" userId="a45a17f7-7950-4cb5-bfab-f5c894f959a9" providerId="ADAL" clId="{99D59DB7-96A9-46B6-9F2E-473BE9DEF1F9}" dt="2020-10-27T19:45:11.593" v="1903" actId="13926"/>
          <ac:spMkLst>
            <pc:docMk/>
            <pc:sldMk cId="1108072925" sldId="2134804343"/>
            <ac:spMk id="4" creationId="{25C67AAE-195C-4BD0-89AC-637004543F79}"/>
          </ac:spMkLst>
        </pc:spChg>
        <pc:spChg chg="add mod">
          <ac:chgData name="Mariam Daniela Tristancho Pineda (PTA SAS)" userId="a45a17f7-7950-4cb5-bfab-f5c894f959a9" providerId="ADAL" clId="{99D59DB7-96A9-46B6-9F2E-473BE9DEF1F9}" dt="2020-10-27T19:41:59.531" v="1874" actId="1076"/>
          <ac:spMkLst>
            <pc:docMk/>
            <pc:sldMk cId="1108072925" sldId="2134804343"/>
            <ac:spMk id="5" creationId="{2B8F316B-CA62-4A58-BAB6-428CF8062020}"/>
          </ac:spMkLst>
        </pc:spChg>
        <pc:spChg chg="mod">
          <ac:chgData name="Mariam Daniela Tristancho Pineda (PTA SAS)" userId="a45a17f7-7950-4cb5-bfab-f5c894f959a9" providerId="ADAL" clId="{99D59DB7-96A9-46B6-9F2E-473BE9DEF1F9}" dt="2020-10-27T19:45:11.593" v="1903" actId="13926"/>
          <ac:spMkLst>
            <pc:docMk/>
            <pc:sldMk cId="1108072925" sldId="2134804343"/>
            <ac:spMk id="6" creationId="{F890A780-0AE9-4BF0-8CB4-292BA41F0D4D}"/>
          </ac:spMkLst>
        </pc:spChg>
        <pc:spChg chg="mod">
          <ac:chgData name="Mariam Daniela Tristancho Pineda (PTA SAS)" userId="a45a17f7-7950-4cb5-bfab-f5c894f959a9" providerId="ADAL" clId="{99D59DB7-96A9-46B6-9F2E-473BE9DEF1F9}" dt="2020-10-27T19:41:50.797" v="1870" actId="1076"/>
          <ac:spMkLst>
            <pc:docMk/>
            <pc:sldMk cId="1108072925" sldId="2134804343"/>
            <ac:spMk id="7" creationId="{8A2BBF5B-87FF-4A67-94F6-B149160C9102}"/>
          </ac:spMkLst>
        </pc:spChg>
        <pc:spChg chg="mod">
          <ac:chgData name="Mariam Daniela Tristancho Pineda (PTA SAS)" userId="a45a17f7-7950-4cb5-bfab-f5c894f959a9" providerId="ADAL" clId="{99D59DB7-96A9-46B6-9F2E-473BE9DEF1F9}" dt="2020-10-27T19:41:50.797" v="1870" actId="1076"/>
          <ac:spMkLst>
            <pc:docMk/>
            <pc:sldMk cId="1108072925" sldId="2134804343"/>
            <ac:spMk id="8" creationId="{B43FC437-82E8-4198-8B4B-072E5DB4852E}"/>
          </ac:spMkLst>
        </pc:spChg>
        <pc:spChg chg="del">
          <ac:chgData name="Mariam Daniela Tristancho Pineda (PTA SAS)" userId="a45a17f7-7950-4cb5-bfab-f5c894f959a9" providerId="ADAL" clId="{99D59DB7-96A9-46B6-9F2E-473BE9DEF1F9}" dt="2020-10-27T15:02:27.273" v="512" actId="478"/>
          <ac:spMkLst>
            <pc:docMk/>
            <pc:sldMk cId="1108072925" sldId="2134804343"/>
            <ac:spMk id="9" creationId="{4B2629AB-0194-4429-B721-D46F1AE1DD27}"/>
          </ac:spMkLst>
        </pc:spChg>
        <pc:spChg chg="mod">
          <ac:chgData name="Mariam Daniela Tristancho Pineda (PTA SAS)" userId="a45a17f7-7950-4cb5-bfab-f5c894f959a9" providerId="ADAL" clId="{99D59DB7-96A9-46B6-9F2E-473BE9DEF1F9}" dt="2020-10-27T19:45:11.593" v="1903" actId="13926"/>
          <ac:spMkLst>
            <pc:docMk/>
            <pc:sldMk cId="1108072925" sldId="2134804343"/>
            <ac:spMk id="21" creationId="{EB999A37-346B-4C56-9214-B4DDB0DC4136}"/>
          </ac:spMkLst>
        </pc:spChg>
        <pc:spChg chg="mod">
          <ac:chgData name="Mariam Daniela Tristancho Pineda (PTA SAS)" userId="a45a17f7-7950-4cb5-bfab-f5c894f959a9" providerId="ADAL" clId="{99D59DB7-96A9-46B6-9F2E-473BE9DEF1F9}" dt="2020-10-27T19:45:11.593" v="1903" actId="13926"/>
          <ac:spMkLst>
            <pc:docMk/>
            <pc:sldMk cId="1108072925" sldId="2134804343"/>
            <ac:spMk id="25" creationId="{54D9DE30-764E-4960-A02B-656F455ACCD8}"/>
          </ac:spMkLst>
        </pc:spChg>
        <pc:spChg chg="mod">
          <ac:chgData name="Mariam Daniela Tristancho Pineda (PTA SAS)" userId="a45a17f7-7950-4cb5-bfab-f5c894f959a9" providerId="ADAL" clId="{99D59DB7-96A9-46B6-9F2E-473BE9DEF1F9}" dt="2020-10-27T19:41:50.797" v="1870" actId="1076"/>
          <ac:spMkLst>
            <pc:docMk/>
            <pc:sldMk cId="1108072925" sldId="2134804343"/>
            <ac:spMk id="26" creationId="{73903E7D-5976-4068-872C-534A412616F3}"/>
          </ac:spMkLst>
        </pc:spChg>
        <pc:spChg chg="mod">
          <ac:chgData name="Mariam Daniela Tristancho Pineda (PTA SAS)" userId="a45a17f7-7950-4cb5-bfab-f5c894f959a9" providerId="ADAL" clId="{99D59DB7-96A9-46B6-9F2E-473BE9DEF1F9}" dt="2020-10-27T19:41:50.797" v="1870" actId="1076"/>
          <ac:spMkLst>
            <pc:docMk/>
            <pc:sldMk cId="1108072925" sldId="2134804343"/>
            <ac:spMk id="27" creationId="{8BA59867-5BA3-42BA-BFED-FBEB4191A8C9}"/>
          </ac:spMkLst>
        </pc:spChg>
        <pc:spChg chg="mod">
          <ac:chgData name="Mariam Daniela Tristancho Pineda (PTA SAS)" userId="a45a17f7-7950-4cb5-bfab-f5c894f959a9" providerId="ADAL" clId="{99D59DB7-96A9-46B6-9F2E-473BE9DEF1F9}" dt="2020-10-27T19:41:41.677" v="1869" actId="1076"/>
          <ac:spMkLst>
            <pc:docMk/>
            <pc:sldMk cId="1108072925" sldId="2134804343"/>
            <ac:spMk id="103" creationId="{E35BCD4E-BD0E-4B37-93B6-46AE63B7C42E}"/>
          </ac:spMkLst>
        </pc:spChg>
        <pc:spChg chg="mod">
          <ac:chgData name="Mariam Daniela Tristancho Pineda (PTA SAS)" userId="a45a17f7-7950-4cb5-bfab-f5c894f959a9" providerId="ADAL" clId="{99D59DB7-96A9-46B6-9F2E-473BE9DEF1F9}" dt="2020-10-27T19:41:41.677" v="1869" actId="1076"/>
          <ac:spMkLst>
            <pc:docMk/>
            <pc:sldMk cId="1108072925" sldId="2134804343"/>
            <ac:spMk id="104" creationId="{4B65FDF3-F6A3-424E-BC26-BF4C4B5A660D}"/>
          </ac:spMkLst>
        </pc:spChg>
        <pc:spChg chg="mod">
          <ac:chgData name="Mariam Daniela Tristancho Pineda (PTA SAS)" userId="a45a17f7-7950-4cb5-bfab-f5c894f959a9" providerId="ADAL" clId="{99D59DB7-96A9-46B6-9F2E-473BE9DEF1F9}" dt="2020-10-27T19:41:41.677" v="1869" actId="1076"/>
          <ac:spMkLst>
            <pc:docMk/>
            <pc:sldMk cId="1108072925" sldId="2134804343"/>
            <ac:spMk id="105" creationId="{9744B557-C078-4539-A6C6-7A63BD39476D}"/>
          </ac:spMkLst>
        </pc:spChg>
        <pc:spChg chg="mod">
          <ac:chgData name="Mariam Daniela Tristancho Pineda (PTA SAS)" userId="a45a17f7-7950-4cb5-bfab-f5c894f959a9" providerId="ADAL" clId="{99D59DB7-96A9-46B6-9F2E-473BE9DEF1F9}" dt="2020-10-27T19:41:41.677" v="1869" actId="1076"/>
          <ac:spMkLst>
            <pc:docMk/>
            <pc:sldMk cId="1108072925" sldId="2134804343"/>
            <ac:spMk id="108" creationId="{A9FC1BB0-B12B-4669-8B6B-79FDB0450F98}"/>
          </ac:spMkLst>
        </pc:spChg>
        <pc:spChg chg="mod">
          <ac:chgData name="Mariam Daniela Tristancho Pineda (PTA SAS)" userId="a45a17f7-7950-4cb5-bfab-f5c894f959a9" providerId="ADAL" clId="{99D59DB7-96A9-46B6-9F2E-473BE9DEF1F9}" dt="2020-10-27T19:41:41.677" v="1869" actId="1076"/>
          <ac:spMkLst>
            <pc:docMk/>
            <pc:sldMk cId="1108072925" sldId="2134804343"/>
            <ac:spMk id="111" creationId="{7163C250-0AEE-48BA-AF22-4D37C27A7075}"/>
          </ac:spMkLst>
        </pc:spChg>
        <pc:spChg chg="mod">
          <ac:chgData name="Mariam Daniela Tristancho Pineda (PTA SAS)" userId="a45a17f7-7950-4cb5-bfab-f5c894f959a9" providerId="ADAL" clId="{99D59DB7-96A9-46B6-9F2E-473BE9DEF1F9}" dt="2020-10-27T19:45:11.593" v="1903" actId="13926"/>
          <ac:spMkLst>
            <pc:docMk/>
            <pc:sldMk cId="1108072925" sldId="2134804343"/>
            <ac:spMk id="113" creationId="{65426CA7-DF13-4166-B929-391A6B479EF2}"/>
          </ac:spMkLst>
        </pc:spChg>
        <pc:spChg chg="mod">
          <ac:chgData name="Mariam Daniela Tristancho Pineda (PTA SAS)" userId="a45a17f7-7950-4cb5-bfab-f5c894f959a9" providerId="ADAL" clId="{99D59DB7-96A9-46B6-9F2E-473BE9DEF1F9}" dt="2020-10-27T19:45:11.593" v="1903" actId="13926"/>
          <ac:spMkLst>
            <pc:docMk/>
            <pc:sldMk cId="1108072925" sldId="2134804343"/>
            <ac:spMk id="114" creationId="{34834366-0759-4E89-9A3A-288B6DA6C8C5}"/>
          </ac:spMkLst>
        </pc:spChg>
        <pc:spChg chg="mod">
          <ac:chgData name="Mariam Daniela Tristancho Pineda (PTA SAS)" userId="a45a17f7-7950-4cb5-bfab-f5c894f959a9" providerId="ADAL" clId="{99D59DB7-96A9-46B6-9F2E-473BE9DEF1F9}" dt="2020-10-27T19:45:11.593" v="1903" actId="13926"/>
          <ac:spMkLst>
            <pc:docMk/>
            <pc:sldMk cId="1108072925" sldId="2134804343"/>
            <ac:spMk id="119" creationId="{E44EFD7C-986C-4068-96FF-2799E98C60BE}"/>
          </ac:spMkLst>
        </pc:spChg>
        <pc:spChg chg="mod">
          <ac:chgData name="Mariam Daniela Tristancho Pineda (PTA SAS)" userId="a45a17f7-7950-4cb5-bfab-f5c894f959a9" providerId="ADAL" clId="{99D59DB7-96A9-46B6-9F2E-473BE9DEF1F9}" dt="2020-10-27T19:45:11.593" v="1903" actId="13926"/>
          <ac:spMkLst>
            <pc:docMk/>
            <pc:sldMk cId="1108072925" sldId="2134804343"/>
            <ac:spMk id="120" creationId="{E73BF53D-5C4E-4100-BC6B-1DFC8B8FC737}"/>
          </ac:spMkLst>
        </pc:spChg>
        <pc:spChg chg="mod">
          <ac:chgData name="Mariam Daniela Tristancho Pineda (PTA SAS)" userId="a45a17f7-7950-4cb5-bfab-f5c894f959a9" providerId="ADAL" clId="{99D59DB7-96A9-46B6-9F2E-473BE9DEF1F9}" dt="2020-10-27T19:45:11.593" v="1903" actId="13926"/>
          <ac:spMkLst>
            <pc:docMk/>
            <pc:sldMk cId="1108072925" sldId="2134804343"/>
            <ac:spMk id="122" creationId="{4BB3CAC2-15FB-4F1D-B702-9BD7ADC8A691}"/>
          </ac:spMkLst>
        </pc:spChg>
        <pc:spChg chg="mod">
          <ac:chgData name="Mariam Daniela Tristancho Pineda (PTA SAS)" userId="a45a17f7-7950-4cb5-bfab-f5c894f959a9" providerId="ADAL" clId="{99D59DB7-96A9-46B6-9F2E-473BE9DEF1F9}" dt="2020-10-27T19:45:11.593" v="1903" actId="13926"/>
          <ac:spMkLst>
            <pc:docMk/>
            <pc:sldMk cId="1108072925" sldId="2134804343"/>
            <ac:spMk id="123" creationId="{AF32E794-4F50-4939-826B-17544165148C}"/>
          </ac:spMkLst>
        </pc:spChg>
        <pc:spChg chg="mod">
          <ac:chgData name="Mariam Daniela Tristancho Pineda (PTA SAS)" userId="a45a17f7-7950-4cb5-bfab-f5c894f959a9" providerId="ADAL" clId="{99D59DB7-96A9-46B6-9F2E-473BE9DEF1F9}" dt="2020-10-27T19:41:53.774" v="1872" actId="1076"/>
          <ac:spMkLst>
            <pc:docMk/>
            <pc:sldMk cId="1108072925" sldId="2134804343"/>
            <ac:spMk id="129" creationId="{547FDFA9-DFAE-49C9-8DB6-12CF8AF865B2}"/>
          </ac:spMkLst>
        </pc:spChg>
        <pc:spChg chg="mod">
          <ac:chgData name="Mariam Daniela Tristancho Pineda (PTA SAS)" userId="a45a17f7-7950-4cb5-bfab-f5c894f959a9" providerId="ADAL" clId="{99D59DB7-96A9-46B6-9F2E-473BE9DEF1F9}" dt="2020-10-27T19:45:11.593" v="1903" actId="13926"/>
          <ac:spMkLst>
            <pc:docMk/>
            <pc:sldMk cId="1108072925" sldId="2134804343"/>
            <ac:spMk id="130" creationId="{E6F7A92A-2E90-4E0A-AE82-D285E1B836CE}"/>
          </ac:spMkLst>
        </pc:spChg>
        <pc:spChg chg="mod">
          <ac:chgData name="Mariam Daniela Tristancho Pineda (PTA SAS)" userId="a45a17f7-7950-4cb5-bfab-f5c894f959a9" providerId="ADAL" clId="{99D59DB7-96A9-46B6-9F2E-473BE9DEF1F9}" dt="2020-10-27T19:45:11.593" v="1903" actId="13926"/>
          <ac:spMkLst>
            <pc:docMk/>
            <pc:sldMk cId="1108072925" sldId="2134804343"/>
            <ac:spMk id="133" creationId="{5825428C-4A68-4645-82E8-CDD413126FCC}"/>
          </ac:spMkLst>
        </pc:spChg>
        <pc:spChg chg="mod">
          <ac:chgData name="Mariam Daniela Tristancho Pineda (PTA SAS)" userId="a45a17f7-7950-4cb5-bfab-f5c894f959a9" providerId="ADAL" clId="{99D59DB7-96A9-46B6-9F2E-473BE9DEF1F9}" dt="2020-10-27T19:45:11.593" v="1903" actId="13926"/>
          <ac:spMkLst>
            <pc:docMk/>
            <pc:sldMk cId="1108072925" sldId="2134804343"/>
            <ac:spMk id="134" creationId="{9DA84409-E78D-4C09-BD7D-3213865A7325}"/>
          </ac:spMkLst>
        </pc:spChg>
        <pc:spChg chg="mod">
          <ac:chgData name="Mariam Daniela Tristancho Pineda (PTA SAS)" userId="a45a17f7-7950-4cb5-bfab-f5c894f959a9" providerId="ADAL" clId="{99D59DB7-96A9-46B6-9F2E-473BE9DEF1F9}" dt="2020-10-27T19:45:11.593" v="1903" actId="13926"/>
          <ac:spMkLst>
            <pc:docMk/>
            <pc:sldMk cId="1108072925" sldId="2134804343"/>
            <ac:spMk id="170" creationId="{407CED4E-C6B4-445C-BB41-36F8991E119E}"/>
          </ac:spMkLst>
        </pc:spChg>
        <pc:spChg chg="mod">
          <ac:chgData name="Mariam Daniela Tristancho Pineda (PTA SAS)" userId="a45a17f7-7950-4cb5-bfab-f5c894f959a9" providerId="ADAL" clId="{99D59DB7-96A9-46B6-9F2E-473BE9DEF1F9}" dt="2020-10-27T19:45:11.593" v="1903" actId="13926"/>
          <ac:spMkLst>
            <pc:docMk/>
            <pc:sldMk cId="1108072925" sldId="2134804343"/>
            <ac:spMk id="171" creationId="{18B9CD25-EDDB-41F2-A61D-855837F78386}"/>
          </ac:spMkLst>
        </pc:spChg>
        <pc:grpChg chg="mod">
          <ac:chgData name="Mariam Daniela Tristancho Pineda (PTA SAS)" userId="a45a17f7-7950-4cb5-bfab-f5c894f959a9" providerId="ADAL" clId="{99D59DB7-96A9-46B6-9F2E-473BE9DEF1F9}" dt="2020-10-27T19:41:50.797" v="1870" actId="1076"/>
          <ac:grpSpMkLst>
            <pc:docMk/>
            <pc:sldMk cId="1108072925" sldId="2134804343"/>
            <ac:grpSpMk id="10" creationId="{3E85E4E0-A272-4AD3-AB4F-46D80F837C6B}"/>
          </ac:grpSpMkLst>
        </pc:grpChg>
        <pc:grpChg chg="mod">
          <ac:chgData name="Mariam Daniela Tristancho Pineda (PTA SAS)" userId="a45a17f7-7950-4cb5-bfab-f5c894f959a9" providerId="ADAL" clId="{99D59DB7-96A9-46B6-9F2E-473BE9DEF1F9}" dt="2020-10-27T19:41:50.797" v="1870" actId="1076"/>
          <ac:grpSpMkLst>
            <pc:docMk/>
            <pc:sldMk cId="1108072925" sldId="2134804343"/>
            <ac:grpSpMk id="11" creationId="{6AAB0F72-777F-46AC-8C69-A56E43D7CA62}"/>
          </ac:grpSpMkLst>
        </pc:grpChg>
        <pc:grpChg chg="mod">
          <ac:chgData name="Mariam Daniela Tristancho Pineda (PTA SAS)" userId="a45a17f7-7950-4cb5-bfab-f5c894f959a9" providerId="ADAL" clId="{99D59DB7-96A9-46B6-9F2E-473BE9DEF1F9}" dt="2020-10-27T19:41:50.797" v="1870" actId="1076"/>
          <ac:grpSpMkLst>
            <pc:docMk/>
            <pc:sldMk cId="1108072925" sldId="2134804343"/>
            <ac:grpSpMk id="13" creationId="{1102E1D4-2CA7-42DB-810F-C72F70AAD49F}"/>
          </ac:grpSpMkLst>
        </pc:grpChg>
        <pc:grpChg chg="mod">
          <ac:chgData name="Mariam Daniela Tristancho Pineda (PTA SAS)" userId="a45a17f7-7950-4cb5-bfab-f5c894f959a9" providerId="ADAL" clId="{99D59DB7-96A9-46B6-9F2E-473BE9DEF1F9}" dt="2020-10-27T19:41:50.797" v="1870" actId="1076"/>
          <ac:grpSpMkLst>
            <pc:docMk/>
            <pc:sldMk cId="1108072925" sldId="2134804343"/>
            <ac:grpSpMk id="14" creationId="{9F509707-312A-4963-8A7F-894569D8086A}"/>
          </ac:grpSpMkLst>
        </pc:grpChg>
        <pc:grpChg chg="mod">
          <ac:chgData name="Mariam Daniela Tristancho Pineda (PTA SAS)" userId="a45a17f7-7950-4cb5-bfab-f5c894f959a9" providerId="ADAL" clId="{99D59DB7-96A9-46B6-9F2E-473BE9DEF1F9}" dt="2020-10-27T19:41:50.797" v="1870" actId="1076"/>
          <ac:grpSpMkLst>
            <pc:docMk/>
            <pc:sldMk cId="1108072925" sldId="2134804343"/>
            <ac:grpSpMk id="15" creationId="{AFFB213F-AB0F-4EB6-A517-791285FA4DF7}"/>
          </ac:grpSpMkLst>
        </pc:grpChg>
        <pc:grpChg chg="mod">
          <ac:chgData name="Mariam Daniela Tristancho Pineda (PTA SAS)" userId="a45a17f7-7950-4cb5-bfab-f5c894f959a9" providerId="ADAL" clId="{99D59DB7-96A9-46B6-9F2E-473BE9DEF1F9}" dt="2020-10-27T19:41:55.755" v="1873" actId="1076"/>
          <ac:grpSpMkLst>
            <pc:docMk/>
            <pc:sldMk cId="1108072925" sldId="2134804343"/>
            <ac:grpSpMk id="16" creationId="{E0D1C9B4-2671-49F3-B573-B7CB2BFC6B98}"/>
          </ac:grpSpMkLst>
        </pc:grpChg>
        <pc:grpChg chg="mod">
          <ac:chgData name="Mariam Daniela Tristancho Pineda (PTA SAS)" userId="a45a17f7-7950-4cb5-bfab-f5c894f959a9" providerId="ADAL" clId="{99D59DB7-96A9-46B6-9F2E-473BE9DEF1F9}" dt="2020-10-27T19:41:41.677" v="1869" actId="1076"/>
          <ac:grpSpMkLst>
            <pc:docMk/>
            <pc:sldMk cId="1108072925" sldId="2134804343"/>
            <ac:grpSpMk id="118" creationId="{F8A1CF65-C00D-492D-BC7D-040C0F304324}"/>
          </ac:grpSpMkLst>
        </pc:grpChg>
        <pc:grpChg chg="mod">
          <ac:chgData name="Mariam Daniela Tristancho Pineda (PTA SAS)" userId="a45a17f7-7950-4cb5-bfab-f5c894f959a9" providerId="ADAL" clId="{99D59DB7-96A9-46B6-9F2E-473BE9DEF1F9}" dt="2020-10-27T19:41:41.677" v="1869" actId="1076"/>
          <ac:grpSpMkLst>
            <pc:docMk/>
            <pc:sldMk cId="1108072925" sldId="2134804343"/>
            <ac:grpSpMk id="138" creationId="{D0FEEC4A-45A9-4F8C-A777-9A34883999A1}"/>
          </ac:grpSpMkLst>
        </pc:grpChg>
        <pc:grpChg chg="mod">
          <ac:chgData name="Mariam Daniela Tristancho Pineda (PTA SAS)" userId="a45a17f7-7950-4cb5-bfab-f5c894f959a9" providerId="ADAL" clId="{99D59DB7-96A9-46B6-9F2E-473BE9DEF1F9}" dt="2020-10-27T19:41:41.677" v="1869" actId="1076"/>
          <ac:grpSpMkLst>
            <pc:docMk/>
            <pc:sldMk cId="1108072925" sldId="2134804343"/>
            <ac:grpSpMk id="147" creationId="{D2632E82-CF70-421A-A7F7-38B209596B88}"/>
          </ac:grpSpMkLst>
        </pc:grpChg>
        <pc:grpChg chg="mod">
          <ac:chgData name="Mariam Daniela Tristancho Pineda (PTA SAS)" userId="a45a17f7-7950-4cb5-bfab-f5c894f959a9" providerId="ADAL" clId="{99D59DB7-96A9-46B6-9F2E-473BE9DEF1F9}" dt="2020-10-27T19:41:41.677" v="1869" actId="1076"/>
          <ac:grpSpMkLst>
            <pc:docMk/>
            <pc:sldMk cId="1108072925" sldId="2134804343"/>
            <ac:grpSpMk id="150" creationId="{1E9CBD84-4C11-47FA-996F-39D252DF950A}"/>
          </ac:grpSpMkLst>
        </pc:grpChg>
        <pc:grpChg chg="mod">
          <ac:chgData name="Mariam Daniela Tristancho Pineda (PTA SAS)" userId="a45a17f7-7950-4cb5-bfab-f5c894f959a9" providerId="ADAL" clId="{99D59DB7-96A9-46B6-9F2E-473BE9DEF1F9}" dt="2020-10-27T19:41:41.677" v="1869" actId="1076"/>
          <ac:grpSpMkLst>
            <pc:docMk/>
            <pc:sldMk cId="1108072925" sldId="2134804343"/>
            <ac:grpSpMk id="153" creationId="{8B9FDAE3-32CB-4A26-93AF-19EFCF43A00E}"/>
          </ac:grpSpMkLst>
        </pc:grpChg>
        <pc:grpChg chg="mod">
          <ac:chgData name="Mariam Daniela Tristancho Pineda (PTA SAS)" userId="a45a17f7-7950-4cb5-bfab-f5c894f959a9" providerId="ADAL" clId="{99D59DB7-96A9-46B6-9F2E-473BE9DEF1F9}" dt="2020-10-27T19:41:41.677" v="1869" actId="1076"/>
          <ac:grpSpMkLst>
            <pc:docMk/>
            <pc:sldMk cId="1108072925" sldId="2134804343"/>
            <ac:grpSpMk id="156" creationId="{97BD1A2A-9798-4B81-8AD2-F04258C55AFB}"/>
          </ac:grpSpMkLst>
        </pc:grpChg>
        <pc:grpChg chg="mod">
          <ac:chgData name="Mariam Daniela Tristancho Pineda (PTA SAS)" userId="a45a17f7-7950-4cb5-bfab-f5c894f959a9" providerId="ADAL" clId="{99D59DB7-96A9-46B6-9F2E-473BE9DEF1F9}" dt="2020-10-27T19:41:41.677" v="1869" actId="1076"/>
          <ac:grpSpMkLst>
            <pc:docMk/>
            <pc:sldMk cId="1108072925" sldId="2134804343"/>
            <ac:grpSpMk id="159" creationId="{AB14915B-7CED-490D-9DA7-36D73CF35676}"/>
          </ac:grpSpMkLst>
        </pc:grpChg>
        <pc:grpChg chg="mod">
          <ac:chgData name="Mariam Daniela Tristancho Pineda (PTA SAS)" userId="a45a17f7-7950-4cb5-bfab-f5c894f959a9" providerId="ADAL" clId="{99D59DB7-96A9-46B6-9F2E-473BE9DEF1F9}" dt="2020-10-27T19:41:41.677" v="1869" actId="1076"/>
          <ac:grpSpMkLst>
            <pc:docMk/>
            <pc:sldMk cId="1108072925" sldId="2134804343"/>
            <ac:grpSpMk id="162" creationId="{32C64BF1-D370-48D0-9630-EC653B519FDB}"/>
          </ac:grpSpMkLst>
        </pc:grpChg>
        <pc:grpChg chg="mod">
          <ac:chgData name="Mariam Daniela Tristancho Pineda (PTA SAS)" userId="a45a17f7-7950-4cb5-bfab-f5c894f959a9" providerId="ADAL" clId="{99D59DB7-96A9-46B6-9F2E-473BE9DEF1F9}" dt="2020-10-27T19:41:41.677" v="1869" actId="1076"/>
          <ac:grpSpMkLst>
            <pc:docMk/>
            <pc:sldMk cId="1108072925" sldId="2134804343"/>
            <ac:grpSpMk id="165" creationId="{569F79A7-1A95-4EA7-922F-7DB3777BCA9C}"/>
          </ac:grpSpMkLst>
        </pc:grpChg>
      </pc:sldChg>
      <pc:sldChg chg="addSp delSp modSp add mod">
        <pc:chgData name="Mariam Daniela Tristancho Pineda (PTA SAS)" userId="a45a17f7-7950-4cb5-bfab-f5c894f959a9" providerId="ADAL" clId="{99D59DB7-96A9-46B6-9F2E-473BE9DEF1F9}" dt="2020-10-27T19:45:19.645" v="1906" actId="13926"/>
        <pc:sldMkLst>
          <pc:docMk/>
          <pc:sldMk cId="1734415321" sldId="2134804344"/>
        </pc:sldMkLst>
        <pc:spChg chg="mod">
          <ac:chgData name="Mariam Daniela Tristancho Pineda (PTA SAS)" userId="a45a17f7-7950-4cb5-bfab-f5c894f959a9" providerId="ADAL" clId="{99D59DB7-96A9-46B6-9F2E-473BE9DEF1F9}" dt="2020-10-27T19:45:19.645" v="1906" actId="13926"/>
          <ac:spMkLst>
            <pc:docMk/>
            <pc:sldMk cId="1734415321" sldId="2134804344"/>
            <ac:spMk id="3" creationId="{815B10B7-60B3-4C63-8431-70CC556387C9}"/>
          </ac:spMkLst>
        </pc:spChg>
        <pc:spChg chg="add mod">
          <ac:chgData name="Mariam Daniela Tristancho Pineda (PTA SAS)" userId="a45a17f7-7950-4cb5-bfab-f5c894f959a9" providerId="ADAL" clId="{99D59DB7-96A9-46B6-9F2E-473BE9DEF1F9}" dt="2020-10-27T19:45:14.805" v="1904" actId="13926"/>
          <ac:spMkLst>
            <pc:docMk/>
            <pc:sldMk cId="1734415321" sldId="2134804344"/>
            <ac:spMk id="6" creationId="{58D7D5AC-6836-41CC-B157-51C2451A653E}"/>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11" creationId="{772CA61D-742C-45F0-BAFA-0F3B90176E98}"/>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12" creationId="{7F3CEC4C-7588-4B74-823D-9CF22E2DAD79}"/>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22" creationId="{53E538FE-3283-40FB-A5F0-3E57246B6EFA}"/>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29" creationId="{46F67329-EAA2-4B09-AD5B-91FE70391A81}"/>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30" creationId="{5BF08848-45AE-451C-A99D-7322CF796742}"/>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34" creationId="{2858742F-5FD0-4B7E-9334-0D1DB2CF525E}"/>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35" creationId="{5F2982C9-1317-4114-BC67-9EA6763899B8}"/>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36" creationId="{80930BAD-CC8E-47DD-9473-5B8864A2680A}"/>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41" creationId="{A6323A01-8860-4B1B-BDAF-6B75ABC06BEC}"/>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42" creationId="{4101169F-B3FD-425D-90F0-D9CCBE1BF3D2}"/>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43" creationId="{34452114-CA9E-44D1-9755-DF275F1BF2A9}"/>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45" creationId="{476FBBD3-1877-4B8E-A2BA-965C36FBD73D}"/>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48" creationId="{F926AC88-2103-4B74-A485-8F98AF37FABE}"/>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53" creationId="{436F7F2A-D56C-4686-B82F-7A2F944056CC}"/>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55" creationId="{1546B975-3205-4120-A98D-4F899F2673F9}"/>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56" creationId="{82D32ECE-5CE8-4D30-8F1A-35940B0E5DDC}"/>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57" creationId="{CFA918CB-0C7A-44FC-87D2-055F0DB1CDD9}"/>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59" creationId="{B329FB9A-BB66-4CA1-9AB8-4B6B45E56072}"/>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60" creationId="{FC98CCA7-DE6B-4116-84B8-A8982F08BE33}"/>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65" creationId="{E9C72F17-5D8F-41F6-8661-3E5DE2A9E040}"/>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66" creationId="{DB75697E-BD6D-4004-8F4B-2171046FC128}"/>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69" creationId="{42876D3F-F05B-4B3C-9DCB-629A3FE41134}"/>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70" creationId="{F9D75CA7-6C16-4058-92CF-BCCF9664CBC8}"/>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71" creationId="{63CA118B-4517-4A8E-85F9-65AF0995F5E4}"/>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72" creationId="{F0A9C2F1-1FA1-4C6D-980F-C42B048458E9}"/>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73" creationId="{504B0AB9-46DB-479D-A0DE-430E1C84357C}"/>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79" creationId="{B87C299D-EF49-4441-84EE-D96464B9014A}"/>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80" creationId="{E193066D-B18A-4EF1-AF0B-EF5BC81EBB54}"/>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81" creationId="{9EAEECC0-C607-4346-A4F1-115AAD4C7633}"/>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82" creationId="{AE9FA5CC-5AF8-4A39-808A-A55759A10785}"/>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83" creationId="{697AE0C9-8E3D-47A0-B88B-51F62D5E5F80}"/>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84" creationId="{5D8DC9FC-C278-4D64-8755-3FB5BC7C5DA2}"/>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85" creationId="{0AEECF97-B04A-4741-8EAF-E1C19707EC79}"/>
          </ac:spMkLst>
        </pc:spChg>
        <pc:spChg chg="mod">
          <ac:chgData name="Mariam Daniela Tristancho Pineda (PTA SAS)" userId="a45a17f7-7950-4cb5-bfab-f5c894f959a9" providerId="ADAL" clId="{99D59DB7-96A9-46B6-9F2E-473BE9DEF1F9}" dt="2020-10-27T19:45:16.396" v="1905" actId="13926"/>
          <ac:spMkLst>
            <pc:docMk/>
            <pc:sldMk cId="1734415321" sldId="2134804344"/>
            <ac:spMk id="86" creationId="{2217B299-0D19-43EC-A55B-5B9C62F7103D}"/>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87" creationId="{E4D8832A-BCE8-4698-B882-73CAE9D7F7EC}"/>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89" creationId="{B12492CE-5348-41AD-AD36-8E760A08E1FA}"/>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90" creationId="{5E3C957B-A02E-4062-8062-F3668313EDBC}"/>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91" creationId="{F9071948-6E83-4BD2-9DC7-5B467B91324A}"/>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92" creationId="{5B3A6CDD-C425-4ED3-8021-29E31B574BF1}"/>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94" creationId="{0010AD8B-A5B4-4F43-81B9-230ED3132988}"/>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95" creationId="{600EE81C-8D22-4E14-A3BC-4182FE5F623F}"/>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96" creationId="{0C1BB633-76A4-4B66-915F-C1F6BB1B5824}"/>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97" creationId="{99300021-C267-43BD-A0F5-B3ECE622345E}"/>
          </ac:spMkLst>
        </pc:spChg>
        <pc:spChg chg="mod">
          <ac:chgData name="Mariam Daniela Tristancho Pineda (PTA SAS)" userId="a45a17f7-7950-4cb5-bfab-f5c894f959a9" providerId="ADAL" clId="{99D59DB7-96A9-46B6-9F2E-473BE9DEF1F9}" dt="2020-10-27T19:45:19.645" v="1906" actId="13926"/>
          <ac:spMkLst>
            <pc:docMk/>
            <pc:sldMk cId="1734415321" sldId="2134804344"/>
            <ac:spMk id="98" creationId="{11F602EB-6CFD-4843-A675-A9D9AB24E0FE}"/>
          </ac:spMkLst>
        </pc:spChg>
        <pc:spChg chg="add mod">
          <ac:chgData name="Mariam Daniela Tristancho Pineda (PTA SAS)" userId="a45a17f7-7950-4cb5-bfab-f5c894f959a9" providerId="ADAL" clId="{99D59DB7-96A9-46B6-9F2E-473BE9DEF1F9}" dt="2020-10-27T19:39:18.564" v="1835" actId="571"/>
          <ac:spMkLst>
            <pc:docMk/>
            <pc:sldMk cId="1734415321" sldId="2134804344"/>
            <ac:spMk id="99" creationId="{61509ADF-EF4C-4687-BACB-081B54ECD004}"/>
          </ac:spMkLst>
        </pc:spChg>
        <pc:spChg chg="add mod">
          <ac:chgData name="Mariam Daniela Tristancho Pineda (PTA SAS)" userId="a45a17f7-7950-4cb5-bfab-f5c894f959a9" providerId="ADAL" clId="{99D59DB7-96A9-46B6-9F2E-473BE9DEF1F9}" dt="2020-10-27T19:39:18.564" v="1835" actId="571"/>
          <ac:spMkLst>
            <pc:docMk/>
            <pc:sldMk cId="1734415321" sldId="2134804344"/>
            <ac:spMk id="100" creationId="{7598BBA1-4A58-4C32-8D4C-2C95F98DB88E}"/>
          </ac:spMkLst>
        </pc:spChg>
        <pc:spChg chg="add mod">
          <ac:chgData name="Mariam Daniela Tristancho Pineda (PTA SAS)" userId="a45a17f7-7950-4cb5-bfab-f5c894f959a9" providerId="ADAL" clId="{99D59DB7-96A9-46B6-9F2E-473BE9DEF1F9}" dt="2020-10-27T19:39:18.564" v="1835" actId="571"/>
          <ac:spMkLst>
            <pc:docMk/>
            <pc:sldMk cId="1734415321" sldId="2134804344"/>
            <ac:spMk id="101" creationId="{967829BE-AC3C-4F89-8BCA-88553E2F6FC3}"/>
          </ac:spMkLst>
        </pc:spChg>
        <pc:spChg chg="add mod">
          <ac:chgData name="Mariam Daniela Tristancho Pineda (PTA SAS)" userId="a45a17f7-7950-4cb5-bfab-f5c894f959a9" providerId="ADAL" clId="{99D59DB7-96A9-46B6-9F2E-473BE9DEF1F9}" dt="2020-10-27T19:39:18.564" v="1835" actId="571"/>
          <ac:spMkLst>
            <pc:docMk/>
            <pc:sldMk cId="1734415321" sldId="2134804344"/>
            <ac:spMk id="102" creationId="{D36D8D17-64E2-4076-ACD8-BED8298BD8D2}"/>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118" creationId="{0B4C29A2-6118-4792-B821-1A16E14AEE5D}"/>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119" creationId="{A7ECDBDA-7BAE-4AC1-913D-6030E787C815}"/>
          </ac:spMkLst>
        </pc:spChg>
        <pc:spChg chg="del">
          <ac:chgData name="Mariam Daniela Tristancho Pineda (PTA SAS)" userId="a45a17f7-7950-4cb5-bfab-f5c894f959a9" providerId="ADAL" clId="{99D59DB7-96A9-46B6-9F2E-473BE9DEF1F9}" dt="2020-10-27T15:02:25.718" v="511" actId="478"/>
          <ac:spMkLst>
            <pc:docMk/>
            <pc:sldMk cId="1734415321" sldId="2134804344"/>
            <ac:spMk id="135" creationId="{C1823568-A421-4254-9106-BAEB76F16B72}"/>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136" creationId="{675CE3EF-A1A5-416D-9E4A-4A7F624FE475}"/>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137" creationId="{2CD11F6E-B50A-491F-B3F5-49A2EDAFF920}"/>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139" creationId="{C37E15FF-2836-4265-A7EF-3D87393C078F}"/>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140" creationId="{05D32FC8-0D58-460D-8C92-1E873DB3956E}"/>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142" creationId="{2756A8E9-1494-43F0-81B2-894637037405}"/>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143" creationId="{CE56BD17-1C81-4EB0-822D-2597BC2FBB7B}"/>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145" creationId="{2E7F0693-A620-4CB9-81AF-4BE4347F773A}"/>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146" creationId="{6B7CA8F3-0E90-4E78-9FA6-074A7A99C79B}"/>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148" creationId="{7C6BE64C-23BD-41C1-8FAB-021CBED959F6}"/>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149" creationId="{3740D9C6-9288-4DEE-B628-C7B82F229391}"/>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151" creationId="{3DDC4CE0-4DD8-4C9E-932F-DDE6DAEE911C}"/>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152" creationId="{620782BE-BA8B-42B9-BC32-C885010C900D}"/>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154" creationId="{C5E83014-F89C-4746-9992-07C80947C81B}"/>
          </ac:spMkLst>
        </pc:spChg>
        <pc:spChg chg="mod">
          <ac:chgData name="Mariam Daniela Tristancho Pineda (PTA SAS)" userId="a45a17f7-7950-4cb5-bfab-f5c894f959a9" providerId="ADAL" clId="{99D59DB7-96A9-46B6-9F2E-473BE9DEF1F9}" dt="2020-10-27T19:45:14.805" v="1904" actId="13926"/>
          <ac:spMkLst>
            <pc:docMk/>
            <pc:sldMk cId="1734415321" sldId="2134804344"/>
            <ac:spMk id="155" creationId="{36B04140-421C-44EC-A2A9-145431833DAC}"/>
          </ac:spMkLst>
        </pc:spChg>
      </pc:sldChg>
      <pc:sldChg chg="addSp delSp modSp add mod">
        <pc:chgData name="Mariam Daniela Tristancho Pineda (PTA SAS)" userId="a45a17f7-7950-4cb5-bfab-f5c894f959a9" providerId="ADAL" clId="{99D59DB7-96A9-46B6-9F2E-473BE9DEF1F9}" dt="2020-10-27T19:39:07.744" v="1833" actId="1037"/>
        <pc:sldMkLst>
          <pc:docMk/>
          <pc:sldMk cId="3225245280" sldId="2134804347"/>
        </pc:sldMkLst>
        <pc:spChg chg="mod">
          <ac:chgData name="Mariam Daniela Tristancho Pineda (PTA SAS)" userId="a45a17f7-7950-4cb5-bfab-f5c894f959a9" providerId="ADAL" clId="{99D59DB7-96A9-46B6-9F2E-473BE9DEF1F9}" dt="2020-10-27T19:39:01.559" v="1827" actId="1038"/>
          <ac:spMkLst>
            <pc:docMk/>
            <pc:sldMk cId="3225245280" sldId="2134804347"/>
            <ac:spMk id="3" creationId="{815B10B7-60B3-4C63-8431-70CC556387C9}"/>
          </ac:spMkLst>
        </pc:spChg>
        <pc:spChg chg="mod">
          <ac:chgData name="Mariam Daniela Tristancho Pineda (PTA SAS)" userId="a45a17f7-7950-4cb5-bfab-f5c894f959a9" providerId="ADAL" clId="{99D59DB7-96A9-46B6-9F2E-473BE9DEF1F9}" dt="2020-10-27T19:34:25.669" v="1710" actId="1035"/>
          <ac:spMkLst>
            <pc:docMk/>
            <pc:sldMk cId="3225245280" sldId="2134804347"/>
            <ac:spMk id="6" creationId="{D96F8713-29A5-4310-8564-F011CFCB1066}"/>
          </ac:spMkLst>
        </pc:spChg>
        <pc:spChg chg="add del">
          <ac:chgData name="Mariam Daniela Tristancho Pineda (PTA SAS)" userId="a45a17f7-7950-4cb5-bfab-f5c894f959a9" providerId="ADAL" clId="{99D59DB7-96A9-46B6-9F2E-473BE9DEF1F9}" dt="2020-10-27T15:01:33.524" v="482" actId="478"/>
          <ac:spMkLst>
            <pc:docMk/>
            <pc:sldMk cId="3225245280" sldId="2134804347"/>
            <ac:spMk id="7" creationId="{6EA28263-1945-4DCE-AE0F-AF18A7867D79}"/>
          </ac:spMkLst>
        </pc:spChg>
        <pc:spChg chg="add mod">
          <ac:chgData name="Mariam Daniela Tristancho Pineda (PTA SAS)" userId="a45a17f7-7950-4cb5-bfab-f5c894f959a9" providerId="ADAL" clId="{99D59DB7-96A9-46B6-9F2E-473BE9DEF1F9}" dt="2020-10-27T19:39:01.559" v="1827" actId="1038"/>
          <ac:spMkLst>
            <pc:docMk/>
            <pc:sldMk cId="3225245280" sldId="2134804347"/>
            <ac:spMk id="7" creationId="{D02CAA22-BED4-43E6-B3A0-90207067131A}"/>
          </ac:spMkLst>
        </pc:spChg>
        <pc:spChg chg="mod ord">
          <ac:chgData name="Mariam Daniela Tristancho Pineda (PTA SAS)" userId="a45a17f7-7950-4cb5-bfab-f5c894f959a9" providerId="ADAL" clId="{99D59DB7-96A9-46B6-9F2E-473BE9DEF1F9}" dt="2020-10-27T19:39:01.559" v="1827" actId="1038"/>
          <ac:spMkLst>
            <pc:docMk/>
            <pc:sldMk cId="3225245280" sldId="2134804347"/>
            <ac:spMk id="8" creationId="{2E27193E-8A49-44E9-91B8-50C765DA6DDA}"/>
          </ac:spMkLst>
        </pc:spChg>
        <pc:spChg chg="mod">
          <ac:chgData name="Mariam Daniela Tristancho Pineda (PTA SAS)" userId="a45a17f7-7950-4cb5-bfab-f5c894f959a9" providerId="ADAL" clId="{99D59DB7-96A9-46B6-9F2E-473BE9DEF1F9}" dt="2020-10-27T19:39:01.559" v="1827" actId="1038"/>
          <ac:spMkLst>
            <pc:docMk/>
            <pc:sldMk cId="3225245280" sldId="2134804347"/>
            <ac:spMk id="9" creationId="{044EA7DA-DC7D-4022-9DEC-F3B676A62032}"/>
          </ac:spMkLst>
        </pc:spChg>
        <pc:spChg chg="mod">
          <ac:chgData name="Mariam Daniela Tristancho Pineda (PTA SAS)" userId="a45a17f7-7950-4cb5-bfab-f5c894f959a9" providerId="ADAL" clId="{99D59DB7-96A9-46B6-9F2E-473BE9DEF1F9}" dt="2020-10-27T19:39:01.559" v="1827" actId="1038"/>
          <ac:spMkLst>
            <pc:docMk/>
            <pc:sldMk cId="3225245280" sldId="2134804347"/>
            <ac:spMk id="10" creationId="{1C27DADA-AD5A-4DFF-A22B-78E230D3896D}"/>
          </ac:spMkLst>
        </pc:spChg>
        <pc:spChg chg="add mod">
          <ac:chgData name="Mariam Daniela Tristancho Pineda (PTA SAS)" userId="a45a17f7-7950-4cb5-bfab-f5c894f959a9" providerId="ADAL" clId="{99D59DB7-96A9-46B6-9F2E-473BE9DEF1F9}" dt="2020-10-27T19:35:14.434" v="1761" actId="1076"/>
          <ac:spMkLst>
            <pc:docMk/>
            <pc:sldMk cId="3225245280" sldId="2134804347"/>
            <ac:spMk id="11" creationId="{B0B0E374-89D2-4CE0-8789-C64F79275E47}"/>
          </ac:spMkLst>
        </pc:spChg>
        <pc:spChg chg="add mod">
          <ac:chgData name="Mariam Daniela Tristancho Pineda (PTA SAS)" userId="a45a17f7-7950-4cb5-bfab-f5c894f959a9" providerId="ADAL" clId="{99D59DB7-96A9-46B6-9F2E-473BE9DEF1F9}" dt="2020-10-27T19:38:22.180" v="1800" actId="14100"/>
          <ac:spMkLst>
            <pc:docMk/>
            <pc:sldMk cId="3225245280" sldId="2134804347"/>
            <ac:spMk id="12" creationId="{F6134FA3-632C-4884-A2CA-4E7E5FA97861}"/>
          </ac:spMkLst>
        </pc:spChg>
        <pc:spChg chg="mod">
          <ac:chgData name="Mariam Daniela Tristancho Pineda (PTA SAS)" userId="a45a17f7-7950-4cb5-bfab-f5c894f959a9" providerId="ADAL" clId="{99D59DB7-96A9-46B6-9F2E-473BE9DEF1F9}" dt="2020-10-27T19:39:01.559" v="1827" actId="1038"/>
          <ac:spMkLst>
            <pc:docMk/>
            <pc:sldMk cId="3225245280" sldId="2134804347"/>
            <ac:spMk id="13" creationId="{8ED9F3B3-88F5-4631-8341-C7E55E174742}"/>
          </ac:spMkLst>
        </pc:spChg>
        <pc:spChg chg="add mod">
          <ac:chgData name="Mariam Daniela Tristancho Pineda (PTA SAS)" userId="a45a17f7-7950-4cb5-bfab-f5c894f959a9" providerId="ADAL" clId="{99D59DB7-96A9-46B6-9F2E-473BE9DEF1F9}" dt="2020-10-27T19:38:23.860" v="1801" actId="1076"/>
          <ac:spMkLst>
            <pc:docMk/>
            <pc:sldMk cId="3225245280" sldId="2134804347"/>
            <ac:spMk id="14" creationId="{B630EF04-4DBA-4D3B-9417-9A2EDA0048A8}"/>
          </ac:spMkLst>
        </pc:spChg>
        <pc:spChg chg="add mod ord">
          <ac:chgData name="Mariam Daniela Tristancho Pineda (PTA SAS)" userId="a45a17f7-7950-4cb5-bfab-f5c894f959a9" providerId="ADAL" clId="{99D59DB7-96A9-46B6-9F2E-473BE9DEF1F9}" dt="2020-10-27T19:39:07.744" v="1833" actId="1037"/>
          <ac:spMkLst>
            <pc:docMk/>
            <pc:sldMk cId="3225245280" sldId="2134804347"/>
            <ac:spMk id="15" creationId="{2F53CA94-F161-46D7-AB43-4125F854FFE7}"/>
          </ac:spMkLst>
        </pc:spChg>
        <pc:spChg chg="add mod">
          <ac:chgData name="Mariam Daniela Tristancho Pineda (PTA SAS)" userId="a45a17f7-7950-4cb5-bfab-f5c894f959a9" providerId="ADAL" clId="{99D59DB7-96A9-46B6-9F2E-473BE9DEF1F9}" dt="2020-10-27T19:38:36.495" v="1815" actId="1037"/>
          <ac:spMkLst>
            <pc:docMk/>
            <pc:sldMk cId="3225245280" sldId="2134804347"/>
            <ac:spMk id="16" creationId="{6CF20D51-5314-4B3B-9E28-96339644C02C}"/>
          </ac:spMkLst>
        </pc:spChg>
        <pc:spChg chg="add mod">
          <ac:chgData name="Mariam Daniela Tristancho Pineda (PTA SAS)" userId="a45a17f7-7950-4cb5-bfab-f5c894f959a9" providerId="ADAL" clId="{99D59DB7-96A9-46B6-9F2E-473BE9DEF1F9}" dt="2020-10-27T19:38:36.495" v="1815" actId="1037"/>
          <ac:spMkLst>
            <pc:docMk/>
            <pc:sldMk cId="3225245280" sldId="2134804347"/>
            <ac:spMk id="17" creationId="{72DB59CB-FEDF-480F-AD39-E97D7407B317}"/>
          </ac:spMkLst>
        </pc:spChg>
        <pc:spChg chg="mod">
          <ac:chgData name="Mariam Daniela Tristancho Pineda (PTA SAS)" userId="a45a17f7-7950-4cb5-bfab-f5c894f959a9" providerId="ADAL" clId="{99D59DB7-96A9-46B6-9F2E-473BE9DEF1F9}" dt="2020-10-27T19:39:01.559" v="1827" actId="1038"/>
          <ac:spMkLst>
            <pc:docMk/>
            <pc:sldMk cId="3225245280" sldId="2134804347"/>
            <ac:spMk id="18" creationId="{B9A102DE-B6E2-4A96-917C-4764462F2DDA}"/>
          </ac:spMkLst>
        </pc:spChg>
        <pc:spChg chg="mod">
          <ac:chgData name="Mariam Daniela Tristancho Pineda (PTA SAS)" userId="a45a17f7-7950-4cb5-bfab-f5c894f959a9" providerId="ADAL" clId="{99D59DB7-96A9-46B6-9F2E-473BE9DEF1F9}" dt="2020-10-27T19:39:01.559" v="1827" actId="1038"/>
          <ac:spMkLst>
            <pc:docMk/>
            <pc:sldMk cId="3225245280" sldId="2134804347"/>
            <ac:spMk id="19" creationId="{70675E72-95A3-4317-B24A-EF51AC8AE239}"/>
          </ac:spMkLst>
        </pc:spChg>
        <pc:spChg chg="add mod">
          <ac:chgData name="Mariam Daniela Tristancho Pineda (PTA SAS)" userId="a45a17f7-7950-4cb5-bfab-f5c894f959a9" providerId="ADAL" clId="{99D59DB7-96A9-46B6-9F2E-473BE9DEF1F9}" dt="2020-10-27T19:38:36.495" v="1815" actId="1037"/>
          <ac:spMkLst>
            <pc:docMk/>
            <pc:sldMk cId="3225245280" sldId="2134804347"/>
            <ac:spMk id="20" creationId="{71F29A32-B752-4169-AF93-23E2E4744B57}"/>
          </ac:spMkLst>
        </pc:spChg>
        <pc:spChg chg="add mod">
          <ac:chgData name="Mariam Daniela Tristancho Pineda (PTA SAS)" userId="a45a17f7-7950-4cb5-bfab-f5c894f959a9" providerId="ADAL" clId="{99D59DB7-96A9-46B6-9F2E-473BE9DEF1F9}" dt="2020-10-27T19:38:36.495" v="1815" actId="1037"/>
          <ac:spMkLst>
            <pc:docMk/>
            <pc:sldMk cId="3225245280" sldId="2134804347"/>
            <ac:spMk id="21" creationId="{71EA863D-5F31-435B-BFFD-65C11ED07226}"/>
          </ac:spMkLst>
        </pc:spChg>
        <pc:spChg chg="mod ord">
          <ac:chgData name="Mariam Daniela Tristancho Pineda (PTA SAS)" userId="a45a17f7-7950-4cb5-bfab-f5c894f959a9" providerId="ADAL" clId="{99D59DB7-96A9-46B6-9F2E-473BE9DEF1F9}" dt="2020-10-27T19:39:01.559" v="1827" actId="1038"/>
          <ac:spMkLst>
            <pc:docMk/>
            <pc:sldMk cId="3225245280" sldId="2134804347"/>
            <ac:spMk id="22" creationId="{53E538FE-3283-40FB-A5F0-3E57246B6EFA}"/>
          </ac:spMkLst>
        </pc:spChg>
        <pc:spChg chg="add mod">
          <ac:chgData name="Mariam Daniela Tristancho Pineda (PTA SAS)" userId="a45a17f7-7950-4cb5-bfab-f5c894f959a9" providerId="ADAL" clId="{99D59DB7-96A9-46B6-9F2E-473BE9DEF1F9}" dt="2020-10-27T19:38:36.495" v="1815" actId="1037"/>
          <ac:spMkLst>
            <pc:docMk/>
            <pc:sldMk cId="3225245280" sldId="2134804347"/>
            <ac:spMk id="23" creationId="{0E9EB15D-9F36-47EC-997B-D7CD4D765A00}"/>
          </ac:spMkLst>
        </pc:spChg>
        <pc:spChg chg="mod">
          <ac:chgData name="Mariam Daniela Tristancho Pineda (PTA SAS)" userId="a45a17f7-7950-4cb5-bfab-f5c894f959a9" providerId="ADAL" clId="{99D59DB7-96A9-46B6-9F2E-473BE9DEF1F9}" dt="2020-10-27T19:39:01.559" v="1827" actId="1038"/>
          <ac:spMkLst>
            <pc:docMk/>
            <pc:sldMk cId="3225245280" sldId="2134804347"/>
            <ac:spMk id="24" creationId="{0C96DED9-D235-406E-A2A1-79478F1C3877}"/>
          </ac:spMkLst>
        </pc:spChg>
        <pc:spChg chg="add del mod ord">
          <ac:chgData name="Mariam Daniela Tristancho Pineda (PTA SAS)" userId="a45a17f7-7950-4cb5-bfab-f5c894f959a9" providerId="ADAL" clId="{99D59DB7-96A9-46B6-9F2E-473BE9DEF1F9}" dt="2020-10-27T19:38:20.491" v="1799" actId="1076"/>
          <ac:spMkLst>
            <pc:docMk/>
            <pc:sldMk cId="3225245280" sldId="2134804347"/>
            <ac:spMk id="25" creationId="{4AFEAF71-C05D-46D5-B825-FF43A7BCEE24}"/>
          </ac:spMkLst>
        </pc:spChg>
        <pc:spChg chg="mod">
          <ac:chgData name="Mariam Daniela Tristancho Pineda (PTA SAS)" userId="a45a17f7-7950-4cb5-bfab-f5c894f959a9" providerId="ADAL" clId="{99D59DB7-96A9-46B6-9F2E-473BE9DEF1F9}" dt="2020-10-27T19:39:01.559" v="1827" actId="1038"/>
          <ac:spMkLst>
            <pc:docMk/>
            <pc:sldMk cId="3225245280" sldId="2134804347"/>
            <ac:spMk id="26" creationId="{75A6E1CB-F9BA-4F62-A008-32BA52F24F62}"/>
          </ac:spMkLst>
        </pc:spChg>
        <pc:spChg chg="add del mod">
          <ac:chgData name="Mariam Daniela Tristancho Pineda (PTA SAS)" userId="a45a17f7-7950-4cb5-bfab-f5c894f959a9" providerId="ADAL" clId="{99D59DB7-96A9-46B6-9F2E-473BE9DEF1F9}" dt="2020-10-27T19:31:02.331" v="1623" actId="478"/>
          <ac:spMkLst>
            <pc:docMk/>
            <pc:sldMk cId="3225245280" sldId="2134804347"/>
            <ac:spMk id="27" creationId="{EE052F24-6B9D-4D6D-8469-1D6B8CC74064}"/>
          </ac:spMkLst>
        </pc:spChg>
        <pc:spChg chg="add del mod">
          <ac:chgData name="Mariam Daniela Tristancho Pineda (PTA SAS)" userId="a45a17f7-7950-4cb5-bfab-f5c894f959a9" providerId="ADAL" clId="{99D59DB7-96A9-46B6-9F2E-473BE9DEF1F9}" dt="2020-10-27T19:31:05.633" v="1624" actId="478"/>
          <ac:spMkLst>
            <pc:docMk/>
            <pc:sldMk cId="3225245280" sldId="2134804347"/>
            <ac:spMk id="28" creationId="{DBD68825-DC5D-4D05-961A-738970637FD1}"/>
          </ac:spMkLst>
        </pc:spChg>
        <pc:spChg chg="add del mod">
          <ac:chgData name="Mariam Daniela Tristancho Pineda (PTA SAS)" userId="a45a17f7-7950-4cb5-bfab-f5c894f959a9" providerId="ADAL" clId="{99D59DB7-96A9-46B6-9F2E-473BE9DEF1F9}" dt="2020-10-27T19:31:02.331" v="1623" actId="478"/>
          <ac:spMkLst>
            <pc:docMk/>
            <pc:sldMk cId="3225245280" sldId="2134804347"/>
            <ac:spMk id="29" creationId="{2458FBB9-5697-4799-B8C1-9E30AF53EF6A}"/>
          </ac:spMkLst>
        </pc:spChg>
        <pc:spChg chg="mod">
          <ac:chgData name="Mariam Daniela Tristancho Pineda (PTA SAS)" userId="a45a17f7-7950-4cb5-bfab-f5c894f959a9" providerId="ADAL" clId="{99D59DB7-96A9-46B6-9F2E-473BE9DEF1F9}" dt="2020-10-27T19:39:01.559" v="1827" actId="1038"/>
          <ac:spMkLst>
            <pc:docMk/>
            <pc:sldMk cId="3225245280" sldId="2134804347"/>
            <ac:spMk id="30" creationId="{5BF08848-45AE-451C-A99D-7322CF796742}"/>
          </ac:spMkLst>
        </pc:spChg>
        <pc:spChg chg="add del mod">
          <ac:chgData name="Mariam Daniela Tristancho Pineda (PTA SAS)" userId="a45a17f7-7950-4cb5-bfab-f5c894f959a9" providerId="ADAL" clId="{99D59DB7-96A9-46B6-9F2E-473BE9DEF1F9}" dt="2020-10-27T19:31:02.331" v="1623" actId="478"/>
          <ac:spMkLst>
            <pc:docMk/>
            <pc:sldMk cId="3225245280" sldId="2134804347"/>
            <ac:spMk id="31" creationId="{E5A0C7EF-D67A-4449-9ABC-1432B3F97D83}"/>
          </ac:spMkLst>
        </pc:spChg>
        <pc:spChg chg="add del mod">
          <ac:chgData name="Mariam Daniela Tristancho Pineda (PTA SAS)" userId="a45a17f7-7950-4cb5-bfab-f5c894f959a9" providerId="ADAL" clId="{99D59DB7-96A9-46B6-9F2E-473BE9DEF1F9}" dt="2020-10-27T19:31:02.331" v="1623" actId="478"/>
          <ac:spMkLst>
            <pc:docMk/>
            <pc:sldMk cId="3225245280" sldId="2134804347"/>
            <ac:spMk id="32" creationId="{2A1C9B90-177A-4708-A878-41A882D720C1}"/>
          </ac:spMkLst>
        </pc:spChg>
        <pc:spChg chg="add mod">
          <ac:chgData name="Mariam Daniela Tristancho Pineda (PTA SAS)" userId="a45a17f7-7950-4cb5-bfab-f5c894f959a9" providerId="ADAL" clId="{99D59DB7-96A9-46B6-9F2E-473BE9DEF1F9}" dt="2020-10-27T19:38:42.147" v="1817" actId="14100"/>
          <ac:spMkLst>
            <pc:docMk/>
            <pc:sldMk cId="3225245280" sldId="2134804347"/>
            <ac:spMk id="33" creationId="{21D778BB-850D-4D4E-8903-F60BD001BEEB}"/>
          </ac:spMkLst>
        </pc:spChg>
        <pc:spChg chg="mod ord">
          <ac:chgData name="Mariam Daniela Tristancho Pineda (PTA SAS)" userId="a45a17f7-7950-4cb5-bfab-f5c894f959a9" providerId="ADAL" clId="{99D59DB7-96A9-46B6-9F2E-473BE9DEF1F9}" dt="2020-10-27T19:39:01.559" v="1827" actId="1038"/>
          <ac:spMkLst>
            <pc:docMk/>
            <pc:sldMk cId="3225245280" sldId="2134804347"/>
            <ac:spMk id="34" creationId="{2858742F-5FD0-4B7E-9334-0D1DB2CF525E}"/>
          </ac:spMkLst>
        </pc:spChg>
        <pc:spChg chg="mod">
          <ac:chgData name="Mariam Daniela Tristancho Pineda (PTA SAS)" userId="a45a17f7-7950-4cb5-bfab-f5c894f959a9" providerId="ADAL" clId="{99D59DB7-96A9-46B6-9F2E-473BE9DEF1F9}" dt="2020-10-27T19:39:01.559" v="1827" actId="1038"/>
          <ac:spMkLst>
            <pc:docMk/>
            <pc:sldMk cId="3225245280" sldId="2134804347"/>
            <ac:spMk id="35" creationId="{5F2982C9-1317-4114-BC67-9EA6763899B8}"/>
          </ac:spMkLst>
        </pc:spChg>
        <pc:spChg chg="mod">
          <ac:chgData name="Mariam Daniela Tristancho Pineda (PTA SAS)" userId="a45a17f7-7950-4cb5-bfab-f5c894f959a9" providerId="ADAL" clId="{99D59DB7-96A9-46B6-9F2E-473BE9DEF1F9}" dt="2020-10-27T19:34:23.241" v="1707" actId="12788"/>
          <ac:spMkLst>
            <pc:docMk/>
            <pc:sldMk cId="3225245280" sldId="2134804347"/>
            <ac:spMk id="36" creationId="{80930BAD-CC8E-47DD-9473-5B8864A2680A}"/>
          </ac:spMkLst>
        </pc:spChg>
        <pc:spChg chg="add mod">
          <ac:chgData name="Mariam Daniela Tristancho Pineda (PTA SAS)" userId="a45a17f7-7950-4cb5-bfab-f5c894f959a9" providerId="ADAL" clId="{99D59DB7-96A9-46B6-9F2E-473BE9DEF1F9}" dt="2020-10-27T19:35:50.942" v="1773" actId="164"/>
          <ac:spMkLst>
            <pc:docMk/>
            <pc:sldMk cId="3225245280" sldId="2134804347"/>
            <ac:spMk id="37" creationId="{8315896C-1F4F-48B8-A9BF-B36D5D9B0AA0}"/>
          </ac:spMkLst>
        </pc:spChg>
        <pc:spChg chg="add mod">
          <ac:chgData name="Mariam Daniela Tristancho Pineda (PTA SAS)" userId="a45a17f7-7950-4cb5-bfab-f5c894f959a9" providerId="ADAL" clId="{99D59DB7-96A9-46B6-9F2E-473BE9DEF1F9}" dt="2020-10-27T19:38:44.905" v="1819" actId="1076"/>
          <ac:spMkLst>
            <pc:docMk/>
            <pc:sldMk cId="3225245280" sldId="2134804347"/>
            <ac:spMk id="38" creationId="{A03096D5-2D84-4102-B793-E30AE7E0242C}"/>
          </ac:spMkLst>
        </pc:spChg>
        <pc:spChg chg="add mod">
          <ac:chgData name="Mariam Daniela Tristancho Pineda (PTA SAS)" userId="a45a17f7-7950-4cb5-bfab-f5c894f959a9" providerId="ADAL" clId="{99D59DB7-96A9-46B6-9F2E-473BE9DEF1F9}" dt="2020-10-27T19:38:49.860" v="1821" actId="1076"/>
          <ac:spMkLst>
            <pc:docMk/>
            <pc:sldMk cId="3225245280" sldId="2134804347"/>
            <ac:spMk id="39" creationId="{4E1679EA-6B2B-4345-AC76-F6C20B300205}"/>
          </ac:spMkLst>
        </pc:spChg>
        <pc:spChg chg="mod">
          <ac:chgData name="Mariam Daniela Tristancho Pineda (PTA SAS)" userId="a45a17f7-7950-4cb5-bfab-f5c894f959a9" providerId="ADAL" clId="{99D59DB7-96A9-46B6-9F2E-473BE9DEF1F9}" dt="2020-10-27T19:34:30.292" v="1711" actId="1076"/>
          <ac:spMkLst>
            <pc:docMk/>
            <pc:sldMk cId="3225245280" sldId="2134804347"/>
            <ac:spMk id="40" creationId="{F9005A44-E530-4972-BBE0-B3ED015A6ED4}"/>
          </ac:spMkLst>
        </pc:spChg>
        <pc:spChg chg="mod">
          <ac:chgData name="Mariam Daniela Tristancho Pineda (PTA SAS)" userId="a45a17f7-7950-4cb5-bfab-f5c894f959a9" providerId="ADAL" clId="{99D59DB7-96A9-46B6-9F2E-473BE9DEF1F9}" dt="2020-10-27T19:39:01.559" v="1827" actId="1038"/>
          <ac:spMkLst>
            <pc:docMk/>
            <pc:sldMk cId="3225245280" sldId="2134804347"/>
            <ac:spMk id="41" creationId="{A6323A01-8860-4B1B-BDAF-6B75ABC06BEC}"/>
          </ac:spMkLst>
        </pc:spChg>
        <pc:spChg chg="mod">
          <ac:chgData name="Mariam Daniela Tristancho Pineda (PTA SAS)" userId="a45a17f7-7950-4cb5-bfab-f5c894f959a9" providerId="ADAL" clId="{99D59DB7-96A9-46B6-9F2E-473BE9DEF1F9}" dt="2020-10-27T19:39:07.744" v="1833" actId="1037"/>
          <ac:spMkLst>
            <pc:docMk/>
            <pc:sldMk cId="3225245280" sldId="2134804347"/>
            <ac:spMk id="42" creationId="{4101169F-B3FD-425D-90F0-D9CCBE1BF3D2}"/>
          </ac:spMkLst>
        </pc:spChg>
        <pc:spChg chg="mod ord">
          <ac:chgData name="Mariam Daniela Tristancho Pineda (PTA SAS)" userId="a45a17f7-7950-4cb5-bfab-f5c894f959a9" providerId="ADAL" clId="{99D59DB7-96A9-46B6-9F2E-473BE9DEF1F9}" dt="2020-10-27T19:39:01.559" v="1827" actId="1038"/>
          <ac:spMkLst>
            <pc:docMk/>
            <pc:sldMk cId="3225245280" sldId="2134804347"/>
            <ac:spMk id="43" creationId="{34452114-CA9E-44D1-9755-DF275F1BF2A9}"/>
          </ac:spMkLst>
        </pc:spChg>
        <pc:spChg chg="add mod">
          <ac:chgData name="Mariam Daniela Tristancho Pineda (PTA SAS)" userId="a45a17f7-7950-4cb5-bfab-f5c894f959a9" providerId="ADAL" clId="{99D59DB7-96A9-46B6-9F2E-473BE9DEF1F9}" dt="2020-10-27T19:39:01.559" v="1827" actId="1038"/>
          <ac:spMkLst>
            <pc:docMk/>
            <pc:sldMk cId="3225245280" sldId="2134804347"/>
            <ac:spMk id="44" creationId="{6F88101F-2AF6-4A82-A038-3DE2AB6DE6BB}"/>
          </ac:spMkLst>
        </pc:spChg>
        <pc:spChg chg="mod">
          <ac:chgData name="Mariam Daniela Tristancho Pineda (PTA SAS)" userId="a45a17f7-7950-4cb5-bfab-f5c894f959a9" providerId="ADAL" clId="{99D59DB7-96A9-46B6-9F2E-473BE9DEF1F9}" dt="2020-10-27T19:34:23.241" v="1707" actId="12788"/>
          <ac:spMkLst>
            <pc:docMk/>
            <pc:sldMk cId="3225245280" sldId="2134804347"/>
            <ac:spMk id="45" creationId="{9ACB673E-4A63-4F00-B5CB-5E9908EDEBDB}"/>
          </ac:spMkLst>
        </pc:spChg>
        <pc:spChg chg="mod">
          <ac:chgData name="Mariam Daniela Tristancho Pineda (PTA SAS)" userId="a45a17f7-7950-4cb5-bfab-f5c894f959a9" providerId="ADAL" clId="{99D59DB7-96A9-46B6-9F2E-473BE9DEF1F9}" dt="2020-10-27T19:34:23.241" v="1707" actId="12788"/>
          <ac:spMkLst>
            <pc:docMk/>
            <pc:sldMk cId="3225245280" sldId="2134804347"/>
            <ac:spMk id="46" creationId="{E0149A14-BFC3-44E2-87D8-379AA9113E44}"/>
          </ac:spMkLst>
        </pc:spChg>
        <pc:spChg chg="add del mod">
          <ac:chgData name="Mariam Daniela Tristancho Pineda (PTA SAS)" userId="a45a17f7-7950-4cb5-bfab-f5c894f959a9" providerId="ADAL" clId="{99D59DB7-96A9-46B6-9F2E-473BE9DEF1F9}" dt="2020-10-27T19:37:52.764" v="1794" actId="478"/>
          <ac:spMkLst>
            <pc:docMk/>
            <pc:sldMk cId="3225245280" sldId="2134804347"/>
            <ac:spMk id="47" creationId="{EF057C66-D29F-4873-86A1-C28CD7A9C81F}"/>
          </ac:spMkLst>
        </pc:spChg>
        <pc:spChg chg="mod">
          <ac:chgData name="Mariam Daniela Tristancho Pineda (PTA SAS)" userId="a45a17f7-7950-4cb5-bfab-f5c894f959a9" providerId="ADAL" clId="{99D59DB7-96A9-46B6-9F2E-473BE9DEF1F9}" dt="2020-10-27T19:34:23.241" v="1707" actId="12788"/>
          <ac:spMkLst>
            <pc:docMk/>
            <pc:sldMk cId="3225245280" sldId="2134804347"/>
            <ac:spMk id="48" creationId="{20CF924E-D349-40FC-ABAF-4BBC6F96F0AC}"/>
          </ac:spMkLst>
        </pc:spChg>
        <pc:spChg chg="add del mod">
          <ac:chgData name="Mariam Daniela Tristancho Pineda (PTA SAS)" userId="a45a17f7-7950-4cb5-bfab-f5c894f959a9" providerId="ADAL" clId="{99D59DB7-96A9-46B6-9F2E-473BE9DEF1F9}" dt="2020-10-27T19:37:52.764" v="1794" actId="478"/>
          <ac:spMkLst>
            <pc:docMk/>
            <pc:sldMk cId="3225245280" sldId="2134804347"/>
            <ac:spMk id="49" creationId="{F63787BC-F9CE-4A94-BDBF-D2003C428D98}"/>
          </ac:spMkLst>
        </pc:spChg>
        <pc:spChg chg="mod">
          <ac:chgData name="Mariam Daniela Tristancho Pineda (PTA SAS)" userId="a45a17f7-7950-4cb5-bfab-f5c894f959a9" providerId="ADAL" clId="{99D59DB7-96A9-46B6-9F2E-473BE9DEF1F9}" dt="2020-10-27T19:39:07.744" v="1833" actId="1037"/>
          <ac:spMkLst>
            <pc:docMk/>
            <pc:sldMk cId="3225245280" sldId="2134804347"/>
            <ac:spMk id="62" creationId="{F0569435-F040-4489-AFEE-808F038FEC66}"/>
          </ac:spMkLst>
        </pc:spChg>
        <pc:spChg chg="mod">
          <ac:chgData name="Mariam Daniela Tristancho Pineda (PTA SAS)" userId="a45a17f7-7950-4cb5-bfab-f5c894f959a9" providerId="ADAL" clId="{99D59DB7-96A9-46B6-9F2E-473BE9DEF1F9}" dt="2020-10-27T19:35:55.296" v="1775"/>
          <ac:spMkLst>
            <pc:docMk/>
            <pc:sldMk cId="3225245280" sldId="2134804347"/>
            <ac:spMk id="78" creationId="{CC2DBE9B-F552-4D17-BEC3-4B3490FBAF4B}"/>
          </ac:spMkLst>
        </pc:spChg>
        <pc:spChg chg="mod">
          <ac:chgData name="Mariam Daniela Tristancho Pineda (PTA SAS)" userId="a45a17f7-7950-4cb5-bfab-f5c894f959a9" providerId="ADAL" clId="{99D59DB7-96A9-46B6-9F2E-473BE9DEF1F9}" dt="2020-10-27T19:36:00.124" v="1780" actId="20577"/>
          <ac:spMkLst>
            <pc:docMk/>
            <pc:sldMk cId="3225245280" sldId="2134804347"/>
            <ac:spMk id="79" creationId="{3B1EB8EC-6ECC-459D-9174-AFA96E527BC5}"/>
          </ac:spMkLst>
        </pc:spChg>
        <pc:spChg chg="mod">
          <ac:chgData name="Mariam Daniela Tristancho Pineda (PTA SAS)" userId="a45a17f7-7950-4cb5-bfab-f5c894f959a9" providerId="ADAL" clId="{99D59DB7-96A9-46B6-9F2E-473BE9DEF1F9}" dt="2020-10-27T19:36:01.275" v="1781"/>
          <ac:spMkLst>
            <pc:docMk/>
            <pc:sldMk cId="3225245280" sldId="2134804347"/>
            <ac:spMk id="81" creationId="{BE9947A4-2F17-43FC-8F50-03018D0F52F1}"/>
          </ac:spMkLst>
        </pc:spChg>
        <pc:spChg chg="mod">
          <ac:chgData name="Mariam Daniela Tristancho Pineda (PTA SAS)" userId="a45a17f7-7950-4cb5-bfab-f5c894f959a9" providerId="ADAL" clId="{99D59DB7-96A9-46B6-9F2E-473BE9DEF1F9}" dt="2020-10-27T19:36:05.967" v="1786" actId="20577"/>
          <ac:spMkLst>
            <pc:docMk/>
            <pc:sldMk cId="3225245280" sldId="2134804347"/>
            <ac:spMk id="82" creationId="{12E2BB1E-1F3D-4492-806A-28B40BDF35FC}"/>
          </ac:spMkLst>
        </pc:spChg>
        <pc:spChg chg="mod">
          <ac:chgData name="Mariam Daniela Tristancho Pineda (PTA SAS)" userId="a45a17f7-7950-4cb5-bfab-f5c894f959a9" providerId="ADAL" clId="{99D59DB7-96A9-46B6-9F2E-473BE9DEF1F9}" dt="2020-10-27T19:39:01.559" v="1827" actId="1038"/>
          <ac:spMkLst>
            <pc:docMk/>
            <pc:sldMk cId="3225245280" sldId="2134804347"/>
            <ac:spMk id="97" creationId="{99300021-C267-43BD-A0F5-B3ECE622345E}"/>
          </ac:spMkLst>
        </pc:spChg>
        <pc:spChg chg="mod">
          <ac:chgData name="Mariam Daniela Tristancho Pineda (PTA SAS)" userId="a45a17f7-7950-4cb5-bfab-f5c894f959a9" providerId="ADAL" clId="{99D59DB7-96A9-46B6-9F2E-473BE9DEF1F9}" dt="2020-10-27T17:06:27.814" v="874" actId="1076"/>
          <ac:spMkLst>
            <pc:docMk/>
            <pc:sldMk cId="3225245280" sldId="2134804347"/>
            <ac:spMk id="134" creationId="{4442C9A5-A733-471D-8F13-08ADD413B9D3}"/>
          </ac:spMkLst>
        </pc:spChg>
        <pc:spChg chg="del">
          <ac:chgData name="Mariam Daniela Tristancho Pineda (PTA SAS)" userId="a45a17f7-7950-4cb5-bfab-f5c894f959a9" providerId="ADAL" clId="{99D59DB7-96A9-46B6-9F2E-473BE9DEF1F9}" dt="2020-10-27T15:01:35.890" v="483" actId="478"/>
          <ac:spMkLst>
            <pc:docMk/>
            <pc:sldMk cId="3225245280" sldId="2134804347"/>
            <ac:spMk id="135" creationId="{C1823568-A421-4254-9106-BAEB76F16B72}"/>
          </ac:spMkLst>
        </pc:spChg>
        <pc:spChg chg="mod">
          <ac:chgData name="Mariam Daniela Tristancho Pineda (PTA SAS)" userId="a45a17f7-7950-4cb5-bfab-f5c894f959a9" providerId="ADAL" clId="{99D59DB7-96A9-46B6-9F2E-473BE9DEF1F9}" dt="2020-10-27T17:06:27.814" v="874" actId="1076"/>
          <ac:spMkLst>
            <pc:docMk/>
            <pc:sldMk cId="3225245280" sldId="2134804347"/>
            <ac:spMk id="136" creationId="{3E679F1B-F264-4A53-9627-51AF9A58E0A3}"/>
          </ac:spMkLst>
        </pc:spChg>
        <pc:spChg chg="mod">
          <ac:chgData name="Mariam Daniela Tristancho Pineda (PTA SAS)" userId="a45a17f7-7950-4cb5-bfab-f5c894f959a9" providerId="ADAL" clId="{99D59DB7-96A9-46B6-9F2E-473BE9DEF1F9}" dt="2020-10-27T17:06:27.814" v="874" actId="1076"/>
          <ac:spMkLst>
            <pc:docMk/>
            <pc:sldMk cId="3225245280" sldId="2134804347"/>
            <ac:spMk id="137" creationId="{730474FC-E2F9-4F74-B68F-DF4ADA249AB1}"/>
          </ac:spMkLst>
        </pc:spChg>
        <pc:spChg chg="mod">
          <ac:chgData name="Mariam Daniela Tristancho Pineda (PTA SAS)" userId="a45a17f7-7950-4cb5-bfab-f5c894f959a9" providerId="ADAL" clId="{99D59DB7-96A9-46B6-9F2E-473BE9DEF1F9}" dt="2020-10-27T17:06:27.814" v="874" actId="1076"/>
          <ac:spMkLst>
            <pc:docMk/>
            <pc:sldMk cId="3225245280" sldId="2134804347"/>
            <ac:spMk id="138" creationId="{14ECB9F5-C6EC-49AA-93E6-081670E9DB8B}"/>
          </ac:spMkLst>
        </pc:spChg>
        <pc:spChg chg="mod">
          <ac:chgData name="Mariam Daniela Tristancho Pineda (PTA SAS)" userId="a45a17f7-7950-4cb5-bfab-f5c894f959a9" providerId="ADAL" clId="{99D59DB7-96A9-46B6-9F2E-473BE9DEF1F9}" dt="2020-10-27T17:06:27.814" v="874" actId="1076"/>
          <ac:spMkLst>
            <pc:docMk/>
            <pc:sldMk cId="3225245280" sldId="2134804347"/>
            <ac:spMk id="139" creationId="{E6FA0830-AEFB-4202-9F4F-DDC9DDCEAA0F}"/>
          </ac:spMkLst>
        </pc:spChg>
        <pc:grpChg chg="add mod">
          <ac:chgData name="Mariam Daniela Tristancho Pineda (PTA SAS)" userId="a45a17f7-7950-4cb5-bfab-f5c894f959a9" providerId="ADAL" clId="{99D59DB7-96A9-46B6-9F2E-473BE9DEF1F9}" dt="2020-10-27T19:38:47.069" v="1820" actId="1076"/>
          <ac:grpSpMkLst>
            <pc:docMk/>
            <pc:sldMk cId="3225245280" sldId="2134804347"/>
            <ac:grpSpMk id="50" creationId="{629F548C-972F-490D-B74A-EE8FB95C5254}"/>
          </ac:grpSpMkLst>
        </pc:grpChg>
        <pc:grpChg chg="add mod">
          <ac:chgData name="Mariam Daniela Tristancho Pineda (PTA SAS)" userId="a45a17f7-7950-4cb5-bfab-f5c894f959a9" providerId="ADAL" clId="{99D59DB7-96A9-46B6-9F2E-473BE9DEF1F9}" dt="2020-10-27T19:38:36.495" v="1815" actId="1037"/>
          <ac:grpSpMkLst>
            <pc:docMk/>
            <pc:sldMk cId="3225245280" sldId="2134804347"/>
            <ac:grpSpMk id="77" creationId="{3567C4C0-BF71-4061-81D2-B6BC2E17B525}"/>
          </ac:grpSpMkLst>
        </pc:grpChg>
        <pc:grpChg chg="add del mod">
          <ac:chgData name="Mariam Daniela Tristancho Pineda (PTA SAS)" userId="a45a17f7-7950-4cb5-bfab-f5c894f959a9" providerId="ADAL" clId="{99D59DB7-96A9-46B6-9F2E-473BE9DEF1F9}" dt="2020-10-27T19:37:41.724" v="1790" actId="478"/>
          <ac:grpSpMkLst>
            <pc:docMk/>
            <pc:sldMk cId="3225245280" sldId="2134804347"/>
            <ac:grpSpMk id="80" creationId="{C2F9F2A3-68A1-4791-A736-B4F67A94E5A1}"/>
          </ac:grpSpMkLst>
        </pc:grpChg>
        <pc:grpChg chg="mod">
          <ac:chgData name="Mariam Daniela Tristancho Pineda (PTA SAS)" userId="a45a17f7-7950-4cb5-bfab-f5c894f959a9" providerId="ADAL" clId="{99D59DB7-96A9-46B6-9F2E-473BE9DEF1F9}" dt="2020-10-27T17:06:27.814" v="874" actId="1076"/>
          <ac:grpSpMkLst>
            <pc:docMk/>
            <pc:sldMk cId="3225245280" sldId="2134804347"/>
            <ac:grpSpMk id="140" creationId="{1778203D-1CDF-4BBC-B19C-6A9DA9D69BEA}"/>
          </ac:grpSpMkLst>
        </pc:grpChg>
        <pc:grpChg chg="mod">
          <ac:chgData name="Mariam Daniela Tristancho Pineda (PTA SAS)" userId="a45a17f7-7950-4cb5-bfab-f5c894f959a9" providerId="ADAL" clId="{99D59DB7-96A9-46B6-9F2E-473BE9DEF1F9}" dt="2020-10-27T17:06:27.814" v="874" actId="1076"/>
          <ac:grpSpMkLst>
            <pc:docMk/>
            <pc:sldMk cId="3225245280" sldId="2134804347"/>
            <ac:grpSpMk id="143" creationId="{B27E5097-D998-4BDE-89CA-161A527A87C0}"/>
          </ac:grpSpMkLst>
        </pc:grpChg>
        <pc:grpChg chg="mod">
          <ac:chgData name="Mariam Daniela Tristancho Pineda (PTA SAS)" userId="a45a17f7-7950-4cb5-bfab-f5c894f959a9" providerId="ADAL" clId="{99D59DB7-96A9-46B6-9F2E-473BE9DEF1F9}" dt="2020-10-27T17:06:27.814" v="874" actId="1076"/>
          <ac:grpSpMkLst>
            <pc:docMk/>
            <pc:sldMk cId="3225245280" sldId="2134804347"/>
            <ac:grpSpMk id="149" creationId="{30016BC2-F5FC-41B1-8042-294B5ED710A9}"/>
          </ac:grpSpMkLst>
        </pc:grpChg>
        <pc:grpChg chg="mod">
          <ac:chgData name="Mariam Daniela Tristancho Pineda (PTA SAS)" userId="a45a17f7-7950-4cb5-bfab-f5c894f959a9" providerId="ADAL" clId="{99D59DB7-96A9-46B6-9F2E-473BE9DEF1F9}" dt="2020-10-27T17:06:27.814" v="874" actId="1076"/>
          <ac:grpSpMkLst>
            <pc:docMk/>
            <pc:sldMk cId="3225245280" sldId="2134804347"/>
            <ac:grpSpMk id="161" creationId="{7B0D0DED-F383-470F-96D9-C423BC826F33}"/>
          </ac:grpSpMkLst>
        </pc:grpChg>
        <pc:grpChg chg="mod">
          <ac:chgData name="Mariam Daniela Tristancho Pineda (PTA SAS)" userId="a45a17f7-7950-4cb5-bfab-f5c894f959a9" providerId="ADAL" clId="{99D59DB7-96A9-46B6-9F2E-473BE9DEF1F9}" dt="2020-10-27T17:06:27.814" v="874" actId="1076"/>
          <ac:grpSpMkLst>
            <pc:docMk/>
            <pc:sldMk cId="3225245280" sldId="2134804347"/>
            <ac:grpSpMk id="164" creationId="{C681AC81-BC19-45C4-81AC-2BC618854FD5}"/>
          </ac:grpSpMkLst>
        </pc:grpChg>
      </pc:sldChg>
      <pc:sldChg chg="addSp delSp modSp add del mod">
        <pc:chgData name="Mariam Daniela Tristancho Pineda (PTA SAS)" userId="a45a17f7-7950-4cb5-bfab-f5c894f959a9" providerId="ADAL" clId="{99D59DB7-96A9-46B6-9F2E-473BE9DEF1F9}" dt="2020-10-27T17:09:14.533" v="884" actId="47"/>
        <pc:sldMkLst>
          <pc:docMk/>
          <pc:sldMk cId="335391689" sldId="2134804348"/>
        </pc:sldMkLst>
        <pc:spChg chg="add mod">
          <ac:chgData name="Mariam Daniela Tristancho Pineda (PTA SAS)" userId="a45a17f7-7950-4cb5-bfab-f5c894f959a9" providerId="ADAL" clId="{99D59DB7-96A9-46B6-9F2E-473BE9DEF1F9}" dt="2020-10-27T15:01:46.681" v="507" actId="20577"/>
          <ac:spMkLst>
            <pc:docMk/>
            <pc:sldMk cId="335391689" sldId="2134804348"/>
            <ac:spMk id="3" creationId="{9ADB0309-FF23-43AD-99D1-889C66F500B1}"/>
          </ac:spMkLst>
        </pc:spChg>
        <pc:spChg chg="del mod">
          <ac:chgData name="Mariam Daniela Tristancho Pineda (PTA SAS)" userId="a45a17f7-7950-4cb5-bfab-f5c894f959a9" providerId="ADAL" clId="{99D59DB7-96A9-46B6-9F2E-473BE9DEF1F9}" dt="2020-10-27T17:04:47.857" v="800" actId="21"/>
          <ac:spMkLst>
            <pc:docMk/>
            <pc:sldMk cId="335391689" sldId="2134804348"/>
            <ac:spMk id="9" creationId="{044EA7DA-DC7D-4022-9DEC-F3B676A62032}"/>
          </ac:spMkLst>
        </pc:spChg>
        <pc:spChg chg="del">
          <ac:chgData name="Mariam Daniela Tristancho Pineda (PTA SAS)" userId="a45a17f7-7950-4cb5-bfab-f5c894f959a9" providerId="ADAL" clId="{99D59DB7-96A9-46B6-9F2E-473BE9DEF1F9}" dt="2020-10-27T17:02:59.252" v="775" actId="21"/>
          <ac:spMkLst>
            <pc:docMk/>
            <pc:sldMk cId="335391689" sldId="2134804348"/>
            <ac:spMk id="11" creationId="{9E1C9D90-714B-4718-BF0A-3E823AE5784C}"/>
          </ac:spMkLst>
        </pc:spChg>
        <pc:spChg chg="del">
          <ac:chgData name="Mariam Daniela Tristancho Pineda (PTA SAS)" userId="a45a17f7-7950-4cb5-bfab-f5c894f959a9" providerId="ADAL" clId="{99D59DB7-96A9-46B6-9F2E-473BE9DEF1F9}" dt="2020-10-27T17:04:47.857" v="800" actId="21"/>
          <ac:spMkLst>
            <pc:docMk/>
            <pc:sldMk cId="335391689" sldId="2134804348"/>
            <ac:spMk id="13" creationId="{95B7AF17-429A-44E5-A4BB-2A9629B66D3F}"/>
          </ac:spMkLst>
        </pc:spChg>
        <pc:spChg chg="del mod">
          <ac:chgData name="Mariam Daniela Tristancho Pineda (PTA SAS)" userId="a45a17f7-7950-4cb5-bfab-f5c894f959a9" providerId="ADAL" clId="{99D59DB7-96A9-46B6-9F2E-473BE9DEF1F9}" dt="2020-10-27T17:04:47.857" v="800" actId="21"/>
          <ac:spMkLst>
            <pc:docMk/>
            <pc:sldMk cId="335391689" sldId="2134804348"/>
            <ac:spMk id="15" creationId="{EC155108-24C9-41BB-AFB7-1D8B4E0A3839}"/>
          </ac:spMkLst>
        </pc:spChg>
        <pc:spChg chg="del mod">
          <ac:chgData name="Mariam Daniela Tristancho Pineda (PTA SAS)" userId="a45a17f7-7950-4cb5-bfab-f5c894f959a9" providerId="ADAL" clId="{99D59DB7-96A9-46B6-9F2E-473BE9DEF1F9}" dt="2020-10-27T17:04:52.637" v="801" actId="21"/>
          <ac:spMkLst>
            <pc:docMk/>
            <pc:sldMk cId="335391689" sldId="2134804348"/>
            <ac:spMk id="18" creationId="{B9A102DE-B6E2-4A96-917C-4764462F2DDA}"/>
          </ac:spMkLst>
        </pc:spChg>
        <pc:spChg chg="del">
          <ac:chgData name="Mariam Daniela Tristancho Pineda (PTA SAS)" userId="a45a17f7-7950-4cb5-bfab-f5c894f959a9" providerId="ADAL" clId="{99D59DB7-96A9-46B6-9F2E-473BE9DEF1F9}" dt="2020-10-27T17:04:52.637" v="801" actId="21"/>
          <ac:spMkLst>
            <pc:docMk/>
            <pc:sldMk cId="335391689" sldId="2134804348"/>
            <ac:spMk id="19" creationId="{70675E72-95A3-4317-B24A-EF51AC8AE239}"/>
          </ac:spMkLst>
        </pc:spChg>
        <pc:spChg chg="del mod">
          <ac:chgData name="Mariam Daniela Tristancho Pineda (PTA SAS)" userId="a45a17f7-7950-4cb5-bfab-f5c894f959a9" providerId="ADAL" clId="{99D59DB7-96A9-46B6-9F2E-473BE9DEF1F9}" dt="2020-10-27T17:04:52.637" v="801" actId="21"/>
          <ac:spMkLst>
            <pc:docMk/>
            <pc:sldMk cId="335391689" sldId="2134804348"/>
            <ac:spMk id="23" creationId="{5DB1FF86-7D4A-4D95-BFED-8DC3F579D0AE}"/>
          </ac:spMkLst>
        </pc:spChg>
        <pc:spChg chg="del mod">
          <ac:chgData name="Mariam Daniela Tristancho Pineda (PTA SAS)" userId="a45a17f7-7950-4cb5-bfab-f5c894f959a9" providerId="ADAL" clId="{99D59DB7-96A9-46B6-9F2E-473BE9DEF1F9}" dt="2020-10-27T17:02:59.252" v="775" actId="21"/>
          <ac:spMkLst>
            <pc:docMk/>
            <pc:sldMk cId="335391689" sldId="2134804348"/>
            <ac:spMk id="27" creationId="{7F32EAE5-7D23-41BF-B948-664D0797EFC2}"/>
          </ac:spMkLst>
        </pc:spChg>
        <pc:spChg chg="del">
          <ac:chgData name="Mariam Daniela Tristancho Pineda (PTA SAS)" userId="a45a17f7-7950-4cb5-bfab-f5c894f959a9" providerId="ADAL" clId="{99D59DB7-96A9-46B6-9F2E-473BE9DEF1F9}" dt="2020-10-27T17:02:59.252" v="775" actId="21"/>
          <ac:spMkLst>
            <pc:docMk/>
            <pc:sldMk cId="335391689" sldId="2134804348"/>
            <ac:spMk id="28" creationId="{0A0468CC-6255-4B2C-9972-B59508A81602}"/>
          </ac:spMkLst>
        </pc:spChg>
        <pc:spChg chg="del mod">
          <ac:chgData name="Mariam Daniela Tristancho Pineda (PTA SAS)" userId="a45a17f7-7950-4cb5-bfab-f5c894f959a9" providerId="ADAL" clId="{99D59DB7-96A9-46B6-9F2E-473BE9DEF1F9}" dt="2020-10-27T17:06:19.388" v="871" actId="21"/>
          <ac:spMkLst>
            <pc:docMk/>
            <pc:sldMk cId="335391689" sldId="2134804348"/>
            <ac:spMk id="45" creationId="{FDAC7417-BED0-4FA7-A135-61AE3C3597AE}"/>
          </ac:spMkLst>
        </pc:spChg>
        <pc:spChg chg="del mod">
          <ac:chgData name="Mariam Daniela Tristancho Pineda (PTA SAS)" userId="a45a17f7-7950-4cb5-bfab-f5c894f959a9" providerId="ADAL" clId="{99D59DB7-96A9-46B6-9F2E-473BE9DEF1F9}" dt="2020-10-27T17:06:19.388" v="871" actId="21"/>
          <ac:spMkLst>
            <pc:docMk/>
            <pc:sldMk cId="335391689" sldId="2134804348"/>
            <ac:spMk id="69" creationId="{38D18292-C467-4CD3-890E-670905EDE7F1}"/>
          </ac:spMkLst>
        </pc:spChg>
        <pc:spChg chg="del">
          <ac:chgData name="Mariam Daniela Tristancho Pineda (PTA SAS)" userId="a45a17f7-7950-4cb5-bfab-f5c894f959a9" providerId="ADAL" clId="{99D59DB7-96A9-46B6-9F2E-473BE9DEF1F9}" dt="2020-10-27T17:06:19.388" v="871" actId="21"/>
          <ac:spMkLst>
            <pc:docMk/>
            <pc:sldMk cId="335391689" sldId="2134804348"/>
            <ac:spMk id="73" creationId="{FD23D240-7BB7-4D74-9842-9A4BFE5CAB08}"/>
          </ac:spMkLst>
        </pc:spChg>
        <pc:spChg chg="del mod">
          <ac:chgData name="Mariam Daniela Tristancho Pineda (PTA SAS)" userId="a45a17f7-7950-4cb5-bfab-f5c894f959a9" providerId="ADAL" clId="{99D59DB7-96A9-46B6-9F2E-473BE9DEF1F9}" dt="2020-10-27T17:04:47.857" v="800" actId="21"/>
          <ac:spMkLst>
            <pc:docMk/>
            <pc:sldMk cId="335391689" sldId="2134804348"/>
            <ac:spMk id="74" creationId="{D5140A26-6B24-4EF8-BA11-E02E558E1609}"/>
          </ac:spMkLst>
        </pc:spChg>
        <pc:spChg chg="del">
          <ac:chgData name="Mariam Daniela Tristancho Pineda (PTA SAS)" userId="a45a17f7-7950-4cb5-bfab-f5c894f959a9" providerId="ADAL" clId="{99D59DB7-96A9-46B6-9F2E-473BE9DEF1F9}" dt="2020-10-27T17:06:19.388" v="871" actId="21"/>
          <ac:spMkLst>
            <pc:docMk/>
            <pc:sldMk cId="335391689" sldId="2134804348"/>
            <ac:spMk id="75" creationId="{EC5A3F27-F09F-406D-862F-A6BF15171850}"/>
          </ac:spMkLst>
        </pc:spChg>
        <pc:spChg chg="del">
          <ac:chgData name="Mariam Daniela Tristancho Pineda (PTA SAS)" userId="a45a17f7-7950-4cb5-bfab-f5c894f959a9" providerId="ADAL" clId="{99D59DB7-96A9-46B6-9F2E-473BE9DEF1F9}" dt="2020-10-27T17:04:52.637" v="801" actId="21"/>
          <ac:spMkLst>
            <pc:docMk/>
            <pc:sldMk cId="335391689" sldId="2134804348"/>
            <ac:spMk id="82" creationId="{3732F2E4-0A29-43A4-B01E-2185E8950783}"/>
          </ac:spMkLst>
        </pc:spChg>
        <pc:spChg chg="del mod">
          <ac:chgData name="Mariam Daniela Tristancho Pineda (PTA SAS)" userId="a45a17f7-7950-4cb5-bfab-f5c894f959a9" providerId="ADAL" clId="{99D59DB7-96A9-46B6-9F2E-473BE9DEF1F9}" dt="2020-10-27T17:04:47.857" v="800" actId="21"/>
          <ac:spMkLst>
            <pc:docMk/>
            <pc:sldMk cId="335391689" sldId="2134804348"/>
            <ac:spMk id="88" creationId="{7973398C-2C52-4B8D-8FCE-88F4A0575383}"/>
          </ac:spMkLst>
        </pc:spChg>
        <pc:spChg chg="del mod">
          <ac:chgData name="Mariam Daniela Tristancho Pineda (PTA SAS)" userId="a45a17f7-7950-4cb5-bfab-f5c894f959a9" providerId="ADAL" clId="{99D59DB7-96A9-46B6-9F2E-473BE9DEF1F9}" dt="2020-10-27T17:04:47.857" v="800" actId="21"/>
          <ac:spMkLst>
            <pc:docMk/>
            <pc:sldMk cId="335391689" sldId="2134804348"/>
            <ac:spMk id="92" creationId="{FFD441DF-7C6A-48D7-996D-F60C3B04B450}"/>
          </ac:spMkLst>
        </pc:spChg>
        <pc:spChg chg="del mod">
          <ac:chgData name="Mariam Daniela Tristancho Pineda (PTA SAS)" userId="a45a17f7-7950-4cb5-bfab-f5c894f959a9" providerId="ADAL" clId="{99D59DB7-96A9-46B6-9F2E-473BE9DEF1F9}" dt="2020-10-27T17:04:52.637" v="801" actId="21"/>
          <ac:spMkLst>
            <pc:docMk/>
            <pc:sldMk cId="335391689" sldId="2134804348"/>
            <ac:spMk id="94" creationId="{4DE4A526-D337-4C45-B9BF-7953B17E4C8C}"/>
          </ac:spMkLst>
        </pc:spChg>
        <pc:spChg chg="del">
          <ac:chgData name="Mariam Daniela Tristancho Pineda (PTA SAS)" userId="a45a17f7-7950-4cb5-bfab-f5c894f959a9" providerId="ADAL" clId="{99D59DB7-96A9-46B6-9F2E-473BE9DEF1F9}" dt="2020-10-27T15:01:44.736" v="504" actId="478"/>
          <ac:spMkLst>
            <pc:docMk/>
            <pc:sldMk cId="335391689" sldId="2134804348"/>
            <ac:spMk id="135" creationId="{C1823568-A421-4254-9106-BAEB76F16B72}"/>
          </ac:spMkLst>
        </pc:spChg>
      </pc:sldChg>
      <pc:sldChg chg="add del">
        <pc:chgData name="Mariam Daniela Tristancho Pineda (PTA SAS)" userId="a45a17f7-7950-4cb5-bfab-f5c894f959a9" providerId="ADAL" clId="{99D59DB7-96A9-46B6-9F2E-473BE9DEF1F9}" dt="2020-10-27T14:42:43.802" v="10"/>
        <pc:sldMkLst>
          <pc:docMk/>
          <pc:sldMk cId="4121415553" sldId="2134804414"/>
        </pc:sldMkLst>
      </pc:sldChg>
      <pc:sldChg chg="add del">
        <pc:chgData name="Mariam Daniela Tristancho Pineda (PTA SAS)" userId="a45a17f7-7950-4cb5-bfab-f5c894f959a9" providerId="ADAL" clId="{99D59DB7-96A9-46B6-9F2E-473BE9DEF1F9}" dt="2020-10-27T14:42:43.802" v="10"/>
        <pc:sldMkLst>
          <pc:docMk/>
          <pc:sldMk cId="4264100340" sldId="2134804415"/>
        </pc:sldMkLst>
      </pc:sldChg>
      <pc:sldChg chg="add del">
        <pc:chgData name="Mariam Daniela Tristancho Pineda (PTA SAS)" userId="a45a17f7-7950-4cb5-bfab-f5c894f959a9" providerId="ADAL" clId="{99D59DB7-96A9-46B6-9F2E-473BE9DEF1F9}" dt="2020-10-27T14:42:43.802" v="10"/>
        <pc:sldMkLst>
          <pc:docMk/>
          <pc:sldMk cId="808228179" sldId="2134804416"/>
        </pc:sldMkLst>
      </pc:sldChg>
      <pc:sldChg chg="del">
        <pc:chgData name="Mariam Daniela Tristancho Pineda (PTA SAS)" userId="a45a17f7-7950-4cb5-bfab-f5c894f959a9" providerId="ADAL" clId="{99D59DB7-96A9-46B6-9F2E-473BE9DEF1F9}" dt="2020-10-27T14:49:40.590" v="200" actId="47"/>
        <pc:sldMkLst>
          <pc:docMk/>
          <pc:sldMk cId="2604800474" sldId="2134804418"/>
        </pc:sldMkLst>
      </pc:sldChg>
      <pc:sldChg chg="addSp delSp modSp add mod">
        <pc:chgData name="Mariam Daniela Tristancho Pineda (PTA SAS)" userId="a45a17f7-7950-4cb5-bfab-f5c894f959a9" providerId="ADAL" clId="{99D59DB7-96A9-46B6-9F2E-473BE9DEF1F9}" dt="2020-10-27T14:55:46.655" v="418" actId="1076"/>
        <pc:sldMkLst>
          <pc:docMk/>
          <pc:sldMk cId="2933354058" sldId="2134804420"/>
        </pc:sldMkLst>
        <pc:spChg chg="mod ord">
          <ac:chgData name="Mariam Daniela Tristancho Pineda (PTA SAS)" userId="a45a17f7-7950-4cb5-bfab-f5c894f959a9" providerId="ADAL" clId="{99D59DB7-96A9-46B6-9F2E-473BE9DEF1F9}" dt="2020-10-27T14:53:57.164" v="373" actId="1076"/>
          <ac:spMkLst>
            <pc:docMk/>
            <pc:sldMk cId="2933354058" sldId="2134804420"/>
            <ac:spMk id="3" creationId="{F68A17DE-3ACC-4C72-8ED3-CE0F518FDBA1}"/>
          </ac:spMkLst>
        </pc:spChg>
        <pc:picChg chg="del">
          <ac:chgData name="Mariam Daniela Tristancho Pineda (PTA SAS)" userId="a45a17f7-7950-4cb5-bfab-f5c894f959a9" providerId="ADAL" clId="{99D59DB7-96A9-46B6-9F2E-473BE9DEF1F9}" dt="2020-10-27T14:51:14.266" v="306" actId="478"/>
          <ac:picMkLst>
            <pc:docMk/>
            <pc:sldMk cId="2933354058" sldId="2134804420"/>
            <ac:picMk id="4" creationId="{3FEBDE43-218D-4DCB-BCCC-4B66BF1A182B}"/>
          </ac:picMkLst>
        </pc:picChg>
        <pc:picChg chg="add mod ord modCrop">
          <ac:chgData name="Mariam Daniela Tristancho Pineda (PTA SAS)" userId="a45a17f7-7950-4cb5-bfab-f5c894f959a9" providerId="ADAL" clId="{99D59DB7-96A9-46B6-9F2E-473BE9DEF1F9}" dt="2020-10-27T14:54:43.370" v="385" actId="1076"/>
          <ac:picMkLst>
            <pc:docMk/>
            <pc:sldMk cId="2933354058" sldId="2134804420"/>
            <ac:picMk id="5" creationId="{302F5E78-F0BB-4135-A8C9-DE367FCF9193}"/>
          </ac:picMkLst>
        </pc:picChg>
        <pc:picChg chg="del">
          <ac:chgData name="Mariam Daniela Tristancho Pineda (PTA SAS)" userId="a45a17f7-7950-4cb5-bfab-f5c894f959a9" providerId="ADAL" clId="{99D59DB7-96A9-46B6-9F2E-473BE9DEF1F9}" dt="2020-10-27T14:52:48.776" v="328" actId="478"/>
          <ac:picMkLst>
            <pc:docMk/>
            <pc:sldMk cId="2933354058" sldId="2134804420"/>
            <ac:picMk id="6" creationId="{DB8EBE6F-1CD5-4726-A2C3-54353017C45D}"/>
          </ac:picMkLst>
        </pc:picChg>
        <pc:picChg chg="add del mod">
          <ac:chgData name="Mariam Daniela Tristancho Pineda (PTA SAS)" userId="a45a17f7-7950-4cb5-bfab-f5c894f959a9" providerId="ADAL" clId="{99D59DB7-96A9-46B6-9F2E-473BE9DEF1F9}" dt="2020-10-27T14:52:55.055" v="333" actId="478"/>
          <ac:picMkLst>
            <pc:docMk/>
            <pc:sldMk cId="2933354058" sldId="2134804420"/>
            <ac:picMk id="7" creationId="{4338FC29-D08D-4665-8C03-DD6DE7DD9822}"/>
          </ac:picMkLst>
        </pc:picChg>
        <pc:picChg chg="add mod modCrop">
          <ac:chgData name="Mariam Daniela Tristancho Pineda (PTA SAS)" userId="a45a17f7-7950-4cb5-bfab-f5c894f959a9" providerId="ADAL" clId="{99D59DB7-96A9-46B6-9F2E-473BE9DEF1F9}" dt="2020-10-27T14:54:44.922" v="386" actId="1076"/>
          <ac:picMkLst>
            <pc:docMk/>
            <pc:sldMk cId="2933354058" sldId="2134804420"/>
            <ac:picMk id="8" creationId="{3F51BDCB-FB7A-4411-846B-27C176655AA6}"/>
          </ac:picMkLst>
        </pc:picChg>
        <pc:picChg chg="add mod">
          <ac:chgData name="Mariam Daniela Tristancho Pineda (PTA SAS)" userId="a45a17f7-7950-4cb5-bfab-f5c894f959a9" providerId="ADAL" clId="{99D59DB7-96A9-46B6-9F2E-473BE9DEF1F9}" dt="2020-10-27T14:55:19.199" v="414" actId="1037"/>
          <ac:picMkLst>
            <pc:docMk/>
            <pc:sldMk cId="2933354058" sldId="2134804420"/>
            <ac:picMk id="14" creationId="{28778FFA-049A-4DDE-8D2A-0597A186A413}"/>
          </ac:picMkLst>
        </pc:picChg>
        <pc:picChg chg="del mod">
          <ac:chgData name="Mariam Daniela Tristancho Pineda (PTA SAS)" userId="a45a17f7-7950-4cb5-bfab-f5c894f959a9" providerId="ADAL" clId="{99D59DB7-96A9-46B6-9F2E-473BE9DEF1F9}" dt="2020-10-27T14:55:21.436" v="416" actId="478"/>
          <ac:picMkLst>
            <pc:docMk/>
            <pc:sldMk cId="2933354058" sldId="2134804420"/>
            <ac:picMk id="16" creationId="{0F43BEF8-56CE-4D0A-A3BC-3AD0FCE19BFF}"/>
          </ac:picMkLst>
        </pc:picChg>
        <pc:picChg chg="add mod">
          <ac:chgData name="Mariam Daniela Tristancho Pineda (PTA SAS)" userId="a45a17f7-7950-4cb5-bfab-f5c894f959a9" providerId="ADAL" clId="{99D59DB7-96A9-46B6-9F2E-473BE9DEF1F9}" dt="2020-10-27T14:55:19.199" v="414" actId="1037"/>
          <ac:picMkLst>
            <pc:docMk/>
            <pc:sldMk cId="2933354058" sldId="2134804420"/>
            <ac:picMk id="18" creationId="{AED23253-C813-4119-8070-D9BF5A85ADF1}"/>
          </ac:picMkLst>
        </pc:picChg>
        <pc:picChg chg="add mod">
          <ac:chgData name="Mariam Daniela Tristancho Pineda (PTA SAS)" userId="a45a17f7-7950-4cb5-bfab-f5c894f959a9" providerId="ADAL" clId="{99D59DB7-96A9-46B6-9F2E-473BE9DEF1F9}" dt="2020-10-27T14:55:46.655" v="418" actId="1076"/>
          <ac:picMkLst>
            <pc:docMk/>
            <pc:sldMk cId="2933354058" sldId="2134804420"/>
            <ac:picMk id="20" creationId="{F8115EB7-44AD-45BF-8216-548874E9FC98}"/>
          </ac:picMkLst>
        </pc:picChg>
        <pc:picChg chg="del mod">
          <ac:chgData name="Mariam Daniela Tristancho Pineda (PTA SAS)" userId="a45a17f7-7950-4cb5-bfab-f5c894f959a9" providerId="ADAL" clId="{99D59DB7-96A9-46B6-9F2E-473BE9DEF1F9}" dt="2020-10-27T14:55:20.953" v="415" actId="478"/>
          <ac:picMkLst>
            <pc:docMk/>
            <pc:sldMk cId="2933354058" sldId="2134804420"/>
            <ac:picMk id="21" creationId="{926A4ABC-B403-41BD-B93A-8D5B4A44D5E9}"/>
          </ac:picMkLst>
        </pc:picChg>
        <pc:cxnChg chg="add del mod">
          <ac:chgData name="Mariam Daniela Tristancho Pineda (PTA SAS)" userId="a45a17f7-7950-4cb5-bfab-f5c894f959a9" providerId="ADAL" clId="{99D59DB7-96A9-46B6-9F2E-473BE9DEF1F9}" dt="2020-10-27T14:55:13.057" v="408" actId="1037"/>
          <ac:cxnSpMkLst>
            <pc:docMk/>
            <pc:sldMk cId="2933354058" sldId="2134804420"/>
            <ac:cxnSpMk id="9" creationId="{96370D2B-2C99-47FB-977A-1BACABA0448E}"/>
          </ac:cxnSpMkLst>
        </pc:cxnChg>
        <pc:cxnChg chg="mod">
          <ac:chgData name="Mariam Daniela Tristancho Pineda (PTA SAS)" userId="a45a17f7-7950-4cb5-bfab-f5c894f959a9" providerId="ADAL" clId="{99D59DB7-96A9-46B6-9F2E-473BE9DEF1F9}" dt="2020-10-27T14:53:42.875" v="358" actId="1036"/>
          <ac:cxnSpMkLst>
            <pc:docMk/>
            <pc:sldMk cId="2933354058" sldId="2134804420"/>
            <ac:cxnSpMk id="17" creationId="{A57EE03D-AD0E-42FF-8004-ACF44D511717}"/>
          </ac:cxnSpMkLst>
        </pc:cxnChg>
      </pc:sldChg>
      <pc:sldChg chg="modSp add del mod">
        <pc:chgData name="Mariam Daniela Tristancho Pineda (PTA SAS)" userId="a45a17f7-7950-4cb5-bfab-f5c894f959a9" providerId="ADAL" clId="{99D59DB7-96A9-46B6-9F2E-473BE9DEF1F9}" dt="2020-10-27T14:55:53.916" v="419" actId="47"/>
        <pc:sldMkLst>
          <pc:docMk/>
          <pc:sldMk cId="3854253365" sldId="2134804422"/>
        </pc:sldMkLst>
        <pc:spChg chg="mod ord">
          <ac:chgData name="Mariam Daniela Tristancho Pineda (PTA SAS)" userId="a45a17f7-7950-4cb5-bfab-f5c894f959a9" providerId="ADAL" clId="{99D59DB7-96A9-46B6-9F2E-473BE9DEF1F9}" dt="2020-10-27T14:50:00.683" v="205" actId="166"/>
          <ac:spMkLst>
            <pc:docMk/>
            <pc:sldMk cId="3854253365" sldId="2134804422"/>
            <ac:spMk id="3" creationId="{F68A17DE-3ACC-4C72-8ED3-CE0F518FDBA1}"/>
          </ac:spMkLst>
        </pc:spChg>
      </pc:sldChg>
      <pc:sldChg chg="modSp add del mod">
        <pc:chgData name="Mariam Daniela Tristancho Pineda (PTA SAS)" userId="a45a17f7-7950-4cb5-bfab-f5c894f959a9" providerId="ADAL" clId="{99D59DB7-96A9-46B6-9F2E-473BE9DEF1F9}" dt="2020-10-27T14:51:18.952" v="307" actId="47"/>
        <pc:sldMkLst>
          <pc:docMk/>
          <pc:sldMk cId="44631329" sldId="2134804424"/>
        </pc:sldMkLst>
        <pc:spChg chg="mod">
          <ac:chgData name="Mariam Daniela Tristancho Pineda (PTA SAS)" userId="a45a17f7-7950-4cb5-bfab-f5c894f959a9" providerId="ADAL" clId="{99D59DB7-96A9-46B6-9F2E-473BE9DEF1F9}" dt="2020-10-27T14:50:22" v="241" actId="20577"/>
          <ac:spMkLst>
            <pc:docMk/>
            <pc:sldMk cId="44631329" sldId="2134804424"/>
            <ac:spMk id="3" creationId="{F68A17DE-3ACC-4C72-8ED3-CE0F518FDBA1}"/>
          </ac:spMkLst>
        </pc:spChg>
      </pc:sldChg>
      <pc:sldChg chg="delSp modSp add del mod">
        <pc:chgData name="Mariam Daniela Tristancho Pineda (PTA SAS)" userId="a45a17f7-7950-4cb5-bfab-f5c894f959a9" providerId="ADAL" clId="{99D59DB7-96A9-46B6-9F2E-473BE9DEF1F9}" dt="2020-10-27T14:50:43.053" v="244" actId="47"/>
        <pc:sldMkLst>
          <pc:docMk/>
          <pc:sldMk cId="2309964428" sldId="2134804425"/>
        </pc:sldMkLst>
        <pc:spChg chg="mod">
          <ac:chgData name="Mariam Daniela Tristancho Pineda (PTA SAS)" userId="a45a17f7-7950-4cb5-bfab-f5c894f959a9" providerId="ADAL" clId="{99D59DB7-96A9-46B6-9F2E-473BE9DEF1F9}" dt="2020-10-27T14:50:08.099" v="207" actId="1076"/>
          <ac:spMkLst>
            <pc:docMk/>
            <pc:sldMk cId="2309964428" sldId="2134804425"/>
            <ac:spMk id="3" creationId="{F68A17DE-3ACC-4C72-8ED3-CE0F518FDBA1}"/>
          </ac:spMkLst>
        </pc:spChg>
        <pc:picChg chg="del">
          <ac:chgData name="Mariam Daniela Tristancho Pineda (PTA SAS)" userId="a45a17f7-7950-4cb5-bfab-f5c894f959a9" providerId="ADAL" clId="{99D59DB7-96A9-46B6-9F2E-473BE9DEF1F9}" dt="2020-10-27T14:50:26.843" v="242" actId="478"/>
          <ac:picMkLst>
            <pc:docMk/>
            <pc:sldMk cId="2309964428" sldId="2134804425"/>
            <ac:picMk id="6" creationId="{4361C117-77E4-41E9-BA93-E923D4CC88D7}"/>
          </ac:picMkLst>
        </pc:picChg>
        <pc:picChg chg="del">
          <ac:chgData name="Mariam Daniela Tristancho Pineda (PTA SAS)" userId="a45a17f7-7950-4cb5-bfab-f5c894f959a9" providerId="ADAL" clId="{99D59DB7-96A9-46B6-9F2E-473BE9DEF1F9}" dt="2020-10-27T14:50:27.698" v="243" actId="478"/>
          <ac:picMkLst>
            <pc:docMk/>
            <pc:sldMk cId="2309964428" sldId="2134804425"/>
            <ac:picMk id="7" creationId="{41EC9AC6-1AFA-4A5D-9ADC-F02B83B28E71}"/>
          </ac:picMkLst>
        </pc:picChg>
      </pc:sldChg>
      <pc:sldChg chg="modSp mod">
        <pc:chgData name="Mariam Daniela Tristancho Pineda (PTA SAS)" userId="a45a17f7-7950-4cb5-bfab-f5c894f959a9" providerId="ADAL" clId="{99D59DB7-96A9-46B6-9F2E-473BE9DEF1F9}" dt="2020-10-27T14:44:02.600" v="50" actId="1076"/>
        <pc:sldMkLst>
          <pc:docMk/>
          <pc:sldMk cId="3539712875" sldId="2134804439"/>
        </pc:sldMkLst>
        <pc:spChg chg="mod">
          <ac:chgData name="Mariam Daniela Tristancho Pineda (PTA SAS)" userId="a45a17f7-7950-4cb5-bfab-f5c894f959a9" providerId="ADAL" clId="{99D59DB7-96A9-46B6-9F2E-473BE9DEF1F9}" dt="2020-10-27T14:44:02.600" v="50" actId="1076"/>
          <ac:spMkLst>
            <pc:docMk/>
            <pc:sldMk cId="3539712875" sldId="2134804439"/>
            <ac:spMk id="4" creationId="{CAAFEDC1-4B58-4913-A2A5-D711039A33B5}"/>
          </ac:spMkLst>
        </pc:spChg>
      </pc:sldChg>
      <pc:sldChg chg="del">
        <pc:chgData name="Mariam Daniela Tristancho Pineda (PTA SAS)" userId="a45a17f7-7950-4cb5-bfab-f5c894f959a9" providerId="ADAL" clId="{99D59DB7-96A9-46B6-9F2E-473BE9DEF1F9}" dt="2020-10-27T14:42:59.655" v="14" actId="47"/>
        <pc:sldMkLst>
          <pc:docMk/>
          <pc:sldMk cId="657455683" sldId="2134804441"/>
        </pc:sldMkLst>
      </pc:sldChg>
      <pc:sldChg chg="add">
        <pc:chgData name="Mariam Daniela Tristancho Pineda (PTA SAS)" userId="a45a17f7-7950-4cb5-bfab-f5c894f959a9" providerId="ADAL" clId="{99D59DB7-96A9-46B6-9F2E-473BE9DEF1F9}" dt="2020-10-27T14:38:41.896" v="0"/>
        <pc:sldMkLst>
          <pc:docMk/>
          <pc:sldMk cId="3431552256" sldId="2134804442"/>
        </pc:sldMkLst>
      </pc:sldChg>
      <pc:sldChg chg="modSp add mod">
        <pc:chgData name="Mariam Daniela Tristancho Pineda (PTA SAS)" userId="a45a17f7-7950-4cb5-bfab-f5c894f959a9" providerId="ADAL" clId="{99D59DB7-96A9-46B6-9F2E-473BE9DEF1F9}" dt="2020-10-27T14:48:47.594" v="199" actId="1076"/>
        <pc:sldMkLst>
          <pc:docMk/>
          <pc:sldMk cId="4095639873" sldId="2134804443"/>
        </pc:sldMkLst>
        <pc:picChg chg="mod">
          <ac:chgData name="Mariam Daniela Tristancho Pineda (PTA SAS)" userId="a45a17f7-7950-4cb5-bfab-f5c894f959a9" providerId="ADAL" clId="{99D59DB7-96A9-46B6-9F2E-473BE9DEF1F9}" dt="2020-10-27T14:48:47.594" v="199" actId="1076"/>
          <ac:picMkLst>
            <pc:docMk/>
            <pc:sldMk cId="4095639873" sldId="2134804443"/>
            <ac:picMk id="10" creationId="{CF1217CA-26EF-4CC8-AE79-E14DBB8EAAF9}"/>
          </ac:picMkLst>
        </pc:picChg>
      </pc:sldChg>
      <pc:sldChg chg="addSp delSp modSp add mod">
        <pc:chgData name="Mariam Daniela Tristancho Pineda (PTA SAS)" userId="a45a17f7-7950-4cb5-bfab-f5c894f959a9" providerId="ADAL" clId="{99D59DB7-96A9-46B6-9F2E-473BE9DEF1F9}" dt="2020-10-27T14:58:48.266" v="479" actId="1076"/>
        <pc:sldMkLst>
          <pc:docMk/>
          <pc:sldMk cId="357650540" sldId="2134804444"/>
        </pc:sldMkLst>
        <pc:spChg chg="mod">
          <ac:chgData name="Mariam Daniela Tristancho Pineda (PTA SAS)" userId="a45a17f7-7950-4cb5-bfab-f5c894f959a9" providerId="ADAL" clId="{99D59DB7-96A9-46B6-9F2E-473BE9DEF1F9}" dt="2020-10-27T14:56:06.200" v="442" actId="20577"/>
          <ac:spMkLst>
            <pc:docMk/>
            <pc:sldMk cId="357650540" sldId="2134804444"/>
            <ac:spMk id="3" creationId="{F68A17DE-3ACC-4C72-8ED3-CE0F518FDBA1}"/>
          </ac:spMkLst>
        </pc:spChg>
        <pc:picChg chg="add mod ord modCrop">
          <ac:chgData name="Mariam Daniela Tristancho Pineda (PTA SAS)" userId="a45a17f7-7950-4cb5-bfab-f5c894f959a9" providerId="ADAL" clId="{99D59DB7-96A9-46B6-9F2E-473BE9DEF1F9}" dt="2020-10-27T14:58:48.266" v="479" actId="1076"/>
          <ac:picMkLst>
            <pc:docMk/>
            <pc:sldMk cId="357650540" sldId="2134804444"/>
            <ac:picMk id="4" creationId="{841729EB-CA74-48E4-B0F2-522C28DC8D19}"/>
          </ac:picMkLst>
        </pc:picChg>
        <pc:picChg chg="del">
          <ac:chgData name="Mariam Daniela Tristancho Pineda (PTA SAS)" userId="a45a17f7-7950-4cb5-bfab-f5c894f959a9" providerId="ADAL" clId="{99D59DB7-96A9-46B6-9F2E-473BE9DEF1F9}" dt="2020-10-27T14:56:12.196" v="445" actId="478"/>
          <ac:picMkLst>
            <pc:docMk/>
            <pc:sldMk cId="357650540" sldId="2134804444"/>
            <ac:picMk id="5" creationId="{302F5E78-F0BB-4135-A8C9-DE367FCF9193}"/>
          </ac:picMkLst>
        </pc:picChg>
        <pc:picChg chg="add mod ord">
          <ac:chgData name="Mariam Daniela Tristancho Pineda (PTA SAS)" userId="a45a17f7-7950-4cb5-bfab-f5c894f959a9" providerId="ADAL" clId="{99D59DB7-96A9-46B6-9F2E-473BE9DEF1F9}" dt="2020-10-27T14:58:21.940" v="474" actId="1076"/>
          <ac:picMkLst>
            <pc:docMk/>
            <pc:sldMk cId="357650540" sldId="2134804444"/>
            <ac:picMk id="7" creationId="{CA92B27A-AACF-4B7F-9CAC-A88B20B60E27}"/>
          </ac:picMkLst>
        </pc:picChg>
        <pc:picChg chg="del">
          <ac:chgData name="Mariam Daniela Tristancho Pineda (PTA SAS)" userId="a45a17f7-7950-4cb5-bfab-f5c894f959a9" providerId="ADAL" clId="{99D59DB7-96A9-46B6-9F2E-473BE9DEF1F9}" dt="2020-10-27T14:56:12.682" v="446" actId="478"/>
          <ac:picMkLst>
            <pc:docMk/>
            <pc:sldMk cId="357650540" sldId="2134804444"/>
            <ac:picMk id="8" creationId="{3F51BDCB-FB7A-4411-846B-27C176655AA6}"/>
          </ac:picMkLst>
        </pc:picChg>
        <pc:picChg chg="add mod ord">
          <ac:chgData name="Mariam Daniela Tristancho Pineda (PTA SAS)" userId="a45a17f7-7950-4cb5-bfab-f5c894f959a9" providerId="ADAL" clId="{99D59DB7-96A9-46B6-9F2E-473BE9DEF1F9}" dt="2020-10-27T14:57:58.629" v="472" actId="167"/>
          <ac:picMkLst>
            <pc:docMk/>
            <pc:sldMk cId="357650540" sldId="2134804444"/>
            <ac:picMk id="12" creationId="{45C3DFD4-0F43-4E49-853D-8E9E12745B17}"/>
          </ac:picMkLst>
        </pc:picChg>
        <pc:picChg chg="del">
          <ac:chgData name="Mariam Daniela Tristancho Pineda (PTA SAS)" userId="a45a17f7-7950-4cb5-bfab-f5c894f959a9" providerId="ADAL" clId="{99D59DB7-96A9-46B6-9F2E-473BE9DEF1F9}" dt="2020-10-27T14:56:10.682" v="444" actId="478"/>
          <ac:picMkLst>
            <pc:docMk/>
            <pc:sldMk cId="357650540" sldId="2134804444"/>
            <ac:picMk id="14" creationId="{28778FFA-049A-4DDE-8D2A-0597A186A413}"/>
          </ac:picMkLst>
        </pc:picChg>
        <pc:picChg chg="add mod ord">
          <ac:chgData name="Mariam Daniela Tristancho Pineda (PTA SAS)" userId="a45a17f7-7950-4cb5-bfab-f5c894f959a9" providerId="ADAL" clId="{99D59DB7-96A9-46B6-9F2E-473BE9DEF1F9}" dt="2020-10-27T14:57:58.629" v="472" actId="167"/>
          <ac:picMkLst>
            <pc:docMk/>
            <pc:sldMk cId="357650540" sldId="2134804444"/>
            <ac:picMk id="15" creationId="{53D9D754-FD9A-44D2-9901-C28552C620A4}"/>
          </ac:picMkLst>
        </pc:picChg>
        <pc:picChg chg="del">
          <ac:chgData name="Mariam Daniela Tristancho Pineda (PTA SAS)" userId="a45a17f7-7950-4cb5-bfab-f5c894f959a9" providerId="ADAL" clId="{99D59DB7-96A9-46B6-9F2E-473BE9DEF1F9}" dt="2020-10-27T14:56:10.682" v="444" actId="478"/>
          <ac:picMkLst>
            <pc:docMk/>
            <pc:sldMk cId="357650540" sldId="2134804444"/>
            <ac:picMk id="18" creationId="{AED23253-C813-4119-8070-D9BF5A85ADF1}"/>
          </ac:picMkLst>
        </pc:picChg>
        <pc:picChg chg="del">
          <ac:chgData name="Mariam Daniela Tristancho Pineda (PTA SAS)" userId="a45a17f7-7950-4cb5-bfab-f5c894f959a9" providerId="ADAL" clId="{99D59DB7-96A9-46B6-9F2E-473BE9DEF1F9}" dt="2020-10-27T14:56:07.790" v="443" actId="478"/>
          <ac:picMkLst>
            <pc:docMk/>
            <pc:sldMk cId="357650540" sldId="2134804444"/>
            <ac:picMk id="20" creationId="{F8115EB7-44AD-45BF-8216-548874E9FC98}"/>
          </ac:picMkLst>
        </pc:picChg>
        <pc:cxnChg chg="mod">
          <ac:chgData name="Mariam Daniela Tristancho Pineda (PTA SAS)" userId="a45a17f7-7950-4cb5-bfab-f5c894f959a9" providerId="ADAL" clId="{99D59DB7-96A9-46B6-9F2E-473BE9DEF1F9}" dt="2020-10-27T14:57:51.699" v="471" actId="1038"/>
          <ac:cxnSpMkLst>
            <pc:docMk/>
            <pc:sldMk cId="357650540" sldId="2134804444"/>
            <ac:cxnSpMk id="9" creationId="{96370D2B-2C99-47FB-977A-1BACABA0448E}"/>
          </ac:cxnSpMkLst>
        </pc:cxnChg>
        <pc:cxnChg chg="add mod">
          <ac:chgData name="Mariam Daniela Tristancho Pineda (PTA SAS)" userId="a45a17f7-7950-4cb5-bfab-f5c894f959a9" providerId="ADAL" clId="{99D59DB7-96A9-46B6-9F2E-473BE9DEF1F9}" dt="2020-10-27T14:57:51.699" v="471" actId="1038"/>
          <ac:cxnSpMkLst>
            <pc:docMk/>
            <pc:sldMk cId="357650540" sldId="2134804444"/>
            <ac:cxnSpMk id="10" creationId="{47FA3A24-5C13-41B7-B4B9-8D8E988D2532}"/>
          </ac:cxnSpMkLst>
        </pc:cxnChg>
      </pc:sldChg>
      <pc:sldMasterChg chg="del delSldLayout">
        <pc:chgData name="Mariam Daniela Tristancho Pineda (PTA SAS)" userId="a45a17f7-7950-4cb5-bfab-f5c894f959a9" providerId="ADAL" clId="{99D59DB7-96A9-46B6-9F2E-473BE9DEF1F9}" dt="2020-10-27T14:42:59.655" v="14" actId="47"/>
        <pc:sldMasterMkLst>
          <pc:docMk/>
          <pc:sldMasterMk cId="1252116079" sldId="2147483706"/>
        </pc:sldMasterMkLst>
        <pc:sldLayoutChg chg="del">
          <pc:chgData name="Mariam Daniela Tristancho Pineda (PTA SAS)" userId="a45a17f7-7950-4cb5-bfab-f5c894f959a9" providerId="ADAL" clId="{99D59DB7-96A9-46B6-9F2E-473BE9DEF1F9}" dt="2020-10-27T14:42:59.655" v="14" actId="47"/>
          <pc:sldLayoutMkLst>
            <pc:docMk/>
            <pc:sldMasterMk cId="1252116079" sldId="2147483706"/>
            <pc:sldLayoutMk cId="3247386563" sldId="2147483707"/>
          </pc:sldLayoutMkLst>
        </pc:sldLayoutChg>
        <pc:sldLayoutChg chg="del">
          <pc:chgData name="Mariam Daniela Tristancho Pineda (PTA SAS)" userId="a45a17f7-7950-4cb5-bfab-f5c894f959a9" providerId="ADAL" clId="{99D59DB7-96A9-46B6-9F2E-473BE9DEF1F9}" dt="2020-10-27T14:42:59.655" v="14" actId="47"/>
          <pc:sldLayoutMkLst>
            <pc:docMk/>
            <pc:sldMasterMk cId="1252116079" sldId="2147483706"/>
            <pc:sldLayoutMk cId="1185027389" sldId="2147483708"/>
          </pc:sldLayoutMkLst>
        </pc:sldLayoutChg>
        <pc:sldLayoutChg chg="del">
          <pc:chgData name="Mariam Daniela Tristancho Pineda (PTA SAS)" userId="a45a17f7-7950-4cb5-bfab-f5c894f959a9" providerId="ADAL" clId="{99D59DB7-96A9-46B6-9F2E-473BE9DEF1F9}" dt="2020-10-27T14:42:59.655" v="14" actId="47"/>
          <pc:sldLayoutMkLst>
            <pc:docMk/>
            <pc:sldMasterMk cId="1252116079" sldId="2147483706"/>
            <pc:sldLayoutMk cId="4085693470" sldId="2147483709"/>
          </pc:sldLayoutMkLst>
        </pc:sldLayoutChg>
        <pc:sldLayoutChg chg="del">
          <pc:chgData name="Mariam Daniela Tristancho Pineda (PTA SAS)" userId="a45a17f7-7950-4cb5-bfab-f5c894f959a9" providerId="ADAL" clId="{99D59DB7-96A9-46B6-9F2E-473BE9DEF1F9}" dt="2020-10-27T14:42:59.655" v="14" actId="47"/>
          <pc:sldLayoutMkLst>
            <pc:docMk/>
            <pc:sldMasterMk cId="1252116079" sldId="2147483706"/>
            <pc:sldLayoutMk cId="3090250759" sldId="2147483710"/>
          </pc:sldLayoutMkLst>
        </pc:sldLayoutChg>
        <pc:sldLayoutChg chg="del">
          <pc:chgData name="Mariam Daniela Tristancho Pineda (PTA SAS)" userId="a45a17f7-7950-4cb5-bfab-f5c894f959a9" providerId="ADAL" clId="{99D59DB7-96A9-46B6-9F2E-473BE9DEF1F9}" dt="2020-10-27T14:42:59.655" v="14" actId="47"/>
          <pc:sldLayoutMkLst>
            <pc:docMk/>
            <pc:sldMasterMk cId="1252116079" sldId="2147483706"/>
            <pc:sldLayoutMk cId="2242516048" sldId="2147483711"/>
          </pc:sldLayoutMkLst>
        </pc:sldLayoutChg>
        <pc:sldLayoutChg chg="del">
          <pc:chgData name="Mariam Daniela Tristancho Pineda (PTA SAS)" userId="a45a17f7-7950-4cb5-bfab-f5c894f959a9" providerId="ADAL" clId="{99D59DB7-96A9-46B6-9F2E-473BE9DEF1F9}" dt="2020-10-27T14:42:59.655" v="14" actId="47"/>
          <pc:sldLayoutMkLst>
            <pc:docMk/>
            <pc:sldMasterMk cId="1252116079" sldId="2147483706"/>
            <pc:sldLayoutMk cId="4055979451" sldId="2147483712"/>
          </pc:sldLayoutMkLst>
        </pc:sldLayoutChg>
        <pc:sldLayoutChg chg="del">
          <pc:chgData name="Mariam Daniela Tristancho Pineda (PTA SAS)" userId="a45a17f7-7950-4cb5-bfab-f5c894f959a9" providerId="ADAL" clId="{99D59DB7-96A9-46B6-9F2E-473BE9DEF1F9}" dt="2020-10-27T14:42:59.655" v="14" actId="47"/>
          <pc:sldLayoutMkLst>
            <pc:docMk/>
            <pc:sldMasterMk cId="1252116079" sldId="2147483706"/>
            <pc:sldLayoutMk cId="3980626062" sldId="2147483713"/>
          </pc:sldLayoutMkLst>
        </pc:sldLayoutChg>
        <pc:sldLayoutChg chg="del">
          <pc:chgData name="Mariam Daniela Tristancho Pineda (PTA SAS)" userId="a45a17f7-7950-4cb5-bfab-f5c894f959a9" providerId="ADAL" clId="{99D59DB7-96A9-46B6-9F2E-473BE9DEF1F9}" dt="2020-10-27T14:42:59.655" v="14" actId="47"/>
          <pc:sldLayoutMkLst>
            <pc:docMk/>
            <pc:sldMasterMk cId="1252116079" sldId="2147483706"/>
            <pc:sldLayoutMk cId="1882386763" sldId="2147483714"/>
          </pc:sldLayoutMkLst>
        </pc:sldLayoutChg>
        <pc:sldLayoutChg chg="del">
          <pc:chgData name="Mariam Daniela Tristancho Pineda (PTA SAS)" userId="a45a17f7-7950-4cb5-bfab-f5c894f959a9" providerId="ADAL" clId="{99D59DB7-96A9-46B6-9F2E-473BE9DEF1F9}" dt="2020-10-27T14:42:59.655" v="14" actId="47"/>
          <pc:sldLayoutMkLst>
            <pc:docMk/>
            <pc:sldMasterMk cId="1252116079" sldId="2147483706"/>
            <pc:sldLayoutMk cId="511445308" sldId="2147483715"/>
          </pc:sldLayoutMkLst>
        </pc:sldLayoutChg>
        <pc:sldLayoutChg chg="del">
          <pc:chgData name="Mariam Daniela Tristancho Pineda (PTA SAS)" userId="a45a17f7-7950-4cb5-bfab-f5c894f959a9" providerId="ADAL" clId="{99D59DB7-96A9-46B6-9F2E-473BE9DEF1F9}" dt="2020-10-27T14:42:59.655" v="14" actId="47"/>
          <pc:sldLayoutMkLst>
            <pc:docMk/>
            <pc:sldMasterMk cId="1252116079" sldId="2147483706"/>
            <pc:sldLayoutMk cId="1716879797" sldId="2147483716"/>
          </pc:sldLayoutMkLst>
        </pc:sldLayoutChg>
        <pc:sldLayoutChg chg="del">
          <pc:chgData name="Mariam Daniela Tristancho Pineda (PTA SAS)" userId="a45a17f7-7950-4cb5-bfab-f5c894f959a9" providerId="ADAL" clId="{99D59DB7-96A9-46B6-9F2E-473BE9DEF1F9}" dt="2020-10-27T14:42:59.655" v="14" actId="47"/>
          <pc:sldLayoutMkLst>
            <pc:docMk/>
            <pc:sldMasterMk cId="1252116079" sldId="2147483706"/>
            <pc:sldLayoutMk cId="3086433156" sldId="2147483717"/>
          </pc:sldLayoutMkLst>
        </pc:sldLayoutChg>
      </pc:sldMasterChg>
    </pc:docChg>
  </pc:docChgLst>
  <pc:docChgLst>
    <pc:chgData name="Andrea Mogollon Nossa (CENIT)" userId="S::andrea.mogollon@cenit-transporte.com::f6a3e592-cc27-4858-b185-ff86be206069" providerId="AD" clId="Web-{C0B59892-5DDA-2D6E-F890-246FEF135F72}"/>
    <pc:docChg chg="addSld delSld modSld">
      <pc:chgData name="Andrea Mogollon Nossa (CENIT)" userId="S::andrea.mogollon@cenit-transporte.com::f6a3e592-cc27-4858-b185-ff86be206069" providerId="AD" clId="Web-{C0B59892-5DDA-2D6E-F890-246FEF135F72}" dt="2020-07-30T16:00:18.941" v="12"/>
      <pc:docMkLst>
        <pc:docMk/>
      </pc:docMkLst>
      <pc:sldChg chg="del">
        <pc:chgData name="Andrea Mogollon Nossa (CENIT)" userId="S::andrea.mogollon@cenit-transporte.com::f6a3e592-cc27-4858-b185-ff86be206069" providerId="AD" clId="Web-{C0B59892-5DDA-2D6E-F890-246FEF135F72}" dt="2020-07-30T15:59:08.154" v="2"/>
        <pc:sldMkLst>
          <pc:docMk/>
          <pc:sldMk cId="2985823996" sldId="1013"/>
        </pc:sldMkLst>
      </pc:sldChg>
      <pc:sldChg chg="del">
        <pc:chgData name="Andrea Mogollon Nossa (CENIT)" userId="S::andrea.mogollon@cenit-transporte.com::f6a3e592-cc27-4858-b185-ff86be206069" providerId="AD" clId="Web-{C0B59892-5DDA-2D6E-F890-246FEF135F72}" dt="2020-07-30T15:59:09.935" v="4"/>
        <pc:sldMkLst>
          <pc:docMk/>
          <pc:sldMk cId="1366824925" sldId="2134804227"/>
        </pc:sldMkLst>
      </pc:sldChg>
      <pc:sldChg chg="del">
        <pc:chgData name="Andrea Mogollon Nossa (CENIT)" userId="S::andrea.mogollon@cenit-transporte.com::f6a3e592-cc27-4858-b185-ff86be206069" providerId="AD" clId="Web-{C0B59892-5DDA-2D6E-F890-246FEF135F72}" dt="2020-07-30T15:59:10.998" v="5"/>
        <pc:sldMkLst>
          <pc:docMk/>
          <pc:sldMk cId="3813439113" sldId="2134804231"/>
        </pc:sldMkLst>
      </pc:sldChg>
      <pc:sldChg chg="del">
        <pc:chgData name="Andrea Mogollon Nossa (CENIT)" userId="S::andrea.mogollon@cenit-transporte.com::f6a3e592-cc27-4858-b185-ff86be206069" providerId="AD" clId="Web-{C0B59892-5DDA-2D6E-F890-246FEF135F72}" dt="2020-07-30T15:59:12.873" v="6"/>
        <pc:sldMkLst>
          <pc:docMk/>
          <pc:sldMk cId="3905861625" sldId="2134804233"/>
        </pc:sldMkLst>
      </pc:sldChg>
      <pc:sldChg chg="del">
        <pc:chgData name="Andrea Mogollon Nossa (CENIT)" userId="S::andrea.mogollon@cenit-transporte.com::f6a3e592-cc27-4858-b185-ff86be206069" providerId="AD" clId="Web-{C0B59892-5DDA-2D6E-F890-246FEF135F72}" dt="2020-07-30T15:59:09.295" v="3"/>
        <pc:sldMkLst>
          <pc:docMk/>
          <pc:sldMk cId="1092498720" sldId="2134804234"/>
        </pc:sldMkLst>
      </pc:sldChg>
      <pc:sldChg chg="del">
        <pc:chgData name="Andrea Mogollon Nossa (CENIT)" userId="S::andrea.mogollon@cenit-transporte.com::f6a3e592-cc27-4858-b185-ff86be206069" providerId="AD" clId="Web-{C0B59892-5DDA-2D6E-F890-246FEF135F72}" dt="2020-07-30T15:59:07.794" v="1"/>
        <pc:sldMkLst>
          <pc:docMk/>
          <pc:sldMk cId="4219972769" sldId="2134804235"/>
        </pc:sldMkLst>
      </pc:sldChg>
      <pc:sldChg chg="del">
        <pc:chgData name="Andrea Mogollon Nossa (CENIT)" userId="S::andrea.mogollon@cenit-transporte.com::f6a3e592-cc27-4858-b185-ff86be206069" providerId="AD" clId="Web-{C0B59892-5DDA-2D6E-F890-246FEF135F72}" dt="2020-07-30T15:59:12.936" v="7"/>
        <pc:sldMkLst>
          <pc:docMk/>
          <pc:sldMk cId="1480181934" sldId="2134804298"/>
        </pc:sldMkLst>
      </pc:sldChg>
      <pc:sldChg chg="addSp delSp modSp">
        <pc:chgData name="Andrea Mogollon Nossa (CENIT)" userId="S::andrea.mogollon@cenit-transporte.com::f6a3e592-cc27-4858-b185-ff86be206069" providerId="AD" clId="Web-{C0B59892-5DDA-2D6E-F890-246FEF135F72}" dt="2020-07-30T16:00:18.941" v="12"/>
        <pc:sldMkLst>
          <pc:docMk/>
          <pc:sldMk cId="0" sldId="2134804320"/>
        </pc:sldMkLst>
        <pc:picChg chg="add del mod">
          <ac:chgData name="Andrea Mogollon Nossa (CENIT)" userId="S::andrea.mogollon@cenit-transporte.com::f6a3e592-cc27-4858-b185-ff86be206069" providerId="AD" clId="Web-{C0B59892-5DDA-2D6E-F890-246FEF135F72}" dt="2020-07-30T15:59:45.516" v="9"/>
          <ac:picMkLst>
            <pc:docMk/>
            <pc:sldMk cId="0" sldId="2134804320"/>
            <ac:picMk id="7" creationId="{05C84DA0-65C9-4653-A50C-C25A579C4335}"/>
          </ac:picMkLst>
        </pc:picChg>
        <pc:picChg chg="add del mod">
          <ac:chgData name="Andrea Mogollon Nossa (CENIT)" userId="S::andrea.mogollon@cenit-transporte.com::f6a3e592-cc27-4858-b185-ff86be206069" providerId="AD" clId="Web-{C0B59892-5DDA-2D6E-F890-246FEF135F72}" dt="2020-07-30T16:00:18.941" v="12"/>
          <ac:picMkLst>
            <pc:docMk/>
            <pc:sldMk cId="0" sldId="2134804320"/>
            <ac:picMk id="8" creationId="{5693D538-4EFD-4FF8-8B7C-A77020BD1278}"/>
          </ac:picMkLst>
        </pc:picChg>
      </pc:sldChg>
      <pc:sldChg chg="new">
        <pc:chgData name="Andrea Mogollon Nossa (CENIT)" userId="S::andrea.mogollon@cenit-transporte.com::f6a3e592-cc27-4858-b185-ff86be206069" providerId="AD" clId="Web-{C0B59892-5DDA-2D6E-F890-246FEF135F72}" dt="2020-07-30T16:00:06.800" v="10"/>
        <pc:sldMkLst>
          <pc:docMk/>
          <pc:sldMk cId="1052642434" sldId="2134804352"/>
        </pc:sldMkLst>
      </pc:sldChg>
      <pc:sldChg chg="del">
        <pc:chgData name="Andrea Mogollon Nossa (CENIT)" userId="S::andrea.mogollon@cenit-transporte.com::f6a3e592-cc27-4858-b185-ff86be206069" providerId="AD" clId="Web-{C0B59892-5DDA-2D6E-F890-246FEF135F72}" dt="2020-07-30T15:59:05.716" v="0"/>
        <pc:sldMkLst>
          <pc:docMk/>
          <pc:sldMk cId="4127320320" sldId="2134804352"/>
        </pc:sldMkLst>
      </pc:sldChg>
    </pc:docChg>
  </pc:docChgLst>
  <pc:docChgLst>
    <pc:chgData name="Mariam Daniela Tristancho Pineda (PTA SAS)" userId="a45a17f7-7950-4cb5-bfab-f5c894f959a9" providerId="ADAL" clId="{64498F7B-4156-4E22-8E47-33063B660349}"/>
    <pc:docChg chg="addSld delSld modSld">
      <pc:chgData name="Mariam Daniela Tristancho Pineda (PTA SAS)" userId="a45a17f7-7950-4cb5-bfab-f5c894f959a9" providerId="ADAL" clId="{64498F7B-4156-4E22-8E47-33063B660349}" dt="2020-12-11T16:17:07.081" v="6"/>
      <pc:docMkLst>
        <pc:docMk/>
      </pc:docMkLst>
      <pc:sldChg chg="del">
        <pc:chgData name="Mariam Daniela Tristancho Pineda (PTA SAS)" userId="a45a17f7-7950-4cb5-bfab-f5c894f959a9" providerId="ADAL" clId="{64498F7B-4156-4E22-8E47-33063B660349}" dt="2020-12-11T16:17:04.343" v="4" actId="47"/>
        <pc:sldMkLst>
          <pc:docMk/>
          <pc:sldMk cId="3844388932" sldId="264"/>
        </pc:sldMkLst>
      </pc:sldChg>
      <pc:sldChg chg="add">
        <pc:chgData name="Mariam Daniela Tristancho Pineda (PTA SAS)" userId="a45a17f7-7950-4cb5-bfab-f5c894f959a9" providerId="ADAL" clId="{64498F7B-4156-4E22-8E47-33063B660349}" dt="2020-12-11T16:02:41.212" v="2"/>
        <pc:sldMkLst>
          <pc:docMk/>
          <pc:sldMk cId="3462599326" sldId="2134803909"/>
        </pc:sldMkLst>
      </pc:sldChg>
      <pc:sldChg chg="del">
        <pc:chgData name="Mariam Daniela Tristancho Pineda (PTA SAS)" userId="a45a17f7-7950-4cb5-bfab-f5c894f959a9" providerId="ADAL" clId="{64498F7B-4156-4E22-8E47-33063B660349}" dt="2020-12-11T16:17:03.874" v="3" actId="47"/>
        <pc:sldMkLst>
          <pc:docMk/>
          <pc:sldMk cId="1040105421" sldId="2134804100"/>
        </pc:sldMkLst>
      </pc:sldChg>
      <pc:sldChg chg="del">
        <pc:chgData name="Mariam Daniela Tristancho Pineda (PTA SAS)" userId="a45a17f7-7950-4cb5-bfab-f5c894f959a9" providerId="ADAL" clId="{64498F7B-4156-4E22-8E47-33063B660349}" dt="2020-12-11T16:17:04.860" v="5" actId="47"/>
        <pc:sldMkLst>
          <pc:docMk/>
          <pc:sldMk cId="3258791362" sldId="2134804198"/>
        </pc:sldMkLst>
      </pc:sldChg>
      <pc:sldChg chg="add">
        <pc:chgData name="Mariam Daniela Tristancho Pineda (PTA SAS)" userId="a45a17f7-7950-4cb5-bfab-f5c894f959a9" providerId="ADAL" clId="{64498F7B-4156-4E22-8E47-33063B660349}" dt="2020-12-11T16:02:41.212" v="2"/>
        <pc:sldMkLst>
          <pc:docMk/>
          <pc:sldMk cId="2832724256" sldId="2134804209"/>
        </pc:sldMkLst>
      </pc:sldChg>
      <pc:sldChg chg="del">
        <pc:chgData name="Mariam Daniela Tristancho Pineda (PTA SAS)" userId="a45a17f7-7950-4cb5-bfab-f5c894f959a9" providerId="ADAL" clId="{64498F7B-4156-4E22-8E47-33063B660349}" dt="2020-12-11T16:02:32.187" v="1" actId="47"/>
        <pc:sldMkLst>
          <pc:docMk/>
          <pc:sldMk cId="4038727560" sldId="2134804223"/>
        </pc:sldMkLst>
      </pc:sldChg>
      <pc:sldChg chg="add">
        <pc:chgData name="Mariam Daniela Tristancho Pineda (PTA SAS)" userId="a45a17f7-7950-4cb5-bfab-f5c894f959a9" providerId="ADAL" clId="{64498F7B-4156-4E22-8E47-33063B660349}" dt="2020-12-11T16:17:07.081" v="6"/>
        <pc:sldMkLst>
          <pc:docMk/>
          <pc:sldMk cId="1120597878" sldId="2134804243"/>
        </pc:sldMkLst>
      </pc:sldChg>
      <pc:sldChg chg="add">
        <pc:chgData name="Mariam Daniela Tristancho Pineda (PTA SAS)" userId="a45a17f7-7950-4cb5-bfab-f5c894f959a9" providerId="ADAL" clId="{64498F7B-4156-4E22-8E47-33063B660349}" dt="2020-12-11T16:17:07.081" v="6"/>
        <pc:sldMkLst>
          <pc:docMk/>
          <pc:sldMk cId="1810729596" sldId="2134804244"/>
        </pc:sldMkLst>
      </pc:sldChg>
      <pc:sldChg chg="add">
        <pc:chgData name="Mariam Daniela Tristancho Pineda (PTA SAS)" userId="a45a17f7-7950-4cb5-bfab-f5c894f959a9" providerId="ADAL" clId="{64498F7B-4156-4E22-8E47-33063B660349}" dt="2020-12-11T16:17:07.081" v="6"/>
        <pc:sldMkLst>
          <pc:docMk/>
          <pc:sldMk cId="657455683" sldId="2134804441"/>
        </pc:sldMkLst>
      </pc:sldChg>
      <pc:sldChg chg="del">
        <pc:chgData name="Mariam Daniela Tristancho Pineda (PTA SAS)" userId="a45a17f7-7950-4cb5-bfab-f5c894f959a9" providerId="ADAL" clId="{64498F7B-4156-4E22-8E47-33063B660349}" dt="2020-12-11T16:02:31.766" v="0" actId="47"/>
        <pc:sldMkLst>
          <pc:docMk/>
          <pc:sldMk cId="816231440" sldId="2134804444"/>
        </pc:sldMkLst>
      </pc:sldChg>
    </pc:docChg>
  </pc:docChgLst>
  <pc:docChgLst>
    <pc:chgData name="Usuario invitado" userId="S::urn:spo:anon#9958016e3e12af99a6c120d01775a042b81b7ac779b248bfa4c093fcc2a1c362::" providerId="AD" clId="Web-{368199D3-E0BE-B0AB-AA50-D6B577AA2A03}"/>
    <pc:docChg chg="modSld">
      <pc:chgData name="Usuario invitado" userId="S::urn:spo:anon#9958016e3e12af99a6c120d01775a042b81b7ac779b248bfa4c093fcc2a1c362::" providerId="AD" clId="Web-{368199D3-E0BE-B0AB-AA50-D6B577AA2A03}" dt="2020-06-25T22:47:30.477" v="1"/>
      <pc:docMkLst>
        <pc:docMk/>
      </pc:docMkLst>
      <pc:sldChg chg="modSp">
        <pc:chgData name="Usuario invitado" userId="S::urn:spo:anon#9958016e3e12af99a6c120d01775a042b81b7ac779b248bfa4c093fcc2a1c362::" providerId="AD" clId="Web-{368199D3-E0BE-B0AB-AA50-D6B577AA2A03}" dt="2020-06-25T22:47:30.477" v="1"/>
        <pc:sldMkLst>
          <pc:docMk/>
          <pc:sldMk cId="4094272692" sldId="2134804282"/>
        </pc:sldMkLst>
        <pc:graphicFrameChg chg="modGraphic">
          <ac:chgData name="Usuario invitado" userId="S::urn:spo:anon#9958016e3e12af99a6c120d01775a042b81b7ac779b248bfa4c093fcc2a1c362::" providerId="AD" clId="Web-{368199D3-E0BE-B0AB-AA50-D6B577AA2A03}" dt="2020-06-25T22:47:30.477" v="1"/>
          <ac:graphicFrameMkLst>
            <pc:docMk/>
            <pc:sldMk cId="4094272692" sldId="2134804282"/>
            <ac:graphicFrameMk id="8" creationId="{9EAC8BE2-E9F7-49C2-9B40-7EF667D4FE82}"/>
          </ac:graphicFrameMkLst>
        </pc:graphicFrameChg>
      </pc:sldChg>
    </pc:docChg>
  </pc:docChgLst>
  <pc:docChgLst>
    <pc:chgData name="Andrea Mogollon Nossa (CENIT)" userId="S::andrea.mogollon@cenit-transporte.com::f6a3e592-cc27-4858-b185-ff86be206069" providerId="AD" clId="Web-{1BDA9226-212A-136F-DB8A-09D35B0E17C8}"/>
    <pc:docChg chg="modSld">
      <pc:chgData name="Andrea Mogollon Nossa (CENIT)" userId="S::andrea.mogollon@cenit-transporte.com::f6a3e592-cc27-4858-b185-ff86be206069" providerId="AD" clId="Web-{1BDA9226-212A-136F-DB8A-09D35B0E17C8}" dt="2020-06-19T13:44:01.568" v="4" actId="14100"/>
      <pc:docMkLst>
        <pc:docMk/>
      </pc:docMkLst>
      <pc:sldChg chg="addSp modSp">
        <pc:chgData name="Andrea Mogollon Nossa (CENIT)" userId="S::andrea.mogollon@cenit-transporte.com::f6a3e592-cc27-4858-b185-ff86be206069" providerId="AD" clId="Web-{1BDA9226-212A-136F-DB8A-09D35B0E17C8}" dt="2020-06-19T13:44:01.568" v="4" actId="14100"/>
        <pc:sldMkLst>
          <pc:docMk/>
          <pc:sldMk cId="838099151" sldId="2134804292"/>
        </pc:sldMkLst>
        <pc:spChg chg="mod">
          <ac:chgData name="Andrea Mogollon Nossa (CENIT)" userId="S::andrea.mogollon@cenit-transporte.com::f6a3e592-cc27-4858-b185-ff86be206069" providerId="AD" clId="Web-{1BDA9226-212A-136F-DB8A-09D35B0E17C8}" dt="2020-06-19T13:43:46.818" v="2" actId="1076"/>
          <ac:spMkLst>
            <pc:docMk/>
            <pc:sldMk cId="838099151" sldId="2134804292"/>
            <ac:spMk id="71" creationId="{A69B7E9C-1301-476B-9B8D-50B1CA3CB77F}"/>
          </ac:spMkLst>
        </pc:spChg>
        <pc:spChg chg="add mod">
          <ac:chgData name="Andrea Mogollon Nossa (CENIT)" userId="S::andrea.mogollon@cenit-transporte.com::f6a3e592-cc27-4858-b185-ff86be206069" providerId="AD" clId="Web-{1BDA9226-212A-136F-DB8A-09D35B0E17C8}" dt="2020-06-19T13:44:01.568" v="4" actId="14100"/>
          <ac:spMkLst>
            <pc:docMk/>
            <pc:sldMk cId="838099151" sldId="2134804292"/>
            <ac:spMk id="89" creationId="{C663BB5A-D4A1-45C8-A094-4E132713CB94}"/>
          </ac:spMkLst>
        </pc:spChg>
      </pc:sldChg>
    </pc:docChg>
  </pc:docChgLst>
  <pc:docChgLst>
    <pc:chgData name="Yuly Andrea Castaneda Ramirez (CENIT)" userId="9d6b9224-b289-47c8-b6d4-3bf138101243" providerId="ADAL" clId="{20809D37-15FE-439C-AAF0-6BBEA123306F}"/>
    <pc:docChg chg="undo custSel addSld modSld">
      <pc:chgData name="Yuly Andrea Castaneda Ramirez (CENIT)" userId="9d6b9224-b289-47c8-b6d4-3bf138101243" providerId="ADAL" clId="{20809D37-15FE-439C-AAF0-6BBEA123306F}" dt="2020-07-27T22:17:29.924" v="681" actId="207"/>
      <pc:docMkLst>
        <pc:docMk/>
      </pc:docMkLst>
      <pc:sldChg chg="modSp add mod">
        <pc:chgData name="Yuly Andrea Castaneda Ramirez (CENIT)" userId="9d6b9224-b289-47c8-b6d4-3bf138101243" providerId="ADAL" clId="{20809D37-15FE-439C-AAF0-6BBEA123306F}" dt="2020-07-27T21:05:55.951" v="22" actId="20577"/>
        <pc:sldMkLst>
          <pc:docMk/>
          <pc:sldMk cId="3642796184" sldId="2134804345"/>
        </pc:sldMkLst>
        <pc:spChg chg="mod">
          <ac:chgData name="Yuly Andrea Castaneda Ramirez (CENIT)" userId="9d6b9224-b289-47c8-b6d4-3bf138101243" providerId="ADAL" clId="{20809D37-15FE-439C-AAF0-6BBEA123306F}" dt="2020-07-27T21:05:55.951" v="22" actId="20577"/>
          <ac:spMkLst>
            <pc:docMk/>
            <pc:sldMk cId="3642796184" sldId="2134804345"/>
            <ac:spMk id="2" creationId="{6431BBCF-96E5-45A7-B7E5-D44090D06329}"/>
          </ac:spMkLst>
        </pc:spChg>
      </pc:sldChg>
      <pc:sldChg chg="addSp modSp add mod">
        <pc:chgData name="Yuly Andrea Castaneda Ramirez (CENIT)" userId="9d6b9224-b289-47c8-b6d4-3bf138101243" providerId="ADAL" clId="{20809D37-15FE-439C-AAF0-6BBEA123306F}" dt="2020-07-27T22:17:29.924" v="681" actId="207"/>
        <pc:sldMkLst>
          <pc:docMk/>
          <pc:sldMk cId="330914068" sldId="2134804346"/>
        </pc:sldMkLst>
        <pc:spChg chg="add mod">
          <ac:chgData name="Yuly Andrea Castaneda Ramirez (CENIT)" userId="9d6b9224-b289-47c8-b6d4-3bf138101243" providerId="ADAL" clId="{20809D37-15FE-439C-AAF0-6BBEA123306F}" dt="2020-07-27T22:17:29.924" v="681" actId="207"/>
          <ac:spMkLst>
            <pc:docMk/>
            <pc:sldMk cId="330914068" sldId="2134804346"/>
            <ac:spMk id="7" creationId="{B72C64EE-F244-4A66-B52F-23F2A9FED029}"/>
          </ac:spMkLst>
        </pc:spChg>
        <pc:spChg chg="mod">
          <ac:chgData name="Yuly Andrea Castaneda Ramirez (CENIT)" userId="9d6b9224-b289-47c8-b6d4-3bf138101243" providerId="ADAL" clId="{20809D37-15FE-439C-AAF0-6BBEA123306F}" dt="2020-07-27T21:06:07.808" v="40" actId="20577"/>
          <ac:spMkLst>
            <pc:docMk/>
            <pc:sldMk cId="330914068" sldId="2134804346"/>
            <ac:spMk id="20" creationId="{92C8D133-E6D8-4045-B204-E026C5621093}"/>
          </ac:spMkLst>
        </pc:spChg>
      </pc:sldChg>
      <pc:sldChg chg="addSp delSp modSp add mod">
        <pc:chgData name="Yuly Andrea Castaneda Ramirez (CENIT)" userId="9d6b9224-b289-47c8-b6d4-3bf138101243" providerId="ADAL" clId="{20809D37-15FE-439C-AAF0-6BBEA123306F}" dt="2020-07-27T22:16:58.838" v="666" actId="20577"/>
        <pc:sldMkLst>
          <pc:docMk/>
          <pc:sldMk cId="3225245280" sldId="2134804347"/>
        </pc:sldMkLst>
        <pc:spChg chg="mod">
          <ac:chgData name="Yuly Andrea Castaneda Ramirez (CENIT)" userId="9d6b9224-b289-47c8-b6d4-3bf138101243" providerId="ADAL" clId="{20809D37-15FE-439C-AAF0-6BBEA123306F}" dt="2020-07-27T21:20:58.229" v="177" actId="1076"/>
          <ac:spMkLst>
            <pc:docMk/>
            <pc:sldMk cId="3225245280" sldId="2134804347"/>
            <ac:spMk id="3" creationId="{815B10B7-60B3-4C63-8431-70CC556387C9}"/>
          </ac:spMkLst>
        </pc:spChg>
        <pc:spChg chg="add mod">
          <ac:chgData name="Yuly Andrea Castaneda Ramirez (CENIT)" userId="9d6b9224-b289-47c8-b6d4-3bf138101243" providerId="ADAL" clId="{20809D37-15FE-439C-AAF0-6BBEA123306F}" dt="2020-07-27T22:07:18.038" v="549" actId="1035"/>
          <ac:spMkLst>
            <pc:docMk/>
            <pc:sldMk cId="3225245280" sldId="2134804347"/>
            <ac:spMk id="6" creationId="{D96F8713-29A5-4310-8564-F011CFCB1066}"/>
          </ac:spMkLst>
        </pc:spChg>
        <pc:spChg chg="add mod">
          <ac:chgData name="Yuly Andrea Castaneda Ramirez (CENIT)" userId="9d6b9224-b289-47c8-b6d4-3bf138101243" providerId="ADAL" clId="{20809D37-15FE-439C-AAF0-6BBEA123306F}" dt="2020-07-27T22:08:15.916" v="564" actId="1035"/>
          <ac:spMkLst>
            <pc:docMk/>
            <pc:sldMk cId="3225245280" sldId="2134804347"/>
            <ac:spMk id="7" creationId="{6E720954-0AD5-4F0E-9897-4BDFCFA126CC}"/>
          </ac:spMkLst>
        </pc:spChg>
        <pc:spChg chg="add mod">
          <ac:chgData name="Yuly Andrea Castaneda Ramirez (CENIT)" userId="9d6b9224-b289-47c8-b6d4-3bf138101243" providerId="ADAL" clId="{20809D37-15FE-439C-AAF0-6BBEA123306F}" dt="2020-07-27T21:21:28.900" v="184" actId="1076"/>
          <ac:spMkLst>
            <pc:docMk/>
            <pc:sldMk cId="3225245280" sldId="2134804347"/>
            <ac:spMk id="8" creationId="{2E27193E-8A49-44E9-91B8-50C765DA6DDA}"/>
          </ac:spMkLst>
        </pc:spChg>
        <pc:spChg chg="add mod">
          <ac:chgData name="Yuly Andrea Castaneda Ramirez (CENIT)" userId="9d6b9224-b289-47c8-b6d4-3bf138101243" providerId="ADAL" clId="{20809D37-15FE-439C-AAF0-6BBEA123306F}" dt="2020-07-27T22:08:10.563" v="556" actId="14100"/>
          <ac:spMkLst>
            <pc:docMk/>
            <pc:sldMk cId="3225245280" sldId="2134804347"/>
            <ac:spMk id="9" creationId="{044EA7DA-DC7D-4022-9DEC-F3B676A62032}"/>
          </ac:spMkLst>
        </pc:spChg>
        <pc:spChg chg="add mod">
          <ac:chgData name="Yuly Andrea Castaneda Ramirez (CENIT)" userId="9d6b9224-b289-47c8-b6d4-3bf138101243" providerId="ADAL" clId="{20809D37-15FE-439C-AAF0-6BBEA123306F}" dt="2020-07-27T21:23:25.238" v="226" actId="20577"/>
          <ac:spMkLst>
            <pc:docMk/>
            <pc:sldMk cId="3225245280" sldId="2134804347"/>
            <ac:spMk id="10" creationId="{1C27DADA-AD5A-4DFF-A22B-78E230D3896D}"/>
          </ac:spMkLst>
        </pc:spChg>
        <pc:spChg chg="mod">
          <ac:chgData name="Yuly Andrea Castaneda Ramirez (CENIT)" userId="9d6b9224-b289-47c8-b6d4-3bf138101243" providerId="ADAL" clId="{20809D37-15FE-439C-AAF0-6BBEA123306F}" dt="2020-07-27T22:07:00.050" v="546" actId="14100"/>
          <ac:spMkLst>
            <pc:docMk/>
            <pc:sldMk cId="3225245280" sldId="2134804347"/>
            <ac:spMk id="11" creationId="{772CA61D-742C-45F0-BAFA-0F3B90176E98}"/>
          </ac:spMkLst>
        </pc:spChg>
        <pc:spChg chg="mod">
          <ac:chgData name="Yuly Andrea Castaneda Ramirez (CENIT)" userId="9d6b9224-b289-47c8-b6d4-3bf138101243" providerId="ADAL" clId="{20809D37-15FE-439C-AAF0-6BBEA123306F}" dt="2020-07-27T21:19:26.877" v="120" actId="1076"/>
          <ac:spMkLst>
            <pc:docMk/>
            <pc:sldMk cId="3225245280" sldId="2134804347"/>
            <ac:spMk id="12" creationId="{7F3CEC4C-7588-4B74-823D-9CF22E2DAD79}"/>
          </ac:spMkLst>
        </pc:spChg>
        <pc:spChg chg="add del mod">
          <ac:chgData name="Yuly Andrea Castaneda Ramirez (CENIT)" userId="9d6b9224-b289-47c8-b6d4-3bf138101243" providerId="ADAL" clId="{20809D37-15FE-439C-AAF0-6BBEA123306F}" dt="2020-07-27T21:23:11.985" v="202" actId="478"/>
          <ac:spMkLst>
            <pc:docMk/>
            <pc:sldMk cId="3225245280" sldId="2134804347"/>
            <ac:spMk id="13" creationId="{CCA8ECBD-F30E-4BB2-835B-369514BA6F63}"/>
          </ac:spMkLst>
        </pc:spChg>
        <pc:spChg chg="add mod">
          <ac:chgData name="Yuly Andrea Castaneda Ramirez (CENIT)" userId="9d6b9224-b289-47c8-b6d4-3bf138101243" providerId="ADAL" clId="{20809D37-15FE-439C-AAF0-6BBEA123306F}" dt="2020-07-27T22:08:25.797" v="565" actId="208"/>
          <ac:spMkLst>
            <pc:docMk/>
            <pc:sldMk cId="3225245280" sldId="2134804347"/>
            <ac:spMk id="14" creationId="{6FCAE7F4-D309-4A31-A5D2-C6A035E0EF82}"/>
          </ac:spMkLst>
        </pc:spChg>
        <pc:spChg chg="add mod">
          <ac:chgData name="Yuly Andrea Castaneda Ramirez (CENIT)" userId="9d6b9224-b289-47c8-b6d4-3bf138101243" providerId="ADAL" clId="{20809D37-15FE-439C-AAF0-6BBEA123306F}" dt="2020-07-27T22:08:36.075" v="567" actId="1036"/>
          <ac:spMkLst>
            <pc:docMk/>
            <pc:sldMk cId="3225245280" sldId="2134804347"/>
            <ac:spMk id="15" creationId="{EC155108-24C9-41BB-AFB7-1D8B4E0A3839}"/>
          </ac:spMkLst>
        </pc:spChg>
        <pc:spChg chg="add mod">
          <ac:chgData name="Yuly Andrea Castaneda Ramirez (CENIT)" userId="9d6b9224-b289-47c8-b6d4-3bf138101243" providerId="ADAL" clId="{20809D37-15FE-439C-AAF0-6BBEA123306F}" dt="2020-07-27T22:08:15.916" v="564" actId="1035"/>
          <ac:spMkLst>
            <pc:docMk/>
            <pc:sldMk cId="3225245280" sldId="2134804347"/>
            <ac:spMk id="16" creationId="{E4BC2CA1-2901-471E-A924-486FA0786DAE}"/>
          </ac:spMkLst>
        </pc:spChg>
        <pc:spChg chg="add mod">
          <ac:chgData name="Yuly Andrea Castaneda Ramirez (CENIT)" userId="9d6b9224-b289-47c8-b6d4-3bf138101243" providerId="ADAL" clId="{20809D37-15FE-439C-AAF0-6BBEA123306F}" dt="2020-07-27T22:08:36.075" v="567" actId="1036"/>
          <ac:spMkLst>
            <pc:docMk/>
            <pc:sldMk cId="3225245280" sldId="2134804347"/>
            <ac:spMk id="17" creationId="{5EAC5110-AE72-47ED-96D9-528A91DC5957}"/>
          </ac:spMkLst>
        </pc:spChg>
        <pc:spChg chg="add mod">
          <ac:chgData name="Yuly Andrea Castaneda Ramirez (CENIT)" userId="9d6b9224-b289-47c8-b6d4-3bf138101243" providerId="ADAL" clId="{20809D37-15FE-439C-AAF0-6BBEA123306F}" dt="2020-07-27T22:07:55.495" v="553" actId="108"/>
          <ac:spMkLst>
            <pc:docMk/>
            <pc:sldMk cId="3225245280" sldId="2134804347"/>
            <ac:spMk id="18" creationId="{B9A102DE-B6E2-4A96-917C-4764462F2DDA}"/>
          </ac:spMkLst>
        </pc:spChg>
        <pc:spChg chg="add mod">
          <ac:chgData name="Yuly Andrea Castaneda Ramirez (CENIT)" userId="9d6b9224-b289-47c8-b6d4-3bf138101243" providerId="ADAL" clId="{20809D37-15FE-439C-AAF0-6BBEA123306F}" dt="2020-07-27T21:26:07.996" v="304" actId="20577"/>
          <ac:spMkLst>
            <pc:docMk/>
            <pc:sldMk cId="3225245280" sldId="2134804347"/>
            <ac:spMk id="19" creationId="{70675E72-95A3-4317-B24A-EF51AC8AE239}"/>
          </ac:spMkLst>
        </pc:spChg>
        <pc:spChg chg="add del mod">
          <ac:chgData name="Yuly Andrea Castaneda Ramirez (CENIT)" userId="9d6b9224-b289-47c8-b6d4-3bf138101243" providerId="ADAL" clId="{20809D37-15FE-439C-AAF0-6BBEA123306F}" dt="2020-07-27T21:26:56.048" v="306" actId="478"/>
          <ac:spMkLst>
            <pc:docMk/>
            <pc:sldMk cId="3225245280" sldId="2134804347"/>
            <ac:spMk id="20" creationId="{51C10DA5-7927-4A2C-98CA-1CB3E00EAC85}"/>
          </ac:spMkLst>
        </pc:spChg>
        <pc:spChg chg="add del mod">
          <ac:chgData name="Yuly Andrea Castaneda Ramirez (CENIT)" userId="9d6b9224-b289-47c8-b6d4-3bf138101243" providerId="ADAL" clId="{20809D37-15FE-439C-AAF0-6BBEA123306F}" dt="2020-07-27T21:26:56.048" v="306" actId="478"/>
          <ac:spMkLst>
            <pc:docMk/>
            <pc:sldMk cId="3225245280" sldId="2134804347"/>
            <ac:spMk id="21" creationId="{9229B4F9-57A1-40C1-B530-CDC224632D80}"/>
          </ac:spMkLst>
        </pc:spChg>
        <pc:spChg chg="mod">
          <ac:chgData name="Yuly Andrea Castaneda Ramirez (CENIT)" userId="9d6b9224-b289-47c8-b6d4-3bf138101243" providerId="ADAL" clId="{20809D37-15FE-439C-AAF0-6BBEA123306F}" dt="2020-07-27T22:07:18.038" v="549" actId="1035"/>
          <ac:spMkLst>
            <pc:docMk/>
            <pc:sldMk cId="3225245280" sldId="2134804347"/>
            <ac:spMk id="22" creationId="{53E538FE-3283-40FB-A5F0-3E57246B6EFA}"/>
          </ac:spMkLst>
        </pc:spChg>
        <pc:spChg chg="add del mod">
          <ac:chgData name="Yuly Andrea Castaneda Ramirez (CENIT)" userId="9d6b9224-b289-47c8-b6d4-3bf138101243" providerId="ADAL" clId="{20809D37-15FE-439C-AAF0-6BBEA123306F}" dt="2020-07-27T21:26:56.048" v="306" actId="478"/>
          <ac:spMkLst>
            <pc:docMk/>
            <pc:sldMk cId="3225245280" sldId="2134804347"/>
            <ac:spMk id="23" creationId="{D52DAABA-3FE1-421B-A4B1-60221FBF99DA}"/>
          </ac:spMkLst>
        </pc:spChg>
        <pc:spChg chg="add del mod">
          <ac:chgData name="Yuly Andrea Castaneda Ramirez (CENIT)" userId="9d6b9224-b289-47c8-b6d4-3bf138101243" providerId="ADAL" clId="{20809D37-15FE-439C-AAF0-6BBEA123306F}" dt="2020-07-27T21:26:56.048" v="306" actId="478"/>
          <ac:spMkLst>
            <pc:docMk/>
            <pc:sldMk cId="3225245280" sldId="2134804347"/>
            <ac:spMk id="24" creationId="{E070A0F8-0F75-411E-BEC5-A30C3CBEFCCE}"/>
          </ac:spMkLst>
        </pc:spChg>
        <pc:spChg chg="add mod">
          <ac:chgData name="Yuly Andrea Castaneda Ramirez (CENIT)" userId="9d6b9224-b289-47c8-b6d4-3bf138101243" providerId="ADAL" clId="{20809D37-15FE-439C-AAF0-6BBEA123306F}" dt="2020-07-27T21:27:27.384" v="312" actId="1076"/>
          <ac:spMkLst>
            <pc:docMk/>
            <pc:sldMk cId="3225245280" sldId="2134804347"/>
            <ac:spMk id="25" creationId="{52F94A51-0420-4FE6-A012-EEC8917EB93D}"/>
          </ac:spMkLst>
        </pc:spChg>
        <pc:spChg chg="mod">
          <ac:chgData name="Yuly Andrea Castaneda Ramirez (CENIT)" userId="9d6b9224-b289-47c8-b6d4-3bf138101243" providerId="ADAL" clId="{20809D37-15FE-439C-AAF0-6BBEA123306F}" dt="2020-07-27T21:12:00.318" v="108" actId="1035"/>
          <ac:spMkLst>
            <pc:docMk/>
            <pc:sldMk cId="3225245280" sldId="2134804347"/>
            <ac:spMk id="27" creationId="{910DCB24-1C9B-45BE-9592-B8EC86E558A4}"/>
          </ac:spMkLst>
        </pc:spChg>
        <pc:spChg chg="mod">
          <ac:chgData name="Yuly Andrea Castaneda Ramirez (CENIT)" userId="9d6b9224-b289-47c8-b6d4-3bf138101243" providerId="ADAL" clId="{20809D37-15FE-439C-AAF0-6BBEA123306F}" dt="2020-07-27T21:11:41.544" v="88" actId="20577"/>
          <ac:spMkLst>
            <pc:docMk/>
            <pc:sldMk cId="3225245280" sldId="2134804347"/>
            <ac:spMk id="28" creationId="{4A0F0E28-A961-4260-8BB9-16809CE2E13A}"/>
          </ac:spMkLst>
        </pc:spChg>
        <pc:spChg chg="mod">
          <ac:chgData name="Yuly Andrea Castaneda Ramirez (CENIT)" userId="9d6b9224-b289-47c8-b6d4-3bf138101243" providerId="ADAL" clId="{20809D37-15FE-439C-AAF0-6BBEA123306F}" dt="2020-07-27T22:07:18.038" v="549" actId="1035"/>
          <ac:spMkLst>
            <pc:docMk/>
            <pc:sldMk cId="3225245280" sldId="2134804347"/>
            <ac:spMk id="29" creationId="{46F67329-EAA2-4B09-AD5B-91FE70391A81}"/>
          </ac:spMkLst>
        </pc:spChg>
        <pc:spChg chg="mod">
          <ac:chgData name="Yuly Andrea Castaneda Ramirez (CENIT)" userId="9d6b9224-b289-47c8-b6d4-3bf138101243" providerId="ADAL" clId="{20809D37-15FE-439C-AAF0-6BBEA123306F}" dt="2020-07-27T22:07:00.050" v="546" actId="14100"/>
          <ac:spMkLst>
            <pc:docMk/>
            <pc:sldMk cId="3225245280" sldId="2134804347"/>
            <ac:spMk id="30" creationId="{5BF08848-45AE-451C-A99D-7322CF796742}"/>
          </ac:spMkLst>
        </pc:spChg>
        <pc:spChg chg="mod">
          <ac:chgData name="Yuly Andrea Castaneda Ramirez (CENIT)" userId="9d6b9224-b289-47c8-b6d4-3bf138101243" providerId="ADAL" clId="{20809D37-15FE-439C-AAF0-6BBEA123306F}" dt="2020-07-27T21:24:54.091" v="294" actId="20577"/>
          <ac:spMkLst>
            <pc:docMk/>
            <pc:sldMk cId="3225245280" sldId="2134804347"/>
            <ac:spMk id="32" creationId="{112CF6BB-B57E-4E30-BDB8-A663AA382E62}"/>
          </ac:spMkLst>
        </pc:spChg>
        <pc:spChg chg="mod">
          <ac:chgData name="Yuly Andrea Castaneda Ramirez (CENIT)" userId="9d6b9224-b289-47c8-b6d4-3bf138101243" providerId="ADAL" clId="{20809D37-15FE-439C-AAF0-6BBEA123306F}" dt="2020-07-27T21:24:58.515" v="297" actId="1035"/>
          <ac:spMkLst>
            <pc:docMk/>
            <pc:sldMk cId="3225245280" sldId="2134804347"/>
            <ac:spMk id="33" creationId="{99A98136-5ADE-4ACF-97B1-9869591C8748}"/>
          </ac:spMkLst>
        </pc:spChg>
        <pc:spChg chg="mod">
          <ac:chgData name="Yuly Andrea Castaneda Ramirez (CENIT)" userId="9d6b9224-b289-47c8-b6d4-3bf138101243" providerId="ADAL" clId="{20809D37-15FE-439C-AAF0-6BBEA123306F}" dt="2020-07-27T21:21:07.297" v="178" actId="1076"/>
          <ac:spMkLst>
            <pc:docMk/>
            <pc:sldMk cId="3225245280" sldId="2134804347"/>
            <ac:spMk id="34" creationId="{2858742F-5FD0-4B7E-9334-0D1DB2CF525E}"/>
          </ac:spMkLst>
        </pc:spChg>
        <pc:spChg chg="mod">
          <ac:chgData name="Yuly Andrea Castaneda Ramirez (CENIT)" userId="9d6b9224-b289-47c8-b6d4-3bf138101243" providerId="ADAL" clId="{20809D37-15FE-439C-AAF0-6BBEA123306F}" dt="2020-07-27T22:07:18.038" v="549" actId="1035"/>
          <ac:spMkLst>
            <pc:docMk/>
            <pc:sldMk cId="3225245280" sldId="2134804347"/>
            <ac:spMk id="35" creationId="{5F2982C9-1317-4114-BC67-9EA6763899B8}"/>
          </ac:spMkLst>
        </pc:spChg>
        <pc:spChg chg="mod">
          <ac:chgData name="Yuly Andrea Castaneda Ramirez (CENIT)" userId="9d6b9224-b289-47c8-b6d4-3bf138101243" providerId="ADAL" clId="{20809D37-15FE-439C-AAF0-6BBEA123306F}" dt="2020-07-27T22:07:00.050" v="546" actId="14100"/>
          <ac:spMkLst>
            <pc:docMk/>
            <pc:sldMk cId="3225245280" sldId="2134804347"/>
            <ac:spMk id="36" creationId="{80930BAD-CC8E-47DD-9473-5B8864A2680A}"/>
          </ac:spMkLst>
        </pc:spChg>
        <pc:spChg chg="mod">
          <ac:chgData name="Yuly Andrea Castaneda Ramirez (CENIT)" userId="9d6b9224-b289-47c8-b6d4-3bf138101243" providerId="ADAL" clId="{20809D37-15FE-439C-AAF0-6BBEA123306F}" dt="2020-07-27T21:08:43.824" v="74" actId="20577"/>
          <ac:spMkLst>
            <pc:docMk/>
            <pc:sldMk cId="3225245280" sldId="2134804347"/>
            <ac:spMk id="38" creationId="{A70D06D3-12BC-4CDA-B9D7-EEF1588242C9}"/>
          </ac:spMkLst>
        </pc:spChg>
        <pc:spChg chg="mod">
          <ac:chgData name="Yuly Andrea Castaneda Ramirez (CENIT)" userId="9d6b9224-b289-47c8-b6d4-3bf138101243" providerId="ADAL" clId="{20809D37-15FE-439C-AAF0-6BBEA123306F}" dt="2020-07-27T21:08:26.075" v="63"/>
          <ac:spMkLst>
            <pc:docMk/>
            <pc:sldMk cId="3225245280" sldId="2134804347"/>
            <ac:spMk id="39" creationId="{5FAD9D39-0163-48A2-AB90-B7B2E4C2CCC8}"/>
          </ac:spMkLst>
        </pc:spChg>
        <pc:spChg chg="mod">
          <ac:chgData name="Yuly Andrea Castaneda Ramirez (CENIT)" userId="9d6b9224-b289-47c8-b6d4-3bf138101243" providerId="ADAL" clId="{20809D37-15FE-439C-AAF0-6BBEA123306F}" dt="2020-07-27T21:22:00.216" v="190" actId="1076"/>
          <ac:spMkLst>
            <pc:docMk/>
            <pc:sldMk cId="3225245280" sldId="2134804347"/>
            <ac:spMk id="40" creationId="{F9005A44-E530-4972-BBE0-B3ED015A6ED4}"/>
          </ac:spMkLst>
        </pc:spChg>
        <pc:spChg chg="mod">
          <ac:chgData name="Yuly Andrea Castaneda Ramirez (CENIT)" userId="9d6b9224-b289-47c8-b6d4-3bf138101243" providerId="ADAL" clId="{20809D37-15FE-439C-AAF0-6BBEA123306F}" dt="2020-07-27T22:07:00.050" v="546" actId="14100"/>
          <ac:spMkLst>
            <pc:docMk/>
            <pc:sldMk cId="3225245280" sldId="2134804347"/>
            <ac:spMk id="41" creationId="{A6323A01-8860-4B1B-BDAF-6B75ABC06BEC}"/>
          </ac:spMkLst>
        </pc:spChg>
        <pc:spChg chg="mod">
          <ac:chgData name="Yuly Andrea Castaneda Ramirez (CENIT)" userId="9d6b9224-b289-47c8-b6d4-3bf138101243" providerId="ADAL" clId="{20809D37-15FE-439C-AAF0-6BBEA123306F}" dt="2020-07-27T22:08:10.563" v="556" actId="14100"/>
          <ac:spMkLst>
            <pc:docMk/>
            <pc:sldMk cId="3225245280" sldId="2134804347"/>
            <ac:spMk id="42" creationId="{4101169F-B3FD-425D-90F0-D9CCBE1BF3D2}"/>
          </ac:spMkLst>
        </pc:spChg>
        <pc:spChg chg="mod">
          <ac:chgData name="Yuly Andrea Castaneda Ramirez (CENIT)" userId="9d6b9224-b289-47c8-b6d4-3bf138101243" providerId="ADAL" clId="{20809D37-15FE-439C-AAF0-6BBEA123306F}" dt="2020-07-27T21:22:40.001" v="195" actId="1076"/>
          <ac:spMkLst>
            <pc:docMk/>
            <pc:sldMk cId="3225245280" sldId="2134804347"/>
            <ac:spMk id="43" creationId="{34452114-CA9E-44D1-9755-DF275F1BF2A9}"/>
          </ac:spMkLst>
        </pc:spChg>
        <pc:spChg chg="mod">
          <ac:chgData name="Yuly Andrea Castaneda Ramirez (CENIT)" userId="9d6b9224-b289-47c8-b6d4-3bf138101243" providerId="ADAL" clId="{20809D37-15FE-439C-AAF0-6BBEA123306F}" dt="2020-07-27T22:07:18.038" v="549" actId="1035"/>
          <ac:spMkLst>
            <pc:docMk/>
            <pc:sldMk cId="3225245280" sldId="2134804347"/>
            <ac:spMk id="45" creationId="{476FBBD3-1877-4B8E-A2BA-965C36FBD73D}"/>
          </ac:spMkLst>
        </pc:spChg>
        <pc:spChg chg="add del mod">
          <ac:chgData name="Yuly Andrea Castaneda Ramirez (CENIT)" userId="9d6b9224-b289-47c8-b6d4-3bf138101243" providerId="ADAL" clId="{20809D37-15FE-439C-AAF0-6BBEA123306F}" dt="2020-07-27T22:12:28.463" v="629" actId="478"/>
          <ac:spMkLst>
            <pc:docMk/>
            <pc:sldMk cId="3225245280" sldId="2134804347"/>
            <ac:spMk id="46" creationId="{BA5C247C-3C05-46FC-95C2-E68EAA1029EF}"/>
          </ac:spMkLst>
        </pc:spChg>
        <pc:spChg chg="add del mod">
          <ac:chgData name="Yuly Andrea Castaneda Ramirez (CENIT)" userId="9d6b9224-b289-47c8-b6d4-3bf138101243" providerId="ADAL" clId="{20809D37-15FE-439C-AAF0-6BBEA123306F}" dt="2020-07-27T22:12:28.463" v="629" actId="478"/>
          <ac:spMkLst>
            <pc:docMk/>
            <pc:sldMk cId="3225245280" sldId="2134804347"/>
            <ac:spMk id="47" creationId="{D222A558-E5A3-43A6-B640-1B3D767D7C70}"/>
          </ac:spMkLst>
        </pc:spChg>
        <pc:spChg chg="del">
          <ac:chgData name="Yuly Andrea Castaneda Ramirez (CENIT)" userId="9d6b9224-b289-47c8-b6d4-3bf138101243" providerId="ADAL" clId="{20809D37-15FE-439C-AAF0-6BBEA123306F}" dt="2020-07-27T21:15:40.265" v="113" actId="478"/>
          <ac:spMkLst>
            <pc:docMk/>
            <pc:sldMk cId="3225245280" sldId="2134804347"/>
            <ac:spMk id="48" creationId="{F926AC88-2103-4B74-A485-8F98AF37FABE}"/>
          </ac:spMkLst>
        </pc:spChg>
        <pc:spChg chg="del">
          <ac:chgData name="Yuly Andrea Castaneda Ramirez (CENIT)" userId="9d6b9224-b289-47c8-b6d4-3bf138101243" providerId="ADAL" clId="{20809D37-15FE-439C-AAF0-6BBEA123306F}" dt="2020-07-27T21:18:34.087" v="117" actId="478"/>
          <ac:spMkLst>
            <pc:docMk/>
            <pc:sldMk cId="3225245280" sldId="2134804347"/>
            <ac:spMk id="50" creationId="{EFEDA77C-7665-4725-A074-A36D4F4400A8}"/>
          </ac:spMkLst>
        </pc:spChg>
        <pc:spChg chg="add del">
          <ac:chgData name="Yuly Andrea Castaneda Ramirez (CENIT)" userId="9d6b9224-b289-47c8-b6d4-3bf138101243" providerId="ADAL" clId="{20809D37-15FE-439C-AAF0-6BBEA123306F}" dt="2020-07-27T22:12:05.849" v="616" actId="22"/>
          <ac:spMkLst>
            <pc:docMk/>
            <pc:sldMk cId="3225245280" sldId="2134804347"/>
            <ac:spMk id="60" creationId="{BB9C2DD0-AF41-435D-A8D7-9D12ECCE18C7}"/>
          </ac:spMkLst>
        </pc:spChg>
        <pc:spChg chg="add del">
          <ac:chgData name="Yuly Andrea Castaneda Ramirez (CENIT)" userId="9d6b9224-b289-47c8-b6d4-3bf138101243" providerId="ADAL" clId="{20809D37-15FE-439C-AAF0-6BBEA123306F}" dt="2020-07-27T22:12:05.849" v="616" actId="22"/>
          <ac:spMkLst>
            <pc:docMk/>
            <pc:sldMk cId="3225245280" sldId="2134804347"/>
            <ac:spMk id="62" creationId="{00832259-9257-4A66-9FDD-4761014DB369}"/>
          </ac:spMkLst>
        </pc:spChg>
        <pc:spChg chg="add del">
          <ac:chgData name="Yuly Andrea Castaneda Ramirez (CENIT)" userId="9d6b9224-b289-47c8-b6d4-3bf138101243" providerId="ADAL" clId="{20809D37-15FE-439C-AAF0-6BBEA123306F}" dt="2020-07-27T22:12:05.849" v="616" actId="22"/>
          <ac:spMkLst>
            <pc:docMk/>
            <pc:sldMk cId="3225245280" sldId="2134804347"/>
            <ac:spMk id="64" creationId="{78222D73-248B-40F5-A931-311B5CCCF3EB}"/>
          </ac:spMkLst>
        </pc:spChg>
        <pc:spChg chg="add del mod">
          <ac:chgData name="Yuly Andrea Castaneda Ramirez (CENIT)" userId="9d6b9224-b289-47c8-b6d4-3bf138101243" providerId="ADAL" clId="{20809D37-15FE-439C-AAF0-6BBEA123306F}" dt="2020-07-27T22:12:06.471" v="617"/>
          <ac:spMkLst>
            <pc:docMk/>
            <pc:sldMk cId="3225245280" sldId="2134804347"/>
            <ac:spMk id="73" creationId="{A39A94C1-2A31-4E7F-A1F0-A06742898B2F}"/>
          </ac:spMkLst>
        </pc:spChg>
        <pc:spChg chg="add del mod">
          <ac:chgData name="Yuly Andrea Castaneda Ramirez (CENIT)" userId="9d6b9224-b289-47c8-b6d4-3bf138101243" providerId="ADAL" clId="{20809D37-15FE-439C-AAF0-6BBEA123306F}" dt="2020-07-27T22:12:06.471" v="617"/>
          <ac:spMkLst>
            <pc:docMk/>
            <pc:sldMk cId="3225245280" sldId="2134804347"/>
            <ac:spMk id="74" creationId="{046280B4-6DEB-43E6-BBD7-F100973EE1A5}"/>
          </ac:spMkLst>
        </pc:spChg>
        <pc:spChg chg="mod">
          <ac:chgData name="Yuly Andrea Castaneda Ramirez (CENIT)" userId="9d6b9224-b289-47c8-b6d4-3bf138101243" providerId="ADAL" clId="{20809D37-15FE-439C-AAF0-6BBEA123306F}" dt="2020-07-27T22:10:51.297" v="614"/>
          <ac:spMkLst>
            <pc:docMk/>
            <pc:sldMk cId="3225245280" sldId="2134804347"/>
            <ac:spMk id="76" creationId="{A97657D5-58EC-428F-98BF-4566AD2B1202}"/>
          </ac:spMkLst>
        </pc:spChg>
        <pc:spChg chg="mod">
          <ac:chgData name="Yuly Andrea Castaneda Ramirez (CENIT)" userId="9d6b9224-b289-47c8-b6d4-3bf138101243" providerId="ADAL" clId="{20809D37-15FE-439C-AAF0-6BBEA123306F}" dt="2020-07-27T22:10:51.297" v="614"/>
          <ac:spMkLst>
            <pc:docMk/>
            <pc:sldMk cId="3225245280" sldId="2134804347"/>
            <ac:spMk id="77" creationId="{501DC85E-C7DE-41E7-8A3E-DE452DF1F828}"/>
          </ac:spMkLst>
        </pc:spChg>
        <pc:spChg chg="mod">
          <ac:chgData name="Yuly Andrea Castaneda Ramirez (CENIT)" userId="9d6b9224-b289-47c8-b6d4-3bf138101243" providerId="ADAL" clId="{20809D37-15FE-439C-AAF0-6BBEA123306F}" dt="2020-07-27T22:10:51.297" v="614"/>
          <ac:spMkLst>
            <pc:docMk/>
            <pc:sldMk cId="3225245280" sldId="2134804347"/>
            <ac:spMk id="79" creationId="{B289E7D7-2557-4DA8-840A-08F60BE9C52F}"/>
          </ac:spMkLst>
        </pc:spChg>
        <pc:spChg chg="mod">
          <ac:chgData name="Yuly Andrea Castaneda Ramirez (CENIT)" userId="9d6b9224-b289-47c8-b6d4-3bf138101243" providerId="ADAL" clId="{20809D37-15FE-439C-AAF0-6BBEA123306F}" dt="2020-07-27T22:10:51.297" v="614"/>
          <ac:spMkLst>
            <pc:docMk/>
            <pc:sldMk cId="3225245280" sldId="2134804347"/>
            <ac:spMk id="80" creationId="{151710F5-7446-4437-B14E-0AD9529C305D}"/>
          </ac:spMkLst>
        </pc:spChg>
        <pc:spChg chg="mod">
          <ac:chgData name="Yuly Andrea Castaneda Ramirez (CENIT)" userId="9d6b9224-b289-47c8-b6d4-3bf138101243" providerId="ADAL" clId="{20809D37-15FE-439C-AAF0-6BBEA123306F}" dt="2020-07-27T22:10:51.297" v="614"/>
          <ac:spMkLst>
            <pc:docMk/>
            <pc:sldMk cId="3225245280" sldId="2134804347"/>
            <ac:spMk id="82" creationId="{B7B779E0-1F07-4B17-96F9-01B9CB9A7149}"/>
          </ac:spMkLst>
        </pc:spChg>
        <pc:spChg chg="mod">
          <ac:chgData name="Yuly Andrea Castaneda Ramirez (CENIT)" userId="9d6b9224-b289-47c8-b6d4-3bf138101243" providerId="ADAL" clId="{20809D37-15FE-439C-AAF0-6BBEA123306F}" dt="2020-07-27T22:10:51.297" v="614"/>
          <ac:spMkLst>
            <pc:docMk/>
            <pc:sldMk cId="3225245280" sldId="2134804347"/>
            <ac:spMk id="83" creationId="{211CAD9D-81D4-412D-AE14-373C39D1B465}"/>
          </ac:spMkLst>
        </pc:spChg>
        <pc:spChg chg="add del">
          <ac:chgData name="Yuly Andrea Castaneda Ramirez (CENIT)" userId="9d6b9224-b289-47c8-b6d4-3bf138101243" providerId="ADAL" clId="{20809D37-15FE-439C-AAF0-6BBEA123306F}" dt="2020-07-27T22:12:28.463" v="629" actId="478"/>
          <ac:spMkLst>
            <pc:docMk/>
            <pc:sldMk cId="3225245280" sldId="2134804347"/>
            <ac:spMk id="84" creationId="{293DBAF3-3942-4C58-8A63-D4484E215E20}"/>
          </ac:spMkLst>
        </pc:spChg>
        <pc:spChg chg="add del mod">
          <ac:chgData name="Yuly Andrea Castaneda Ramirez (CENIT)" userId="9d6b9224-b289-47c8-b6d4-3bf138101243" providerId="ADAL" clId="{20809D37-15FE-439C-AAF0-6BBEA123306F}" dt="2020-07-27T22:12:06.471" v="617"/>
          <ac:spMkLst>
            <pc:docMk/>
            <pc:sldMk cId="3225245280" sldId="2134804347"/>
            <ac:spMk id="85" creationId="{FEDA4F18-A6CF-4DD2-AE22-EDF557EBA766}"/>
          </ac:spMkLst>
        </pc:spChg>
        <pc:spChg chg="add del mod">
          <ac:chgData name="Yuly Andrea Castaneda Ramirez (CENIT)" userId="9d6b9224-b289-47c8-b6d4-3bf138101243" providerId="ADAL" clId="{20809D37-15FE-439C-AAF0-6BBEA123306F}" dt="2020-07-27T22:12:28.463" v="629" actId="478"/>
          <ac:spMkLst>
            <pc:docMk/>
            <pc:sldMk cId="3225245280" sldId="2134804347"/>
            <ac:spMk id="86" creationId="{7696A978-4362-4DE3-8C58-0F58608C4AA6}"/>
          </ac:spMkLst>
        </pc:spChg>
        <pc:spChg chg="add del mod">
          <ac:chgData name="Yuly Andrea Castaneda Ramirez (CENIT)" userId="9d6b9224-b289-47c8-b6d4-3bf138101243" providerId="ADAL" clId="{20809D37-15FE-439C-AAF0-6BBEA123306F}" dt="2020-07-27T22:12:06.471" v="617"/>
          <ac:spMkLst>
            <pc:docMk/>
            <pc:sldMk cId="3225245280" sldId="2134804347"/>
            <ac:spMk id="87" creationId="{067D5225-33A2-4014-AFEE-E7EC1903F1FA}"/>
          </ac:spMkLst>
        </pc:spChg>
        <pc:spChg chg="add del mod">
          <ac:chgData name="Yuly Andrea Castaneda Ramirez (CENIT)" userId="9d6b9224-b289-47c8-b6d4-3bf138101243" providerId="ADAL" clId="{20809D37-15FE-439C-AAF0-6BBEA123306F}" dt="2020-07-27T22:12:06.471" v="617"/>
          <ac:spMkLst>
            <pc:docMk/>
            <pc:sldMk cId="3225245280" sldId="2134804347"/>
            <ac:spMk id="88" creationId="{2E35CF2E-2C55-4F29-889B-23C808E1E4A4}"/>
          </ac:spMkLst>
        </pc:spChg>
        <pc:spChg chg="add del mod">
          <ac:chgData name="Yuly Andrea Castaneda Ramirez (CENIT)" userId="9d6b9224-b289-47c8-b6d4-3bf138101243" providerId="ADAL" clId="{20809D37-15FE-439C-AAF0-6BBEA123306F}" dt="2020-07-27T22:12:06.471" v="617"/>
          <ac:spMkLst>
            <pc:docMk/>
            <pc:sldMk cId="3225245280" sldId="2134804347"/>
            <ac:spMk id="89" creationId="{B389EEE8-9B75-4859-82D8-82AF4AEE49AB}"/>
          </ac:spMkLst>
        </pc:spChg>
        <pc:spChg chg="add del mod">
          <ac:chgData name="Yuly Andrea Castaneda Ramirez (CENIT)" userId="9d6b9224-b289-47c8-b6d4-3bf138101243" providerId="ADAL" clId="{20809D37-15FE-439C-AAF0-6BBEA123306F}" dt="2020-07-27T22:12:06.471" v="617"/>
          <ac:spMkLst>
            <pc:docMk/>
            <pc:sldMk cId="3225245280" sldId="2134804347"/>
            <ac:spMk id="90" creationId="{ECA92788-DC97-4450-975C-DDBA35E504CE}"/>
          </ac:spMkLst>
        </pc:spChg>
        <pc:spChg chg="add del mod">
          <ac:chgData name="Yuly Andrea Castaneda Ramirez (CENIT)" userId="9d6b9224-b289-47c8-b6d4-3bf138101243" providerId="ADAL" clId="{20809D37-15FE-439C-AAF0-6BBEA123306F}" dt="2020-07-27T22:12:06.471" v="617"/>
          <ac:spMkLst>
            <pc:docMk/>
            <pc:sldMk cId="3225245280" sldId="2134804347"/>
            <ac:spMk id="91" creationId="{109662AA-538D-4376-9F1F-0A435F4CF7A4}"/>
          </ac:spMkLst>
        </pc:spChg>
        <pc:spChg chg="add del mod">
          <ac:chgData name="Yuly Andrea Castaneda Ramirez (CENIT)" userId="9d6b9224-b289-47c8-b6d4-3bf138101243" providerId="ADAL" clId="{20809D37-15FE-439C-AAF0-6BBEA123306F}" dt="2020-07-27T22:12:06.471" v="617"/>
          <ac:spMkLst>
            <pc:docMk/>
            <pc:sldMk cId="3225245280" sldId="2134804347"/>
            <ac:spMk id="92" creationId="{7F67E0E4-C1F8-435D-9D5E-C7369FE1311A}"/>
          </ac:spMkLst>
        </pc:spChg>
        <pc:spChg chg="add del mod">
          <ac:chgData name="Yuly Andrea Castaneda Ramirez (CENIT)" userId="9d6b9224-b289-47c8-b6d4-3bf138101243" providerId="ADAL" clId="{20809D37-15FE-439C-AAF0-6BBEA123306F}" dt="2020-07-27T22:12:06.471" v="617"/>
          <ac:spMkLst>
            <pc:docMk/>
            <pc:sldMk cId="3225245280" sldId="2134804347"/>
            <ac:spMk id="93" creationId="{A3F2ACB6-C3D6-4980-BC50-D68B85FE3AB4}"/>
          </ac:spMkLst>
        </pc:spChg>
        <pc:spChg chg="add del mod">
          <ac:chgData name="Yuly Andrea Castaneda Ramirez (CENIT)" userId="9d6b9224-b289-47c8-b6d4-3bf138101243" providerId="ADAL" clId="{20809D37-15FE-439C-AAF0-6BBEA123306F}" dt="2020-07-27T22:12:06.471" v="617"/>
          <ac:spMkLst>
            <pc:docMk/>
            <pc:sldMk cId="3225245280" sldId="2134804347"/>
            <ac:spMk id="94" creationId="{481FA115-F2EA-4E7F-9158-CE84EF2A9027}"/>
          </ac:spMkLst>
        </pc:spChg>
        <pc:spChg chg="add del mod">
          <ac:chgData name="Yuly Andrea Castaneda Ramirez (CENIT)" userId="9d6b9224-b289-47c8-b6d4-3bf138101243" providerId="ADAL" clId="{20809D37-15FE-439C-AAF0-6BBEA123306F}" dt="2020-07-27T22:12:06.471" v="617"/>
          <ac:spMkLst>
            <pc:docMk/>
            <pc:sldMk cId="3225245280" sldId="2134804347"/>
            <ac:spMk id="95" creationId="{7416BC46-14B3-4AF6-B261-202C0E4A9DA4}"/>
          </ac:spMkLst>
        </pc:spChg>
        <pc:spChg chg="add del mod">
          <ac:chgData name="Yuly Andrea Castaneda Ramirez (CENIT)" userId="9d6b9224-b289-47c8-b6d4-3bf138101243" providerId="ADAL" clId="{20809D37-15FE-439C-AAF0-6BBEA123306F}" dt="2020-07-27T22:12:06.471" v="617"/>
          <ac:spMkLst>
            <pc:docMk/>
            <pc:sldMk cId="3225245280" sldId="2134804347"/>
            <ac:spMk id="96" creationId="{C86981A1-964D-441E-A861-28919300D610}"/>
          </ac:spMkLst>
        </pc:spChg>
        <pc:spChg chg="mod">
          <ac:chgData name="Yuly Andrea Castaneda Ramirez (CENIT)" userId="9d6b9224-b289-47c8-b6d4-3bf138101243" providerId="ADAL" clId="{20809D37-15FE-439C-AAF0-6BBEA123306F}" dt="2020-07-27T22:07:00.050" v="546" actId="14100"/>
          <ac:spMkLst>
            <pc:docMk/>
            <pc:sldMk cId="3225245280" sldId="2134804347"/>
            <ac:spMk id="97" creationId="{99300021-C267-43BD-A0F5-B3ECE622345E}"/>
          </ac:spMkLst>
        </pc:spChg>
        <pc:spChg chg="add del mod">
          <ac:chgData name="Yuly Andrea Castaneda Ramirez (CENIT)" userId="9d6b9224-b289-47c8-b6d4-3bf138101243" providerId="ADAL" clId="{20809D37-15FE-439C-AAF0-6BBEA123306F}" dt="2020-07-27T22:12:06.471" v="617"/>
          <ac:spMkLst>
            <pc:docMk/>
            <pc:sldMk cId="3225245280" sldId="2134804347"/>
            <ac:spMk id="98" creationId="{C5E83F86-03BD-44C1-A414-39409EFD5322}"/>
          </ac:spMkLst>
        </pc:spChg>
        <pc:spChg chg="add mod">
          <ac:chgData name="Yuly Andrea Castaneda Ramirez (CENIT)" userId="9d6b9224-b289-47c8-b6d4-3bf138101243" providerId="ADAL" clId="{20809D37-15FE-439C-AAF0-6BBEA123306F}" dt="2020-07-27T22:12:36.137" v="630"/>
          <ac:spMkLst>
            <pc:docMk/>
            <pc:sldMk cId="3225245280" sldId="2134804347"/>
            <ac:spMk id="102" creationId="{B96F32B9-C8DD-46F9-956E-8E03D52C0F41}"/>
          </ac:spMkLst>
        </pc:spChg>
        <pc:spChg chg="add mod">
          <ac:chgData name="Yuly Andrea Castaneda Ramirez (CENIT)" userId="9d6b9224-b289-47c8-b6d4-3bf138101243" providerId="ADAL" clId="{20809D37-15FE-439C-AAF0-6BBEA123306F}" dt="2020-07-27T22:12:36.137" v="630"/>
          <ac:spMkLst>
            <pc:docMk/>
            <pc:sldMk cId="3225245280" sldId="2134804347"/>
            <ac:spMk id="103" creationId="{CFADED31-A026-4175-BA8F-E9EEDB618661}"/>
          </ac:spMkLst>
        </pc:spChg>
        <pc:spChg chg="add mod">
          <ac:chgData name="Yuly Andrea Castaneda Ramirez (CENIT)" userId="9d6b9224-b289-47c8-b6d4-3bf138101243" providerId="ADAL" clId="{20809D37-15FE-439C-AAF0-6BBEA123306F}" dt="2020-07-27T22:12:36.137" v="630"/>
          <ac:spMkLst>
            <pc:docMk/>
            <pc:sldMk cId="3225245280" sldId="2134804347"/>
            <ac:spMk id="104" creationId="{45E4BA50-5C5C-49E7-B47A-4E288555721B}"/>
          </ac:spMkLst>
        </pc:spChg>
        <pc:spChg chg="add mod">
          <ac:chgData name="Yuly Andrea Castaneda Ramirez (CENIT)" userId="9d6b9224-b289-47c8-b6d4-3bf138101243" providerId="ADAL" clId="{20809D37-15FE-439C-AAF0-6BBEA123306F}" dt="2020-07-27T22:12:36.137" v="630"/>
          <ac:spMkLst>
            <pc:docMk/>
            <pc:sldMk cId="3225245280" sldId="2134804347"/>
            <ac:spMk id="105" creationId="{024AAB50-1106-4D17-A526-2466A739E547}"/>
          </ac:spMkLst>
        </pc:spChg>
        <pc:spChg chg="add mod">
          <ac:chgData name="Yuly Andrea Castaneda Ramirez (CENIT)" userId="9d6b9224-b289-47c8-b6d4-3bf138101243" providerId="ADAL" clId="{20809D37-15FE-439C-AAF0-6BBEA123306F}" dt="2020-07-27T22:12:36.137" v="630"/>
          <ac:spMkLst>
            <pc:docMk/>
            <pc:sldMk cId="3225245280" sldId="2134804347"/>
            <ac:spMk id="106" creationId="{C860F367-548C-4F86-9F0E-099751FB5386}"/>
          </ac:spMkLst>
        </pc:spChg>
        <pc:spChg chg="mod">
          <ac:chgData name="Yuly Andrea Castaneda Ramirez (CENIT)" userId="9d6b9224-b289-47c8-b6d4-3bf138101243" providerId="ADAL" clId="{20809D37-15FE-439C-AAF0-6BBEA123306F}" dt="2020-07-27T22:12:36.137" v="630"/>
          <ac:spMkLst>
            <pc:docMk/>
            <pc:sldMk cId="3225245280" sldId="2134804347"/>
            <ac:spMk id="108" creationId="{C20F2854-714F-4D26-9667-45337E3EB94E}"/>
          </ac:spMkLst>
        </pc:spChg>
        <pc:spChg chg="mod">
          <ac:chgData name="Yuly Andrea Castaneda Ramirez (CENIT)" userId="9d6b9224-b289-47c8-b6d4-3bf138101243" providerId="ADAL" clId="{20809D37-15FE-439C-AAF0-6BBEA123306F}" dt="2020-07-27T22:16:58.838" v="666" actId="20577"/>
          <ac:spMkLst>
            <pc:docMk/>
            <pc:sldMk cId="3225245280" sldId="2134804347"/>
            <ac:spMk id="109" creationId="{5EEADFA6-AC99-4B05-8F76-DB574E8A98DA}"/>
          </ac:spMkLst>
        </pc:spChg>
        <pc:spChg chg="mod">
          <ac:chgData name="Yuly Andrea Castaneda Ramirez (CENIT)" userId="9d6b9224-b289-47c8-b6d4-3bf138101243" providerId="ADAL" clId="{20809D37-15FE-439C-AAF0-6BBEA123306F}" dt="2020-07-27T22:15:04.004" v="644" actId="20577"/>
          <ac:spMkLst>
            <pc:docMk/>
            <pc:sldMk cId="3225245280" sldId="2134804347"/>
            <ac:spMk id="111" creationId="{606ABF23-6300-4549-A5B4-07EBD82E876C}"/>
          </ac:spMkLst>
        </pc:spChg>
        <pc:spChg chg="mod">
          <ac:chgData name="Yuly Andrea Castaneda Ramirez (CENIT)" userId="9d6b9224-b289-47c8-b6d4-3bf138101243" providerId="ADAL" clId="{20809D37-15FE-439C-AAF0-6BBEA123306F}" dt="2020-07-27T22:12:36.137" v="630"/>
          <ac:spMkLst>
            <pc:docMk/>
            <pc:sldMk cId="3225245280" sldId="2134804347"/>
            <ac:spMk id="112" creationId="{DC56F305-D03F-48AC-AB08-56E07FD63316}"/>
          </ac:spMkLst>
        </pc:spChg>
        <pc:spChg chg="mod">
          <ac:chgData name="Yuly Andrea Castaneda Ramirez (CENIT)" userId="9d6b9224-b289-47c8-b6d4-3bf138101243" providerId="ADAL" clId="{20809D37-15FE-439C-AAF0-6BBEA123306F}" dt="2020-07-27T22:16:21.386" v="659" actId="14100"/>
          <ac:spMkLst>
            <pc:docMk/>
            <pc:sldMk cId="3225245280" sldId="2134804347"/>
            <ac:spMk id="114" creationId="{77A3B1E2-49E5-4A06-8BDF-B273EE460463}"/>
          </ac:spMkLst>
        </pc:spChg>
        <pc:spChg chg="mod">
          <ac:chgData name="Yuly Andrea Castaneda Ramirez (CENIT)" userId="9d6b9224-b289-47c8-b6d4-3bf138101243" providerId="ADAL" clId="{20809D37-15FE-439C-AAF0-6BBEA123306F}" dt="2020-07-27T22:16:18.445" v="658" actId="1076"/>
          <ac:spMkLst>
            <pc:docMk/>
            <pc:sldMk cId="3225245280" sldId="2134804347"/>
            <ac:spMk id="115" creationId="{15EB3AD0-0C08-4654-B8C7-D33D3CDBF3C1}"/>
          </ac:spMkLst>
        </pc:spChg>
        <pc:spChg chg="add mod">
          <ac:chgData name="Yuly Andrea Castaneda Ramirez (CENIT)" userId="9d6b9224-b289-47c8-b6d4-3bf138101243" providerId="ADAL" clId="{20809D37-15FE-439C-AAF0-6BBEA123306F}" dt="2020-07-27T22:12:36.137" v="630"/>
          <ac:spMkLst>
            <pc:docMk/>
            <pc:sldMk cId="3225245280" sldId="2134804347"/>
            <ac:spMk id="116" creationId="{0D5C8E0C-75B1-4F60-978B-87BC75B4F73E}"/>
          </ac:spMkLst>
        </pc:spChg>
        <pc:spChg chg="add del">
          <ac:chgData name="Yuly Andrea Castaneda Ramirez (CENIT)" userId="9d6b9224-b289-47c8-b6d4-3bf138101243" providerId="ADAL" clId="{20809D37-15FE-439C-AAF0-6BBEA123306F}" dt="2020-07-27T22:12:28.463" v="629" actId="478"/>
          <ac:spMkLst>
            <pc:docMk/>
            <pc:sldMk cId="3225245280" sldId="2134804347"/>
            <ac:spMk id="117" creationId="{8960734A-1053-42D2-BD72-6674DCCE6A97}"/>
          </ac:spMkLst>
        </pc:spChg>
        <pc:spChg chg="add del">
          <ac:chgData name="Yuly Andrea Castaneda Ramirez (CENIT)" userId="9d6b9224-b289-47c8-b6d4-3bf138101243" providerId="ADAL" clId="{20809D37-15FE-439C-AAF0-6BBEA123306F}" dt="2020-07-27T22:12:28.463" v="629" actId="478"/>
          <ac:spMkLst>
            <pc:docMk/>
            <pc:sldMk cId="3225245280" sldId="2134804347"/>
            <ac:spMk id="118" creationId="{C77431EE-A761-4323-B75F-692D4CAEC462}"/>
          </ac:spMkLst>
        </pc:spChg>
        <pc:spChg chg="add del">
          <ac:chgData name="Yuly Andrea Castaneda Ramirez (CENIT)" userId="9d6b9224-b289-47c8-b6d4-3bf138101243" providerId="ADAL" clId="{20809D37-15FE-439C-AAF0-6BBEA123306F}" dt="2020-07-27T22:12:28.463" v="629" actId="478"/>
          <ac:spMkLst>
            <pc:docMk/>
            <pc:sldMk cId="3225245280" sldId="2134804347"/>
            <ac:spMk id="119" creationId="{A66DDFF6-8990-4632-9B16-3852035C81BA}"/>
          </ac:spMkLst>
        </pc:spChg>
        <pc:spChg chg="add mod">
          <ac:chgData name="Yuly Andrea Castaneda Ramirez (CENIT)" userId="9d6b9224-b289-47c8-b6d4-3bf138101243" providerId="ADAL" clId="{20809D37-15FE-439C-AAF0-6BBEA123306F}" dt="2020-07-27T22:14:31.094" v="637" actId="20577"/>
          <ac:spMkLst>
            <pc:docMk/>
            <pc:sldMk cId="3225245280" sldId="2134804347"/>
            <ac:spMk id="120" creationId="{D377565B-0CDB-41A7-9B7E-6314304F4D8B}"/>
          </ac:spMkLst>
        </pc:spChg>
        <pc:spChg chg="add mod">
          <ac:chgData name="Yuly Andrea Castaneda Ramirez (CENIT)" userId="9d6b9224-b289-47c8-b6d4-3bf138101243" providerId="ADAL" clId="{20809D37-15FE-439C-AAF0-6BBEA123306F}" dt="2020-07-27T22:12:36.137" v="630"/>
          <ac:spMkLst>
            <pc:docMk/>
            <pc:sldMk cId="3225245280" sldId="2134804347"/>
            <ac:spMk id="121" creationId="{92658A65-3BF4-46B8-B66C-95A7D7D16E85}"/>
          </ac:spMkLst>
        </pc:spChg>
        <pc:spChg chg="add mod">
          <ac:chgData name="Yuly Andrea Castaneda Ramirez (CENIT)" userId="9d6b9224-b289-47c8-b6d4-3bf138101243" providerId="ADAL" clId="{20809D37-15FE-439C-AAF0-6BBEA123306F}" dt="2020-07-27T22:16:54.516" v="664" actId="20577"/>
          <ac:spMkLst>
            <pc:docMk/>
            <pc:sldMk cId="3225245280" sldId="2134804347"/>
            <ac:spMk id="122" creationId="{8E1A3EA7-EB49-48D7-A032-F1442013F701}"/>
          </ac:spMkLst>
        </pc:spChg>
        <pc:spChg chg="add mod">
          <ac:chgData name="Yuly Andrea Castaneda Ramirez (CENIT)" userId="9d6b9224-b289-47c8-b6d4-3bf138101243" providerId="ADAL" clId="{20809D37-15FE-439C-AAF0-6BBEA123306F}" dt="2020-07-27T22:12:36.137" v="630"/>
          <ac:spMkLst>
            <pc:docMk/>
            <pc:sldMk cId="3225245280" sldId="2134804347"/>
            <ac:spMk id="123" creationId="{24FAE5DC-7E4D-4DB7-ADC4-C3A74A096DFB}"/>
          </ac:spMkLst>
        </pc:spChg>
        <pc:spChg chg="add mod">
          <ac:chgData name="Yuly Andrea Castaneda Ramirez (CENIT)" userId="9d6b9224-b289-47c8-b6d4-3bf138101243" providerId="ADAL" clId="{20809D37-15FE-439C-AAF0-6BBEA123306F}" dt="2020-07-27T22:16:10.086" v="657" actId="20577"/>
          <ac:spMkLst>
            <pc:docMk/>
            <pc:sldMk cId="3225245280" sldId="2134804347"/>
            <ac:spMk id="124" creationId="{365BB008-880B-4CA6-8668-ADF51B0D3426}"/>
          </ac:spMkLst>
        </pc:spChg>
        <pc:spChg chg="add mod">
          <ac:chgData name="Yuly Andrea Castaneda Ramirez (CENIT)" userId="9d6b9224-b289-47c8-b6d4-3bf138101243" providerId="ADAL" clId="{20809D37-15FE-439C-AAF0-6BBEA123306F}" dt="2020-07-27T22:12:36.137" v="630"/>
          <ac:spMkLst>
            <pc:docMk/>
            <pc:sldMk cId="3225245280" sldId="2134804347"/>
            <ac:spMk id="125" creationId="{0210704A-0B63-43B8-B214-88F30F6F5A9A}"/>
          </ac:spMkLst>
        </pc:spChg>
        <pc:spChg chg="add mod">
          <ac:chgData name="Yuly Andrea Castaneda Ramirez (CENIT)" userId="9d6b9224-b289-47c8-b6d4-3bf138101243" providerId="ADAL" clId="{20809D37-15FE-439C-AAF0-6BBEA123306F}" dt="2020-07-27T22:14:42.244" v="640" actId="20577"/>
          <ac:spMkLst>
            <pc:docMk/>
            <pc:sldMk cId="3225245280" sldId="2134804347"/>
            <ac:spMk id="126" creationId="{1B625495-01EC-47BE-936D-FCB6474F12A3}"/>
          </ac:spMkLst>
        </pc:spChg>
        <pc:spChg chg="add mod">
          <ac:chgData name="Yuly Andrea Castaneda Ramirez (CENIT)" userId="9d6b9224-b289-47c8-b6d4-3bf138101243" providerId="ADAL" clId="{20809D37-15FE-439C-AAF0-6BBEA123306F}" dt="2020-07-27T22:12:36.137" v="630"/>
          <ac:spMkLst>
            <pc:docMk/>
            <pc:sldMk cId="3225245280" sldId="2134804347"/>
            <ac:spMk id="127" creationId="{50B7BAA7-A31D-437D-98EC-A2EEFCFA0EE0}"/>
          </ac:spMkLst>
        </pc:spChg>
        <pc:spChg chg="add mod">
          <ac:chgData name="Yuly Andrea Castaneda Ramirez (CENIT)" userId="9d6b9224-b289-47c8-b6d4-3bf138101243" providerId="ADAL" clId="{20809D37-15FE-439C-AAF0-6BBEA123306F}" dt="2020-07-27T22:15:36.875" v="651" actId="20577"/>
          <ac:spMkLst>
            <pc:docMk/>
            <pc:sldMk cId="3225245280" sldId="2134804347"/>
            <ac:spMk id="128" creationId="{64673F48-F641-4C58-8C99-0D3B34C67D63}"/>
          </ac:spMkLst>
        </pc:spChg>
        <pc:spChg chg="add mod">
          <ac:chgData name="Yuly Andrea Castaneda Ramirez (CENIT)" userId="9d6b9224-b289-47c8-b6d4-3bf138101243" providerId="ADAL" clId="{20809D37-15FE-439C-AAF0-6BBEA123306F}" dt="2020-07-27T22:12:36.137" v="630"/>
          <ac:spMkLst>
            <pc:docMk/>
            <pc:sldMk cId="3225245280" sldId="2134804347"/>
            <ac:spMk id="129" creationId="{99DDFE88-F4B6-4F2E-9670-B2764B91B976}"/>
          </ac:spMkLst>
        </pc:spChg>
        <pc:spChg chg="add mod">
          <ac:chgData name="Yuly Andrea Castaneda Ramirez (CENIT)" userId="9d6b9224-b289-47c8-b6d4-3bf138101243" providerId="ADAL" clId="{20809D37-15FE-439C-AAF0-6BBEA123306F}" dt="2020-07-27T22:16:34.183" v="662" actId="20577"/>
          <ac:spMkLst>
            <pc:docMk/>
            <pc:sldMk cId="3225245280" sldId="2134804347"/>
            <ac:spMk id="130" creationId="{AA94FD5D-CEA8-40A7-8EAE-0C5655D9B18E}"/>
          </ac:spMkLst>
        </pc:spChg>
        <pc:spChg chg="mod">
          <ac:chgData name="Yuly Andrea Castaneda Ramirez (CENIT)" userId="9d6b9224-b289-47c8-b6d4-3bf138101243" providerId="ADAL" clId="{20809D37-15FE-439C-AAF0-6BBEA123306F}" dt="2020-07-27T21:06:19.022" v="58" actId="20577"/>
          <ac:spMkLst>
            <pc:docMk/>
            <pc:sldMk cId="3225245280" sldId="2134804347"/>
            <ac:spMk id="135" creationId="{C1823568-A421-4254-9106-BAEB76F16B72}"/>
          </ac:spMkLst>
        </pc:spChg>
        <pc:grpChg chg="add del">
          <ac:chgData name="Yuly Andrea Castaneda Ramirez (CENIT)" userId="9d6b9224-b289-47c8-b6d4-3bf138101243" providerId="ADAL" clId="{20809D37-15FE-439C-AAF0-6BBEA123306F}" dt="2020-07-27T22:12:28.463" v="629" actId="478"/>
          <ac:grpSpMkLst>
            <pc:docMk/>
            <pc:sldMk cId="3225245280" sldId="2134804347"/>
            <ac:grpSpMk id="26" creationId="{5B1CDA9C-37CE-441A-94E7-5A5F38503613}"/>
          </ac:grpSpMkLst>
        </pc:grpChg>
        <pc:grpChg chg="add del">
          <ac:chgData name="Yuly Andrea Castaneda Ramirez (CENIT)" userId="9d6b9224-b289-47c8-b6d4-3bf138101243" providerId="ADAL" clId="{20809D37-15FE-439C-AAF0-6BBEA123306F}" dt="2020-07-27T22:12:28.463" v="629" actId="478"/>
          <ac:grpSpMkLst>
            <pc:docMk/>
            <pc:sldMk cId="3225245280" sldId="2134804347"/>
            <ac:grpSpMk id="31" creationId="{A0B07E6C-42EA-42D4-BF18-74CF8467911A}"/>
          </ac:grpSpMkLst>
        </pc:grpChg>
        <pc:grpChg chg="add del mod">
          <ac:chgData name="Yuly Andrea Castaneda Ramirez (CENIT)" userId="9d6b9224-b289-47c8-b6d4-3bf138101243" providerId="ADAL" clId="{20809D37-15FE-439C-AAF0-6BBEA123306F}" dt="2020-07-27T22:12:28.463" v="629" actId="478"/>
          <ac:grpSpMkLst>
            <pc:docMk/>
            <pc:sldMk cId="3225245280" sldId="2134804347"/>
            <ac:grpSpMk id="37" creationId="{33A4F641-6F0E-462A-898E-0641B151AA65}"/>
          </ac:grpSpMkLst>
        </pc:grpChg>
        <pc:grpChg chg="add del mod">
          <ac:chgData name="Yuly Andrea Castaneda Ramirez (CENIT)" userId="9d6b9224-b289-47c8-b6d4-3bf138101243" providerId="ADAL" clId="{20809D37-15FE-439C-AAF0-6BBEA123306F}" dt="2020-07-27T22:12:06.471" v="617"/>
          <ac:grpSpMkLst>
            <pc:docMk/>
            <pc:sldMk cId="3225245280" sldId="2134804347"/>
            <ac:grpSpMk id="75" creationId="{6C917912-780F-41CE-9485-76539DCDF27A}"/>
          </ac:grpSpMkLst>
        </pc:grpChg>
        <pc:grpChg chg="add del mod">
          <ac:chgData name="Yuly Andrea Castaneda Ramirez (CENIT)" userId="9d6b9224-b289-47c8-b6d4-3bf138101243" providerId="ADAL" clId="{20809D37-15FE-439C-AAF0-6BBEA123306F}" dt="2020-07-27T22:12:06.471" v="617"/>
          <ac:grpSpMkLst>
            <pc:docMk/>
            <pc:sldMk cId="3225245280" sldId="2134804347"/>
            <ac:grpSpMk id="78" creationId="{E3BDD08D-BBAE-41C0-975F-A3206965C467}"/>
          </ac:grpSpMkLst>
        </pc:grpChg>
        <pc:grpChg chg="add del mod">
          <ac:chgData name="Yuly Andrea Castaneda Ramirez (CENIT)" userId="9d6b9224-b289-47c8-b6d4-3bf138101243" providerId="ADAL" clId="{20809D37-15FE-439C-AAF0-6BBEA123306F}" dt="2020-07-27T22:12:06.471" v="617"/>
          <ac:grpSpMkLst>
            <pc:docMk/>
            <pc:sldMk cId="3225245280" sldId="2134804347"/>
            <ac:grpSpMk id="81" creationId="{3FD4211B-1381-4363-BAAD-FC166D7465EC}"/>
          </ac:grpSpMkLst>
        </pc:grpChg>
        <pc:grpChg chg="add mod">
          <ac:chgData name="Yuly Andrea Castaneda Ramirez (CENIT)" userId="9d6b9224-b289-47c8-b6d4-3bf138101243" providerId="ADAL" clId="{20809D37-15FE-439C-AAF0-6BBEA123306F}" dt="2020-07-27T22:12:36.137" v="630"/>
          <ac:grpSpMkLst>
            <pc:docMk/>
            <pc:sldMk cId="3225245280" sldId="2134804347"/>
            <ac:grpSpMk id="107" creationId="{FBAD03AC-C73E-4701-B989-793F8E1E9D2D}"/>
          </ac:grpSpMkLst>
        </pc:grpChg>
        <pc:grpChg chg="add mod">
          <ac:chgData name="Yuly Andrea Castaneda Ramirez (CENIT)" userId="9d6b9224-b289-47c8-b6d4-3bf138101243" providerId="ADAL" clId="{20809D37-15FE-439C-AAF0-6BBEA123306F}" dt="2020-07-27T22:12:36.137" v="630"/>
          <ac:grpSpMkLst>
            <pc:docMk/>
            <pc:sldMk cId="3225245280" sldId="2134804347"/>
            <ac:grpSpMk id="110" creationId="{C4B98B9D-649B-4278-A04C-A7248F5B4966}"/>
          </ac:grpSpMkLst>
        </pc:grpChg>
        <pc:grpChg chg="add mod">
          <ac:chgData name="Yuly Andrea Castaneda Ramirez (CENIT)" userId="9d6b9224-b289-47c8-b6d4-3bf138101243" providerId="ADAL" clId="{20809D37-15FE-439C-AAF0-6BBEA123306F}" dt="2020-07-27T22:12:36.137" v="630"/>
          <ac:grpSpMkLst>
            <pc:docMk/>
            <pc:sldMk cId="3225245280" sldId="2134804347"/>
            <ac:grpSpMk id="113" creationId="{0954B190-3C56-4795-8C1B-0587851BF8FA}"/>
          </ac:grpSpMkLst>
        </pc:grpChg>
      </pc:sldChg>
      <pc:sldChg chg="addSp delSp modSp add mod">
        <pc:chgData name="Yuly Andrea Castaneda Ramirez (CENIT)" userId="9d6b9224-b289-47c8-b6d4-3bf138101243" providerId="ADAL" clId="{20809D37-15FE-439C-AAF0-6BBEA123306F}" dt="2020-07-27T22:17:09.261" v="668"/>
        <pc:sldMkLst>
          <pc:docMk/>
          <pc:sldMk cId="335391689" sldId="2134804348"/>
        </pc:sldMkLst>
        <pc:spChg chg="mod">
          <ac:chgData name="Yuly Andrea Castaneda Ramirez (CENIT)" userId="9d6b9224-b289-47c8-b6d4-3bf138101243" providerId="ADAL" clId="{20809D37-15FE-439C-AAF0-6BBEA123306F}" dt="2020-07-27T21:45:19.840" v="418" actId="20577"/>
          <ac:spMkLst>
            <pc:docMk/>
            <pc:sldMk cId="335391689" sldId="2134804348"/>
            <ac:spMk id="3" creationId="{815B10B7-60B3-4C63-8431-70CC556387C9}"/>
          </ac:spMkLst>
        </pc:spChg>
        <pc:spChg chg="del">
          <ac:chgData name="Yuly Andrea Castaneda Ramirez (CENIT)" userId="9d6b9224-b289-47c8-b6d4-3bf138101243" providerId="ADAL" clId="{20809D37-15FE-439C-AAF0-6BBEA123306F}" dt="2020-07-27T21:44:40.908" v="394" actId="478"/>
          <ac:spMkLst>
            <pc:docMk/>
            <pc:sldMk cId="335391689" sldId="2134804348"/>
            <ac:spMk id="6" creationId="{D96F8713-29A5-4310-8564-F011CFCB1066}"/>
          </ac:spMkLst>
        </pc:spChg>
        <pc:spChg chg="del">
          <ac:chgData name="Yuly Andrea Castaneda Ramirez (CENIT)" userId="9d6b9224-b289-47c8-b6d4-3bf138101243" providerId="ADAL" clId="{20809D37-15FE-439C-AAF0-6BBEA123306F}" dt="2020-07-27T21:55:16.952" v="444" actId="478"/>
          <ac:spMkLst>
            <pc:docMk/>
            <pc:sldMk cId="335391689" sldId="2134804348"/>
            <ac:spMk id="7" creationId="{6E720954-0AD5-4F0E-9897-4BDFCFA126CC}"/>
          </ac:spMkLst>
        </pc:spChg>
        <pc:spChg chg="mod">
          <ac:chgData name="Yuly Andrea Castaneda Ramirez (CENIT)" userId="9d6b9224-b289-47c8-b6d4-3bf138101243" providerId="ADAL" clId="{20809D37-15FE-439C-AAF0-6BBEA123306F}" dt="2020-07-27T21:45:49.992" v="422" actId="20577"/>
          <ac:spMkLst>
            <pc:docMk/>
            <pc:sldMk cId="335391689" sldId="2134804348"/>
            <ac:spMk id="8" creationId="{2E27193E-8A49-44E9-91B8-50C765DA6DDA}"/>
          </ac:spMkLst>
        </pc:spChg>
        <pc:spChg chg="mod">
          <ac:chgData name="Yuly Andrea Castaneda Ramirez (CENIT)" userId="9d6b9224-b289-47c8-b6d4-3bf138101243" providerId="ADAL" clId="{20809D37-15FE-439C-AAF0-6BBEA123306F}" dt="2020-07-27T21:57:16.282" v="458" actId="1035"/>
          <ac:spMkLst>
            <pc:docMk/>
            <pc:sldMk cId="335391689" sldId="2134804348"/>
            <ac:spMk id="9" creationId="{044EA7DA-DC7D-4022-9DEC-F3B676A62032}"/>
          </ac:spMkLst>
        </pc:spChg>
        <pc:spChg chg="mod">
          <ac:chgData name="Yuly Andrea Castaneda Ramirez (CENIT)" userId="9d6b9224-b289-47c8-b6d4-3bf138101243" providerId="ADAL" clId="{20809D37-15FE-439C-AAF0-6BBEA123306F}" dt="2020-07-27T21:57:23.124" v="460" actId="20577"/>
          <ac:spMkLst>
            <pc:docMk/>
            <pc:sldMk cId="335391689" sldId="2134804348"/>
            <ac:spMk id="10" creationId="{1C27DADA-AD5A-4DFF-A22B-78E230D3896D}"/>
          </ac:spMkLst>
        </pc:spChg>
        <pc:spChg chg="mod">
          <ac:chgData name="Yuly Andrea Castaneda Ramirez (CENIT)" userId="9d6b9224-b289-47c8-b6d4-3bf138101243" providerId="ADAL" clId="{20809D37-15FE-439C-AAF0-6BBEA123306F}" dt="2020-07-27T21:38:10.491" v="314"/>
          <ac:spMkLst>
            <pc:docMk/>
            <pc:sldMk cId="335391689" sldId="2134804348"/>
            <ac:spMk id="11" creationId="{772CA61D-742C-45F0-BAFA-0F3B90176E98}"/>
          </ac:spMkLst>
        </pc:spChg>
        <pc:spChg chg="mod">
          <ac:chgData name="Yuly Andrea Castaneda Ramirez (CENIT)" userId="9d6b9224-b289-47c8-b6d4-3bf138101243" providerId="ADAL" clId="{20809D37-15FE-439C-AAF0-6BBEA123306F}" dt="2020-07-27T21:44:53.309" v="398" actId="20577"/>
          <ac:spMkLst>
            <pc:docMk/>
            <pc:sldMk cId="335391689" sldId="2134804348"/>
            <ac:spMk id="12" creationId="{7F3CEC4C-7588-4B74-823D-9CF22E2DAD79}"/>
          </ac:spMkLst>
        </pc:spChg>
        <pc:spChg chg="add del mod">
          <ac:chgData name="Yuly Andrea Castaneda Ramirez (CENIT)" userId="9d6b9224-b289-47c8-b6d4-3bf138101243" providerId="ADAL" clId="{20809D37-15FE-439C-AAF0-6BBEA123306F}" dt="2020-07-27T22:17:04.430" v="667" actId="478"/>
          <ac:spMkLst>
            <pc:docMk/>
            <pc:sldMk cId="335391689" sldId="2134804348"/>
            <ac:spMk id="13" creationId="{C9BAEC3F-A2FE-4536-B708-38E230C58F3B}"/>
          </ac:spMkLst>
        </pc:spChg>
        <pc:spChg chg="mod">
          <ac:chgData name="Yuly Andrea Castaneda Ramirez (CENIT)" userId="9d6b9224-b289-47c8-b6d4-3bf138101243" providerId="ADAL" clId="{20809D37-15FE-439C-AAF0-6BBEA123306F}" dt="2020-07-27T21:58:37.652" v="493" actId="1035"/>
          <ac:spMkLst>
            <pc:docMk/>
            <pc:sldMk cId="335391689" sldId="2134804348"/>
            <ac:spMk id="14" creationId="{6FCAE7F4-D309-4A31-A5D2-C6A035E0EF82}"/>
          </ac:spMkLst>
        </pc:spChg>
        <pc:spChg chg="mod">
          <ac:chgData name="Yuly Andrea Castaneda Ramirez (CENIT)" userId="9d6b9224-b289-47c8-b6d4-3bf138101243" providerId="ADAL" clId="{20809D37-15FE-439C-AAF0-6BBEA123306F}" dt="2020-07-27T21:58:37.652" v="493" actId="1035"/>
          <ac:spMkLst>
            <pc:docMk/>
            <pc:sldMk cId="335391689" sldId="2134804348"/>
            <ac:spMk id="15" creationId="{EC155108-24C9-41BB-AFB7-1D8B4E0A3839}"/>
          </ac:spMkLst>
        </pc:spChg>
        <pc:spChg chg="mod">
          <ac:chgData name="Yuly Andrea Castaneda Ramirez (CENIT)" userId="9d6b9224-b289-47c8-b6d4-3bf138101243" providerId="ADAL" clId="{20809D37-15FE-439C-AAF0-6BBEA123306F}" dt="2020-07-27T21:58:50.208" v="496" actId="12788"/>
          <ac:spMkLst>
            <pc:docMk/>
            <pc:sldMk cId="335391689" sldId="2134804348"/>
            <ac:spMk id="16" creationId="{E4BC2CA1-2901-471E-A924-486FA0786DAE}"/>
          </ac:spMkLst>
        </pc:spChg>
        <pc:spChg chg="del mod">
          <ac:chgData name="Yuly Andrea Castaneda Ramirez (CENIT)" userId="9d6b9224-b289-47c8-b6d4-3bf138101243" providerId="ADAL" clId="{20809D37-15FE-439C-AAF0-6BBEA123306F}" dt="2020-07-27T21:58:09.085" v="478" actId="478"/>
          <ac:spMkLst>
            <pc:docMk/>
            <pc:sldMk cId="335391689" sldId="2134804348"/>
            <ac:spMk id="17" creationId="{5EAC5110-AE72-47ED-96D9-528A91DC5957}"/>
          </ac:spMkLst>
        </pc:spChg>
        <pc:spChg chg="mod">
          <ac:chgData name="Yuly Andrea Castaneda Ramirez (CENIT)" userId="9d6b9224-b289-47c8-b6d4-3bf138101243" providerId="ADAL" clId="{20809D37-15FE-439C-AAF0-6BBEA123306F}" dt="2020-07-27T22:00:43.855" v="524" actId="313"/>
          <ac:spMkLst>
            <pc:docMk/>
            <pc:sldMk cId="335391689" sldId="2134804348"/>
            <ac:spMk id="18" creationId="{B9A102DE-B6E2-4A96-917C-4764462F2DDA}"/>
          </ac:spMkLst>
        </pc:spChg>
        <pc:spChg chg="add del mod">
          <ac:chgData name="Yuly Andrea Castaneda Ramirez (CENIT)" userId="9d6b9224-b289-47c8-b6d4-3bf138101243" providerId="ADAL" clId="{20809D37-15FE-439C-AAF0-6BBEA123306F}" dt="2020-07-27T21:57:29.899" v="463" actId="20577"/>
          <ac:spMkLst>
            <pc:docMk/>
            <pc:sldMk cId="335391689" sldId="2134804348"/>
            <ac:spMk id="19" creationId="{70675E72-95A3-4317-B24A-EF51AC8AE239}"/>
          </ac:spMkLst>
        </pc:spChg>
        <pc:spChg chg="add del mod">
          <ac:chgData name="Yuly Andrea Castaneda Ramirez (CENIT)" userId="9d6b9224-b289-47c8-b6d4-3bf138101243" providerId="ADAL" clId="{20809D37-15FE-439C-AAF0-6BBEA123306F}" dt="2020-07-27T22:17:04.430" v="667" actId="478"/>
          <ac:spMkLst>
            <pc:docMk/>
            <pc:sldMk cId="335391689" sldId="2134804348"/>
            <ac:spMk id="20" creationId="{91886273-5A61-45EC-996D-906F8DD4AEC3}"/>
          </ac:spMkLst>
        </pc:spChg>
        <pc:spChg chg="add mod">
          <ac:chgData name="Yuly Andrea Castaneda Ramirez (CENIT)" userId="9d6b9224-b289-47c8-b6d4-3bf138101243" providerId="ADAL" clId="{20809D37-15FE-439C-AAF0-6BBEA123306F}" dt="2020-07-27T21:40:33.942" v="351" actId="1076"/>
          <ac:spMkLst>
            <pc:docMk/>
            <pc:sldMk cId="335391689" sldId="2134804348"/>
            <ac:spMk id="21" creationId="{E2738FDF-0742-473E-B459-0FA49EB64687}"/>
          </ac:spMkLst>
        </pc:spChg>
        <pc:spChg chg="del">
          <ac:chgData name="Yuly Andrea Castaneda Ramirez (CENIT)" userId="9d6b9224-b289-47c8-b6d4-3bf138101243" providerId="ADAL" clId="{20809D37-15FE-439C-AAF0-6BBEA123306F}" dt="2020-07-27T21:40:30.654" v="350" actId="478"/>
          <ac:spMkLst>
            <pc:docMk/>
            <pc:sldMk cId="335391689" sldId="2134804348"/>
            <ac:spMk id="22" creationId="{53E538FE-3283-40FB-A5F0-3E57246B6EFA}"/>
          </ac:spMkLst>
        </pc:spChg>
        <pc:spChg chg="add del mod">
          <ac:chgData name="Yuly Andrea Castaneda Ramirez (CENIT)" userId="9d6b9224-b289-47c8-b6d4-3bf138101243" providerId="ADAL" clId="{20809D37-15FE-439C-AAF0-6BBEA123306F}" dt="2020-07-27T22:17:04.430" v="667" actId="478"/>
          <ac:spMkLst>
            <pc:docMk/>
            <pc:sldMk cId="335391689" sldId="2134804348"/>
            <ac:spMk id="23" creationId="{F9E88D09-9AD8-4AF9-A780-C82EAAC2DDB0}"/>
          </ac:spMkLst>
        </pc:spChg>
        <pc:spChg chg="add del mod">
          <ac:chgData name="Yuly Andrea Castaneda Ramirez (CENIT)" userId="9d6b9224-b289-47c8-b6d4-3bf138101243" providerId="ADAL" clId="{20809D37-15FE-439C-AAF0-6BBEA123306F}" dt="2020-07-27T22:17:04.430" v="667" actId="478"/>
          <ac:spMkLst>
            <pc:docMk/>
            <pc:sldMk cId="335391689" sldId="2134804348"/>
            <ac:spMk id="24" creationId="{CB568A14-610E-4EE4-8063-F08B2B6A8B80}"/>
          </ac:spMkLst>
        </pc:spChg>
        <pc:spChg chg="del mod">
          <ac:chgData name="Yuly Andrea Castaneda Ramirez (CENIT)" userId="9d6b9224-b289-47c8-b6d4-3bf138101243" providerId="ADAL" clId="{20809D37-15FE-439C-AAF0-6BBEA123306F}" dt="2020-07-27T21:59:49.801" v="499" actId="478"/>
          <ac:spMkLst>
            <pc:docMk/>
            <pc:sldMk cId="335391689" sldId="2134804348"/>
            <ac:spMk id="25" creationId="{52F94A51-0420-4FE6-A012-EEC8917EB93D}"/>
          </ac:spMkLst>
        </pc:spChg>
        <pc:spChg chg="mod">
          <ac:chgData name="Yuly Andrea Castaneda Ramirez (CENIT)" userId="9d6b9224-b289-47c8-b6d4-3bf138101243" providerId="ADAL" clId="{20809D37-15FE-439C-AAF0-6BBEA123306F}" dt="2020-07-27T21:40:53.676" v="353"/>
          <ac:spMkLst>
            <pc:docMk/>
            <pc:sldMk cId="335391689" sldId="2134804348"/>
            <ac:spMk id="30" creationId="{5BF08848-45AE-451C-A99D-7322CF796742}"/>
          </ac:spMkLst>
        </pc:spChg>
        <pc:spChg chg="mod">
          <ac:chgData name="Yuly Andrea Castaneda Ramirez (CENIT)" userId="9d6b9224-b289-47c8-b6d4-3bf138101243" providerId="ADAL" clId="{20809D37-15FE-439C-AAF0-6BBEA123306F}" dt="2020-07-27T21:45:47.434" v="421" actId="20577"/>
          <ac:spMkLst>
            <pc:docMk/>
            <pc:sldMk cId="335391689" sldId="2134804348"/>
            <ac:spMk id="34" creationId="{2858742F-5FD0-4B7E-9334-0D1DB2CF525E}"/>
          </ac:spMkLst>
        </pc:spChg>
        <pc:spChg chg="del">
          <ac:chgData name="Yuly Andrea Castaneda Ramirez (CENIT)" userId="9d6b9224-b289-47c8-b6d4-3bf138101243" providerId="ADAL" clId="{20809D37-15FE-439C-AAF0-6BBEA123306F}" dt="2020-07-27T21:42:16.802" v="366" actId="478"/>
          <ac:spMkLst>
            <pc:docMk/>
            <pc:sldMk cId="335391689" sldId="2134804348"/>
            <ac:spMk id="35" creationId="{5F2982C9-1317-4114-BC67-9EA6763899B8}"/>
          </ac:spMkLst>
        </pc:spChg>
        <pc:spChg chg="mod">
          <ac:chgData name="Yuly Andrea Castaneda Ramirez (CENIT)" userId="9d6b9224-b289-47c8-b6d4-3bf138101243" providerId="ADAL" clId="{20809D37-15FE-439C-AAF0-6BBEA123306F}" dt="2020-07-27T21:44:47.215" v="396" actId="313"/>
          <ac:spMkLst>
            <pc:docMk/>
            <pc:sldMk cId="335391689" sldId="2134804348"/>
            <ac:spMk id="36" creationId="{80930BAD-CC8E-47DD-9473-5B8864A2680A}"/>
          </ac:spMkLst>
        </pc:spChg>
        <pc:spChg chg="mod">
          <ac:chgData name="Yuly Andrea Castaneda Ramirez (CENIT)" userId="9d6b9224-b289-47c8-b6d4-3bf138101243" providerId="ADAL" clId="{20809D37-15FE-439C-AAF0-6BBEA123306F}" dt="2020-07-27T21:45:52.715" v="423" actId="20577"/>
          <ac:spMkLst>
            <pc:docMk/>
            <pc:sldMk cId="335391689" sldId="2134804348"/>
            <ac:spMk id="40" creationId="{F9005A44-E530-4972-BBE0-B3ED015A6ED4}"/>
          </ac:spMkLst>
        </pc:spChg>
        <pc:spChg chg="mod">
          <ac:chgData name="Yuly Andrea Castaneda Ramirez (CENIT)" userId="9d6b9224-b289-47c8-b6d4-3bf138101243" providerId="ADAL" clId="{20809D37-15FE-439C-AAF0-6BBEA123306F}" dt="2020-07-27T21:42:36.428" v="368"/>
          <ac:spMkLst>
            <pc:docMk/>
            <pc:sldMk cId="335391689" sldId="2134804348"/>
            <ac:spMk id="41" creationId="{A6323A01-8860-4B1B-BDAF-6B75ABC06BEC}"/>
          </ac:spMkLst>
        </pc:spChg>
        <pc:spChg chg="mod">
          <ac:chgData name="Yuly Andrea Castaneda Ramirez (CENIT)" userId="9d6b9224-b289-47c8-b6d4-3bf138101243" providerId="ADAL" clId="{20809D37-15FE-439C-AAF0-6BBEA123306F}" dt="2020-07-27T21:57:16.282" v="458" actId="1035"/>
          <ac:spMkLst>
            <pc:docMk/>
            <pc:sldMk cId="335391689" sldId="2134804348"/>
            <ac:spMk id="42" creationId="{4101169F-B3FD-425D-90F0-D9CCBE1BF3D2}"/>
          </ac:spMkLst>
        </pc:spChg>
        <pc:spChg chg="mod">
          <ac:chgData name="Yuly Andrea Castaneda Ramirez (CENIT)" userId="9d6b9224-b289-47c8-b6d4-3bf138101243" providerId="ADAL" clId="{20809D37-15FE-439C-AAF0-6BBEA123306F}" dt="2020-07-27T21:57:21.191" v="459" actId="20577"/>
          <ac:spMkLst>
            <pc:docMk/>
            <pc:sldMk cId="335391689" sldId="2134804348"/>
            <ac:spMk id="43" creationId="{34452114-CA9E-44D1-9755-DF275F1BF2A9}"/>
          </ac:spMkLst>
        </pc:spChg>
        <pc:spChg chg="add mod">
          <ac:chgData name="Yuly Andrea Castaneda Ramirez (CENIT)" userId="9d6b9224-b289-47c8-b6d4-3bf138101243" providerId="ADAL" clId="{20809D37-15FE-439C-AAF0-6BBEA123306F}" dt="2020-07-27T21:42:21.124" v="367" actId="1076"/>
          <ac:spMkLst>
            <pc:docMk/>
            <pc:sldMk cId="335391689" sldId="2134804348"/>
            <ac:spMk id="44" creationId="{4EFA847F-1C48-4D9F-B34E-65102CE660F2}"/>
          </ac:spMkLst>
        </pc:spChg>
        <pc:spChg chg="del">
          <ac:chgData name="Yuly Andrea Castaneda Ramirez (CENIT)" userId="9d6b9224-b289-47c8-b6d4-3bf138101243" providerId="ADAL" clId="{20809D37-15FE-439C-AAF0-6BBEA123306F}" dt="2020-07-27T21:44:05.559" v="389" actId="478"/>
          <ac:spMkLst>
            <pc:docMk/>
            <pc:sldMk cId="335391689" sldId="2134804348"/>
            <ac:spMk id="45" creationId="{476FBBD3-1877-4B8E-A2BA-965C36FBD73D}"/>
          </ac:spMkLst>
        </pc:spChg>
        <pc:spChg chg="del mod">
          <ac:chgData name="Yuly Andrea Castaneda Ramirez (CENIT)" userId="9d6b9224-b289-47c8-b6d4-3bf138101243" providerId="ADAL" clId="{20809D37-15FE-439C-AAF0-6BBEA123306F}" dt="2020-07-27T22:17:04.430" v="667" actId="478"/>
          <ac:spMkLst>
            <pc:docMk/>
            <pc:sldMk cId="335391689" sldId="2134804348"/>
            <ac:spMk id="46" creationId="{BA5C247C-3C05-46FC-95C2-E68EAA1029EF}"/>
          </ac:spMkLst>
        </pc:spChg>
        <pc:spChg chg="del mod">
          <ac:chgData name="Yuly Andrea Castaneda Ramirez (CENIT)" userId="9d6b9224-b289-47c8-b6d4-3bf138101243" providerId="ADAL" clId="{20809D37-15FE-439C-AAF0-6BBEA123306F}" dt="2020-07-27T22:17:04.430" v="667" actId="478"/>
          <ac:spMkLst>
            <pc:docMk/>
            <pc:sldMk cId="335391689" sldId="2134804348"/>
            <ac:spMk id="47" creationId="{D222A558-E5A3-43A6-B640-1B3D767D7C70}"/>
          </ac:spMkLst>
        </pc:spChg>
        <pc:spChg chg="add del mod">
          <ac:chgData name="Yuly Andrea Castaneda Ramirez (CENIT)" userId="9d6b9224-b289-47c8-b6d4-3bf138101243" providerId="ADAL" clId="{20809D37-15FE-439C-AAF0-6BBEA123306F}" dt="2020-07-27T22:17:04.430" v="667" actId="478"/>
          <ac:spMkLst>
            <pc:docMk/>
            <pc:sldMk cId="335391689" sldId="2134804348"/>
            <ac:spMk id="48" creationId="{4D2C108D-C1C0-444A-B111-2A05C5D8EFE1}"/>
          </ac:spMkLst>
        </pc:spChg>
        <pc:spChg chg="add del mod">
          <ac:chgData name="Yuly Andrea Castaneda Ramirez (CENIT)" userId="9d6b9224-b289-47c8-b6d4-3bf138101243" providerId="ADAL" clId="{20809D37-15FE-439C-AAF0-6BBEA123306F}" dt="2020-07-27T22:17:04.430" v="667" actId="478"/>
          <ac:spMkLst>
            <pc:docMk/>
            <pc:sldMk cId="335391689" sldId="2134804348"/>
            <ac:spMk id="50" creationId="{36DAE494-CC51-491B-81C2-F265042DF73B}"/>
          </ac:spMkLst>
        </pc:spChg>
        <pc:spChg chg="add del mod">
          <ac:chgData name="Yuly Andrea Castaneda Ramirez (CENIT)" userId="9d6b9224-b289-47c8-b6d4-3bf138101243" providerId="ADAL" clId="{20809D37-15FE-439C-AAF0-6BBEA123306F}" dt="2020-07-27T22:17:04.430" v="667" actId="478"/>
          <ac:spMkLst>
            <pc:docMk/>
            <pc:sldMk cId="335391689" sldId="2134804348"/>
            <ac:spMk id="52" creationId="{1C93BDEE-61DE-4B2A-A8DE-0FB9915B51EC}"/>
          </ac:spMkLst>
        </pc:spChg>
        <pc:spChg chg="add del mod">
          <ac:chgData name="Yuly Andrea Castaneda Ramirez (CENIT)" userId="9d6b9224-b289-47c8-b6d4-3bf138101243" providerId="ADAL" clId="{20809D37-15FE-439C-AAF0-6BBEA123306F}" dt="2020-07-27T22:17:04.430" v="667" actId="478"/>
          <ac:spMkLst>
            <pc:docMk/>
            <pc:sldMk cId="335391689" sldId="2134804348"/>
            <ac:spMk id="54" creationId="{BD99389E-FF9A-4FAB-88F0-B4CC8A2D8A53}"/>
          </ac:spMkLst>
        </pc:spChg>
        <pc:spChg chg="add del mod">
          <ac:chgData name="Yuly Andrea Castaneda Ramirez (CENIT)" userId="9d6b9224-b289-47c8-b6d4-3bf138101243" providerId="ADAL" clId="{20809D37-15FE-439C-AAF0-6BBEA123306F}" dt="2020-07-27T22:17:04.430" v="667" actId="478"/>
          <ac:spMkLst>
            <pc:docMk/>
            <pc:sldMk cId="335391689" sldId="2134804348"/>
            <ac:spMk id="56" creationId="{6516CAF8-E1DD-4C37-A91D-3C0E5FECCE0E}"/>
          </ac:spMkLst>
        </pc:spChg>
        <pc:spChg chg="add del mod">
          <ac:chgData name="Yuly Andrea Castaneda Ramirez (CENIT)" userId="9d6b9224-b289-47c8-b6d4-3bf138101243" providerId="ADAL" clId="{20809D37-15FE-439C-AAF0-6BBEA123306F}" dt="2020-07-27T22:17:04.430" v="667" actId="478"/>
          <ac:spMkLst>
            <pc:docMk/>
            <pc:sldMk cId="335391689" sldId="2134804348"/>
            <ac:spMk id="58" creationId="{925E0CE4-E220-4014-B423-8EFD69D9C287}"/>
          </ac:spMkLst>
        </pc:spChg>
        <pc:spChg chg="add mod">
          <ac:chgData name="Yuly Andrea Castaneda Ramirez (CENIT)" userId="9d6b9224-b289-47c8-b6d4-3bf138101243" providerId="ADAL" clId="{20809D37-15FE-439C-AAF0-6BBEA123306F}" dt="2020-07-27T21:44:09.571" v="390" actId="1076"/>
          <ac:spMkLst>
            <pc:docMk/>
            <pc:sldMk cId="335391689" sldId="2134804348"/>
            <ac:spMk id="60" creationId="{590D738E-748E-456C-AEEB-CF74A81C8AA1}"/>
          </ac:spMkLst>
        </pc:spChg>
        <pc:spChg chg="add mod">
          <ac:chgData name="Yuly Andrea Castaneda Ramirez (CENIT)" userId="9d6b9224-b289-47c8-b6d4-3bf138101243" providerId="ADAL" clId="{20809D37-15FE-439C-AAF0-6BBEA123306F}" dt="2020-07-27T21:44:44.727" v="395" actId="1076"/>
          <ac:spMkLst>
            <pc:docMk/>
            <pc:sldMk cId="335391689" sldId="2134804348"/>
            <ac:spMk id="62" creationId="{16213BFD-A1AA-459A-B882-81AFD08AECCC}"/>
          </ac:spMkLst>
        </pc:spChg>
        <pc:spChg chg="add mod">
          <ac:chgData name="Yuly Andrea Castaneda Ramirez (CENIT)" userId="9d6b9224-b289-47c8-b6d4-3bf138101243" providerId="ADAL" clId="{20809D37-15FE-439C-AAF0-6BBEA123306F}" dt="2020-07-27T21:45:43.950" v="420" actId="1076"/>
          <ac:spMkLst>
            <pc:docMk/>
            <pc:sldMk cId="335391689" sldId="2134804348"/>
            <ac:spMk id="64" creationId="{DD46A893-847F-4C21-B3C9-CE11CD78666B}"/>
          </ac:spMkLst>
        </pc:spChg>
        <pc:spChg chg="add mod">
          <ac:chgData name="Yuly Andrea Castaneda Ramirez (CENIT)" userId="9d6b9224-b289-47c8-b6d4-3bf138101243" providerId="ADAL" clId="{20809D37-15FE-439C-AAF0-6BBEA123306F}" dt="2020-07-27T21:46:12.161" v="431" actId="20577"/>
          <ac:spMkLst>
            <pc:docMk/>
            <pc:sldMk cId="335391689" sldId="2134804348"/>
            <ac:spMk id="66" creationId="{85A29B39-6312-442A-AFE1-79138F45D053}"/>
          </ac:spMkLst>
        </pc:spChg>
        <pc:spChg chg="add mod">
          <ac:chgData name="Yuly Andrea Castaneda Ramirez (CENIT)" userId="9d6b9224-b289-47c8-b6d4-3bf138101243" providerId="ADAL" clId="{20809D37-15FE-439C-AAF0-6BBEA123306F}" dt="2020-07-27T21:46:14.286" v="433" actId="20577"/>
          <ac:spMkLst>
            <pc:docMk/>
            <pc:sldMk cId="335391689" sldId="2134804348"/>
            <ac:spMk id="68" creationId="{4EF4C980-19F2-4264-BE5C-AA28E61C7265}"/>
          </ac:spMkLst>
        </pc:spChg>
        <pc:spChg chg="add mod">
          <ac:chgData name="Yuly Andrea Castaneda Ramirez (CENIT)" userId="9d6b9224-b289-47c8-b6d4-3bf138101243" providerId="ADAL" clId="{20809D37-15FE-439C-AAF0-6BBEA123306F}" dt="2020-07-27T21:46:16.595" v="435" actId="20577"/>
          <ac:spMkLst>
            <pc:docMk/>
            <pc:sldMk cId="335391689" sldId="2134804348"/>
            <ac:spMk id="70" creationId="{228128D6-7178-4610-A82E-598F630C4F9A}"/>
          </ac:spMkLst>
        </pc:spChg>
        <pc:spChg chg="add mod">
          <ac:chgData name="Yuly Andrea Castaneda Ramirez (CENIT)" userId="9d6b9224-b289-47c8-b6d4-3bf138101243" providerId="ADAL" clId="{20809D37-15FE-439C-AAF0-6BBEA123306F}" dt="2020-07-27T21:57:16.282" v="458" actId="1035"/>
          <ac:spMkLst>
            <pc:docMk/>
            <pc:sldMk cId="335391689" sldId="2134804348"/>
            <ac:spMk id="72" creationId="{E6ACBC4D-0F52-4BE1-A867-525E7D039259}"/>
          </ac:spMkLst>
        </pc:spChg>
        <pc:spChg chg="add mod">
          <ac:chgData name="Yuly Andrea Castaneda Ramirez (CENIT)" userId="9d6b9224-b289-47c8-b6d4-3bf138101243" providerId="ADAL" clId="{20809D37-15FE-439C-AAF0-6BBEA123306F}" dt="2020-07-27T21:58:37.652" v="493" actId="1035"/>
          <ac:spMkLst>
            <pc:docMk/>
            <pc:sldMk cId="335391689" sldId="2134804348"/>
            <ac:spMk id="74" creationId="{D5140A26-6B24-4EF8-BA11-E02E558E1609}"/>
          </ac:spMkLst>
        </pc:spChg>
        <pc:spChg chg="add del mod">
          <ac:chgData name="Yuly Andrea Castaneda Ramirez (CENIT)" userId="9d6b9224-b289-47c8-b6d4-3bf138101243" providerId="ADAL" clId="{20809D37-15FE-439C-AAF0-6BBEA123306F}" dt="2020-07-27T21:58:14.164" v="480" actId="478"/>
          <ac:spMkLst>
            <pc:docMk/>
            <pc:sldMk cId="335391689" sldId="2134804348"/>
            <ac:spMk id="76" creationId="{8BBC56CD-80D2-47B2-98EB-0BAEAC63CD08}"/>
          </ac:spMkLst>
        </pc:spChg>
        <pc:spChg chg="add mod">
          <ac:chgData name="Yuly Andrea Castaneda Ramirez (CENIT)" userId="9d6b9224-b289-47c8-b6d4-3bf138101243" providerId="ADAL" clId="{20809D37-15FE-439C-AAF0-6BBEA123306F}" dt="2020-07-27T21:57:48.447" v="471" actId="20577"/>
          <ac:spMkLst>
            <pc:docMk/>
            <pc:sldMk cId="335391689" sldId="2134804348"/>
            <ac:spMk id="78" creationId="{F460B3E9-213A-496A-8578-9190BAD544F3}"/>
          </ac:spMkLst>
        </pc:spChg>
        <pc:spChg chg="add mod">
          <ac:chgData name="Yuly Andrea Castaneda Ramirez (CENIT)" userId="9d6b9224-b289-47c8-b6d4-3bf138101243" providerId="ADAL" clId="{20809D37-15FE-439C-AAF0-6BBEA123306F}" dt="2020-07-27T21:57:50.475" v="473" actId="20577"/>
          <ac:spMkLst>
            <pc:docMk/>
            <pc:sldMk cId="335391689" sldId="2134804348"/>
            <ac:spMk id="80" creationId="{18FBBB80-789C-4617-A528-93CC43F5E853}"/>
          </ac:spMkLst>
        </pc:spChg>
        <pc:spChg chg="add mod">
          <ac:chgData name="Yuly Andrea Castaneda Ramirez (CENIT)" userId="9d6b9224-b289-47c8-b6d4-3bf138101243" providerId="ADAL" clId="{20809D37-15FE-439C-AAF0-6BBEA123306F}" dt="2020-07-27T21:57:53.315" v="475" actId="20577"/>
          <ac:spMkLst>
            <pc:docMk/>
            <pc:sldMk cId="335391689" sldId="2134804348"/>
            <ac:spMk id="82" creationId="{3732F2E4-0A29-43A4-B01E-2185E8950783}"/>
          </ac:spMkLst>
        </pc:spChg>
        <pc:spChg chg="del">
          <ac:chgData name="Yuly Andrea Castaneda Ramirez (CENIT)" userId="9d6b9224-b289-47c8-b6d4-3bf138101243" providerId="ADAL" clId="{20809D37-15FE-439C-AAF0-6BBEA123306F}" dt="2020-07-27T22:17:04.430" v="667" actId="478"/>
          <ac:spMkLst>
            <pc:docMk/>
            <pc:sldMk cId="335391689" sldId="2134804348"/>
            <ac:spMk id="84" creationId="{293DBAF3-3942-4C58-8A63-D4484E215E20}"/>
          </ac:spMkLst>
        </pc:spChg>
        <pc:spChg chg="del mod">
          <ac:chgData name="Yuly Andrea Castaneda Ramirez (CENIT)" userId="9d6b9224-b289-47c8-b6d4-3bf138101243" providerId="ADAL" clId="{20809D37-15FE-439C-AAF0-6BBEA123306F}" dt="2020-07-27T22:17:04.430" v="667" actId="478"/>
          <ac:spMkLst>
            <pc:docMk/>
            <pc:sldMk cId="335391689" sldId="2134804348"/>
            <ac:spMk id="86" creationId="{7696A978-4362-4DE3-8C58-0F58608C4AA6}"/>
          </ac:spMkLst>
        </pc:spChg>
        <pc:spChg chg="add mod">
          <ac:chgData name="Yuly Andrea Castaneda Ramirez (CENIT)" userId="9d6b9224-b289-47c8-b6d4-3bf138101243" providerId="ADAL" clId="{20809D37-15FE-439C-AAF0-6BBEA123306F}" dt="2020-07-27T21:58:50.208" v="496" actId="12788"/>
          <ac:spMkLst>
            <pc:docMk/>
            <pc:sldMk cId="335391689" sldId="2134804348"/>
            <ac:spMk id="88" creationId="{7973398C-2C52-4B8D-8FCE-88F4A0575383}"/>
          </ac:spMkLst>
        </pc:spChg>
        <pc:spChg chg="add del">
          <ac:chgData name="Yuly Andrea Castaneda Ramirez (CENIT)" userId="9d6b9224-b289-47c8-b6d4-3bf138101243" providerId="ADAL" clId="{20809D37-15FE-439C-AAF0-6BBEA123306F}" dt="2020-07-27T21:58:29.767" v="486" actId="22"/>
          <ac:spMkLst>
            <pc:docMk/>
            <pc:sldMk cId="335391689" sldId="2134804348"/>
            <ac:spMk id="90" creationId="{A1FA32F8-B825-4CD2-A397-8903135F258A}"/>
          </ac:spMkLst>
        </pc:spChg>
        <pc:spChg chg="add mod">
          <ac:chgData name="Yuly Andrea Castaneda Ramirez (CENIT)" userId="9d6b9224-b289-47c8-b6d4-3bf138101243" providerId="ADAL" clId="{20809D37-15FE-439C-AAF0-6BBEA123306F}" dt="2020-07-27T21:58:50.208" v="496" actId="12788"/>
          <ac:spMkLst>
            <pc:docMk/>
            <pc:sldMk cId="335391689" sldId="2134804348"/>
            <ac:spMk id="92" creationId="{FFD441DF-7C6A-48D7-996D-F60C3B04B450}"/>
          </ac:spMkLst>
        </pc:spChg>
        <pc:spChg chg="add mod">
          <ac:chgData name="Yuly Andrea Castaneda Ramirez (CENIT)" userId="9d6b9224-b289-47c8-b6d4-3bf138101243" providerId="ADAL" clId="{20809D37-15FE-439C-AAF0-6BBEA123306F}" dt="2020-07-27T22:00:11.991" v="513" actId="313"/>
          <ac:spMkLst>
            <pc:docMk/>
            <pc:sldMk cId="335391689" sldId="2134804348"/>
            <ac:spMk id="94" creationId="{4DE4A526-D337-4C45-B9BF-7953B17E4C8C}"/>
          </ac:spMkLst>
        </pc:spChg>
        <pc:spChg chg="add del mod">
          <ac:chgData name="Yuly Andrea Castaneda Ramirez (CENIT)" userId="9d6b9224-b289-47c8-b6d4-3bf138101243" providerId="ADAL" clId="{20809D37-15FE-439C-AAF0-6BBEA123306F}" dt="2020-07-27T22:00:06.386" v="511" actId="478"/>
          <ac:spMkLst>
            <pc:docMk/>
            <pc:sldMk cId="335391689" sldId="2134804348"/>
            <ac:spMk id="96" creationId="{533342D2-F232-4E4E-BAE3-50BCD26CA964}"/>
          </ac:spMkLst>
        </pc:spChg>
        <pc:spChg chg="mod">
          <ac:chgData name="Yuly Andrea Castaneda Ramirez (CENIT)" userId="9d6b9224-b289-47c8-b6d4-3bf138101243" providerId="ADAL" clId="{20809D37-15FE-439C-AAF0-6BBEA123306F}" dt="2020-07-27T21:40:37.962" v="352" actId="313"/>
          <ac:spMkLst>
            <pc:docMk/>
            <pc:sldMk cId="335391689" sldId="2134804348"/>
            <ac:spMk id="97" creationId="{99300021-C267-43BD-A0F5-B3ECE622345E}"/>
          </ac:spMkLst>
        </pc:spChg>
        <pc:spChg chg="add mod">
          <ac:chgData name="Yuly Andrea Castaneda Ramirez (CENIT)" userId="9d6b9224-b289-47c8-b6d4-3bf138101243" providerId="ADAL" clId="{20809D37-15FE-439C-AAF0-6BBEA123306F}" dt="2020-07-27T22:00:40.642" v="523" actId="1076"/>
          <ac:spMkLst>
            <pc:docMk/>
            <pc:sldMk cId="335391689" sldId="2134804348"/>
            <ac:spMk id="100" creationId="{905942AB-5884-4A1A-AB62-3C01B5CEF502}"/>
          </ac:spMkLst>
        </pc:spChg>
        <pc:spChg chg="add mod">
          <ac:chgData name="Yuly Andrea Castaneda Ramirez (CENIT)" userId="9d6b9224-b289-47c8-b6d4-3bf138101243" providerId="ADAL" clId="{20809D37-15FE-439C-AAF0-6BBEA123306F}" dt="2020-07-27T22:17:09.261" v="668"/>
          <ac:spMkLst>
            <pc:docMk/>
            <pc:sldMk cId="335391689" sldId="2134804348"/>
            <ac:spMk id="109" creationId="{09FEBB2F-6837-4B52-A0F3-7788777898D1}"/>
          </ac:spMkLst>
        </pc:spChg>
        <pc:spChg chg="add mod">
          <ac:chgData name="Yuly Andrea Castaneda Ramirez (CENIT)" userId="9d6b9224-b289-47c8-b6d4-3bf138101243" providerId="ADAL" clId="{20809D37-15FE-439C-AAF0-6BBEA123306F}" dt="2020-07-27T22:17:09.261" v="668"/>
          <ac:spMkLst>
            <pc:docMk/>
            <pc:sldMk cId="335391689" sldId="2134804348"/>
            <ac:spMk id="110" creationId="{CBAA75F3-5F2F-44AE-907D-A693F8DC792D}"/>
          </ac:spMkLst>
        </pc:spChg>
        <pc:spChg chg="add mod">
          <ac:chgData name="Yuly Andrea Castaneda Ramirez (CENIT)" userId="9d6b9224-b289-47c8-b6d4-3bf138101243" providerId="ADAL" clId="{20809D37-15FE-439C-AAF0-6BBEA123306F}" dt="2020-07-27T22:17:09.261" v="668"/>
          <ac:spMkLst>
            <pc:docMk/>
            <pc:sldMk cId="335391689" sldId="2134804348"/>
            <ac:spMk id="111" creationId="{46F74A5E-421E-4779-8B22-AE00066EF7D3}"/>
          </ac:spMkLst>
        </pc:spChg>
        <pc:spChg chg="add mod">
          <ac:chgData name="Yuly Andrea Castaneda Ramirez (CENIT)" userId="9d6b9224-b289-47c8-b6d4-3bf138101243" providerId="ADAL" clId="{20809D37-15FE-439C-AAF0-6BBEA123306F}" dt="2020-07-27T22:17:09.261" v="668"/>
          <ac:spMkLst>
            <pc:docMk/>
            <pc:sldMk cId="335391689" sldId="2134804348"/>
            <ac:spMk id="112" creationId="{47D8DCC7-2D64-4763-9312-231EC4563473}"/>
          </ac:spMkLst>
        </pc:spChg>
        <pc:spChg chg="add mod">
          <ac:chgData name="Yuly Andrea Castaneda Ramirez (CENIT)" userId="9d6b9224-b289-47c8-b6d4-3bf138101243" providerId="ADAL" clId="{20809D37-15FE-439C-AAF0-6BBEA123306F}" dt="2020-07-27T22:17:09.261" v="668"/>
          <ac:spMkLst>
            <pc:docMk/>
            <pc:sldMk cId="335391689" sldId="2134804348"/>
            <ac:spMk id="113" creationId="{3AC4B82B-6F2A-4433-9B55-C3C12FCE76A8}"/>
          </ac:spMkLst>
        </pc:spChg>
        <pc:spChg chg="mod">
          <ac:chgData name="Yuly Andrea Castaneda Ramirez (CENIT)" userId="9d6b9224-b289-47c8-b6d4-3bf138101243" providerId="ADAL" clId="{20809D37-15FE-439C-AAF0-6BBEA123306F}" dt="2020-07-27T22:17:09.261" v="668"/>
          <ac:spMkLst>
            <pc:docMk/>
            <pc:sldMk cId="335391689" sldId="2134804348"/>
            <ac:spMk id="115" creationId="{41C14022-60A5-49CB-8A9B-685D85D008BA}"/>
          </ac:spMkLst>
        </pc:spChg>
        <pc:spChg chg="mod">
          <ac:chgData name="Yuly Andrea Castaneda Ramirez (CENIT)" userId="9d6b9224-b289-47c8-b6d4-3bf138101243" providerId="ADAL" clId="{20809D37-15FE-439C-AAF0-6BBEA123306F}" dt="2020-07-27T22:17:09.261" v="668"/>
          <ac:spMkLst>
            <pc:docMk/>
            <pc:sldMk cId="335391689" sldId="2134804348"/>
            <ac:spMk id="116" creationId="{30DF3DB9-B1A1-4777-A386-EA6A1198BBBA}"/>
          </ac:spMkLst>
        </pc:spChg>
        <pc:spChg chg="del mod">
          <ac:chgData name="Yuly Andrea Castaneda Ramirez (CENIT)" userId="9d6b9224-b289-47c8-b6d4-3bf138101243" providerId="ADAL" clId="{20809D37-15FE-439C-AAF0-6BBEA123306F}" dt="2020-07-27T22:17:04.430" v="667" actId="478"/>
          <ac:spMkLst>
            <pc:docMk/>
            <pc:sldMk cId="335391689" sldId="2134804348"/>
            <ac:spMk id="117" creationId="{8960734A-1053-42D2-BD72-6674DCCE6A97}"/>
          </ac:spMkLst>
        </pc:spChg>
        <pc:spChg chg="del mod">
          <ac:chgData name="Yuly Andrea Castaneda Ramirez (CENIT)" userId="9d6b9224-b289-47c8-b6d4-3bf138101243" providerId="ADAL" clId="{20809D37-15FE-439C-AAF0-6BBEA123306F}" dt="2020-07-27T22:17:04.430" v="667" actId="478"/>
          <ac:spMkLst>
            <pc:docMk/>
            <pc:sldMk cId="335391689" sldId="2134804348"/>
            <ac:spMk id="118" creationId="{C77431EE-A761-4323-B75F-692D4CAEC462}"/>
          </ac:spMkLst>
        </pc:spChg>
        <pc:spChg chg="del mod">
          <ac:chgData name="Yuly Andrea Castaneda Ramirez (CENIT)" userId="9d6b9224-b289-47c8-b6d4-3bf138101243" providerId="ADAL" clId="{20809D37-15FE-439C-AAF0-6BBEA123306F}" dt="2020-07-27T22:17:04.430" v="667" actId="478"/>
          <ac:spMkLst>
            <pc:docMk/>
            <pc:sldMk cId="335391689" sldId="2134804348"/>
            <ac:spMk id="119" creationId="{A66DDFF6-8990-4632-9B16-3852035C81BA}"/>
          </ac:spMkLst>
        </pc:spChg>
        <pc:spChg chg="mod">
          <ac:chgData name="Yuly Andrea Castaneda Ramirez (CENIT)" userId="9d6b9224-b289-47c8-b6d4-3bf138101243" providerId="ADAL" clId="{20809D37-15FE-439C-AAF0-6BBEA123306F}" dt="2020-07-27T22:17:09.261" v="668"/>
          <ac:spMkLst>
            <pc:docMk/>
            <pc:sldMk cId="335391689" sldId="2134804348"/>
            <ac:spMk id="121" creationId="{D28FFAE7-1059-489D-B903-35B24DB4787E}"/>
          </ac:spMkLst>
        </pc:spChg>
        <pc:spChg chg="mod">
          <ac:chgData name="Yuly Andrea Castaneda Ramirez (CENIT)" userId="9d6b9224-b289-47c8-b6d4-3bf138101243" providerId="ADAL" clId="{20809D37-15FE-439C-AAF0-6BBEA123306F}" dt="2020-07-27T22:17:09.261" v="668"/>
          <ac:spMkLst>
            <pc:docMk/>
            <pc:sldMk cId="335391689" sldId="2134804348"/>
            <ac:spMk id="122" creationId="{D0DBC96B-6527-4105-87F5-4CCB4771BFA5}"/>
          </ac:spMkLst>
        </pc:spChg>
        <pc:spChg chg="mod">
          <ac:chgData name="Yuly Andrea Castaneda Ramirez (CENIT)" userId="9d6b9224-b289-47c8-b6d4-3bf138101243" providerId="ADAL" clId="{20809D37-15FE-439C-AAF0-6BBEA123306F}" dt="2020-07-27T22:17:09.261" v="668"/>
          <ac:spMkLst>
            <pc:docMk/>
            <pc:sldMk cId="335391689" sldId="2134804348"/>
            <ac:spMk id="124" creationId="{312BF1BE-8A73-408C-9777-A9B2587F47B4}"/>
          </ac:spMkLst>
        </pc:spChg>
        <pc:spChg chg="mod">
          <ac:chgData name="Yuly Andrea Castaneda Ramirez (CENIT)" userId="9d6b9224-b289-47c8-b6d4-3bf138101243" providerId="ADAL" clId="{20809D37-15FE-439C-AAF0-6BBEA123306F}" dt="2020-07-27T22:17:09.261" v="668"/>
          <ac:spMkLst>
            <pc:docMk/>
            <pc:sldMk cId="335391689" sldId="2134804348"/>
            <ac:spMk id="125" creationId="{C9764E28-1191-4401-8812-3F5946FA54C0}"/>
          </ac:spMkLst>
        </pc:spChg>
        <pc:spChg chg="add mod">
          <ac:chgData name="Yuly Andrea Castaneda Ramirez (CENIT)" userId="9d6b9224-b289-47c8-b6d4-3bf138101243" providerId="ADAL" clId="{20809D37-15FE-439C-AAF0-6BBEA123306F}" dt="2020-07-27T22:17:09.261" v="668"/>
          <ac:spMkLst>
            <pc:docMk/>
            <pc:sldMk cId="335391689" sldId="2134804348"/>
            <ac:spMk id="126" creationId="{1E1ADB7B-308E-43CC-8C79-4B0820F83BEF}"/>
          </ac:spMkLst>
        </pc:spChg>
        <pc:spChg chg="add mod">
          <ac:chgData name="Yuly Andrea Castaneda Ramirez (CENIT)" userId="9d6b9224-b289-47c8-b6d4-3bf138101243" providerId="ADAL" clId="{20809D37-15FE-439C-AAF0-6BBEA123306F}" dt="2020-07-27T22:17:09.261" v="668"/>
          <ac:spMkLst>
            <pc:docMk/>
            <pc:sldMk cId="335391689" sldId="2134804348"/>
            <ac:spMk id="127" creationId="{A0445359-C924-4A86-BF97-C50D4AFCD765}"/>
          </ac:spMkLst>
        </pc:spChg>
        <pc:spChg chg="add mod">
          <ac:chgData name="Yuly Andrea Castaneda Ramirez (CENIT)" userId="9d6b9224-b289-47c8-b6d4-3bf138101243" providerId="ADAL" clId="{20809D37-15FE-439C-AAF0-6BBEA123306F}" dt="2020-07-27T22:17:09.261" v="668"/>
          <ac:spMkLst>
            <pc:docMk/>
            <pc:sldMk cId="335391689" sldId="2134804348"/>
            <ac:spMk id="128" creationId="{7E10D906-A395-4C9B-821C-56A50C7C22BE}"/>
          </ac:spMkLst>
        </pc:spChg>
        <pc:spChg chg="add mod">
          <ac:chgData name="Yuly Andrea Castaneda Ramirez (CENIT)" userId="9d6b9224-b289-47c8-b6d4-3bf138101243" providerId="ADAL" clId="{20809D37-15FE-439C-AAF0-6BBEA123306F}" dt="2020-07-27T22:17:09.261" v="668"/>
          <ac:spMkLst>
            <pc:docMk/>
            <pc:sldMk cId="335391689" sldId="2134804348"/>
            <ac:spMk id="129" creationId="{131408C0-4A85-456F-9CC5-1B260B9B2221}"/>
          </ac:spMkLst>
        </pc:spChg>
        <pc:spChg chg="add mod">
          <ac:chgData name="Yuly Andrea Castaneda Ramirez (CENIT)" userId="9d6b9224-b289-47c8-b6d4-3bf138101243" providerId="ADAL" clId="{20809D37-15FE-439C-AAF0-6BBEA123306F}" dt="2020-07-27T22:17:09.261" v="668"/>
          <ac:spMkLst>
            <pc:docMk/>
            <pc:sldMk cId="335391689" sldId="2134804348"/>
            <ac:spMk id="130" creationId="{B669FD25-A263-45C2-A206-BFA95EDD685A}"/>
          </ac:spMkLst>
        </pc:spChg>
        <pc:spChg chg="add mod">
          <ac:chgData name="Yuly Andrea Castaneda Ramirez (CENIT)" userId="9d6b9224-b289-47c8-b6d4-3bf138101243" providerId="ADAL" clId="{20809D37-15FE-439C-AAF0-6BBEA123306F}" dt="2020-07-27T22:17:09.261" v="668"/>
          <ac:spMkLst>
            <pc:docMk/>
            <pc:sldMk cId="335391689" sldId="2134804348"/>
            <ac:spMk id="131" creationId="{A91FCDE9-0180-4C19-92EE-8D0464118CEA}"/>
          </ac:spMkLst>
        </pc:spChg>
        <pc:spChg chg="add mod">
          <ac:chgData name="Yuly Andrea Castaneda Ramirez (CENIT)" userId="9d6b9224-b289-47c8-b6d4-3bf138101243" providerId="ADAL" clId="{20809D37-15FE-439C-AAF0-6BBEA123306F}" dt="2020-07-27T22:17:09.261" v="668"/>
          <ac:spMkLst>
            <pc:docMk/>
            <pc:sldMk cId="335391689" sldId="2134804348"/>
            <ac:spMk id="132" creationId="{36D7DD07-92C7-465C-B6AE-35E84E223124}"/>
          </ac:spMkLst>
        </pc:spChg>
        <pc:spChg chg="add mod">
          <ac:chgData name="Yuly Andrea Castaneda Ramirez (CENIT)" userId="9d6b9224-b289-47c8-b6d4-3bf138101243" providerId="ADAL" clId="{20809D37-15FE-439C-AAF0-6BBEA123306F}" dt="2020-07-27T22:17:09.261" v="668"/>
          <ac:spMkLst>
            <pc:docMk/>
            <pc:sldMk cId="335391689" sldId="2134804348"/>
            <ac:spMk id="133" creationId="{3252F55B-D114-43B1-AFEE-D4D93962C217}"/>
          </ac:spMkLst>
        </pc:spChg>
        <pc:spChg chg="add mod">
          <ac:chgData name="Yuly Andrea Castaneda Ramirez (CENIT)" userId="9d6b9224-b289-47c8-b6d4-3bf138101243" providerId="ADAL" clId="{20809D37-15FE-439C-AAF0-6BBEA123306F}" dt="2020-07-27T22:17:09.261" v="668"/>
          <ac:spMkLst>
            <pc:docMk/>
            <pc:sldMk cId="335391689" sldId="2134804348"/>
            <ac:spMk id="134" creationId="{77082EF3-134C-4148-8172-E0C1F41E334D}"/>
          </ac:spMkLst>
        </pc:spChg>
        <pc:spChg chg="add mod">
          <ac:chgData name="Yuly Andrea Castaneda Ramirez (CENIT)" userId="9d6b9224-b289-47c8-b6d4-3bf138101243" providerId="ADAL" clId="{20809D37-15FE-439C-AAF0-6BBEA123306F}" dt="2020-07-27T22:17:09.261" v="668"/>
          <ac:spMkLst>
            <pc:docMk/>
            <pc:sldMk cId="335391689" sldId="2134804348"/>
            <ac:spMk id="136" creationId="{402E669C-5742-40AC-AB8A-5028355A713B}"/>
          </ac:spMkLst>
        </pc:spChg>
        <pc:spChg chg="add mod">
          <ac:chgData name="Yuly Andrea Castaneda Ramirez (CENIT)" userId="9d6b9224-b289-47c8-b6d4-3bf138101243" providerId="ADAL" clId="{20809D37-15FE-439C-AAF0-6BBEA123306F}" dt="2020-07-27T22:17:09.261" v="668"/>
          <ac:spMkLst>
            <pc:docMk/>
            <pc:sldMk cId="335391689" sldId="2134804348"/>
            <ac:spMk id="137" creationId="{95B4808B-BD2E-4EB3-B64A-ED60053DF02E}"/>
          </ac:spMkLst>
        </pc:spChg>
        <pc:spChg chg="add mod">
          <ac:chgData name="Yuly Andrea Castaneda Ramirez (CENIT)" userId="9d6b9224-b289-47c8-b6d4-3bf138101243" providerId="ADAL" clId="{20809D37-15FE-439C-AAF0-6BBEA123306F}" dt="2020-07-27T22:17:09.261" v="668"/>
          <ac:spMkLst>
            <pc:docMk/>
            <pc:sldMk cId="335391689" sldId="2134804348"/>
            <ac:spMk id="138" creationId="{A6C9C65D-A624-40D1-96F3-BDB27AB5D820}"/>
          </ac:spMkLst>
        </pc:spChg>
        <pc:grpChg chg="del mod">
          <ac:chgData name="Yuly Andrea Castaneda Ramirez (CENIT)" userId="9d6b9224-b289-47c8-b6d4-3bf138101243" providerId="ADAL" clId="{20809D37-15FE-439C-AAF0-6BBEA123306F}" dt="2020-07-27T22:17:04.430" v="667" actId="478"/>
          <ac:grpSpMkLst>
            <pc:docMk/>
            <pc:sldMk cId="335391689" sldId="2134804348"/>
            <ac:grpSpMk id="26" creationId="{5B1CDA9C-37CE-441A-94E7-5A5F38503613}"/>
          </ac:grpSpMkLst>
        </pc:grpChg>
        <pc:grpChg chg="del mod">
          <ac:chgData name="Yuly Andrea Castaneda Ramirez (CENIT)" userId="9d6b9224-b289-47c8-b6d4-3bf138101243" providerId="ADAL" clId="{20809D37-15FE-439C-AAF0-6BBEA123306F}" dt="2020-07-27T22:17:04.430" v="667" actId="478"/>
          <ac:grpSpMkLst>
            <pc:docMk/>
            <pc:sldMk cId="335391689" sldId="2134804348"/>
            <ac:grpSpMk id="31" creationId="{A0B07E6C-42EA-42D4-BF18-74CF8467911A}"/>
          </ac:grpSpMkLst>
        </pc:grpChg>
        <pc:grpChg chg="del mod">
          <ac:chgData name="Yuly Andrea Castaneda Ramirez (CENIT)" userId="9d6b9224-b289-47c8-b6d4-3bf138101243" providerId="ADAL" clId="{20809D37-15FE-439C-AAF0-6BBEA123306F}" dt="2020-07-27T22:17:04.430" v="667" actId="478"/>
          <ac:grpSpMkLst>
            <pc:docMk/>
            <pc:sldMk cId="335391689" sldId="2134804348"/>
            <ac:grpSpMk id="37" creationId="{33A4F641-6F0E-462A-898E-0641B151AA65}"/>
          </ac:grpSpMkLst>
        </pc:grpChg>
        <pc:grpChg chg="add mod">
          <ac:chgData name="Yuly Andrea Castaneda Ramirez (CENIT)" userId="9d6b9224-b289-47c8-b6d4-3bf138101243" providerId="ADAL" clId="{20809D37-15FE-439C-AAF0-6BBEA123306F}" dt="2020-07-27T22:17:09.261" v="668"/>
          <ac:grpSpMkLst>
            <pc:docMk/>
            <pc:sldMk cId="335391689" sldId="2134804348"/>
            <ac:grpSpMk id="114" creationId="{ECE1E8E1-96FE-4D0A-939A-F926322BF5C6}"/>
          </ac:grpSpMkLst>
        </pc:grpChg>
        <pc:grpChg chg="add mod">
          <ac:chgData name="Yuly Andrea Castaneda Ramirez (CENIT)" userId="9d6b9224-b289-47c8-b6d4-3bf138101243" providerId="ADAL" clId="{20809D37-15FE-439C-AAF0-6BBEA123306F}" dt="2020-07-27T22:17:09.261" v="668"/>
          <ac:grpSpMkLst>
            <pc:docMk/>
            <pc:sldMk cId="335391689" sldId="2134804348"/>
            <ac:grpSpMk id="120" creationId="{676EF5F2-89BE-47A7-B180-45540366C7B0}"/>
          </ac:grpSpMkLst>
        </pc:grpChg>
        <pc:grpChg chg="add mod">
          <ac:chgData name="Yuly Andrea Castaneda Ramirez (CENIT)" userId="9d6b9224-b289-47c8-b6d4-3bf138101243" providerId="ADAL" clId="{20809D37-15FE-439C-AAF0-6BBEA123306F}" dt="2020-07-27T22:17:09.261" v="668"/>
          <ac:grpSpMkLst>
            <pc:docMk/>
            <pc:sldMk cId="335391689" sldId="2134804348"/>
            <ac:grpSpMk id="123" creationId="{E8797763-84E8-4673-B3CC-1BF8B4B0316E}"/>
          </ac:grpSpMkLst>
        </pc:grpChg>
      </pc:sldChg>
    </pc:docChg>
  </pc:docChgLst>
  <pc:docChgLst>
    <pc:chgData name="Andrea Mogollon Nossa (CENIT)" userId="f6a3e592-cc27-4858-b185-ff86be206069" providerId="ADAL" clId="{3C8E150F-F68C-4D5E-9C1A-E8DFC63A437B}"/>
    <pc:docChg chg="custSel delSld modSld">
      <pc:chgData name="Andrea Mogollon Nossa (CENIT)" userId="f6a3e592-cc27-4858-b185-ff86be206069" providerId="ADAL" clId="{3C8E150F-F68C-4D5E-9C1A-E8DFC63A437B}" dt="2020-07-30T16:37:21.813" v="247"/>
      <pc:docMkLst>
        <pc:docMk/>
      </pc:docMkLst>
      <pc:sldChg chg="modSp mod">
        <pc:chgData name="Andrea Mogollon Nossa (CENIT)" userId="f6a3e592-cc27-4858-b185-ff86be206069" providerId="ADAL" clId="{3C8E150F-F68C-4D5E-9C1A-E8DFC63A437B}" dt="2020-07-30T15:59:26.084" v="89" actId="20577"/>
        <pc:sldMkLst>
          <pc:docMk/>
          <pc:sldMk cId="692789810" sldId="2134804140"/>
        </pc:sldMkLst>
        <pc:spChg chg="mod">
          <ac:chgData name="Andrea Mogollon Nossa (CENIT)" userId="f6a3e592-cc27-4858-b185-ff86be206069" providerId="ADAL" clId="{3C8E150F-F68C-4D5E-9C1A-E8DFC63A437B}" dt="2020-07-30T15:59:26.084" v="89" actId="20577"/>
          <ac:spMkLst>
            <pc:docMk/>
            <pc:sldMk cId="692789810" sldId="2134804140"/>
            <ac:spMk id="2" creationId="{6431BBCF-96E5-45A7-B7E5-D44090D06329}"/>
          </ac:spMkLst>
        </pc:spChg>
      </pc:sldChg>
      <pc:sldChg chg="addSp delSp modSp mod">
        <pc:chgData name="Andrea Mogollon Nossa (CENIT)" userId="f6a3e592-cc27-4858-b185-ff86be206069" providerId="ADAL" clId="{3C8E150F-F68C-4D5E-9C1A-E8DFC63A437B}" dt="2020-07-30T16:37:21.813" v="247"/>
        <pc:sldMkLst>
          <pc:docMk/>
          <pc:sldMk cId="1108072925" sldId="2134804343"/>
        </pc:sldMkLst>
        <pc:spChg chg="add mod">
          <ac:chgData name="Andrea Mogollon Nossa (CENIT)" userId="f6a3e592-cc27-4858-b185-ff86be206069" providerId="ADAL" clId="{3C8E150F-F68C-4D5E-9C1A-E8DFC63A437B}" dt="2020-07-30T16:37:21.813" v="247"/>
          <ac:spMkLst>
            <pc:docMk/>
            <pc:sldMk cId="1108072925" sldId="2134804343"/>
            <ac:spMk id="68" creationId="{01307FB6-D32F-4C29-93C4-AF5A6822BEE6}"/>
          </ac:spMkLst>
        </pc:spChg>
        <pc:spChg chg="add mod">
          <ac:chgData name="Andrea Mogollon Nossa (CENIT)" userId="f6a3e592-cc27-4858-b185-ff86be206069" providerId="ADAL" clId="{3C8E150F-F68C-4D5E-9C1A-E8DFC63A437B}" dt="2020-07-30T16:37:21.813" v="247"/>
          <ac:spMkLst>
            <pc:docMk/>
            <pc:sldMk cId="1108072925" sldId="2134804343"/>
            <ac:spMk id="69" creationId="{88B127F6-0C7D-4DA3-92C5-BCE40D1560F3}"/>
          </ac:spMkLst>
        </pc:spChg>
        <pc:spChg chg="add mod">
          <ac:chgData name="Andrea Mogollon Nossa (CENIT)" userId="f6a3e592-cc27-4858-b185-ff86be206069" providerId="ADAL" clId="{3C8E150F-F68C-4D5E-9C1A-E8DFC63A437B}" dt="2020-07-30T16:37:21.813" v="247"/>
          <ac:spMkLst>
            <pc:docMk/>
            <pc:sldMk cId="1108072925" sldId="2134804343"/>
            <ac:spMk id="70" creationId="{81BCDF65-EFB4-429D-8204-3B1536D02C29}"/>
          </ac:spMkLst>
        </pc:spChg>
        <pc:spChg chg="add mod">
          <ac:chgData name="Andrea Mogollon Nossa (CENIT)" userId="f6a3e592-cc27-4858-b185-ff86be206069" providerId="ADAL" clId="{3C8E150F-F68C-4D5E-9C1A-E8DFC63A437B}" dt="2020-07-30T16:37:21.813" v="247"/>
          <ac:spMkLst>
            <pc:docMk/>
            <pc:sldMk cId="1108072925" sldId="2134804343"/>
            <ac:spMk id="71" creationId="{8EE61ED3-8267-4BA3-AE22-C5DDA88AA5A3}"/>
          </ac:spMkLst>
        </pc:spChg>
        <pc:spChg chg="add mod">
          <ac:chgData name="Andrea Mogollon Nossa (CENIT)" userId="f6a3e592-cc27-4858-b185-ff86be206069" providerId="ADAL" clId="{3C8E150F-F68C-4D5E-9C1A-E8DFC63A437B}" dt="2020-07-30T16:37:21.813" v="247"/>
          <ac:spMkLst>
            <pc:docMk/>
            <pc:sldMk cId="1108072925" sldId="2134804343"/>
            <ac:spMk id="72" creationId="{794A777C-418B-4AE7-811A-0CE1A75E5B26}"/>
          </ac:spMkLst>
        </pc:spChg>
        <pc:spChg chg="mod">
          <ac:chgData name="Andrea Mogollon Nossa (CENIT)" userId="f6a3e592-cc27-4858-b185-ff86be206069" providerId="ADAL" clId="{3C8E150F-F68C-4D5E-9C1A-E8DFC63A437B}" dt="2020-07-30T16:37:21.813" v="247"/>
          <ac:spMkLst>
            <pc:docMk/>
            <pc:sldMk cId="1108072925" sldId="2134804343"/>
            <ac:spMk id="74" creationId="{BA78FD5B-CFC2-477D-B40D-457CF3057D0F}"/>
          </ac:spMkLst>
        </pc:spChg>
        <pc:spChg chg="mod">
          <ac:chgData name="Andrea Mogollon Nossa (CENIT)" userId="f6a3e592-cc27-4858-b185-ff86be206069" providerId="ADAL" clId="{3C8E150F-F68C-4D5E-9C1A-E8DFC63A437B}" dt="2020-07-30T16:37:21.813" v="247"/>
          <ac:spMkLst>
            <pc:docMk/>
            <pc:sldMk cId="1108072925" sldId="2134804343"/>
            <ac:spMk id="75" creationId="{E4B848E3-A652-4B41-A643-B94E3534B303}"/>
          </ac:spMkLst>
        </pc:spChg>
        <pc:spChg chg="mod">
          <ac:chgData name="Andrea Mogollon Nossa (CENIT)" userId="f6a3e592-cc27-4858-b185-ff86be206069" providerId="ADAL" clId="{3C8E150F-F68C-4D5E-9C1A-E8DFC63A437B}" dt="2020-07-30T16:37:21.813" v="247"/>
          <ac:spMkLst>
            <pc:docMk/>
            <pc:sldMk cId="1108072925" sldId="2134804343"/>
            <ac:spMk id="77" creationId="{4FDE5327-827E-451F-9869-21060179A0EB}"/>
          </ac:spMkLst>
        </pc:spChg>
        <pc:spChg chg="mod">
          <ac:chgData name="Andrea Mogollon Nossa (CENIT)" userId="f6a3e592-cc27-4858-b185-ff86be206069" providerId="ADAL" clId="{3C8E150F-F68C-4D5E-9C1A-E8DFC63A437B}" dt="2020-07-30T16:37:21.813" v="247"/>
          <ac:spMkLst>
            <pc:docMk/>
            <pc:sldMk cId="1108072925" sldId="2134804343"/>
            <ac:spMk id="78" creationId="{AE6D7828-5742-4186-9E5D-571C559912F9}"/>
          </ac:spMkLst>
        </pc:spChg>
        <pc:spChg chg="mod">
          <ac:chgData name="Andrea Mogollon Nossa (CENIT)" userId="f6a3e592-cc27-4858-b185-ff86be206069" providerId="ADAL" clId="{3C8E150F-F68C-4D5E-9C1A-E8DFC63A437B}" dt="2020-07-30T16:37:21.813" v="247"/>
          <ac:spMkLst>
            <pc:docMk/>
            <pc:sldMk cId="1108072925" sldId="2134804343"/>
            <ac:spMk id="80" creationId="{2497589B-8FE0-4CEA-B6A8-81EF137F1C72}"/>
          </ac:spMkLst>
        </pc:spChg>
        <pc:spChg chg="mod">
          <ac:chgData name="Andrea Mogollon Nossa (CENIT)" userId="f6a3e592-cc27-4858-b185-ff86be206069" providerId="ADAL" clId="{3C8E150F-F68C-4D5E-9C1A-E8DFC63A437B}" dt="2020-07-30T16:37:21.813" v="247"/>
          <ac:spMkLst>
            <pc:docMk/>
            <pc:sldMk cId="1108072925" sldId="2134804343"/>
            <ac:spMk id="81" creationId="{233B2F79-A17D-4E44-BB03-A8D05AD4D4A1}"/>
          </ac:spMkLst>
        </pc:spChg>
        <pc:spChg chg="mod">
          <ac:chgData name="Andrea Mogollon Nossa (CENIT)" userId="f6a3e592-cc27-4858-b185-ff86be206069" providerId="ADAL" clId="{3C8E150F-F68C-4D5E-9C1A-E8DFC63A437B}" dt="2020-07-30T16:37:21.813" v="247"/>
          <ac:spMkLst>
            <pc:docMk/>
            <pc:sldMk cId="1108072925" sldId="2134804343"/>
            <ac:spMk id="83" creationId="{7D83CA25-7A00-41EE-A4E2-5E2D3879D385}"/>
          </ac:spMkLst>
        </pc:spChg>
        <pc:spChg chg="mod">
          <ac:chgData name="Andrea Mogollon Nossa (CENIT)" userId="f6a3e592-cc27-4858-b185-ff86be206069" providerId="ADAL" clId="{3C8E150F-F68C-4D5E-9C1A-E8DFC63A437B}" dt="2020-07-30T16:37:21.813" v="247"/>
          <ac:spMkLst>
            <pc:docMk/>
            <pc:sldMk cId="1108072925" sldId="2134804343"/>
            <ac:spMk id="84" creationId="{12D80E9F-932A-4E89-A56E-7BA44430863F}"/>
          </ac:spMkLst>
        </pc:spChg>
        <pc:spChg chg="mod">
          <ac:chgData name="Andrea Mogollon Nossa (CENIT)" userId="f6a3e592-cc27-4858-b185-ff86be206069" providerId="ADAL" clId="{3C8E150F-F68C-4D5E-9C1A-E8DFC63A437B}" dt="2020-07-30T16:37:21.813" v="247"/>
          <ac:spMkLst>
            <pc:docMk/>
            <pc:sldMk cId="1108072925" sldId="2134804343"/>
            <ac:spMk id="86" creationId="{571966E4-6AE3-4C33-9970-A9BE12766395}"/>
          </ac:spMkLst>
        </pc:spChg>
        <pc:spChg chg="mod">
          <ac:chgData name="Andrea Mogollon Nossa (CENIT)" userId="f6a3e592-cc27-4858-b185-ff86be206069" providerId="ADAL" clId="{3C8E150F-F68C-4D5E-9C1A-E8DFC63A437B}" dt="2020-07-30T16:37:21.813" v="247"/>
          <ac:spMkLst>
            <pc:docMk/>
            <pc:sldMk cId="1108072925" sldId="2134804343"/>
            <ac:spMk id="87" creationId="{C8446C14-0F15-4879-B42A-9C8E4F342704}"/>
          </ac:spMkLst>
        </pc:spChg>
        <pc:spChg chg="mod">
          <ac:chgData name="Andrea Mogollon Nossa (CENIT)" userId="f6a3e592-cc27-4858-b185-ff86be206069" providerId="ADAL" clId="{3C8E150F-F68C-4D5E-9C1A-E8DFC63A437B}" dt="2020-07-30T16:37:21.813" v="247"/>
          <ac:spMkLst>
            <pc:docMk/>
            <pc:sldMk cId="1108072925" sldId="2134804343"/>
            <ac:spMk id="89" creationId="{FC5116FE-6429-4FB7-AD42-767A8F94E162}"/>
          </ac:spMkLst>
        </pc:spChg>
        <pc:spChg chg="mod">
          <ac:chgData name="Andrea Mogollon Nossa (CENIT)" userId="f6a3e592-cc27-4858-b185-ff86be206069" providerId="ADAL" clId="{3C8E150F-F68C-4D5E-9C1A-E8DFC63A437B}" dt="2020-07-30T16:37:21.813" v="247"/>
          <ac:spMkLst>
            <pc:docMk/>
            <pc:sldMk cId="1108072925" sldId="2134804343"/>
            <ac:spMk id="90" creationId="{9C006655-E0D0-4225-BE73-163B7CBC3048}"/>
          </ac:spMkLst>
        </pc:spChg>
        <pc:spChg chg="mod">
          <ac:chgData name="Andrea Mogollon Nossa (CENIT)" userId="f6a3e592-cc27-4858-b185-ff86be206069" providerId="ADAL" clId="{3C8E150F-F68C-4D5E-9C1A-E8DFC63A437B}" dt="2020-07-30T16:37:21.813" v="247"/>
          <ac:spMkLst>
            <pc:docMk/>
            <pc:sldMk cId="1108072925" sldId="2134804343"/>
            <ac:spMk id="92" creationId="{5E22A5AC-54E9-411D-9312-B56572D7B760}"/>
          </ac:spMkLst>
        </pc:spChg>
        <pc:spChg chg="mod">
          <ac:chgData name="Andrea Mogollon Nossa (CENIT)" userId="f6a3e592-cc27-4858-b185-ff86be206069" providerId="ADAL" clId="{3C8E150F-F68C-4D5E-9C1A-E8DFC63A437B}" dt="2020-07-30T16:37:21.813" v="247"/>
          <ac:spMkLst>
            <pc:docMk/>
            <pc:sldMk cId="1108072925" sldId="2134804343"/>
            <ac:spMk id="93" creationId="{FD23C20A-7F61-45AF-9FFD-15C463EF3A7E}"/>
          </ac:spMkLst>
        </pc:spChg>
        <pc:spChg chg="mod">
          <ac:chgData name="Andrea Mogollon Nossa (CENIT)" userId="f6a3e592-cc27-4858-b185-ff86be206069" providerId="ADAL" clId="{3C8E150F-F68C-4D5E-9C1A-E8DFC63A437B}" dt="2020-07-30T16:37:21.813" v="247"/>
          <ac:spMkLst>
            <pc:docMk/>
            <pc:sldMk cId="1108072925" sldId="2134804343"/>
            <ac:spMk id="95" creationId="{346854B7-E137-4B4E-9CEC-DB909089BE7C}"/>
          </ac:spMkLst>
        </pc:spChg>
        <pc:spChg chg="mod">
          <ac:chgData name="Andrea Mogollon Nossa (CENIT)" userId="f6a3e592-cc27-4858-b185-ff86be206069" providerId="ADAL" clId="{3C8E150F-F68C-4D5E-9C1A-E8DFC63A437B}" dt="2020-07-30T16:37:21.813" v="247"/>
          <ac:spMkLst>
            <pc:docMk/>
            <pc:sldMk cId="1108072925" sldId="2134804343"/>
            <ac:spMk id="96" creationId="{82E3C2E5-F5FE-4380-9798-31FB29A354FE}"/>
          </ac:spMkLst>
        </pc:spChg>
        <pc:spChg chg="mod">
          <ac:chgData name="Andrea Mogollon Nossa (CENIT)" userId="f6a3e592-cc27-4858-b185-ff86be206069" providerId="ADAL" clId="{3C8E150F-F68C-4D5E-9C1A-E8DFC63A437B}" dt="2020-07-30T16:37:21.813" v="247"/>
          <ac:spMkLst>
            <pc:docMk/>
            <pc:sldMk cId="1108072925" sldId="2134804343"/>
            <ac:spMk id="98" creationId="{DD51013A-11E2-4D4A-A1DF-6F9F38D3C0EB}"/>
          </ac:spMkLst>
        </pc:spChg>
        <pc:spChg chg="mod">
          <ac:chgData name="Andrea Mogollon Nossa (CENIT)" userId="f6a3e592-cc27-4858-b185-ff86be206069" providerId="ADAL" clId="{3C8E150F-F68C-4D5E-9C1A-E8DFC63A437B}" dt="2020-07-30T16:37:21.813" v="247"/>
          <ac:spMkLst>
            <pc:docMk/>
            <pc:sldMk cId="1108072925" sldId="2134804343"/>
            <ac:spMk id="99" creationId="{30F9564E-2D04-4B72-A0FB-362428F3912C}"/>
          </ac:spMkLst>
        </pc:spChg>
        <pc:spChg chg="mod">
          <ac:chgData name="Andrea Mogollon Nossa (CENIT)" userId="f6a3e592-cc27-4858-b185-ff86be206069" providerId="ADAL" clId="{3C8E150F-F68C-4D5E-9C1A-E8DFC63A437B}" dt="2020-07-30T16:33:23.670" v="196" actId="20577"/>
          <ac:spMkLst>
            <pc:docMk/>
            <pc:sldMk cId="1108072925" sldId="2134804343"/>
            <ac:spMk id="114" creationId="{34834366-0759-4E89-9A3A-288B6DA6C8C5}"/>
          </ac:spMkLst>
        </pc:spChg>
        <pc:spChg chg="mod">
          <ac:chgData name="Andrea Mogollon Nossa (CENIT)" userId="f6a3e592-cc27-4858-b185-ff86be206069" providerId="ADAL" clId="{3C8E150F-F68C-4D5E-9C1A-E8DFC63A437B}" dt="2020-07-30T16:33:26.162" v="198" actId="20577"/>
          <ac:spMkLst>
            <pc:docMk/>
            <pc:sldMk cId="1108072925" sldId="2134804343"/>
            <ac:spMk id="117" creationId="{7F6BC1DB-4E40-4A47-850A-79B462E1AE26}"/>
          </ac:spMkLst>
        </pc:spChg>
        <pc:spChg chg="mod">
          <ac:chgData name="Andrea Mogollon Nossa (CENIT)" userId="f6a3e592-cc27-4858-b185-ff86be206069" providerId="ADAL" clId="{3C8E150F-F68C-4D5E-9C1A-E8DFC63A437B}" dt="2020-07-30T16:33:28.515" v="200" actId="20577"/>
          <ac:spMkLst>
            <pc:docMk/>
            <pc:sldMk cId="1108072925" sldId="2134804343"/>
            <ac:spMk id="120" creationId="{E73BF53D-5C4E-4100-BC6B-1DFC8B8FC737}"/>
          </ac:spMkLst>
        </pc:spChg>
        <pc:spChg chg="mod">
          <ac:chgData name="Andrea Mogollon Nossa (CENIT)" userId="f6a3e592-cc27-4858-b185-ff86be206069" providerId="ADAL" clId="{3C8E150F-F68C-4D5E-9C1A-E8DFC63A437B}" dt="2020-07-30T16:33:30.707" v="202" actId="20577"/>
          <ac:spMkLst>
            <pc:docMk/>
            <pc:sldMk cId="1108072925" sldId="2134804343"/>
            <ac:spMk id="123" creationId="{AF32E794-4F50-4939-826B-17544165148C}"/>
          </ac:spMkLst>
        </pc:spChg>
        <pc:spChg chg="mod">
          <ac:chgData name="Andrea Mogollon Nossa (CENIT)" userId="f6a3e592-cc27-4858-b185-ff86be206069" providerId="ADAL" clId="{3C8E150F-F68C-4D5E-9C1A-E8DFC63A437B}" dt="2020-07-30T16:33:32.935" v="204" actId="20577"/>
          <ac:spMkLst>
            <pc:docMk/>
            <pc:sldMk cId="1108072925" sldId="2134804343"/>
            <ac:spMk id="126" creationId="{8F1ADAC7-4725-4A8E-8E01-07F422E0CE8D}"/>
          </ac:spMkLst>
        </pc:spChg>
        <pc:spChg chg="mod">
          <ac:chgData name="Andrea Mogollon Nossa (CENIT)" userId="f6a3e592-cc27-4858-b185-ff86be206069" providerId="ADAL" clId="{3C8E150F-F68C-4D5E-9C1A-E8DFC63A437B}" dt="2020-07-30T16:33:36.755" v="206" actId="20577"/>
          <ac:spMkLst>
            <pc:docMk/>
            <pc:sldMk cId="1108072925" sldId="2134804343"/>
            <ac:spMk id="129" creationId="{547FDFA9-DFAE-49C9-8DB6-12CF8AF865B2}"/>
          </ac:spMkLst>
        </pc:spChg>
        <pc:spChg chg="mod">
          <ac:chgData name="Andrea Mogollon Nossa (CENIT)" userId="f6a3e592-cc27-4858-b185-ff86be206069" providerId="ADAL" clId="{3C8E150F-F68C-4D5E-9C1A-E8DFC63A437B}" dt="2020-07-30T16:33:21.313" v="194" actId="20577"/>
          <ac:spMkLst>
            <pc:docMk/>
            <pc:sldMk cId="1108072925" sldId="2134804343"/>
            <ac:spMk id="134" creationId="{9DA84409-E78D-4C09-BD7D-3213865A7325}"/>
          </ac:spMkLst>
        </pc:spChg>
        <pc:spChg chg="del">
          <ac:chgData name="Andrea Mogollon Nossa (CENIT)" userId="f6a3e592-cc27-4858-b185-ff86be206069" providerId="ADAL" clId="{3C8E150F-F68C-4D5E-9C1A-E8DFC63A437B}" dt="2020-07-30T16:37:20.852" v="246" actId="478"/>
          <ac:spMkLst>
            <pc:docMk/>
            <pc:sldMk cId="1108072925" sldId="2134804343"/>
            <ac:spMk id="135" creationId="{5B87A7D7-77D6-4944-AB47-116D5E89008C}"/>
          </ac:spMkLst>
        </pc:spChg>
        <pc:spChg chg="del">
          <ac:chgData name="Andrea Mogollon Nossa (CENIT)" userId="f6a3e592-cc27-4858-b185-ff86be206069" providerId="ADAL" clId="{3C8E150F-F68C-4D5E-9C1A-E8DFC63A437B}" dt="2020-07-30T16:37:20.852" v="246" actId="478"/>
          <ac:spMkLst>
            <pc:docMk/>
            <pc:sldMk cId="1108072925" sldId="2134804343"/>
            <ac:spMk id="136" creationId="{13F74801-AB82-4189-BC8F-0348CA5227F6}"/>
          </ac:spMkLst>
        </pc:spChg>
        <pc:spChg chg="del">
          <ac:chgData name="Andrea Mogollon Nossa (CENIT)" userId="f6a3e592-cc27-4858-b185-ff86be206069" providerId="ADAL" clId="{3C8E150F-F68C-4D5E-9C1A-E8DFC63A437B}" dt="2020-07-30T16:37:20.852" v="246" actId="478"/>
          <ac:spMkLst>
            <pc:docMk/>
            <pc:sldMk cId="1108072925" sldId="2134804343"/>
            <ac:spMk id="137" creationId="{3AE04B40-815A-413B-B670-12356A19D580}"/>
          </ac:spMkLst>
        </pc:spChg>
        <pc:spChg chg="del">
          <ac:chgData name="Andrea Mogollon Nossa (CENIT)" userId="f6a3e592-cc27-4858-b185-ff86be206069" providerId="ADAL" clId="{3C8E150F-F68C-4D5E-9C1A-E8DFC63A437B}" dt="2020-07-30T16:37:20.852" v="246" actId="478"/>
          <ac:spMkLst>
            <pc:docMk/>
            <pc:sldMk cId="1108072925" sldId="2134804343"/>
            <ac:spMk id="138" creationId="{12D8E2D4-5693-4CB4-AE12-D13C5339BC69}"/>
          </ac:spMkLst>
        </pc:spChg>
        <pc:spChg chg="del">
          <ac:chgData name="Andrea Mogollon Nossa (CENIT)" userId="f6a3e592-cc27-4858-b185-ff86be206069" providerId="ADAL" clId="{3C8E150F-F68C-4D5E-9C1A-E8DFC63A437B}" dt="2020-07-30T16:37:20.852" v="246" actId="478"/>
          <ac:spMkLst>
            <pc:docMk/>
            <pc:sldMk cId="1108072925" sldId="2134804343"/>
            <ac:spMk id="139" creationId="{8DCDDA4D-0FF0-4E24-A6D0-41A5291E7F77}"/>
          </ac:spMkLst>
        </pc:spChg>
        <pc:grpChg chg="add mod">
          <ac:chgData name="Andrea Mogollon Nossa (CENIT)" userId="f6a3e592-cc27-4858-b185-ff86be206069" providerId="ADAL" clId="{3C8E150F-F68C-4D5E-9C1A-E8DFC63A437B}" dt="2020-07-30T16:37:21.813" v="247"/>
          <ac:grpSpMkLst>
            <pc:docMk/>
            <pc:sldMk cId="1108072925" sldId="2134804343"/>
            <ac:grpSpMk id="73" creationId="{3C80229C-DD94-449D-98D7-D85933B70CCF}"/>
          </ac:grpSpMkLst>
        </pc:grpChg>
        <pc:grpChg chg="add mod">
          <ac:chgData name="Andrea Mogollon Nossa (CENIT)" userId="f6a3e592-cc27-4858-b185-ff86be206069" providerId="ADAL" clId="{3C8E150F-F68C-4D5E-9C1A-E8DFC63A437B}" dt="2020-07-30T16:37:21.813" v="247"/>
          <ac:grpSpMkLst>
            <pc:docMk/>
            <pc:sldMk cId="1108072925" sldId="2134804343"/>
            <ac:grpSpMk id="76" creationId="{9A12296C-CFC3-4B82-8989-90A52C2FABE9}"/>
          </ac:grpSpMkLst>
        </pc:grpChg>
        <pc:grpChg chg="add mod">
          <ac:chgData name="Andrea Mogollon Nossa (CENIT)" userId="f6a3e592-cc27-4858-b185-ff86be206069" providerId="ADAL" clId="{3C8E150F-F68C-4D5E-9C1A-E8DFC63A437B}" dt="2020-07-30T16:37:21.813" v="247"/>
          <ac:grpSpMkLst>
            <pc:docMk/>
            <pc:sldMk cId="1108072925" sldId="2134804343"/>
            <ac:grpSpMk id="79" creationId="{DC69A642-3121-446D-B95B-34BF0E99883D}"/>
          </ac:grpSpMkLst>
        </pc:grpChg>
        <pc:grpChg chg="add mod">
          <ac:chgData name="Andrea Mogollon Nossa (CENIT)" userId="f6a3e592-cc27-4858-b185-ff86be206069" providerId="ADAL" clId="{3C8E150F-F68C-4D5E-9C1A-E8DFC63A437B}" dt="2020-07-30T16:37:21.813" v="247"/>
          <ac:grpSpMkLst>
            <pc:docMk/>
            <pc:sldMk cId="1108072925" sldId="2134804343"/>
            <ac:grpSpMk id="82" creationId="{DD5CD14C-18F6-4BB4-B762-D0B36FBE5186}"/>
          </ac:grpSpMkLst>
        </pc:grpChg>
        <pc:grpChg chg="add mod">
          <ac:chgData name="Andrea Mogollon Nossa (CENIT)" userId="f6a3e592-cc27-4858-b185-ff86be206069" providerId="ADAL" clId="{3C8E150F-F68C-4D5E-9C1A-E8DFC63A437B}" dt="2020-07-30T16:37:21.813" v="247"/>
          <ac:grpSpMkLst>
            <pc:docMk/>
            <pc:sldMk cId="1108072925" sldId="2134804343"/>
            <ac:grpSpMk id="85" creationId="{1239A624-BB5E-4C04-95EF-0A8A2850F037}"/>
          </ac:grpSpMkLst>
        </pc:grpChg>
        <pc:grpChg chg="add mod">
          <ac:chgData name="Andrea Mogollon Nossa (CENIT)" userId="f6a3e592-cc27-4858-b185-ff86be206069" providerId="ADAL" clId="{3C8E150F-F68C-4D5E-9C1A-E8DFC63A437B}" dt="2020-07-30T16:37:21.813" v="247"/>
          <ac:grpSpMkLst>
            <pc:docMk/>
            <pc:sldMk cId="1108072925" sldId="2134804343"/>
            <ac:grpSpMk id="88" creationId="{12666C49-651A-4FB8-889B-ACB0355133E7}"/>
          </ac:grpSpMkLst>
        </pc:grpChg>
        <pc:grpChg chg="add mod">
          <ac:chgData name="Andrea Mogollon Nossa (CENIT)" userId="f6a3e592-cc27-4858-b185-ff86be206069" providerId="ADAL" clId="{3C8E150F-F68C-4D5E-9C1A-E8DFC63A437B}" dt="2020-07-30T16:37:21.813" v="247"/>
          <ac:grpSpMkLst>
            <pc:docMk/>
            <pc:sldMk cId="1108072925" sldId="2134804343"/>
            <ac:grpSpMk id="91" creationId="{3AE9D546-71B7-43F9-BBFE-A8333D264BF9}"/>
          </ac:grpSpMkLst>
        </pc:grpChg>
        <pc:grpChg chg="add mod">
          <ac:chgData name="Andrea Mogollon Nossa (CENIT)" userId="f6a3e592-cc27-4858-b185-ff86be206069" providerId="ADAL" clId="{3C8E150F-F68C-4D5E-9C1A-E8DFC63A437B}" dt="2020-07-30T16:37:21.813" v="247"/>
          <ac:grpSpMkLst>
            <pc:docMk/>
            <pc:sldMk cId="1108072925" sldId="2134804343"/>
            <ac:grpSpMk id="94" creationId="{6708EF79-9F4E-405F-83A6-D91900211E11}"/>
          </ac:grpSpMkLst>
        </pc:grpChg>
        <pc:grpChg chg="add mod">
          <ac:chgData name="Andrea Mogollon Nossa (CENIT)" userId="f6a3e592-cc27-4858-b185-ff86be206069" providerId="ADAL" clId="{3C8E150F-F68C-4D5E-9C1A-E8DFC63A437B}" dt="2020-07-30T16:37:21.813" v="247"/>
          <ac:grpSpMkLst>
            <pc:docMk/>
            <pc:sldMk cId="1108072925" sldId="2134804343"/>
            <ac:grpSpMk id="97" creationId="{524C6883-843F-4734-9D1C-20A6588B8126}"/>
          </ac:grpSpMkLst>
        </pc:grpChg>
        <pc:grpChg chg="del">
          <ac:chgData name="Andrea Mogollon Nossa (CENIT)" userId="f6a3e592-cc27-4858-b185-ff86be206069" providerId="ADAL" clId="{3C8E150F-F68C-4D5E-9C1A-E8DFC63A437B}" dt="2020-07-30T16:37:20.852" v="246" actId="478"/>
          <ac:grpSpMkLst>
            <pc:docMk/>
            <pc:sldMk cId="1108072925" sldId="2134804343"/>
            <ac:grpSpMk id="140" creationId="{89A29AE7-7F6C-4890-9B88-06A3EC85355F}"/>
          </ac:grpSpMkLst>
        </pc:grpChg>
        <pc:grpChg chg="del">
          <ac:chgData name="Andrea Mogollon Nossa (CENIT)" userId="f6a3e592-cc27-4858-b185-ff86be206069" providerId="ADAL" clId="{3C8E150F-F68C-4D5E-9C1A-E8DFC63A437B}" dt="2020-07-30T16:37:20.852" v="246" actId="478"/>
          <ac:grpSpMkLst>
            <pc:docMk/>
            <pc:sldMk cId="1108072925" sldId="2134804343"/>
            <ac:grpSpMk id="143" creationId="{5AD05D54-864C-480F-B3BE-8EDE665F45C1}"/>
          </ac:grpSpMkLst>
        </pc:grpChg>
        <pc:grpChg chg="del">
          <ac:chgData name="Andrea Mogollon Nossa (CENIT)" userId="f6a3e592-cc27-4858-b185-ff86be206069" providerId="ADAL" clId="{3C8E150F-F68C-4D5E-9C1A-E8DFC63A437B}" dt="2020-07-30T16:37:20.852" v="246" actId="478"/>
          <ac:grpSpMkLst>
            <pc:docMk/>
            <pc:sldMk cId="1108072925" sldId="2134804343"/>
            <ac:grpSpMk id="146" creationId="{A770A3D7-E6A7-47E9-ABA9-593F59AC6696}"/>
          </ac:grpSpMkLst>
        </pc:grpChg>
        <pc:grpChg chg="del">
          <ac:chgData name="Andrea Mogollon Nossa (CENIT)" userId="f6a3e592-cc27-4858-b185-ff86be206069" providerId="ADAL" clId="{3C8E150F-F68C-4D5E-9C1A-E8DFC63A437B}" dt="2020-07-30T16:37:20.852" v="246" actId="478"/>
          <ac:grpSpMkLst>
            <pc:docMk/>
            <pc:sldMk cId="1108072925" sldId="2134804343"/>
            <ac:grpSpMk id="149" creationId="{9D223151-F879-4232-A05F-7E3EB49AD541}"/>
          </ac:grpSpMkLst>
        </pc:grpChg>
        <pc:grpChg chg="del">
          <ac:chgData name="Andrea Mogollon Nossa (CENIT)" userId="f6a3e592-cc27-4858-b185-ff86be206069" providerId="ADAL" clId="{3C8E150F-F68C-4D5E-9C1A-E8DFC63A437B}" dt="2020-07-30T16:37:20.852" v="246" actId="478"/>
          <ac:grpSpMkLst>
            <pc:docMk/>
            <pc:sldMk cId="1108072925" sldId="2134804343"/>
            <ac:grpSpMk id="152" creationId="{24001A25-A388-439B-8076-320B9AA91D13}"/>
          </ac:grpSpMkLst>
        </pc:grpChg>
        <pc:grpChg chg="del">
          <ac:chgData name="Andrea Mogollon Nossa (CENIT)" userId="f6a3e592-cc27-4858-b185-ff86be206069" providerId="ADAL" clId="{3C8E150F-F68C-4D5E-9C1A-E8DFC63A437B}" dt="2020-07-30T16:37:20.852" v="246" actId="478"/>
          <ac:grpSpMkLst>
            <pc:docMk/>
            <pc:sldMk cId="1108072925" sldId="2134804343"/>
            <ac:grpSpMk id="155" creationId="{178061AA-E9DE-4A6D-B70F-AE54A2672D81}"/>
          </ac:grpSpMkLst>
        </pc:grpChg>
        <pc:grpChg chg="del">
          <ac:chgData name="Andrea Mogollon Nossa (CENIT)" userId="f6a3e592-cc27-4858-b185-ff86be206069" providerId="ADAL" clId="{3C8E150F-F68C-4D5E-9C1A-E8DFC63A437B}" dt="2020-07-30T16:37:20.852" v="246" actId="478"/>
          <ac:grpSpMkLst>
            <pc:docMk/>
            <pc:sldMk cId="1108072925" sldId="2134804343"/>
            <ac:grpSpMk id="164" creationId="{8B37E1FD-7126-44DA-952C-66C1412536A2}"/>
          </ac:grpSpMkLst>
        </pc:grpChg>
        <pc:grpChg chg="del">
          <ac:chgData name="Andrea Mogollon Nossa (CENIT)" userId="f6a3e592-cc27-4858-b185-ff86be206069" providerId="ADAL" clId="{3C8E150F-F68C-4D5E-9C1A-E8DFC63A437B}" dt="2020-07-30T16:37:20.852" v="246" actId="478"/>
          <ac:grpSpMkLst>
            <pc:docMk/>
            <pc:sldMk cId="1108072925" sldId="2134804343"/>
            <ac:grpSpMk id="167" creationId="{20C5926F-D7AF-40E1-8377-6A9B462E8907}"/>
          </ac:grpSpMkLst>
        </pc:grpChg>
      </pc:sldChg>
      <pc:sldChg chg="addSp delSp modSp mod">
        <pc:chgData name="Andrea Mogollon Nossa (CENIT)" userId="f6a3e592-cc27-4858-b185-ff86be206069" providerId="ADAL" clId="{3C8E150F-F68C-4D5E-9C1A-E8DFC63A437B}" dt="2020-07-30T16:37:04.582" v="245" actId="1076"/>
        <pc:sldMkLst>
          <pc:docMk/>
          <pc:sldMk cId="1734415321" sldId="2134804344"/>
        </pc:sldMkLst>
        <pc:spChg chg="mod">
          <ac:chgData name="Andrea Mogollon Nossa (CENIT)" userId="f6a3e592-cc27-4858-b185-ff86be206069" providerId="ADAL" clId="{3C8E150F-F68C-4D5E-9C1A-E8DFC63A437B}" dt="2020-07-30T16:28:31.134" v="117" actId="1076"/>
          <ac:spMkLst>
            <pc:docMk/>
            <pc:sldMk cId="1734415321" sldId="2134804344"/>
            <ac:spMk id="3" creationId="{815B10B7-60B3-4C63-8431-70CC556387C9}"/>
          </ac:spMkLst>
        </pc:spChg>
        <pc:spChg chg="mod">
          <ac:chgData name="Andrea Mogollon Nossa (CENIT)" userId="f6a3e592-cc27-4858-b185-ff86be206069" providerId="ADAL" clId="{3C8E150F-F68C-4D5E-9C1A-E8DFC63A437B}" dt="2020-07-30T16:27:49.998" v="112" actId="1076"/>
          <ac:spMkLst>
            <pc:docMk/>
            <pc:sldMk cId="1734415321" sldId="2134804344"/>
            <ac:spMk id="11" creationId="{772CA61D-742C-45F0-BAFA-0F3B90176E98}"/>
          </ac:spMkLst>
        </pc:spChg>
        <pc:spChg chg="mod">
          <ac:chgData name="Andrea Mogollon Nossa (CENIT)" userId="f6a3e592-cc27-4858-b185-ff86be206069" providerId="ADAL" clId="{3C8E150F-F68C-4D5E-9C1A-E8DFC63A437B}" dt="2020-07-30T16:27:49.998" v="112" actId="1076"/>
          <ac:spMkLst>
            <pc:docMk/>
            <pc:sldMk cId="1734415321" sldId="2134804344"/>
            <ac:spMk id="12" creationId="{7F3CEC4C-7588-4B74-823D-9CF22E2DAD79}"/>
          </ac:spMkLst>
        </pc:spChg>
        <pc:spChg chg="mod">
          <ac:chgData name="Andrea Mogollon Nossa (CENIT)" userId="f6a3e592-cc27-4858-b185-ff86be206069" providerId="ADAL" clId="{3C8E150F-F68C-4D5E-9C1A-E8DFC63A437B}" dt="2020-07-30T16:32:33.150" v="188" actId="1076"/>
          <ac:spMkLst>
            <pc:docMk/>
            <pc:sldMk cId="1734415321" sldId="2134804344"/>
            <ac:spMk id="22" creationId="{53E538FE-3283-40FB-A5F0-3E57246B6EFA}"/>
          </ac:spMkLst>
        </pc:spChg>
        <pc:spChg chg="mod">
          <ac:chgData name="Andrea Mogollon Nossa (CENIT)" userId="f6a3e592-cc27-4858-b185-ff86be206069" providerId="ADAL" clId="{3C8E150F-F68C-4D5E-9C1A-E8DFC63A437B}" dt="2020-07-30T16:27:49.998" v="112" actId="1076"/>
          <ac:spMkLst>
            <pc:docMk/>
            <pc:sldMk cId="1734415321" sldId="2134804344"/>
            <ac:spMk id="29" creationId="{46F67329-EAA2-4B09-AD5B-91FE70391A81}"/>
          </ac:spMkLst>
        </pc:spChg>
        <pc:spChg chg="mod">
          <ac:chgData name="Andrea Mogollon Nossa (CENIT)" userId="f6a3e592-cc27-4858-b185-ff86be206069" providerId="ADAL" clId="{3C8E150F-F68C-4D5E-9C1A-E8DFC63A437B}" dt="2020-07-30T16:28:50.694" v="119" actId="1076"/>
          <ac:spMkLst>
            <pc:docMk/>
            <pc:sldMk cId="1734415321" sldId="2134804344"/>
            <ac:spMk id="30" creationId="{5BF08848-45AE-451C-A99D-7322CF796742}"/>
          </ac:spMkLst>
        </pc:spChg>
        <pc:spChg chg="mod">
          <ac:chgData name="Andrea Mogollon Nossa (CENIT)" userId="f6a3e592-cc27-4858-b185-ff86be206069" providerId="ADAL" clId="{3C8E150F-F68C-4D5E-9C1A-E8DFC63A437B}" dt="2020-07-30T16:28:54.055" v="120" actId="1076"/>
          <ac:spMkLst>
            <pc:docMk/>
            <pc:sldMk cId="1734415321" sldId="2134804344"/>
            <ac:spMk id="34" creationId="{2858742F-5FD0-4B7E-9334-0D1DB2CF525E}"/>
          </ac:spMkLst>
        </pc:spChg>
        <pc:spChg chg="mod">
          <ac:chgData name="Andrea Mogollon Nossa (CENIT)" userId="f6a3e592-cc27-4858-b185-ff86be206069" providerId="ADAL" clId="{3C8E150F-F68C-4D5E-9C1A-E8DFC63A437B}" dt="2020-07-30T16:28:50.694" v="119" actId="1076"/>
          <ac:spMkLst>
            <pc:docMk/>
            <pc:sldMk cId="1734415321" sldId="2134804344"/>
            <ac:spMk id="35" creationId="{5F2982C9-1317-4114-BC67-9EA6763899B8}"/>
          </ac:spMkLst>
        </pc:spChg>
        <pc:spChg chg="mod">
          <ac:chgData name="Andrea Mogollon Nossa (CENIT)" userId="f6a3e592-cc27-4858-b185-ff86be206069" providerId="ADAL" clId="{3C8E150F-F68C-4D5E-9C1A-E8DFC63A437B}" dt="2020-07-30T16:27:57.503" v="113" actId="1076"/>
          <ac:spMkLst>
            <pc:docMk/>
            <pc:sldMk cId="1734415321" sldId="2134804344"/>
            <ac:spMk id="36" creationId="{80930BAD-CC8E-47DD-9473-5B8864A2680A}"/>
          </ac:spMkLst>
        </pc:spChg>
        <pc:spChg chg="del mod">
          <ac:chgData name="Andrea Mogollon Nossa (CENIT)" userId="f6a3e592-cc27-4858-b185-ff86be206069" providerId="ADAL" clId="{3C8E150F-F68C-4D5E-9C1A-E8DFC63A437B}" dt="2020-07-30T16:31:15.781" v="171" actId="478"/>
          <ac:spMkLst>
            <pc:docMk/>
            <pc:sldMk cId="1734415321" sldId="2134804344"/>
            <ac:spMk id="40" creationId="{F9005A44-E530-4972-BBE0-B3ED015A6ED4}"/>
          </ac:spMkLst>
        </pc:spChg>
        <pc:spChg chg="mod">
          <ac:chgData name="Andrea Mogollon Nossa (CENIT)" userId="f6a3e592-cc27-4858-b185-ff86be206069" providerId="ADAL" clId="{3C8E150F-F68C-4D5E-9C1A-E8DFC63A437B}" dt="2020-07-30T16:33:04.175" v="190" actId="1076"/>
          <ac:spMkLst>
            <pc:docMk/>
            <pc:sldMk cId="1734415321" sldId="2134804344"/>
            <ac:spMk id="41" creationId="{A6323A01-8860-4B1B-BDAF-6B75ABC06BEC}"/>
          </ac:spMkLst>
        </pc:spChg>
        <pc:spChg chg="mod">
          <ac:chgData name="Andrea Mogollon Nossa (CENIT)" userId="f6a3e592-cc27-4858-b185-ff86be206069" providerId="ADAL" clId="{3C8E150F-F68C-4D5E-9C1A-E8DFC63A437B}" dt="2020-07-30T16:28:41.669" v="118" actId="1076"/>
          <ac:spMkLst>
            <pc:docMk/>
            <pc:sldMk cId="1734415321" sldId="2134804344"/>
            <ac:spMk id="42" creationId="{4101169F-B3FD-425D-90F0-D9CCBE1BF3D2}"/>
          </ac:spMkLst>
        </pc:spChg>
        <pc:spChg chg="mod">
          <ac:chgData name="Andrea Mogollon Nossa (CENIT)" userId="f6a3e592-cc27-4858-b185-ff86be206069" providerId="ADAL" clId="{3C8E150F-F68C-4D5E-9C1A-E8DFC63A437B}" dt="2020-07-30T16:27:57.503" v="113" actId="1076"/>
          <ac:spMkLst>
            <pc:docMk/>
            <pc:sldMk cId="1734415321" sldId="2134804344"/>
            <ac:spMk id="43" creationId="{34452114-CA9E-44D1-9755-DF275F1BF2A9}"/>
          </ac:spMkLst>
        </pc:spChg>
        <pc:spChg chg="mod">
          <ac:chgData name="Andrea Mogollon Nossa (CENIT)" userId="f6a3e592-cc27-4858-b185-ff86be206069" providerId="ADAL" clId="{3C8E150F-F68C-4D5E-9C1A-E8DFC63A437B}" dt="2020-07-30T16:33:05.711" v="191" actId="1076"/>
          <ac:spMkLst>
            <pc:docMk/>
            <pc:sldMk cId="1734415321" sldId="2134804344"/>
            <ac:spMk id="45" creationId="{476FBBD3-1877-4B8E-A2BA-965C36FBD73D}"/>
          </ac:spMkLst>
        </pc:spChg>
        <pc:spChg chg="mod">
          <ac:chgData name="Andrea Mogollon Nossa (CENIT)" userId="f6a3e592-cc27-4858-b185-ff86be206069" providerId="ADAL" clId="{3C8E150F-F68C-4D5E-9C1A-E8DFC63A437B}" dt="2020-07-30T16:32:27.941" v="187" actId="1076"/>
          <ac:spMkLst>
            <pc:docMk/>
            <pc:sldMk cId="1734415321" sldId="2134804344"/>
            <ac:spMk id="48" creationId="{F926AC88-2103-4B74-A485-8F98AF37FABE}"/>
          </ac:spMkLst>
        </pc:spChg>
        <pc:spChg chg="mod">
          <ac:chgData name="Andrea Mogollon Nossa (CENIT)" userId="f6a3e592-cc27-4858-b185-ff86be206069" providerId="ADAL" clId="{3C8E150F-F68C-4D5E-9C1A-E8DFC63A437B}" dt="2020-07-30T16:28:41.669" v="118" actId="1076"/>
          <ac:spMkLst>
            <pc:docMk/>
            <pc:sldMk cId="1734415321" sldId="2134804344"/>
            <ac:spMk id="53" creationId="{436F7F2A-D56C-4686-B82F-7A2F944056CC}"/>
          </ac:spMkLst>
        </pc:spChg>
        <pc:spChg chg="mod">
          <ac:chgData name="Andrea Mogollon Nossa (CENIT)" userId="f6a3e592-cc27-4858-b185-ff86be206069" providerId="ADAL" clId="{3C8E150F-F68C-4D5E-9C1A-E8DFC63A437B}" dt="2020-07-30T16:31:44.718" v="179" actId="1076"/>
          <ac:spMkLst>
            <pc:docMk/>
            <pc:sldMk cId="1734415321" sldId="2134804344"/>
            <ac:spMk id="55" creationId="{1546B975-3205-4120-A98D-4F899F2673F9}"/>
          </ac:spMkLst>
        </pc:spChg>
        <pc:spChg chg="mod">
          <ac:chgData name="Andrea Mogollon Nossa (CENIT)" userId="f6a3e592-cc27-4858-b185-ff86be206069" providerId="ADAL" clId="{3C8E150F-F68C-4D5E-9C1A-E8DFC63A437B}" dt="2020-07-30T16:31:44.718" v="179" actId="1076"/>
          <ac:spMkLst>
            <pc:docMk/>
            <pc:sldMk cId="1734415321" sldId="2134804344"/>
            <ac:spMk id="56" creationId="{82D32ECE-5CE8-4D30-8F1A-35940B0E5DDC}"/>
          </ac:spMkLst>
        </pc:spChg>
        <pc:spChg chg="mod">
          <ac:chgData name="Andrea Mogollon Nossa (CENIT)" userId="f6a3e592-cc27-4858-b185-ff86be206069" providerId="ADAL" clId="{3C8E150F-F68C-4D5E-9C1A-E8DFC63A437B}" dt="2020-07-30T16:34:53.814" v="216" actId="14100"/>
          <ac:spMkLst>
            <pc:docMk/>
            <pc:sldMk cId="1734415321" sldId="2134804344"/>
            <ac:spMk id="57" creationId="{CFA918CB-0C7A-44FC-87D2-055F0DB1CDD9}"/>
          </ac:spMkLst>
        </pc:spChg>
        <pc:spChg chg="mod">
          <ac:chgData name="Andrea Mogollon Nossa (CENIT)" userId="f6a3e592-cc27-4858-b185-ff86be206069" providerId="ADAL" clId="{3C8E150F-F68C-4D5E-9C1A-E8DFC63A437B}" dt="2020-07-30T16:28:12.183" v="115" actId="1076"/>
          <ac:spMkLst>
            <pc:docMk/>
            <pc:sldMk cId="1734415321" sldId="2134804344"/>
            <ac:spMk id="59" creationId="{B329FB9A-BB66-4CA1-9AB8-4B6B45E56072}"/>
          </ac:spMkLst>
        </pc:spChg>
        <pc:spChg chg="mod">
          <ac:chgData name="Andrea Mogollon Nossa (CENIT)" userId="f6a3e592-cc27-4858-b185-ff86be206069" providerId="ADAL" clId="{3C8E150F-F68C-4D5E-9C1A-E8DFC63A437B}" dt="2020-07-30T16:27:37.607" v="110" actId="1076"/>
          <ac:spMkLst>
            <pc:docMk/>
            <pc:sldMk cId="1734415321" sldId="2134804344"/>
            <ac:spMk id="60" creationId="{FC98CCA7-DE6B-4116-84B8-A8982F08BE33}"/>
          </ac:spMkLst>
        </pc:spChg>
        <pc:spChg chg="mod">
          <ac:chgData name="Andrea Mogollon Nossa (CENIT)" userId="f6a3e592-cc27-4858-b185-ff86be206069" providerId="ADAL" clId="{3C8E150F-F68C-4D5E-9C1A-E8DFC63A437B}" dt="2020-07-30T16:27:37.607" v="110" actId="1076"/>
          <ac:spMkLst>
            <pc:docMk/>
            <pc:sldMk cId="1734415321" sldId="2134804344"/>
            <ac:spMk id="65" creationId="{E9C72F17-5D8F-41F6-8661-3E5DE2A9E040}"/>
          </ac:spMkLst>
        </pc:spChg>
        <pc:spChg chg="mod">
          <ac:chgData name="Andrea Mogollon Nossa (CENIT)" userId="f6a3e592-cc27-4858-b185-ff86be206069" providerId="ADAL" clId="{3C8E150F-F68C-4D5E-9C1A-E8DFC63A437B}" dt="2020-07-30T16:36:48.245" v="239" actId="1076"/>
          <ac:spMkLst>
            <pc:docMk/>
            <pc:sldMk cId="1734415321" sldId="2134804344"/>
            <ac:spMk id="66" creationId="{DB75697E-BD6D-4004-8F4B-2171046FC128}"/>
          </ac:spMkLst>
        </pc:spChg>
        <pc:spChg chg="mod">
          <ac:chgData name="Andrea Mogollon Nossa (CENIT)" userId="f6a3e592-cc27-4858-b185-ff86be206069" providerId="ADAL" clId="{3C8E150F-F68C-4D5E-9C1A-E8DFC63A437B}" dt="2020-07-30T16:36:50.102" v="240" actId="1076"/>
          <ac:spMkLst>
            <pc:docMk/>
            <pc:sldMk cId="1734415321" sldId="2134804344"/>
            <ac:spMk id="69" creationId="{42876D3F-F05B-4B3C-9DCB-629A3FE41134}"/>
          </ac:spMkLst>
        </pc:spChg>
        <pc:spChg chg="mod">
          <ac:chgData name="Andrea Mogollon Nossa (CENIT)" userId="f6a3e592-cc27-4858-b185-ff86be206069" providerId="ADAL" clId="{3C8E150F-F68C-4D5E-9C1A-E8DFC63A437B}" dt="2020-07-30T16:36:51.574" v="241" actId="1076"/>
          <ac:spMkLst>
            <pc:docMk/>
            <pc:sldMk cId="1734415321" sldId="2134804344"/>
            <ac:spMk id="70" creationId="{F9D75CA7-6C16-4058-92CF-BCCF9664CBC8}"/>
          </ac:spMkLst>
        </pc:spChg>
        <pc:spChg chg="mod">
          <ac:chgData name="Andrea Mogollon Nossa (CENIT)" userId="f6a3e592-cc27-4858-b185-ff86be206069" providerId="ADAL" clId="{3C8E150F-F68C-4D5E-9C1A-E8DFC63A437B}" dt="2020-07-30T16:36:53.287" v="242" actId="1076"/>
          <ac:spMkLst>
            <pc:docMk/>
            <pc:sldMk cId="1734415321" sldId="2134804344"/>
            <ac:spMk id="71" creationId="{63CA118B-4517-4A8E-85F9-65AF0995F5E4}"/>
          </ac:spMkLst>
        </pc:spChg>
        <pc:spChg chg="mod">
          <ac:chgData name="Andrea Mogollon Nossa (CENIT)" userId="f6a3e592-cc27-4858-b185-ff86be206069" providerId="ADAL" clId="{3C8E150F-F68C-4D5E-9C1A-E8DFC63A437B}" dt="2020-07-30T16:32:58.143" v="189" actId="1076"/>
          <ac:spMkLst>
            <pc:docMk/>
            <pc:sldMk cId="1734415321" sldId="2134804344"/>
            <ac:spMk id="72" creationId="{F0A9C2F1-1FA1-4C6D-980F-C42B048458E9}"/>
          </ac:spMkLst>
        </pc:spChg>
        <pc:spChg chg="mod">
          <ac:chgData name="Andrea Mogollon Nossa (CENIT)" userId="f6a3e592-cc27-4858-b185-ff86be206069" providerId="ADAL" clId="{3C8E150F-F68C-4D5E-9C1A-E8DFC63A437B}" dt="2020-07-30T16:32:58.143" v="189" actId="1076"/>
          <ac:spMkLst>
            <pc:docMk/>
            <pc:sldMk cId="1734415321" sldId="2134804344"/>
            <ac:spMk id="73" creationId="{504B0AB9-46DB-479D-A0DE-430E1C84357C}"/>
          </ac:spMkLst>
        </pc:spChg>
        <pc:spChg chg="add mod">
          <ac:chgData name="Andrea Mogollon Nossa (CENIT)" userId="f6a3e592-cc27-4858-b185-ff86be206069" providerId="ADAL" clId="{3C8E150F-F68C-4D5E-9C1A-E8DFC63A437B}" dt="2020-07-30T16:30:46.504" v="163" actId="14100"/>
          <ac:spMkLst>
            <pc:docMk/>
            <pc:sldMk cId="1734415321" sldId="2134804344"/>
            <ac:spMk id="75" creationId="{4C690042-2141-41E0-801C-740270A72EAA}"/>
          </ac:spMkLst>
        </pc:spChg>
        <pc:spChg chg="add mod">
          <ac:chgData name="Andrea Mogollon Nossa (CENIT)" userId="f6a3e592-cc27-4858-b185-ff86be206069" providerId="ADAL" clId="{3C8E150F-F68C-4D5E-9C1A-E8DFC63A437B}" dt="2020-07-30T16:30:54.305" v="165" actId="1076"/>
          <ac:spMkLst>
            <pc:docMk/>
            <pc:sldMk cId="1734415321" sldId="2134804344"/>
            <ac:spMk id="76" creationId="{0E53751B-1475-4A4B-BBEC-13FCD3CB2F50}"/>
          </ac:spMkLst>
        </pc:spChg>
        <pc:spChg chg="add mod">
          <ac:chgData name="Andrea Mogollon Nossa (CENIT)" userId="f6a3e592-cc27-4858-b185-ff86be206069" providerId="ADAL" clId="{3C8E150F-F68C-4D5E-9C1A-E8DFC63A437B}" dt="2020-07-30T16:31:04.288" v="167" actId="1076"/>
          <ac:spMkLst>
            <pc:docMk/>
            <pc:sldMk cId="1734415321" sldId="2134804344"/>
            <ac:spMk id="77" creationId="{75EB08EE-75FC-41CF-8DE8-8BEA1325A366}"/>
          </ac:spMkLst>
        </pc:spChg>
        <pc:spChg chg="mod">
          <ac:chgData name="Andrea Mogollon Nossa (CENIT)" userId="f6a3e592-cc27-4858-b185-ff86be206069" providerId="ADAL" clId="{3C8E150F-F68C-4D5E-9C1A-E8DFC63A437B}" dt="2020-07-30T16:31:18.251" v="172"/>
          <ac:spMkLst>
            <pc:docMk/>
            <pc:sldMk cId="1734415321" sldId="2134804344"/>
            <ac:spMk id="79" creationId="{B87C299D-EF49-4441-84EE-D96464B9014A}"/>
          </ac:spMkLst>
        </pc:spChg>
        <pc:spChg chg="mod">
          <ac:chgData name="Andrea Mogollon Nossa (CENIT)" userId="f6a3e592-cc27-4858-b185-ff86be206069" providerId="ADAL" clId="{3C8E150F-F68C-4D5E-9C1A-E8DFC63A437B}" dt="2020-07-30T16:31:23.952" v="175" actId="20577"/>
          <ac:spMkLst>
            <pc:docMk/>
            <pc:sldMk cId="1734415321" sldId="2134804344"/>
            <ac:spMk id="80" creationId="{E193066D-B18A-4EF1-AF0B-EF5BC81EBB54}"/>
          </ac:spMkLst>
        </pc:spChg>
        <pc:spChg chg="mod">
          <ac:chgData name="Andrea Mogollon Nossa (CENIT)" userId="f6a3e592-cc27-4858-b185-ff86be206069" providerId="ADAL" clId="{3C8E150F-F68C-4D5E-9C1A-E8DFC63A437B}" dt="2020-07-30T16:28:41.669" v="118" actId="1076"/>
          <ac:spMkLst>
            <pc:docMk/>
            <pc:sldMk cId="1734415321" sldId="2134804344"/>
            <ac:spMk id="81" creationId="{9EAEECC0-C607-4346-A4F1-115AAD4C7633}"/>
          </ac:spMkLst>
        </pc:spChg>
        <pc:spChg chg="mod">
          <ac:chgData name="Andrea Mogollon Nossa (CENIT)" userId="f6a3e592-cc27-4858-b185-ff86be206069" providerId="ADAL" clId="{3C8E150F-F68C-4D5E-9C1A-E8DFC63A437B}" dt="2020-07-30T16:31:44.718" v="179" actId="1076"/>
          <ac:spMkLst>
            <pc:docMk/>
            <pc:sldMk cId="1734415321" sldId="2134804344"/>
            <ac:spMk id="82" creationId="{AE9FA5CC-5AF8-4A39-808A-A55759A10785}"/>
          </ac:spMkLst>
        </pc:spChg>
        <pc:spChg chg="mod">
          <ac:chgData name="Andrea Mogollon Nossa (CENIT)" userId="f6a3e592-cc27-4858-b185-ff86be206069" providerId="ADAL" clId="{3C8E150F-F68C-4D5E-9C1A-E8DFC63A437B}" dt="2020-07-30T16:34:58.471" v="218" actId="1076"/>
          <ac:spMkLst>
            <pc:docMk/>
            <pc:sldMk cId="1734415321" sldId="2134804344"/>
            <ac:spMk id="83" creationId="{697AE0C9-8E3D-47A0-B88B-51F62D5E5F80}"/>
          </ac:spMkLst>
        </pc:spChg>
        <pc:spChg chg="mod">
          <ac:chgData name="Andrea Mogollon Nossa (CENIT)" userId="f6a3e592-cc27-4858-b185-ff86be206069" providerId="ADAL" clId="{3C8E150F-F68C-4D5E-9C1A-E8DFC63A437B}" dt="2020-07-30T16:28:12.183" v="115" actId="1076"/>
          <ac:spMkLst>
            <pc:docMk/>
            <pc:sldMk cId="1734415321" sldId="2134804344"/>
            <ac:spMk id="85" creationId="{0AEECF97-B04A-4741-8EAF-E1C19707EC79}"/>
          </ac:spMkLst>
        </pc:spChg>
        <pc:spChg chg="mod">
          <ac:chgData name="Andrea Mogollon Nossa (CENIT)" userId="f6a3e592-cc27-4858-b185-ff86be206069" providerId="ADAL" clId="{3C8E150F-F68C-4D5E-9C1A-E8DFC63A437B}" dt="2020-07-30T16:28:26.312" v="116" actId="1076"/>
          <ac:spMkLst>
            <pc:docMk/>
            <pc:sldMk cId="1734415321" sldId="2134804344"/>
            <ac:spMk id="97" creationId="{99300021-C267-43BD-A0F5-B3ECE622345E}"/>
          </ac:spMkLst>
        </pc:spChg>
        <pc:spChg chg="mod">
          <ac:chgData name="Andrea Mogollon Nossa (CENIT)" userId="f6a3e592-cc27-4858-b185-ff86be206069" providerId="ADAL" clId="{3C8E150F-F68C-4D5E-9C1A-E8DFC63A437B}" dt="2020-07-30T16:34:55.742" v="217" actId="1076"/>
          <ac:spMkLst>
            <pc:docMk/>
            <pc:sldMk cId="1734415321" sldId="2134804344"/>
            <ac:spMk id="98" creationId="{11F602EB-6CFD-4843-A675-A9D9AB24E0FE}"/>
          </ac:spMkLst>
        </pc:spChg>
        <pc:spChg chg="mod">
          <ac:chgData name="Andrea Mogollon Nossa (CENIT)" userId="f6a3e592-cc27-4858-b185-ff86be206069" providerId="ADAL" clId="{3C8E150F-F68C-4D5E-9C1A-E8DFC63A437B}" dt="2020-07-30T16:37:04.582" v="245" actId="1076"/>
          <ac:spMkLst>
            <pc:docMk/>
            <pc:sldMk cId="1734415321" sldId="2134804344"/>
            <ac:spMk id="99" creationId="{3F37526A-888E-4B3B-9EF1-1D4F51094B16}"/>
          </ac:spMkLst>
        </pc:spChg>
        <pc:spChg chg="mod">
          <ac:chgData name="Andrea Mogollon Nossa (CENIT)" userId="f6a3e592-cc27-4858-b185-ff86be206069" providerId="ADAL" clId="{3C8E150F-F68C-4D5E-9C1A-E8DFC63A437B}" dt="2020-07-30T16:35:18.256" v="222" actId="20577"/>
          <ac:spMkLst>
            <pc:docMk/>
            <pc:sldMk cId="1734415321" sldId="2134804344"/>
            <ac:spMk id="100" creationId="{35A556C0-08BB-4065-827F-E54CA0A57E33}"/>
          </ac:spMkLst>
        </pc:spChg>
        <pc:spChg chg="mod">
          <ac:chgData name="Andrea Mogollon Nossa (CENIT)" userId="f6a3e592-cc27-4858-b185-ff86be206069" providerId="ADAL" clId="{3C8E150F-F68C-4D5E-9C1A-E8DFC63A437B}" dt="2020-07-30T16:30:22.935" v="157" actId="1076"/>
          <ac:spMkLst>
            <pc:docMk/>
            <pc:sldMk cId="1734415321" sldId="2134804344"/>
            <ac:spMk id="101" creationId="{0F95C10F-4505-43A2-9FE4-A5D8FBED5E9D}"/>
          </ac:spMkLst>
        </pc:spChg>
        <pc:spChg chg="mod">
          <ac:chgData name="Andrea Mogollon Nossa (CENIT)" userId="f6a3e592-cc27-4858-b185-ff86be206069" providerId="ADAL" clId="{3C8E150F-F68C-4D5E-9C1A-E8DFC63A437B}" dt="2020-07-30T16:30:22.935" v="157" actId="1076"/>
          <ac:spMkLst>
            <pc:docMk/>
            <pc:sldMk cId="1734415321" sldId="2134804344"/>
            <ac:spMk id="102" creationId="{375A91BF-D241-42F1-A4B3-D3F3EA721080}"/>
          </ac:spMkLst>
        </pc:spChg>
        <pc:spChg chg="mod">
          <ac:chgData name="Andrea Mogollon Nossa (CENIT)" userId="f6a3e592-cc27-4858-b185-ff86be206069" providerId="ADAL" clId="{3C8E150F-F68C-4D5E-9C1A-E8DFC63A437B}" dt="2020-07-30T16:30:22.935" v="157" actId="1076"/>
          <ac:spMkLst>
            <pc:docMk/>
            <pc:sldMk cId="1734415321" sldId="2134804344"/>
            <ac:spMk id="103" creationId="{9CCA22EE-9CE4-456C-B76B-098E81A697E4}"/>
          </ac:spMkLst>
        </pc:spChg>
        <pc:spChg chg="mod">
          <ac:chgData name="Andrea Mogollon Nossa (CENIT)" userId="f6a3e592-cc27-4858-b185-ff86be206069" providerId="ADAL" clId="{3C8E150F-F68C-4D5E-9C1A-E8DFC63A437B}" dt="2020-07-30T16:36:20.657" v="230" actId="20577"/>
          <ac:spMkLst>
            <pc:docMk/>
            <pc:sldMk cId="1734415321" sldId="2134804344"/>
            <ac:spMk id="106" creationId="{3B211658-9448-4823-8F15-5D1C5843CE46}"/>
          </ac:spMkLst>
        </pc:spChg>
        <pc:spChg chg="mod">
          <ac:chgData name="Andrea Mogollon Nossa (CENIT)" userId="f6a3e592-cc27-4858-b185-ff86be206069" providerId="ADAL" clId="{3C8E150F-F68C-4D5E-9C1A-E8DFC63A437B}" dt="2020-07-30T16:36:30.546" v="238" actId="20577"/>
          <ac:spMkLst>
            <pc:docMk/>
            <pc:sldMk cId="1734415321" sldId="2134804344"/>
            <ac:spMk id="108" creationId="{3D010BAD-F539-4116-8687-AD686D4C2E0F}"/>
          </ac:spMkLst>
        </pc:spChg>
        <pc:spChg chg="mod">
          <ac:chgData name="Andrea Mogollon Nossa (CENIT)" userId="f6a3e592-cc27-4858-b185-ff86be206069" providerId="ADAL" clId="{3C8E150F-F68C-4D5E-9C1A-E8DFC63A437B}" dt="2020-07-30T16:35:32.061" v="225" actId="20577"/>
          <ac:spMkLst>
            <pc:docMk/>
            <pc:sldMk cId="1734415321" sldId="2134804344"/>
            <ac:spMk id="112" creationId="{5A8CEDC8-152E-46F9-90EC-5ECDB2223440}"/>
          </ac:spMkLst>
        </pc:spChg>
        <pc:spChg chg="mod">
          <ac:chgData name="Andrea Mogollon Nossa (CENIT)" userId="f6a3e592-cc27-4858-b185-ff86be206069" providerId="ADAL" clId="{3C8E150F-F68C-4D5E-9C1A-E8DFC63A437B}" dt="2020-07-30T16:36:25.431" v="234" actId="20577"/>
          <ac:spMkLst>
            <pc:docMk/>
            <pc:sldMk cId="1734415321" sldId="2134804344"/>
            <ac:spMk id="121" creationId="{2E311C97-6862-47DD-92C1-3BEF5D8F8865}"/>
          </ac:spMkLst>
        </pc:spChg>
        <pc:spChg chg="mod">
          <ac:chgData name="Andrea Mogollon Nossa (CENIT)" userId="f6a3e592-cc27-4858-b185-ff86be206069" providerId="ADAL" clId="{3C8E150F-F68C-4D5E-9C1A-E8DFC63A437B}" dt="2020-07-30T16:36:23.204" v="232" actId="20577"/>
          <ac:spMkLst>
            <pc:docMk/>
            <pc:sldMk cId="1734415321" sldId="2134804344"/>
            <ac:spMk id="127" creationId="{501B1D27-37DD-4D11-80FF-526C8083A6B5}"/>
          </ac:spMkLst>
        </pc:spChg>
        <pc:spChg chg="mod">
          <ac:chgData name="Andrea Mogollon Nossa (CENIT)" userId="f6a3e592-cc27-4858-b185-ff86be206069" providerId="ADAL" clId="{3C8E150F-F68C-4D5E-9C1A-E8DFC63A437B}" dt="2020-07-30T16:35:35.831" v="228" actId="20577"/>
          <ac:spMkLst>
            <pc:docMk/>
            <pc:sldMk cId="1734415321" sldId="2134804344"/>
            <ac:spMk id="130" creationId="{DA95F683-0481-491C-9E12-C20E9C8D4CB2}"/>
          </ac:spMkLst>
        </pc:spChg>
        <pc:spChg chg="mod">
          <ac:chgData name="Andrea Mogollon Nossa (CENIT)" userId="f6a3e592-cc27-4858-b185-ff86be206069" providerId="ADAL" clId="{3C8E150F-F68C-4D5E-9C1A-E8DFC63A437B}" dt="2020-07-30T16:36:27.828" v="236" actId="20577"/>
          <ac:spMkLst>
            <pc:docMk/>
            <pc:sldMk cId="1734415321" sldId="2134804344"/>
            <ac:spMk id="133" creationId="{47934E67-218B-4801-BC20-A86CE79D44A9}"/>
          </ac:spMkLst>
        </pc:spChg>
        <pc:grpChg chg="add mod">
          <ac:chgData name="Andrea Mogollon Nossa (CENIT)" userId="f6a3e592-cc27-4858-b185-ff86be206069" providerId="ADAL" clId="{3C8E150F-F68C-4D5E-9C1A-E8DFC63A437B}" dt="2020-07-30T16:33:08.566" v="192" actId="1076"/>
          <ac:grpSpMkLst>
            <pc:docMk/>
            <pc:sldMk cId="1734415321" sldId="2134804344"/>
            <ac:grpSpMk id="78" creationId="{12A3AACD-5508-4F4A-9036-A17C038CD4B5}"/>
          </ac:grpSpMkLst>
        </pc:grpChg>
        <pc:grpChg chg="mod">
          <ac:chgData name="Andrea Mogollon Nossa (CENIT)" userId="f6a3e592-cc27-4858-b185-ff86be206069" providerId="ADAL" clId="{3C8E150F-F68C-4D5E-9C1A-E8DFC63A437B}" dt="2020-07-30T16:32:58.143" v="189" actId="1076"/>
          <ac:grpSpMkLst>
            <pc:docMk/>
            <pc:sldMk cId="1734415321" sldId="2134804344"/>
            <ac:grpSpMk id="88" creationId="{F7EF4CD1-C03D-4025-9F1B-068CA3577EE5}"/>
          </ac:grpSpMkLst>
        </pc:grpChg>
        <pc:grpChg chg="mod">
          <ac:chgData name="Andrea Mogollon Nossa (CENIT)" userId="f6a3e592-cc27-4858-b185-ff86be206069" providerId="ADAL" clId="{3C8E150F-F68C-4D5E-9C1A-E8DFC63A437B}" dt="2020-07-30T16:32:13.135" v="184" actId="1076"/>
          <ac:grpSpMkLst>
            <pc:docMk/>
            <pc:sldMk cId="1734415321" sldId="2134804344"/>
            <ac:grpSpMk id="104" creationId="{59DCCC75-910D-4156-B5D2-8F3A5AA4C455}"/>
          </ac:grpSpMkLst>
        </pc:grpChg>
        <pc:grpChg chg="mod">
          <ac:chgData name="Andrea Mogollon Nossa (CENIT)" userId="f6a3e592-cc27-4858-b185-ff86be206069" providerId="ADAL" clId="{3C8E150F-F68C-4D5E-9C1A-E8DFC63A437B}" dt="2020-07-30T16:30:22.935" v="157" actId="1076"/>
          <ac:grpSpMkLst>
            <pc:docMk/>
            <pc:sldMk cId="1734415321" sldId="2134804344"/>
            <ac:grpSpMk id="107" creationId="{E3576795-9E27-4D88-8404-00A3C7526AF7}"/>
          </ac:grpSpMkLst>
        </pc:grpChg>
        <pc:grpChg chg="mod">
          <ac:chgData name="Andrea Mogollon Nossa (CENIT)" userId="f6a3e592-cc27-4858-b185-ff86be206069" providerId="ADAL" clId="{3C8E150F-F68C-4D5E-9C1A-E8DFC63A437B}" dt="2020-07-30T16:31:58.399" v="180" actId="1076"/>
          <ac:grpSpMkLst>
            <pc:docMk/>
            <pc:sldMk cId="1734415321" sldId="2134804344"/>
            <ac:grpSpMk id="110" creationId="{D7D0C9A1-025C-4450-87B1-36C6FF8DEABD}"/>
          </ac:grpSpMkLst>
        </pc:grpChg>
        <pc:grpChg chg="mod">
          <ac:chgData name="Andrea Mogollon Nossa (CENIT)" userId="f6a3e592-cc27-4858-b185-ff86be206069" providerId="ADAL" clId="{3C8E150F-F68C-4D5E-9C1A-E8DFC63A437B}" dt="2020-07-30T16:30:22.935" v="157" actId="1076"/>
          <ac:grpSpMkLst>
            <pc:docMk/>
            <pc:sldMk cId="1734415321" sldId="2134804344"/>
            <ac:grpSpMk id="113" creationId="{6B581FBB-D989-4E17-A065-E7971E49DBDA}"/>
          </ac:grpSpMkLst>
        </pc:grpChg>
        <pc:grpChg chg="mod">
          <ac:chgData name="Andrea Mogollon Nossa (CENIT)" userId="f6a3e592-cc27-4858-b185-ff86be206069" providerId="ADAL" clId="{3C8E150F-F68C-4D5E-9C1A-E8DFC63A437B}" dt="2020-07-30T16:32:09.527" v="183" actId="1076"/>
          <ac:grpSpMkLst>
            <pc:docMk/>
            <pc:sldMk cId="1734415321" sldId="2134804344"/>
            <ac:grpSpMk id="116" creationId="{E70D78CB-6FAA-4B85-BF4A-5A9BF1BD33DE}"/>
          </ac:grpSpMkLst>
        </pc:grpChg>
        <pc:grpChg chg="mod">
          <ac:chgData name="Andrea Mogollon Nossa (CENIT)" userId="f6a3e592-cc27-4858-b185-ff86be206069" providerId="ADAL" clId="{3C8E150F-F68C-4D5E-9C1A-E8DFC63A437B}" dt="2020-07-30T16:32:19.142" v="186" actId="1076"/>
          <ac:grpSpMkLst>
            <pc:docMk/>
            <pc:sldMk cId="1734415321" sldId="2134804344"/>
            <ac:grpSpMk id="122" creationId="{A6FEA521-C468-4ED3-872F-BE324F3DBB8B}"/>
          </ac:grpSpMkLst>
        </pc:grpChg>
        <pc:grpChg chg="mod">
          <ac:chgData name="Andrea Mogollon Nossa (CENIT)" userId="f6a3e592-cc27-4858-b185-ff86be206069" providerId="ADAL" clId="{3C8E150F-F68C-4D5E-9C1A-E8DFC63A437B}" dt="2020-07-30T16:32:05.974" v="182" actId="1076"/>
          <ac:grpSpMkLst>
            <pc:docMk/>
            <pc:sldMk cId="1734415321" sldId="2134804344"/>
            <ac:grpSpMk id="125" creationId="{9BCEE625-51DE-48C5-A3B4-C0734FAEDADC}"/>
          </ac:grpSpMkLst>
        </pc:grpChg>
        <pc:grpChg chg="mod">
          <ac:chgData name="Andrea Mogollon Nossa (CENIT)" userId="f6a3e592-cc27-4858-b185-ff86be206069" providerId="ADAL" clId="{3C8E150F-F68C-4D5E-9C1A-E8DFC63A437B}" dt="2020-07-30T16:30:22.935" v="157" actId="1076"/>
          <ac:grpSpMkLst>
            <pc:docMk/>
            <pc:sldMk cId="1734415321" sldId="2134804344"/>
            <ac:grpSpMk id="128" creationId="{9D1AB67C-D2EF-416D-818A-29CE159D0987}"/>
          </ac:grpSpMkLst>
        </pc:grpChg>
        <pc:grpChg chg="mod">
          <ac:chgData name="Andrea Mogollon Nossa (CENIT)" userId="f6a3e592-cc27-4858-b185-ff86be206069" providerId="ADAL" clId="{3C8E150F-F68C-4D5E-9C1A-E8DFC63A437B}" dt="2020-07-30T16:32:16.118" v="185" actId="1076"/>
          <ac:grpSpMkLst>
            <pc:docMk/>
            <pc:sldMk cId="1734415321" sldId="2134804344"/>
            <ac:grpSpMk id="131" creationId="{8D896094-5CAE-4A34-8F54-B3EBEBD435A6}"/>
          </ac:grpSpMkLst>
        </pc:grpChg>
      </pc:sldChg>
      <pc:sldChg chg="del">
        <pc:chgData name="Andrea Mogollon Nossa (CENIT)" userId="f6a3e592-cc27-4858-b185-ff86be206069" providerId="ADAL" clId="{3C8E150F-F68C-4D5E-9C1A-E8DFC63A437B}" dt="2020-07-30T15:59:32.809" v="90" actId="47"/>
        <pc:sldMkLst>
          <pc:docMk/>
          <pc:sldMk cId="1052642434" sldId="2134804352"/>
        </pc:sldMkLst>
      </pc:sldChg>
    </pc:docChg>
  </pc:docChgLst>
  <pc:docChgLst>
    <pc:chgData name="Yuly Andrea Castaneda Ramirez (CENIT)" userId="9d6b9224-b289-47c8-b6d4-3bf138101243" providerId="ADAL" clId="{0150EA7A-3692-4CE6-8414-A2D55987BE21}"/>
    <pc:docChg chg="undo custSel addSld delSld modSld sldOrd">
      <pc:chgData name="Yuly Andrea Castaneda Ramirez (CENIT)" userId="9d6b9224-b289-47c8-b6d4-3bf138101243" providerId="ADAL" clId="{0150EA7A-3692-4CE6-8414-A2D55987BE21}" dt="2020-06-18T16:27:33.419" v="2100" actId="6549"/>
      <pc:docMkLst>
        <pc:docMk/>
      </pc:docMkLst>
      <pc:sldChg chg="addSp delSp modSp mod">
        <pc:chgData name="Yuly Andrea Castaneda Ramirez (CENIT)" userId="9d6b9224-b289-47c8-b6d4-3bf138101243" providerId="ADAL" clId="{0150EA7A-3692-4CE6-8414-A2D55987BE21}" dt="2020-06-18T16:27:33.419" v="2100" actId="6549"/>
        <pc:sldMkLst>
          <pc:docMk/>
          <pc:sldMk cId="1803203511" sldId="2134804247"/>
        </pc:sldMkLst>
        <pc:spChg chg="mod">
          <ac:chgData name="Yuly Andrea Castaneda Ramirez (CENIT)" userId="9d6b9224-b289-47c8-b6d4-3bf138101243" providerId="ADAL" clId="{0150EA7A-3692-4CE6-8414-A2D55987BE21}" dt="2020-06-18T16:21:54.171" v="2077" actId="20577"/>
          <ac:spMkLst>
            <pc:docMk/>
            <pc:sldMk cId="1803203511" sldId="2134804247"/>
            <ac:spMk id="94" creationId="{8C9A6A51-23F6-4E40-965F-6AA73D06FAEA}"/>
          </ac:spMkLst>
        </pc:spChg>
        <pc:graphicFrameChg chg="add del mod modGraphic">
          <ac:chgData name="Yuly Andrea Castaneda Ramirez (CENIT)" userId="9d6b9224-b289-47c8-b6d4-3bf138101243" providerId="ADAL" clId="{0150EA7A-3692-4CE6-8414-A2D55987BE21}" dt="2020-06-18T16:27:33.419" v="2100" actId="6549"/>
          <ac:graphicFrameMkLst>
            <pc:docMk/>
            <pc:sldMk cId="1803203511" sldId="2134804247"/>
            <ac:graphicFrameMk id="11" creationId="{9D9D1D21-7943-4251-B296-312E588F0E7D}"/>
          </ac:graphicFrameMkLst>
        </pc:graphicFrameChg>
      </pc:sldChg>
      <pc:sldChg chg="addSp delSp modSp mod ord">
        <pc:chgData name="Yuly Andrea Castaneda Ramirez (CENIT)" userId="9d6b9224-b289-47c8-b6d4-3bf138101243" providerId="ADAL" clId="{0150EA7A-3692-4CE6-8414-A2D55987BE21}" dt="2020-06-17T01:49:29.209" v="2072"/>
        <pc:sldMkLst>
          <pc:docMk/>
          <pc:sldMk cId="3972105642" sldId="2134804288"/>
        </pc:sldMkLst>
        <pc:spChg chg="add del mod">
          <ac:chgData name="Yuly Andrea Castaneda Ramirez (CENIT)" userId="9d6b9224-b289-47c8-b6d4-3bf138101243" providerId="ADAL" clId="{0150EA7A-3692-4CE6-8414-A2D55987BE21}" dt="2020-06-17T00:25:39.019" v="1227" actId="478"/>
          <ac:spMkLst>
            <pc:docMk/>
            <pc:sldMk cId="3972105642" sldId="2134804288"/>
            <ac:spMk id="3" creationId="{1524C45A-97FD-4A0C-A286-8B4FC211198E}"/>
          </ac:spMkLst>
        </pc:spChg>
        <pc:spChg chg="del mod">
          <ac:chgData name="Yuly Andrea Castaneda Ramirez (CENIT)" userId="9d6b9224-b289-47c8-b6d4-3bf138101243" providerId="ADAL" clId="{0150EA7A-3692-4CE6-8414-A2D55987BE21}" dt="2020-06-16T23:28:28.384" v="219" actId="478"/>
          <ac:spMkLst>
            <pc:docMk/>
            <pc:sldMk cId="3972105642" sldId="2134804288"/>
            <ac:spMk id="5" creationId="{6E9A1754-20A7-4B35-82A8-CAADFE6AA79E}"/>
          </ac:spMkLst>
        </pc:spChg>
        <pc:spChg chg="del">
          <ac:chgData name="Yuly Andrea Castaneda Ramirez (CENIT)" userId="9d6b9224-b289-47c8-b6d4-3bf138101243" providerId="ADAL" clId="{0150EA7A-3692-4CE6-8414-A2D55987BE21}" dt="2020-06-16T23:28:28.384" v="219" actId="478"/>
          <ac:spMkLst>
            <pc:docMk/>
            <pc:sldMk cId="3972105642" sldId="2134804288"/>
            <ac:spMk id="10" creationId="{A192B800-F5BA-4DF6-AD24-3F9707FAC6B5}"/>
          </ac:spMkLst>
        </pc:spChg>
        <pc:spChg chg="del">
          <ac:chgData name="Yuly Andrea Castaneda Ramirez (CENIT)" userId="9d6b9224-b289-47c8-b6d4-3bf138101243" providerId="ADAL" clId="{0150EA7A-3692-4CE6-8414-A2D55987BE21}" dt="2020-06-16T23:28:28.384" v="219" actId="478"/>
          <ac:spMkLst>
            <pc:docMk/>
            <pc:sldMk cId="3972105642" sldId="2134804288"/>
            <ac:spMk id="23" creationId="{19DB4BE3-5133-4C05-9DFC-C8E8F930E13A}"/>
          </ac:spMkLst>
        </pc:spChg>
        <pc:spChg chg="del mod">
          <ac:chgData name="Yuly Andrea Castaneda Ramirez (CENIT)" userId="9d6b9224-b289-47c8-b6d4-3bf138101243" providerId="ADAL" clId="{0150EA7A-3692-4CE6-8414-A2D55987BE21}" dt="2020-06-16T23:28:28.384" v="219" actId="478"/>
          <ac:spMkLst>
            <pc:docMk/>
            <pc:sldMk cId="3972105642" sldId="2134804288"/>
            <ac:spMk id="24" creationId="{389B18D5-C39A-47EE-B3A9-7DEE4189E676}"/>
          </ac:spMkLst>
        </pc:spChg>
        <pc:spChg chg="del">
          <ac:chgData name="Yuly Andrea Castaneda Ramirez (CENIT)" userId="9d6b9224-b289-47c8-b6d4-3bf138101243" providerId="ADAL" clId="{0150EA7A-3692-4CE6-8414-A2D55987BE21}" dt="2020-06-16T23:28:28.384" v="219" actId="478"/>
          <ac:spMkLst>
            <pc:docMk/>
            <pc:sldMk cId="3972105642" sldId="2134804288"/>
            <ac:spMk id="25" creationId="{52048D91-45AA-408F-9D1F-D2E9F2D37210}"/>
          </ac:spMkLst>
        </pc:spChg>
        <pc:spChg chg="del">
          <ac:chgData name="Yuly Andrea Castaneda Ramirez (CENIT)" userId="9d6b9224-b289-47c8-b6d4-3bf138101243" providerId="ADAL" clId="{0150EA7A-3692-4CE6-8414-A2D55987BE21}" dt="2020-06-16T23:28:28.384" v="219" actId="478"/>
          <ac:spMkLst>
            <pc:docMk/>
            <pc:sldMk cId="3972105642" sldId="2134804288"/>
            <ac:spMk id="27" creationId="{626ADC92-4AB0-48C8-94D3-787A8F6B3965}"/>
          </ac:spMkLst>
        </pc:spChg>
        <pc:spChg chg="mod">
          <ac:chgData name="Yuly Andrea Castaneda Ramirez (CENIT)" userId="9d6b9224-b289-47c8-b6d4-3bf138101243" providerId="ADAL" clId="{0150EA7A-3692-4CE6-8414-A2D55987BE21}" dt="2020-06-17T01:16:59.529" v="1667" actId="207"/>
          <ac:spMkLst>
            <pc:docMk/>
            <pc:sldMk cId="3972105642" sldId="2134804288"/>
            <ac:spMk id="33" creationId="{7789E6CD-12A8-49BE-BB62-0F2E7B9DA7BD}"/>
          </ac:spMkLst>
        </pc:spChg>
        <pc:spChg chg="add del mod">
          <ac:chgData name="Yuly Andrea Castaneda Ramirez (CENIT)" userId="9d6b9224-b289-47c8-b6d4-3bf138101243" providerId="ADAL" clId="{0150EA7A-3692-4CE6-8414-A2D55987BE21}" dt="2020-06-17T01:20:39.501" v="1695" actId="14100"/>
          <ac:spMkLst>
            <pc:docMk/>
            <pc:sldMk cId="3972105642" sldId="2134804288"/>
            <ac:spMk id="37" creationId="{3711A2D9-52BE-4CB1-B730-5A820326C85E}"/>
          </ac:spMkLst>
        </pc:spChg>
        <pc:spChg chg="mod">
          <ac:chgData name="Yuly Andrea Castaneda Ramirez (CENIT)" userId="9d6b9224-b289-47c8-b6d4-3bf138101243" providerId="ADAL" clId="{0150EA7A-3692-4CE6-8414-A2D55987BE21}" dt="2020-06-17T01:19:34.838" v="1686" actId="14100"/>
          <ac:spMkLst>
            <pc:docMk/>
            <pc:sldMk cId="3972105642" sldId="2134804288"/>
            <ac:spMk id="38" creationId="{DA34B12E-EB9B-46FF-91FB-EC5344118F0F}"/>
          </ac:spMkLst>
        </pc:spChg>
        <pc:spChg chg="add del mod">
          <ac:chgData name="Yuly Andrea Castaneda Ramirez (CENIT)" userId="9d6b9224-b289-47c8-b6d4-3bf138101243" providerId="ADAL" clId="{0150EA7A-3692-4CE6-8414-A2D55987BE21}" dt="2020-06-16T23:28:28.384" v="219" actId="478"/>
          <ac:spMkLst>
            <pc:docMk/>
            <pc:sldMk cId="3972105642" sldId="2134804288"/>
            <ac:spMk id="59" creationId="{BE3F100C-50B3-4F15-9903-FB21CD00628E}"/>
          </ac:spMkLst>
        </pc:spChg>
        <pc:spChg chg="add del mod">
          <ac:chgData name="Yuly Andrea Castaneda Ramirez (CENIT)" userId="9d6b9224-b289-47c8-b6d4-3bf138101243" providerId="ADAL" clId="{0150EA7A-3692-4CE6-8414-A2D55987BE21}" dt="2020-06-16T23:28:28.384" v="219" actId="478"/>
          <ac:spMkLst>
            <pc:docMk/>
            <pc:sldMk cId="3972105642" sldId="2134804288"/>
            <ac:spMk id="60" creationId="{2F47BFE6-652B-4A11-A467-141CEABC6BB5}"/>
          </ac:spMkLst>
        </pc:spChg>
        <pc:spChg chg="add del mod">
          <ac:chgData name="Yuly Andrea Castaneda Ramirez (CENIT)" userId="9d6b9224-b289-47c8-b6d4-3bf138101243" providerId="ADAL" clId="{0150EA7A-3692-4CE6-8414-A2D55987BE21}" dt="2020-06-16T23:28:31.561" v="220" actId="478"/>
          <ac:spMkLst>
            <pc:docMk/>
            <pc:sldMk cId="3972105642" sldId="2134804288"/>
            <ac:spMk id="61" creationId="{36328718-1AD9-4A1D-AD92-CA23A630214F}"/>
          </ac:spMkLst>
        </pc:spChg>
        <pc:spChg chg="add mod">
          <ac:chgData name="Yuly Andrea Castaneda Ramirez (CENIT)" userId="9d6b9224-b289-47c8-b6d4-3bf138101243" providerId="ADAL" clId="{0150EA7A-3692-4CE6-8414-A2D55987BE21}" dt="2020-06-17T01:17:25.912" v="1672" actId="108"/>
          <ac:spMkLst>
            <pc:docMk/>
            <pc:sldMk cId="3972105642" sldId="2134804288"/>
            <ac:spMk id="62" creationId="{86B3BC84-3FA8-44F3-9E3E-59D0739B9318}"/>
          </ac:spMkLst>
        </pc:spChg>
        <pc:spChg chg="add mod">
          <ac:chgData name="Yuly Andrea Castaneda Ramirez (CENIT)" userId="9d6b9224-b289-47c8-b6d4-3bf138101243" providerId="ADAL" clId="{0150EA7A-3692-4CE6-8414-A2D55987BE21}" dt="2020-06-17T01:17:28.563" v="1673" actId="108"/>
          <ac:spMkLst>
            <pc:docMk/>
            <pc:sldMk cId="3972105642" sldId="2134804288"/>
            <ac:spMk id="63" creationId="{51677489-FC2B-4FD1-AEFD-56F1823C4DD5}"/>
          </ac:spMkLst>
        </pc:spChg>
        <pc:spChg chg="add mod">
          <ac:chgData name="Yuly Andrea Castaneda Ramirez (CENIT)" userId="9d6b9224-b289-47c8-b6d4-3bf138101243" providerId="ADAL" clId="{0150EA7A-3692-4CE6-8414-A2D55987BE21}" dt="2020-06-17T01:18:07.989" v="1676" actId="108"/>
          <ac:spMkLst>
            <pc:docMk/>
            <pc:sldMk cId="3972105642" sldId="2134804288"/>
            <ac:spMk id="64" creationId="{0E1F4205-8CA9-4A1C-9852-5354A2D5BA6D}"/>
          </ac:spMkLst>
        </pc:spChg>
        <pc:spChg chg="add mod">
          <ac:chgData name="Yuly Andrea Castaneda Ramirez (CENIT)" userId="9d6b9224-b289-47c8-b6d4-3bf138101243" providerId="ADAL" clId="{0150EA7A-3692-4CE6-8414-A2D55987BE21}" dt="2020-06-17T01:18:10.532" v="1677" actId="108"/>
          <ac:spMkLst>
            <pc:docMk/>
            <pc:sldMk cId="3972105642" sldId="2134804288"/>
            <ac:spMk id="65" creationId="{C2A97AAE-273C-42A5-B6F0-B43634490DE4}"/>
          </ac:spMkLst>
        </pc:spChg>
        <pc:spChg chg="add mod">
          <ac:chgData name="Yuly Andrea Castaneda Ramirez (CENIT)" userId="9d6b9224-b289-47c8-b6d4-3bf138101243" providerId="ADAL" clId="{0150EA7A-3692-4CE6-8414-A2D55987BE21}" dt="2020-06-17T01:04:29.207" v="1571" actId="108"/>
          <ac:spMkLst>
            <pc:docMk/>
            <pc:sldMk cId="3972105642" sldId="2134804288"/>
            <ac:spMk id="66" creationId="{4F30DB82-6F5F-4773-8ADC-002150EA4DCB}"/>
          </ac:spMkLst>
        </pc:spChg>
        <pc:spChg chg="del">
          <ac:chgData name="Yuly Andrea Castaneda Ramirez (CENIT)" userId="9d6b9224-b289-47c8-b6d4-3bf138101243" providerId="ADAL" clId="{0150EA7A-3692-4CE6-8414-A2D55987BE21}" dt="2020-06-16T23:28:28.384" v="219" actId="478"/>
          <ac:spMkLst>
            <pc:docMk/>
            <pc:sldMk cId="3972105642" sldId="2134804288"/>
            <ac:spMk id="67" creationId="{0B609A71-0C9E-44AA-A60D-A49754DFA355}"/>
          </ac:spMkLst>
        </pc:spChg>
        <pc:spChg chg="del">
          <ac:chgData name="Yuly Andrea Castaneda Ramirez (CENIT)" userId="9d6b9224-b289-47c8-b6d4-3bf138101243" providerId="ADAL" clId="{0150EA7A-3692-4CE6-8414-A2D55987BE21}" dt="2020-06-16T23:28:28.384" v="219" actId="478"/>
          <ac:spMkLst>
            <pc:docMk/>
            <pc:sldMk cId="3972105642" sldId="2134804288"/>
            <ac:spMk id="68" creationId="{A3F481BB-1FAB-4410-826E-0D16095DC8A2}"/>
          </ac:spMkLst>
        </pc:spChg>
        <pc:spChg chg="del">
          <ac:chgData name="Yuly Andrea Castaneda Ramirez (CENIT)" userId="9d6b9224-b289-47c8-b6d4-3bf138101243" providerId="ADAL" clId="{0150EA7A-3692-4CE6-8414-A2D55987BE21}" dt="2020-06-16T23:28:28.384" v="219" actId="478"/>
          <ac:spMkLst>
            <pc:docMk/>
            <pc:sldMk cId="3972105642" sldId="2134804288"/>
            <ac:spMk id="69" creationId="{C3C823BF-995B-45B7-AFA2-0AAD6DB53BD5}"/>
          </ac:spMkLst>
        </pc:spChg>
        <pc:spChg chg="add mod">
          <ac:chgData name="Yuly Andrea Castaneda Ramirez (CENIT)" userId="9d6b9224-b289-47c8-b6d4-3bf138101243" providerId="ADAL" clId="{0150EA7A-3692-4CE6-8414-A2D55987BE21}" dt="2020-06-17T01:04:32.081" v="1572" actId="108"/>
          <ac:spMkLst>
            <pc:docMk/>
            <pc:sldMk cId="3972105642" sldId="2134804288"/>
            <ac:spMk id="70" creationId="{6F8256D5-7314-478B-BF21-066A63342058}"/>
          </ac:spMkLst>
        </pc:spChg>
        <pc:spChg chg="add mod">
          <ac:chgData name="Yuly Andrea Castaneda Ramirez (CENIT)" userId="9d6b9224-b289-47c8-b6d4-3bf138101243" providerId="ADAL" clId="{0150EA7A-3692-4CE6-8414-A2D55987BE21}" dt="2020-06-17T01:04:42.314" v="1573" actId="108"/>
          <ac:spMkLst>
            <pc:docMk/>
            <pc:sldMk cId="3972105642" sldId="2134804288"/>
            <ac:spMk id="71" creationId="{3E498C09-BA6B-48BD-8F13-09DCB59426E9}"/>
          </ac:spMkLst>
        </pc:spChg>
        <pc:spChg chg="add del mod">
          <ac:chgData name="Yuly Andrea Castaneda Ramirez (CENIT)" userId="9d6b9224-b289-47c8-b6d4-3bf138101243" providerId="ADAL" clId="{0150EA7A-3692-4CE6-8414-A2D55987BE21}" dt="2020-06-16T23:57:35.368" v="753" actId="478"/>
          <ac:spMkLst>
            <pc:docMk/>
            <pc:sldMk cId="3972105642" sldId="2134804288"/>
            <ac:spMk id="72" creationId="{EC18A19B-AF23-4A38-AC3F-897943486A9A}"/>
          </ac:spMkLst>
        </pc:spChg>
        <pc:spChg chg="add del mod">
          <ac:chgData name="Yuly Andrea Castaneda Ramirez (CENIT)" userId="9d6b9224-b289-47c8-b6d4-3bf138101243" providerId="ADAL" clId="{0150EA7A-3692-4CE6-8414-A2D55987BE21}" dt="2020-06-16T23:57:36.031" v="754" actId="478"/>
          <ac:spMkLst>
            <pc:docMk/>
            <pc:sldMk cId="3972105642" sldId="2134804288"/>
            <ac:spMk id="73" creationId="{B2FCB792-7CA3-45EE-97ED-435ECCC93D4D}"/>
          </ac:spMkLst>
        </pc:spChg>
        <pc:spChg chg="add del mod">
          <ac:chgData name="Yuly Andrea Castaneda Ramirez (CENIT)" userId="9d6b9224-b289-47c8-b6d4-3bf138101243" providerId="ADAL" clId="{0150EA7A-3692-4CE6-8414-A2D55987BE21}" dt="2020-06-16T23:57:33.338" v="752" actId="478"/>
          <ac:spMkLst>
            <pc:docMk/>
            <pc:sldMk cId="3972105642" sldId="2134804288"/>
            <ac:spMk id="74" creationId="{C4EADB9B-7DE8-4582-9123-3C87ABBC8A22}"/>
          </ac:spMkLst>
        </pc:spChg>
        <pc:spChg chg="add mod">
          <ac:chgData name="Yuly Andrea Castaneda Ramirez (CENIT)" userId="9d6b9224-b289-47c8-b6d4-3bf138101243" providerId="ADAL" clId="{0150EA7A-3692-4CE6-8414-A2D55987BE21}" dt="2020-06-17T01:04:04.772" v="1569" actId="14100"/>
          <ac:spMkLst>
            <pc:docMk/>
            <pc:sldMk cId="3972105642" sldId="2134804288"/>
            <ac:spMk id="75" creationId="{E9820DB7-E155-4785-B36A-779BDD021F16}"/>
          </ac:spMkLst>
        </pc:spChg>
        <pc:spChg chg="add mod">
          <ac:chgData name="Yuly Andrea Castaneda Ramirez (CENIT)" userId="9d6b9224-b289-47c8-b6d4-3bf138101243" providerId="ADAL" clId="{0150EA7A-3692-4CE6-8414-A2D55987BE21}" dt="2020-06-17T01:04:00.602" v="1568" actId="1036"/>
          <ac:spMkLst>
            <pc:docMk/>
            <pc:sldMk cId="3972105642" sldId="2134804288"/>
            <ac:spMk id="76" creationId="{F7430276-8BE1-4D7D-9089-ED915CFF78A4}"/>
          </ac:spMkLst>
        </pc:spChg>
        <pc:spChg chg="add mod">
          <ac:chgData name="Yuly Andrea Castaneda Ramirez (CENIT)" userId="9d6b9224-b289-47c8-b6d4-3bf138101243" providerId="ADAL" clId="{0150EA7A-3692-4CE6-8414-A2D55987BE21}" dt="2020-06-17T01:16:59.529" v="1667" actId="207"/>
          <ac:spMkLst>
            <pc:docMk/>
            <pc:sldMk cId="3972105642" sldId="2134804288"/>
            <ac:spMk id="77" creationId="{65386130-7BA3-422A-B5C5-16298505DDBF}"/>
          </ac:spMkLst>
        </pc:spChg>
        <pc:spChg chg="add mod">
          <ac:chgData name="Yuly Andrea Castaneda Ramirez (CENIT)" userId="9d6b9224-b289-47c8-b6d4-3bf138101243" providerId="ADAL" clId="{0150EA7A-3692-4CE6-8414-A2D55987BE21}" dt="2020-06-17T01:16:59.529" v="1667" actId="207"/>
          <ac:spMkLst>
            <pc:docMk/>
            <pc:sldMk cId="3972105642" sldId="2134804288"/>
            <ac:spMk id="78" creationId="{B03BCF6B-DEDC-401D-BC0D-1E9BCD707CD8}"/>
          </ac:spMkLst>
        </pc:spChg>
        <pc:spChg chg="add mod">
          <ac:chgData name="Yuly Andrea Castaneda Ramirez (CENIT)" userId="9d6b9224-b289-47c8-b6d4-3bf138101243" providerId="ADAL" clId="{0150EA7A-3692-4CE6-8414-A2D55987BE21}" dt="2020-06-17T01:16:59.529" v="1667" actId="207"/>
          <ac:spMkLst>
            <pc:docMk/>
            <pc:sldMk cId="3972105642" sldId="2134804288"/>
            <ac:spMk id="80" creationId="{C82439E8-7F56-42D0-8AA6-AF836C3B5192}"/>
          </ac:spMkLst>
        </pc:spChg>
        <pc:spChg chg="mod">
          <ac:chgData name="Yuly Andrea Castaneda Ramirez (CENIT)" userId="9d6b9224-b289-47c8-b6d4-3bf138101243" providerId="ADAL" clId="{0150EA7A-3692-4CE6-8414-A2D55987BE21}" dt="2020-06-17T01:20:39.501" v="1695" actId="14100"/>
          <ac:spMkLst>
            <pc:docMk/>
            <pc:sldMk cId="3972105642" sldId="2134804288"/>
            <ac:spMk id="81" creationId="{55664DF5-A233-44A7-9101-538787CD3FB0}"/>
          </ac:spMkLst>
        </pc:spChg>
        <pc:spChg chg="add mod">
          <ac:chgData name="Yuly Andrea Castaneda Ramirez (CENIT)" userId="9d6b9224-b289-47c8-b6d4-3bf138101243" providerId="ADAL" clId="{0150EA7A-3692-4CE6-8414-A2D55987BE21}" dt="2020-06-17T01:16:59.529" v="1667" actId="207"/>
          <ac:spMkLst>
            <pc:docMk/>
            <pc:sldMk cId="3972105642" sldId="2134804288"/>
            <ac:spMk id="82" creationId="{94A2CEE5-73FD-4EF6-AF7A-AE0CEC1BEC69}"/>
          </ac:spMkLst>
        </pc:spChg>
        <pc:spChg chg="add del mod">
          <ac:chgData name="Yuly Andrea Castaneda Ramirez (CENIT)" userId="9d6b9224-b289-47c8-b6d4-3bf138101243" providerId="ADAL" clId="{0150EA7A-3692-4CE6-8414-A2D55987BE21}" dt="2020-06-17T00:02:55.680" v="837" actId="21"/>
          <ac:spMkLst>
            <pc:docMk/>
            <pc:sldMk cId="3972105642" sldId="2134804288"/>
            <ac:spMk id="83" creationId="{7E221BDF-D097-4678-85A9-BE8D999C38C1}"/>
          </ac:spMkLst>
        </pc:spChg>
        <pc:spChg chg="add mod">
          <ac:chgData name="Yuly Andrea Castaneda Ramirez (CENIT)" userId="9d6b9224-b289-47c8-b6d4-3bf138101243" providerId="ADAL" clId="{0150EA7A-3692-4CE6-8414-A2D55987BE21}" dt="2020-06-17T00:23:48.297" v="1211" actId="12789"/>
          <ac:spMkLst>
            <pc:docMk/>
            <pc:sldMk cId="3972105642" sldId="2134804288"/>
            <ac:spMk id="84" creationId="{81A3376C-4189-4D1A-BD63-AA027216F7C5}"/>
          </ac:spMkLst>
        </pc:spChg>
        <pc:spChg chg="add mod">
          <ac:chgData name="Yuly Andrea Castaneda Ramirez (CENIT)" userId="9d6b9224-b289-47c8-b6d4-3bf138101243" providerId="ADAL" clId="{0150EA7A-3692-4CE6-8414-A2D55987BE21}" dt="2020-06-17T00:23:48.297" v="1211" actId="12789"/>
          <ac:spMkLst>
            <pc:docMk/>
            <pc:sldMk cId="3972105642" sldId="2134804288"/>
            <ac:spMk id="85" creationId="{D3E89A44-BEBD-4DF4-96CB-2DE96FC9B704}"/>
          </ac:spMkLst>
        </pc:spChg>
        <pc:spChg chg="add mod">
          <ac:chgData name="Yuly Andrea Castaneda Ramirez (CENIT)" userId="9d6b9224-b289-47c8-b6d4-3bf138101243" providerId="ADAL" clId="{0150EA7A-3692-4CE6-8414-A2D55987BE21}" dt="2020-06-17T00:23:48.297" v="1211" actId="12789"/>
          <ac:spMkLst>
            <pc:docMk/>
            <pc:sldMk cId="3972105642" sldId="2134804288"/>
            <ac:spMk id="86" creationId="{98E1961C-4258-45D2-B731-6FEE987FF03B}"/>
          </ac:spMkLst>
        </pc:spChg>
        <pc:spChg chg="add del mod">
          <ac:chgData name="Yuly Andrea Castaneda Ramirez (CENIT)" userId="9d6b9224-b289-47c8-b6d4-3bf138101243" providerId="ADAL" clId="{0150EA7A-3692-4CE6-8414-A2D55987BE21}" dt="2020-06-17T01:20:39.501" v="1695" actId="14100"/>
          <ac:spMkLst>
            <pc:docMk/>
            <pc:sldMk cId="3972105642" sldId="2134804288"/>
            <ac:spMk id="87" creationId="{FE811B0C-88CE-4A45-95A3-61C236577A97}"/>
          </ac:spMkLst>
        </pc:spChg>
        <pc:spChg chg="add mod">
          <ac:chgData name="Yuly Andrea Castaneda Ramirez (CENIT)" userId="9d6b9224-b289-47c8-b6d4-3bf138101243" providerId="ADAL" clId="{0150EA7A-3692-4CE6-8414-A2D55987BE21}" dt="2020-06-17T00:23:48.297" v="1211" actId="12789"/>
          <ac:spMkLst>
            <pc:docMk/>
            <pc:sldMk cId="3972105642" sldId="2134804288"/>
            <ac:spMk id="88" creationId="{3447B149-62E7-4F91-B357-EEF8F25B3D30}"/>
          </ac:spMkLst>
        </pc:spChg>
        <pc:spChg chg="add del mod">
          <ac:chgData name="Yuly Andrea Castaneda Ramirez (CENIT)" userId="9d6b9224-b289-47c8-b6d4-3bf138101243" providerId="ADAL" clId="{0150EA7A-3692-4CE6-8414-A2D55987BE21}" dt="2020-06-17T00:02:55.680" v="837" actId="21"/>
          <ac:spMkLst>
            <pc:docMk/>
            <pc:sldMk cId="3972105642" sldId="2134804288"/>
            <ac:spMk id="89" creationId="{1B6BB051-9DF2-4D77-9742-17D63DDABEDB}"/>
          </ac:spMkLst>
        </pc:spChg>
        <pc:spChg chg="add mod">
          <ac:chgData name="Yuly Andrea Castaneda Ramirez (CENIT)" userId="9d6b9224-b289-47c8-b6d4-3bf138101243" providerId="ADAL" clId="{0150EA7A-3692-4CE6-8414-A2D55987BE21}" dt="2020-06-17T00:23:48.297" v="1211" actId="12789"/>
          <ac:spMkLst>
            <pc:docMk/>
            <pc:sldMk cId="3972105642" sldId="2134804288"/>
            <ac:spMk id="90" creationId="{3DD1B703-CBC4-4032-B4CC-F26A8E1B3141}"/>
          </ac:spMkLst>
        </pc:spChg>
        <pc:spChg chg="add mod">
          <ac:chgData name="Yuly Andrea Castaneda Ramirez (CENIT)" userId="9d6b9224-b289-47c8-b6d4-3bf138101243" providerId="ADAL" clId="{0150EA7A-3692-4CE6-8414-A2D55987BE21}" dt="2020-06-17T00:23:48.297" v="1211" actId="12789"/>
          <ac:spMkLst>
            <pc:docMk/>
            <pc:sldMk cId="3972105642" sldId="2134804288"/>
            <ac:spMk id="91" creationId="{C4519715-3ED2-473C-A37A-D053DFEEEB4C}"/>
          </ac:spMkLst>
        </pc:spChg>
        <pc:spChg chg="add mod">
          <ac:chgData name="Yuly Andrea Castaneda Ramirez (CENIT)" userId="9d6b9224-b289-47c8-b6d4-3bf138101243" providerId="ADAL" clId="{0150EA7A-3692-4CE6-8414-A2D55987BE21}" dt="2020-06-17T00:23:48.297" v="1211" actId="12789"/>
          <ac:spMkLst>
            <pc:docMk/>
            <pc:sldMk cId="3972105642" sldId="2134804288"/>
            <ac:spMk id="92" creationId="{AD681933-702A-43CF-A064-804C78715B48}"/>
          </ac:spMkLst>
        </pc:spChg>
        <pc:spChg chg="add mod">
          <ac:chgData name="Yuly Andrea Castaneda Ramirez (CENIT)" userId="9d6b9224-b289-47c8-b6d4-3bf138101243" providerId="ADAL" clId="{0150EA7A-3692-4CE6-8414-A2D55987BE21}" dt="2020-06-17T00:23:48.297" v="1211" actId="12789"/>
          <ac:spMkLst>
            <pc:docMk/>
            <pc:sldMk cId="3972105642" sldId="2134804288"/>
            <ac:spMk id="93" creationId="{0B137BED-2166-4F59-9E9A-13FBEA77A192}"/>
          </ac:spMkLst>
        </pc:spChg>
        <pc:spChg chg="add mod">
          <ac:chgData name="Yuly Andrea Castaneda Ramirez (CENIT)" userId="9d6b9224-b289-47c8-b6d4-3bf138101243" providerId="ADAL" clId="{0150EA7A-3692-4CE6-8414-A2D55987BE21}" dt="2020-06-17T01:16:57.500" v="1666" actId="571"/>
          <ac:spMkLst>
            <pc:docMk/>
            <pc:sldMk cId="3972105642" sldId="2134804288"/>
            <ac:spMk id="94" creationId="{1BB2AF8C-5042-44A9-B358-29E6A975CE9D}"/>
          </ac:spMkLst>
        </pc:spChg>
        <pc:spChg chg="add del mod">
          <ac:chgData name="Yuly Andrea Castaneda Ramirez (CENIT)" userId="9d6b9224-b289-47c8-b6d4-3bf138101243" providerId="ADAL" clId="{0150EA7A-3692-4CE6-8414-A2D55987BE21}" dt="2020-06-17T00:02:55.680" v="837" actId="21"/>
          <ac:spMkLst>
            <pc:docMk/>
            <pc:sldMk cId="3972105642" sldId="2134804288"/>
            <ac:spMk id="94" creationId="{E429F70D-9374-494F-9492-19F21882695F}"/>
          </ac:spMkLst>
        </pc:spChg>
        <pc:spChg chg="add mod">
          <ac:chgData name="Yuly Andrea Castaneda Ramirez (CENIT)" userId="9d6b9224-b289-47c8-b6d4-3bf138101243" providerId="ADAL" clId="{0150EA7A-3692-4CE6-8414-A2D55987BE21}" dt="2020-06-17T01:17:16.162" v="1670" actId="14100"/>
          <ac:spMkLst>
            <pc:docMk/>
            <pc:sldMk cId="3972105642" sldId="2134804288"/>
            <ac:spMk id="95" creationId="{4E4338E8-9272-4ADB-9AB6-B5891B7A87EF}"/>
          </ac:spMkLst>
        </pc:spChg>
        <pc:spChg chg="add mod">
          <ac:chgData name="Yuly Andrea Castaneda Ramirez (CENIT)" userId="9d6b9224-b289-47c8-b6d4-3bf138101243" providerId="ADAL" clId="{0150EA7A-3692-4CE6-8414-A2D55987BE21}" dt="2020-06-17T01:17:18.789" v="1671" actId="14100"/>
          <ac:spMkLst>
            <pc:docMk/>
            <pc:sldMk cId="3972105642" sldId="2134804288"/>
            <ac:spMk id="96" creationId="{7300C06E-0474-4E1E-BDDF-A63C980856F7}"/>
          </ac:spMkLst>
        </pc:spChg>
        <pc:spChg chg="add mod">
          <ac:chgData name="Yuly Andrea Castaneda Ramirez (CENIT)" userId="9d6b9224-b289-47c8-b6d4-3bf138101243" providerId="ADAL" clId="{0150EA7A-3692-4CE6-8414-A2D55987BE21}" dt="2020-06-17T01:11:06.735" v="1635" actId="1036"/>
          <ac:spMkLst>
            <pc:docMk/>
            <pc:sldMk cId="3972105642" sldId="2134804288"/>
            <ac:spMk id="98" creationId="{94071527-212F-4487-9C84-3C53C7117592}"/>
          </ac:spMkLst>
        </pc:spChg>
        <pc:spChg chg="add mod">
          <ac:chgData name="Yuly Andrea Castaneda Ramirez (CENIT)" userId="9d6b9224-b289-47c8-b6d4-3bf138101243" providerId="ADAL" clId="{0150EA7A-3692-4CE6-8414-A2D55987BE21}" dt="2020-06-17T01:16:57.500" v="1666" actId="571"/>
          <ac:spMkLst>
            <pc:docMk/>
            <pc:sldMk cId="3972105642" sldId="2134804288"/>
            <ac:spMk id="100" creationId="{45319C65-AF89-4E6E-8EC6-7483768B7613}"/>
          </ac:spMkLst>
        </pc:spChg>
        <pc:spChg chg="del">
          <ac:chgData name="Yuly Andrea Castaneda Ramirez (CENIT)" userId="9d6b9224-b289-47c8-b6d4-3bf138101243" providerId="ADAL" clId="{0150EA7A-3692-4CE6-8414-A2D55987BE21}" dt="2020-06-16T23:28:28.384" v="219" actId="478"/>
          <ac:spMkLst>
            <pc:docMk/>
            <pc:sldMk cId="3972105642" sldId="2134804288"/>
            <ac:spMk id="100" creationId="{65BEA0CF-3025-4182-BB7C-7FCB9677B093}"/>
          </ac:spMkLst>
        </pc:spChg>
        <pc:spChg chg="del">
          <ac:chgData name="Yuly Andrea Castaneda Ramirez (CENIT)" userId="9d6b9224-b289-47c8-b6d4-3bf138101243" providerId="ADAL" clId="{0150EA7A-3692-4CE6-8414-A2D55987BE21}" dt="2020-06-16T23:28:28.384" v="219" actId="478"/>
          <ac:spMkLst>
            <pc:docMk/>
            <pc:sldMk cId="3972105642" sldId="2134804288"/>
            <ac:spMk id="101" creationId="{69EAD6EC-44EF-4157-BA6D-9433BAF52D36}"/>
          </ac:spMkLst>
        </pc:spChg>
        <pc:spChg chg="add mod">
          <ac:chgData name="Yuly Andrea Castaneda Ramirez (CENIT)" userId="9d6b9224-b289-47c8-b6d4-3bf138101243" providerId="ADAL" clId="{0150EA7A-3692-4CE6-8414-A2D55987BE21}" dt="2020-06-17T01:16:57.500" v="1666" actId="571"/>
          <ac:spMkLst>
            <pc:docMk/>
            <pc:sldMk cId="3972105642" sldId="2134804288"/>
            <ac:spMk id="101" creationId="{F98D25A4-8CFF-4AD8-A38C-B29D6424C347}"/>
          </ac:spMkLst>
        </pc:spChg>
        <pc:spChg chg="add mod">
          <ac:chgData name="Yuly Andrea Castaneda Ramirez (CENIT)" userId="9d6b9224-b289-47c8-b6d4-3bf138101243" providerId="ADAL" clId="{0150EA7A-3692-4CE6-8414-A2D55987BE21}" dt="2020-06-17T00:27:13.277" v="1262" actId="1035"/>
          <ac:spMkLst>
            <pc:docMk/>
            <pc:sldMk cId="3972105642" sldId="2134804288"/>
            <ac:spMk id="102" creationId="{3E36CC8F-1C55-428F-A2C0-52CE853F1BF0}"/>
          </ac:spMkLst>
        </pc:spChg>
        <pc:spChg chg="add del mod">
          <ac:chgData name="Yuly Andrea Castaneda Ramirez (CENIT)" userId="9d6b9224-b289-47c8-b6d4-3bf138101243" providerId="ADAL" clId="{0150EA7A-3692-4CE6-8414-A2D55987BE21}" dt="2020-06-17T01:20:12.122" v="1693" actId="14100"/>
          <ac:spMkLst>
            <pc:docMk/>
            <pc:sldMk cId="3972105642" sldId="2134804288"/>
            <ac:spMk id="103" creationId="{EAB5FB81-51BD-4B45-B02E-4D00C22C82CB}"/>
          </ac:spMkLst>
        </pc:spChg>
        <pc:spChg chg="add mod">
          <ac:chgData name="Yuly Andrea Castaneda Ramirez (CENIT)" userId="9d6b9224-b289-47c8-b6d4-3bf138101243" providerId="ADAL" clId="{0150EA7A-3692-4CE6-8414-A2D55987BE21}" dt="2020-06-17T01:16:59.529" v="1667" actId="207"/>
          <ac:spMkLst>
            <pc:docMk/>
            <pc:sldMk cId="3972105642" sldId="2134804288"/>
            <ac:spMk id="104" creationId="{C3400F72-3867-45F1-88BE-58E569B2E7C2}"/>
          </ac:spMkLst>
        </pc:spChg>
        <pc:spChg chg="add mod">
          <ac:chgData name="Yuly Andrea Castaneda Ramirez (CENIT)" userId="9d6b9224-b289-47c8-b6d4-3bf138101243" providerId="ADAL" clId="{0150EA7A-3692-4CE6-8414-A2D55987BE21}" dt="2020-06-17T00:23:48.297" v="1211" actId="12789"/>
          <ac:spMkLst>
            <pc:docMk/>
            <pc:sldMk cId="3972105642" sldId="2134804288"/>
            <ac:spMk id="105" creationId="{91FA3AEB-14E6-4F91-87E5-B04AF3A4062C}"/>
          </ac:spMkLst>
        </pc:spChg>
        <pc:spChg chg="add del mod">
          <ac:chgData name="Yuly Andrea Castaneda Ramirez (CENIT)" userId="9d6b9224-b289-47c8-b6d4-3bf138101243" providerId="ADAL" clId="{0150EA7A-3692-4CE6-8414-A2D55987BE21}" dt="2020-06-17T01:18:55.118" v="1682" actId="6549"/>
          <ac:spMkLst>
            <pc:docMk/>
            <pc:sldMk cId="3972105642" sldId="2134804288"/>
            <ac:spMk id="106" creationId="{35E26E95-A46B-4DFF-AAB8-2D6D1A35193D}"/>
          </ac:spMkLst>
        </pc:spChg>
        <pc:spChg chg="add mod">
          <ac:chgData name="Yuly Andrea Castaneda Ramirez (CENIT)" userId="9d6b9224-b289-47c8-b6d4-3bf138101243" providerId="ADAL" clId="{0150EA7A-3692-4CE6-8414-A2D55987BE21}" dt="2020-06-17T00:23:48.297" v="1211" actId="12789"/>
          <ac:spMkLst>
            <pc:docMk/>
            <pc:sldMk cId="3972105642" sldId="2134804288"/>
            <ac:spMk id="107" creationId="{1264672C-2222-456B-B245-CF43DCF96BD8}"/>
          </ac:spMkLst>
        </pc:spChg>
        <pc:spChg chg="add mod">
          <ac:chgData name="Yuly Andrea Castaneda Ramirez (CENIT)" userId="9d6b9224-b289-47c8-b6d4-3bf138101243" providerId="ADAL" clId="{0150EA7A-3692-4CE6-8414-A2D55987BE21}" dt="2020-06-17T01:16:57.500" v="1666" actId="571"/>
          <ac:spMkLst>
            <pc:docMk/>
            <pc:sldMk cId="3972105642" sldId="2134804288"/>
            <ac:spMk id="108" creationId="{68C24401-B05D-47B4-9904-B4C286355302}"/>
          </ac:spMkLst>
        </pc:spChg>
        <pc:spChg chg="add del mod">
          <ac:chgData name="Yuly Andrea Castaneda Ramirez (CENIT)" userId="9d6b9224-b289-47c8-b6d4-3bf138101243" providerId="ADAL" clId="{0150EA7A-3692-4CE6-8414-A2D55987BE21}" dt="2020-06-17T00:25:09.180" v="1220"/>
          <ac:spMkLst>
            <pc:docMk/>
            <pc:sldMk cId="3972105642" sldId="2134804288"/>
            <ac:spMk id="108" creationId="{BDB084EE-C68E-445F-BD43-82448D427E06}"/>
          </ac:spMkLst>
        </pc:spChg>
        <pc:spChg chg="add mod">
          <ac:chgData name="Yuly Andrea Castaneda Ramirez (CENIT)" userId="9d6b9224-b289-47c8-b6d4-3bf138101243" providerId="ADAL" clId="{0150EA7A-3692-4CE6-8414-A2D55987BE21}" dt="2020-06-17T01:16:57.500" v="1666" actId="571"/>
          <ac:spMkLst>
            <pc:docMk/>
            <pc:sldMk cId="3972105642" sldId="2134804288"/>
            <ac:spMk id="109" creationId="{34DE2181-E861-4502-8B89-99D81AB2F722}"/>
          </ac:spMkLst>
        </pc:spChg>
        <pc:spChg chg="add del mod">
          <ac:chgData name="Yuly Andrea Castaneda Ramirez (CENIT)" userId="9d6b9224-b289-47c8-b6d4-3bf138101243" providerId="ADAL" clId="{0150EA7A-3692-4CE6-8414-A2D55987BE21}" dt="2020-06-17T00:25:09.180" v="1220"/>
          <ac:spMkLst>
            <pc:docMk/>
            <pc:sldMk cId="3972105642" sldId="2134804288"/>
            <ac:spMk id="109" creationId="{959660DC-1BA5-411B-8289-1D4837F81452}"/>
          </ac:spMkLst>
        </pc:spChg>
        <pc:spChg chg="add mod">
          <ac:chgData name="Yuly Andrea Castaneda Ramirez (CENIT)" userId="9d6b9224-b289-47c8-b6d4-3bf138101243" providerId="ADAL" clId="{0150EA7A-3692-4CE6-8414-A2D55987BE21}" dt="2020-06-17T01:16:57.500" v="1666" actId="571"/>
          <ac:spMkLst>
            <pc:docMk/>
            <pc:sldMk cId="3972105642" sldId="2134804288"/>
            <ac:spMk id="110" creationId="{45ED4DCF-9098-4132-B2E8-81542FB9F689}"/>
          </ac:spMkLst>
        </pc:spChg>
        <pc:spChg chg="add del mod">
          <ac:chgData name="Yuly Andrea Castaneda Ramirez (CENIT)" userId="9d6b9224-b289-47c8-b6d4-3bf138101243" providerId="ADAL" clId="{0150EA7A-3692-4CE6-8414-A2D55987BE21}" dt="2020-06-17T00:25:09.180" v="1220"/>
          <ac:spMkLst>
            <pc:docMk/>
            <pc:sldMk cId="3972105642" sldId="2134804288"/>
            <ac:spMk id="110" creationId="{E4AA3F90-D036-45F7-95E0-2F1615F5B43F}"/>
          </ac:spMkLst>
        </pc:spChg>
        <pc:spChg chg="add mod">
          <ac:chgData name="Yuly Andrea Castaneda Ramirez (CENIT)" userId="9d6b9224-b289-47c8-b6d4-3bf138101243" providerId="ADAL" clId="{0150EA7A-3692-4CE6-8414-A2D55987BE21}" dt="2020-06-17T01:16:57.500" v="1666" actId="571"/>
          <ac:spMkLst>
            <pc:docMk/>
            <pc:sldMk cId="3972105642" sldId="2134804288"/>
            <ac:spMk id="111" creationId="{1673F78D-200A-4F5B-A04A-09391363D9FE}"/>
          </ac:spMkLst>
        </pc:spChg>
        <pc:spChg chg="add del mod">
          <ac:chgData name="Yuly Andrea Castaneda Ramirez (CENIT)" userId="9d6b9224-b289-47c8-b6d4-3bf138101243" providerId="ADAL" clId="{0150EA7A-3692-4CE6-8414-A2D55987BE21}" dt="2020-06-17T00:25:09.180" v="1220"/>
          <ac:spMkLst>
            <pc:docMk/>
            <pc:sldMk cId="3972105642" sldId="2134804288"/>
            <ac:spMk id="111" creationId="{2A7A7553-0DDD-4C63-91CA-51925C794555}"/>
          </ac:spMkLst>
        </pc:spChg>
        <pc:spChg chg="add del mod">
          <ac:chgData name="Yuly Andrea Castaneda Ramirez (CENIT)" userId="9d6b9224-b289-47c8-b6d4-3bf138101243" providerId="ADAL" clId="{0150EA7A-3692-4CE6-8414-A2D55987BE21}" dt="2020-06-17T00:25:09.180" v="1220"/>
          <ac:spMkLst>
            <pc:docMk/>
            <pc:sldMk cId="3972105642" sldId="2134804288"/>
            <ac:spMk id="112" creationId="{6F704E2B-C473-4D55-8370-F5977E939A69}"/>
          </ac:spMkLst>
        </pc:spChg>
        <pc:spChg chg="add mod">
          <ac:chgData name="Yuly Andrea Castaneda Ramirez (CENIT)" userId="9d6b9224-b289-47c8-b6d4-3bf138101243" providerId="ADAL" clId="{0150EA7A-3692-4CE6-8414-A2D55987BE21}" dt="2020-06-17T01:16:57.500" v="1666" actId="571"/>
          <ac:spMkLst>
            <pc:docMk/>
            <pc:sldMk cId="3972105642" sldId="2134804288"/>
            <ac:spMk id="112" creationId="{D7EED82B-5F0C-45C1-8726-EB3142BDD4F1}"/>
          </ac:spMkLst>
        </pc:spChg>
        <pc:spChg chg="add mod">
          <ac:chgData name="Yuly Andrea Castaneda Ramirez (CENIT)" userId="9d6b9224-b289-47c8-b6d4-3bf138101243" providerId="ADAL" clId="{0150EA7A-3692-4CE6-8414-A2D55987BE21}" dt="2020-06-17T01:16:57.500" v="1666" actId="571"/>
          <ac:spMkLst>
            <pc:docMk/>
            <pc:sldMk cId="3972105642" sldId="2134804288"/>
            <ac:spMk id="113" creationId="{708DD153-23DD-4E52-9319-19BD3738CE78}"/>
          </ac:spMkLst>
        </pc:spChg>
        <pc:spChg chg="add del mod">
          <ac:chgData name="Yuly Andrea Castaneda Ramirez (CENIT)" userId="9d6b9224-b289-47c8-b6d4-3bf138101243" providerId="ADAL" clId="{0150EA7A-3692-4CE6-8414-A2D55987BE21}" dt="2020-06-17T00:25:09.180" v="1220"/>
          <ac:spMkLst>
            <pc:docMk/>
            <pc:sldMk cId="3972105642" sldId="2134804288"/>
            <ac:spMk id="113" creationId="{E51BCC52-A9D3-4358-A243-07F8CF255D2B}"/>
          </ac:spMkLst>
        </pc:spChg>
        <pc:spChg chg="add mod">
          <ac:chgData name="Yuly Andrea Castaneda Ramirez (CENIT)" userId="9d6b9224-b289-47c8-b6d4-3bf138101243" providerId="ADAL" clId="{0150EA7A-3692-4CE6-8414-A2D55987BE21}" dt="2020-06-17T01:16:57.500" v="1666" actId="571"/>
          <ac:spMkLst>
            <pc:docMk/>
            <pc:sldMk cId="3972105642" sldId="2134804288"/>
            <ac:spMk id="114" creationId="{38CA9A24-D727-4951-B7A3-BEC27626C3E1}"/>
          </ac:spMkLst>
        </pc:spChg>
        <pc:spChg chg="del">
          <ac:chgData name="Yuly Andrea Castaneda Ramirez (CENIT)" userId="9d6b9224-b289-47c8-b6d4-3bf138101243" providerId="ADAL" clId="{0150EA7A-3692-4CE6-8414-A2D55987BE21}" dt="2020-06-16T23:28:28.384" v="219" actId="478"/>
          <ac:spMkLst>
            <pc:docMk/>
            <pc:sldMk cId="3972105642" sldId="2134804288"/>
            <ac:spMk id="114" creationId="{5FC9CB71-87BB-40AF-8B70-47E1CB40C223}"/>
          </ac:spMkLst>
        </pc:spChg>
        <pc:spChg chg="add del mod">
          <ac:chgData name="Yuly Andrea Castaneda Ramirez (CENIT)" userId="9d6b9224-b289-47c8-b6d4-3bf138101243" providerId="ADAL" clId="{0150EA7A-3692-4CE6-8414-A2D55987BE21}" dt="2020-06-17T00:25:09.180" v="1220"/>
          <ac:spMkLst>
            <pc:docMk/>
            <pc:sldMk cId="3972105642" sldId="2134804288"/>
            <ac:spMk id="115" creationId="{51292A48-DCF7-40ED-99E5-CD95C93ECEE1}"/>
          </ac:spMkLst>
        </pc:spChg>
        <pc:spChg chg="add mod">
          <ac:chgData name="Yuly Andrea Castaneda Ramirez (CENIT)" userId="9d6b9224-b289-47c8-b6d4-3bf138101243" providerId="ADAL" clId="{0150EA7A-3692-4CE6-8414-A2D55987BE21}" dt="2020-06-17T01:16:57.500" v="1666" actId="571"/>
          <ac:spMkLst>
            <pc:docMk/>
            <pc:sldMk cId="3972105642" sldId="2134804288"/>
            <ac:spMk id="115" creationId="{A134F31A-77ED-448C-A68F-B8F7DC710A79}"/>
          </ac:spMkLst>
        </pc:spChg>
        <pc:spChg chg="add mod">
          <ac:chgData name="Yuly Andrea Castaneda Ramirez (CENIT)" userId="9d6b9224-b289-47c8-b6d4-3bf138101243" providerId="ADAL" clId="{0150EA7A-3692-4CE6-8414-A2D55987BE21}" dt="2020-06-17T01:16:57.500" v="1666" actId="571"/>
          <ac:spMkLst>
            <pc:docMk/>
            <pc:sldMk cId="3972105642" sldId="2134804288"/>
            <ac:spMk id="116" creationId="{3B7053F1-5A2D-4D1A-9AEB-DB61F9B8570D}"/>
          </ac:spMkLst>
        </pc:spChg>
        <pc:spChg chg="add del mod">
          <ac:chgData name="Yuly Andrea Castaneda Ramirez (CENIT)" userId="9d6b9224-b289-47c8-b6d4-3bf138101243" providerId="ADAL" clId="{0150EA7A-3692-4CE6-8414-A2D55987BE21}" dt="2020-06-17T00:25:09.180" v="1220"/>
          <ac:spMkLst>
            <pc:docMk/>
            <pc:sldMk cId="3972105642" sldId="2134804288"/>
            <ac:spMk id="116" creationId="{8F6B15EA-705F-46CA-AF82-58A3E2AC1652}"/>
          </ac:spMkLst>
        </pc:spChg>
        <pc:spChg chg="add mod">
          <ac:chgData name="Yuly Andrea Castaneda Ramirez (CENIT)" userId="9d6b9224-b289-47c8-b6d4-3bf138101243" providerId="ADAL" clId="{0150EA7A-3692-4CE6-8414-A2D55987BE21}" dt="2020-06-17T01:32:34.940" v="1814" actId="404"/>
          <ac:spMkLst>
            <pc:docMk/>
            <pc:sldMk cId="3972105642" sldId="2134804288"/>
            <ac:spMk id="117" creationId="{25E04EC8-7C3C-4341-80A4-FFC93FAF501F}"/>
          </ac:spMkLst>
        </pc:spChg>
        <pc:spChg chg="add del mod">
          <ac:chgData name="Yuly Andrea Castaneda Ramirez (CENIT)" userId="9d6b9224-b289-47c8-b6d4-3bf138101243" providerId="ADAL" clId="{0150EA7A-3692-4CE6-8414-A2D55987BE21}" dt="2020-06-17T00:25:09.180" v="1220"/>
          <ac:spMkLst>
            <pc:docMk/>
            <pc:sldMk cId="3972105642" sldId="2134804288"/>
            <ac:spMk id="117" creationId="{D2CE3B07-779E-4FDE-BC2A-ADC7F7B682CF}"/>
          </ac:spMkLst>
        </pc:spChg>
        <pc:spChg chg="del">
          <ac:chgData name="Yuly Andrea Castaneda Ramirez (CENIT)" userId="9d6b9224-b289-47c8-b6d4-3bf138101243" providerId="ADAL" clId="{0150EA7A-3692-4CE6-8414-A2D55987BE21}" dt="2020-06-16T23:28:28.384" v="219" actId="478"/>
          <ac:spMkLst>
            <pc:docMk/>
            <pc:sldMk cId="3972105642" sldId="2134804288"/>
            <ac:spMk id="118" creationId="{4595D805-A213-43C8-B637-A714BE5381A5}"/>
          </ac:spMkLst>
        </pc:spChg>
        <pc:spChg chg="add mod">
          <ac:chgData name="Yuly Andrea Castaneda Ramirez (CENIT)" userId="9d6b9224-b289-47c8-b6d4-3bf138101243" providerId="ADAL" clId="{0150EA7A-3692-4CE6-8414-A2D55987BE21}" dt="2020-06-17T01:26:53.560" v="1743" actId="1076"/>
          <ac:spMkLst>
            <pc:docMk/>
            <pc:sldMk cId="3972105642" sldId="2134804288"/>
            <ac:spMk id="118" creationId="{4C802F63-4193-4D6B-AE48-0B8E22BDA942}"/>
          </ac:spMkLst>
        </pc:spChg>
        <pc:spChg chg="del">
          <ac:chgData name="Yuly Andrea Castaneda Ramirez (CENIT)" userId="9d6b9224-b289-47c8-b6d4-3bf138101243" providerId="ADAL" clId="{0150EA7A-3692-4CE6-8414-A2D55987BE21}" dt="2020-06-16T23:28:28.384" v="219" actId="478"/>
          <ac:spMkLst>
            <pc:docMk/>
            <pc:sldMk cId="3972105642" sldId="2134804288"/>
            <ac:spMk id="119" creationId="{7EC1E586-865D-4AE6-8E83-6DD1A461383A}"/>
          </ac:spMkLst>
        </pc:spChg>
        <pc:spChg chg="add mod">
          <ac:chgData name="Yuly Andrea Castaneda Ramirez (CENIT)" userId="9d6b9224-b289-47c8-b6d4-3bf138101243" providerId="ADAL" clId="{0150EA7A-3692-4CE6-8414-A2D55987BE21}" dt="2020-06-17T01:35:22.107" v="1844" actId="1076"/>
          <ac:spMkLst>
            <pc:docMk/>
            <pc:sldMk cId="3972105642" sldId="2134804288"/>
            <ac:spMk id="119" creationId="{D4BD1269-A3B7-4A64-8069-05631EEB0009}"/>
          </ac:spMkLst>
        </pc:spChg>
        <pc:spChg chg="del">
          <ac:chgData name="Yuly Andrea Castaneda Ramirez (CENIT)" userId="9d6b9224-b289-47c8-b6d4-3bf138101243" providerId="ADAL" clId="{0150EA7A-3692-4CE6-8414-A2D55987BE21}" dt="2020-06-16T23:28:28.384" v="219" actId="478"/>
          <ac:spMkLst>
            <pc:docMk/>
            <pc:sldMk cId="3972105642" sldId="2134804288"/>
            <ac:spMk id="120" creationId="{8AC43903-3E05-4E77-83F5-D173AA753F73}"/>
          </ac:spMkLst>
        </pc:spChg>
        <pc:spChg chg="add mod">
          <ac:chgData name="Yuly Andrea Castaneda Ramirez (CENIT)" userId="9d6b9224-b289-47c8-b6d4-3bf138101243" providerId="ADAL" clId="{0150EA7A-3692-4CE6-8414-A2D55987BE21}" dt="2020-06-17T01:30:36.518" v="1789" actId="1076"/>
          <ac:spMkLst>
            <pc:docMk/>
            <pc:sldMk cId="3972105642" sldId="2134804288"/>
            <ac:spMk id="120" creationId="{E54A52E2-5DFF-469A-BC81-5C61FE5F498F}"/>
          </ac:spMkLst>
        </pc:spChg>
        <pc:spChg chg="mod">
          <ac:chgData name="Yuly Andrea Castaneda Ramirez (CENIT)" userId="9d6b9224-b289-47c8-b6d4-3bf138101243" providerId="ADAL" clId="{0150EA7A-3692-4CE6-8414-A2D55987BE21}" dt="2020-06-17T01:19:53.935" v="1689" actId="14100"/>
          <ac:spMkLst>
            <pc:docMk/>
            <pc:sldMk cId="3972105642" sldId="2134804288"/>
            <ac:spMk id="121" creationId="{33D17D00-C5E0-4296-BB51-8B9CF48F67F8}"/>
          </ac:spMkLst>
        </pc:spChg>
        <pc:spChg chg="del">
          <ac:chgData name="Yuly Andrea Castaneda Ramirez (CENIT)" userId="9d6b9224-b289-47c8-b6d4-3bf138101243" providerId="ADAL" clId="{0150EA7A-3692-4CE6-8414-A2D55987BE21}" dt="2020-06-16T23:28:28.384" v="219" actId="478"/>
          <ac:spMkLst>
            <pc:docMk/>
            <pc:sldMk cId="3972105642" sldId="2134804288"/>
            <ac:spMk id="122" creationId="{977AA09D-5209-43EC-82D8-E76ADC7BF2E0}"/>
          </ac:spMkLst>
        </pc:spChg>
        <pc:spChg chg="add mod">
          <ac:chgData name="Yuly Andrea Castaneda Ramirez (CENIT)" userId="9d6b9224-b289-47c8-b6d4-3bf138101243" providerId="ADAL" clId="{0150EA7A-3692-4CE6-8414-A2D55987BE21}" dt="2020-06-17T01:30:44.719" v="1791" actId="1076"/>
          <ac:spMkLst>
            <pc:docMk/>
            <pc:sldMk cId="3972105642" sldId="2134804288"/>
            <ac:spMk id="122" creationId="{A39E0C61-1A00-44A1-A517-87EB913EE3CA}"/>
          </ac:spMkLst>
        </pc:spChg>
        <pc:spChg chg="add mod">
          <ac:chgData name="Yuly Andrea Castaneda Ramirez (CENIT)" userId="9d6b9224-b289-47c8-b6d4-3bf138101243" providerId="ADAL" clId="{0150EA7A-3692-4CE6-8414-A2D55987BE21}" dt="2020-06-17T01:31:00.122" v="1794" actId="1076"/>
          <ac:spMkLst>
            <pc:docMk/>
            <pc:sldMk cId="3972105642" sldId="2134804288"/>
            <ac:spMk id="123" creationId="{3442115D-EC92-485A-8CD2-11FDFFAB652E}"/>
          </ac:spMkLst>
        </pc:spChg>
        <pc:spChg chg="del">
          <ac:chgData name="Yuly Andrea Castaneda Ramirez (CENIT)" userId="9d6b9224-b289-47c8-b6d4-3bf138101243" providerId="ADAL" clId="{0150EA7A-3692-4CE6-8414-A2D55987BE21}" dt="2020-06-16T23:28:28.384" v="219" actId="478"/>
          <ac:spMkLst>
            <pc:docMk/>
            <pc:sldMk cId="3972105642" sldId="2134804288"/>
            <ac:spMk id="123" creationId="{B7B2CB6A-5941-466A-A7D0-8B81D284EE83}"/>
          </ac:spMkLst>
        </pc:spChg>
        <pc:spChg chg="add mod">
          <ac:chgData name="Yuly Andrea Castaneda Ramirez (CENIT)" userId="9d6b9224-b289-47c8-b6d4-3bf138101243" providerId="ADAL" clId="{0150EA7A-3692-4CE6-8414-A2D55987BE21}" dt="2020-06-17T01:43:57.549" v="1948" actId="108"/>
          <ac:spMkLst>
            <pc:docMk/>
            <pc:sldMk cId="3972105642" sldId="2134804288"/>
            <ac:spMk id="124" creationId="{0192B1BE-7E12-4FA2-8A13-BF1535F63413}"/>
          </ac:spMkLst>
        </pc:spChg>
        <pc:spChg chg="add del mod">
          <ac:chgData name="Yuly Andrea Castaneda Ramirez (CENIT)" userId="9d6b9224-b289-47c8-b6d4-3bf138101243" providerId="ADAL" clId="{0150EA7A-3692-4CE6-8414-A2D55987BE21}" dt="2020-06-17T00:25:09.180" v="1220"/>
          <ac:spMkLst>
            <pc:docMk/>
            <pc:sldMk cId="3972105642" sldId="2134804288"/>
            <ac:spMk id="124" creationId="{EBEC9BCE-8310-4492-B93B-891F99EEFD4B}"/>
          </ac:spMkLst>
        </pc:spChg>
        <pc:spChg chg="mod">
          <ac:chgData name="Yuly Andrea Castaneda Ramirez (CENIT)" userId="9d6b9224-b289-47c8-b6d4-3bf138101243" providerId="ADAL" clId="{0150EA7A-3692-4CE6-8414-A2D55987BE21}" dt="2020-06-17T01:20:39.501" v="1695" actId="14100"/>
          <ac:spMkLst>
            <pc:docMk/>
            <pc:sldMk cId="3972105642" sldId="2134804288"/>
            <ac:spMk id="130" creationId="{87BE4D39-585A-439A-9AD3-A09D201B12FA}"/>
          </ac:spMkLst>
        </pc:spChg>
        <pc:spChg chg="add del mod">
          <ac:chgData name="Yuly Andrea Castaneda Ramirez (CENIT)" userId="9d6b9224-b289-47c8-b6d4-3bf138101243" providerId="ADAL" clId="{0150EA7A-3692-4CE6-8414-A2D55987BE21}" dt="2020-06-17T00:26:48.350" v="1245" actId="12789"/>
          <ac:spMkLst>
            <pc:docMk/>
            <pc:sldMk cId="3972105642" sldId="2134804288"/>
            <ac:spMk id="131" creationId="{8889283B-005D-488D-86F9-CDCDA28E5F7B}"/>
          </ac:spMkLst>
        </pc:spChg>
        <pc:spChg chg="add mod">
          <ac:chgData name="Yuly Andrea Castaneda Ramirez (CENIT)" userId="9d6b9224-b289-47c8-b6d4-3bf138101243" providerId="ADAL" clId="{0150EA7A-3692-4CE6-8414-A2D55987BE21}" dt="2020-06-17T01:43:58.464" v="1949" actId="108"/>
          <ac:spMkLst>
            <pc:docMk/>
            <pc:sldMk cId="3972105642" sldId="2134804288"/>
            <ac:spMk id="132" creationId="{2B4D8A13-DB92-41A8-AFD2-5B2874EF1BF3}"/>
          </ac:spMkLst>
        </pc:spChg>
        <pc:spChg chg="del">
          <ac:chgData name="Yuly Andrea Castaneda Ramirez (CENIT)" userId="9d6b9224-b289-47c8-b6d4-3bf138101243" providerId="ADAL" clId="{0150EA7A-3692-4CE6-8414-A2D55987BE21}" dt="2020-06-16T23:28:28.384" v="219" actId="478"/>
          <ac:spMkLst>
            <pc:docMk/>
            <pc:sldMk cId="3972105642" sldId="2134804288"/>
            <ac:spMk id="132" creationId="{6A90B078-206F-4E1D-89A1-298F78E33B76}"/>
          </ac:spMkLst>
        </pc:spChg>
        <pc:spChg chg="add mod">
          <ac:chgData name="Yuly Andrea Castaneda Ramirez (CENIT)" userId="9d6b9224-b289-47c8-b6d4-3bf138101243" providerId="ADAL" clId="{0150EA7A-3692-4CE6-8414-A2D55987BE21}" dt="2020-06-17T01:44:00.160" v="1951" actId="108"/>
          <ac:spMkLst>
            <pc:docMk/>
            <pc:sldMk cId="3972105642" sldId="2134804288"/>
            <ac:spMk id="133" creationId="{3D0435A1-4663-4846-971D-86057AF520BB}"/>
          </ac:spMkLst>
        </pc:spChg>
        <pc:spChg chg="del">
          <ac:chgData name="Yuly Andrea Castaneda Ramirez (CENIT)" userId="9d6b9224-b289-47c8-b6d4-3bf138101243" providerId="ADAL" clId="{0150EA7A-3692-4CE6-8414-A2D55987BE21}" dt="2020-06-16T23:28:28.384" v="219" actId="478"/>
          <ac:spMkLst>
            <pc:docMk/>
            <pc:sldMk cId="3972105642" sldId="2134804288"/>
            <ac:spMk id="133" creationId="{DB96E95E-854F-43C5-96C3-F7AE75CE00DC}"/>
          </ac:spMkLst>
        </pc:spChg>
        <pc:spChg chg="mod">
          <ac:chgData name="Yuly Andrea Castaneda Ramirez (CENIT)" userId="9d6b9224-b289-47c8-b6d4-3bf138101243" providerId="ADAL" clId="{0150EA7A-3692-4CE6-8414-A2D55987BE21}" dt="2020-06-17T00:26:48.350" v="1245" actId="12789"/>
          <ac:spMkLst>
            <pc:docMk/>
            <pc:sldMk cId="3972105642" sldId="2134804288"/>
            <ac:spMk id="134" creationId="{2015B74C-B102-4125-897E-A341F263D14B}"/>
          </ac:spMkLst>
        </pc:spChg>
        <pc:spChg chg="mod">
          <ac:chgData name="Yuly Andrea Castaneda Ramirez (CENIT)" userId="9d6b9224-b289-47c8-b6d4-3bf138101243" providerId="ADAL" clId="{0150EA7A-3692-4CE6-8414-A2D55987BE21}" dt="2020-06-17T00:26:48.350" v="1245" actId="12789"/>
          <ac:spMkLst>
            <pc:docMk/>
            <pc:sldMk cId="3972105642" sldId="2134804288"/>
            <ac:spMk id="135" creationId="{965631E9-4740-4B58-A1AB-6ED9AA0B8ABC}"/>
          </ac:spMkLst>
        </pc:spChg>
        <pc:spChg chg="mod">
          <ac:chgData name="Yuly Andrea Castaneda Ramirez (CENIT)" userId="9d6b9224-b289-47c8-b6d4-3bf138101243" providerId="ADAL" clId="{0150EA7A-3692-4CE6-8414-A2D55987BE21}" dt="2020-06-17T00:23:48.297" v="1211" actId="12789"/>
          <ac:spMkLst>
            <pc:docMk/>
            <pc:sldMk cId="3972105642" sldId="2134804288"/>
            <ac:spMk id="136" creationId="{DC2DE3F9-ECAC-40AD-A20A-B32B38C58757}"/>
          </ac:spMkLst>
        </pc:spChg>
        <pc:spChg chg="mod">
          <ac:chgData name="Yuly Andrea Castaneda Ramirez (CENIT)" userId="9d6b9224-b289-47c8-b6d4-3bf138101243" providerId="ADAL" clId="{0150EA7A-3692-4CE6-8414-A2D55987BE21}" dt="2020-06-17T00:23:48.297" v="1211" actId="12789"/>
          <ac:spMkLst>
            <pc:docMk/>
            <pc:sldMk cId="3972105642" sldId="2134804288"/>
            <ac:spMk id="137" creationId="{BDEF36B3-92BD-43BC-AD5C-2DF950D99692}"/>
          </ac:spMkLst>
        </pc:spChg>
        <pc:spChg chg="mod">
          <ac:chgData name="Yuly Andrea Castaneda Ramirez (CENIT)" userId="9d6b9224-b289-47c8-b6d4-3bf138101243" providerId="ADAL" clId="{0150EA7A-3692-4CE6-8414-A2D55987BE21}" dt="2020-06-17T00:23:48.297" v="1211" actId="12789"/>
          <ac:spMkLst>
            <pc:docMk/>
            <pc:sldMk cId="3972105642" sldId="2134804288"/>
            <ac:spMk id="138" creationId="{0A50029C-6FF1-4E5B-8FE3-9A0E8C0D7425}"/>
          </ac:spMkLst>
        </pc:spChg>
        <pc:spChg chg="add del mod">
          <ac:chgData name="Yuly Andrea Castaneda Ramirez (CENIT)" userId="9d6b9224-b289-47c8-b6d4-3bf138101243" providerId="ADAL" clId="{0150EA7A-3692-4CE6-8414-A2D55987BE21}" dt="2020-06-17T00:25:09.180" v="1220"/>
          <ac:spMkLst>
            <pc:docMk/>
            <pc:sldMk cId="3972105642" sldId="2134804288"/>
            <ac:spMk id="139" creationId="{634B2152-6AFE-4901-8FF4-5EBBA3A86B9D}"/>
          </ac:spMkLst>
        </pc:spChg>
        <pc:spChg chg="add mod">
          <ac:chgData name="Yuly Andrea Castaneda Ramirez (CENIT)" userId="9d6b9224-b289-47c8-b6d4-3bf138101243" providerId="ADAL" clId="{0150EA7A-3692-4CE6-8414-A2D55987BE21}" dt="2020-06-17T01:44:01.216" v="1952" actId="108"/>
          <ac:spMkLst>
            <pc:docMk/>
            <pc:sldMk cId="3972105642" sldId="2134804288"/>
            <ac:spMk id="139" creationId="{DD70D3A2-5195-4278-89DE-C7B5909EBB84}"/>
          </ac:spMkLst>
        </pc:spChg>
        <pc:spChg chg="mod">
          <ac:chgData name="Yuly Andrea Castaneda Ramirez (CENIT)" userId="9d6b9224-b289-47c8-b6d4-3bf138101243" providerId="ADAL" clId="{0150EA7A-3692-4CE6-8414-A2D55987BE21}" dt="2020-06-17T00:23:48.297" v="1211" actId="12789"/>
          <ac:spMkLst>
            <pc:docMk/>
            <pc:sldMk cId="3972105642" sldId="2134804288"/>
            <ac:spMk id="140" creationId="{2192EC14-9AFE-49A4-ACE7-7007DE218105}"/>
          </ac:spMkLst>
        </pc:spChg>
        <pc:spChg chg="del">
          <ac:chgData name="Yuly Andrea Castaneda Ramirez (CENIT)" userId="9d6b9224-b289-47c8-b6d4-3bf138101243" providerId="ADAL" clId="{0150EA7A-3692-4CE6-8414-A2D55987BE21}" dt="2020-06-16T23:28:28.384" v="219" actId="478"/>
          <ac:spMkLst>
            <pc:docMk/>
            <pc:sldMk cId="3972105642" sldId="2134804288"/>
            <ac:spMk id="141" creationId="{69FF13A6-B914-4228-B818-FA84C77810D8}"/>
          </ac:spMkLst>
        </pc:spChg>
        <pc:spChg chg="add mod">
          <ac:chgData name="Yuly Andrea Castaneda Ramirez (CENIT)" userId="9d6b9224-b289-47c8-b6d4-3bf138101243" providerId="ADAL" clId="{0150EA7A-3692-4CE6-8414-A2D55987BE21}" dt="2020-06-17T01:47:00.469" v="1982" actId="1076"/>
          <ac:spMkLst>
            <pc:docMk/>
            <pc:sldMk cId="3972105642" sldId="2134804288"/>
            <ac:spMk id="141" creationId="{A8D9BAF4-4638-4531-A212-B02CC3C2B3F8}"/>
          </ac:spMkLst>
        </pc:spChg>
        <pc:spChg chg="del">
          <ac:chgData name="Yuly Andrea Castaneda Ramirez (CENIT)" userId="9d6b9224-b289-47c8-b6d4-3bf138101243" providerId="ADAL" clId="{0150EA7A-3692-4CE6-8414-A2D55987BE21}" dt="2020-06-16T23:28:28.384" v="219" actId="478"/>
          <ac:spMkLst>
            <pc:docMk/>
            <pc:sldMk cId="3972105642" sldId="2134804288"/>
            <ac:spMk id="142" creationId="{09BA4622-4FF0-4AE7-A2BE-CA9EB89C56FC}"/>
          </ac:spMkLst>
        </pc:spChg>
        <pc:spChg chg="add mod">
          <ac:chgData name="Yuly Andrea Castaneda Ramirez (CENIT)" userId="9d6b9224-b289-47c8-b6d4-3bf138101243" providerId="ADAL" clId="{0150EA7A-3692-4CE6-8414-A2D55987BE21}" dt="2020-06-17T01:43:59.583" v="1950" actId="108"/>
          <ac:spMkLst>
            <pc:docMk/>
            <pc:sldMk cId="3972105642" sldId="2134804288"/>
            <ac:spMk id="142" creationId="{F6CFB0F8-5E6E-40EC-ACA9-CE69E63E9E53}"/>
          </ac:spMkLst>
        </pc:spChg>
        <pc:spChg chg="add del mod">
          <ac:chgData name="Yuly Andrea Castaneda Ramirez (CENIT)" userId="9d6b9224-b289-47c8-b6d4-3bf138101243" providerId="ADAL" clId="{0150EA7A-3692-4CE6-8414-A2D55987BE21}" dt="2020-06-17T00:26:48.350" v="1245" actId="12789"/>
          <ac:spMkLst>
            <pc:docMk/>
            <pc:sldMk cId="3972105642" sldId="2134804288"/>
            <ac:spMk id="143" creationId="{3B6CC448-71E4-48AD-AC27-24C2C48F7494}"/>
          </ac:spMkLst>
        </pc:spChg>
        <pc:spChg chg="add del mod">
          <ac:chgData name="Yuly Andrea Castaneda Ramirez (CENIT)" userId="9d6b9224-b289-47c8-b6d4-3bf138101243" providerId="ADAL" clId="{0150EA7A-3692-4CE6-8414-A2D55987BE21}" dt="2020-06-17T00:26:48.350" v="1245" actId="12789"/>
          <ac:spMkLst>
            <pc:docMk/>
            <pc:sldMk cId="3972105642" sldId="2134804288"/>
            <ac:spMk id="144" creationId="{459CE26A-2C70-483D-8505-6145B8B804E7}"/>
          </ac:spMkLst>
        </pc:spChg>
        <pc:spChg chg="mod">
          <ac:chgData name="Yuly Andrea Castaneda Ramirez (CENIT)" userId="9d6b9224-b289-47c8-b6d4-3bf138101243" providerId="ADAL" clId="{0150EA7A-3692-4CE6-8414-A2D55987BE21}" dt="2020-06-17T00:26:48.350" v="1245" actId="12789"/>
          <ac:spMkLst>
            <pc:docMk/>
            <pc:sldMk cId="3972105642" sldId="2134804288"/>
            <ac:spMk id="145" creationId="{73499BFD-F641-4498-BC47-3D42BE7BF515}"/>
          </ac:spMkLst>
        </pc:spChg>
        <pc:spChg chg="add del mod">
          <ac:chgData name="Yuly Andrea Castaneda Ramirez (CENIT)" userId="9d6b9224-b289-47c8-b6d4-3bf138101243" providerId="ADAL" clId="{0150EA7A-3692-4CE6-8414-A2D55987BE21}" dt="2020-06-17T00:26:48.350" v="1245" actId="12789"/>
          <ac:spMkLst>
            <pc:docMk/>
            <pc:sldMk cId="3972105642" sldId="2134804288"/>
            <ac:spMk id="146" creationId="{044A596C-01C5-4049-AD23-91F31E1CC4A1}"/>
          </ac:spMkLst>
        </pc:spChg>
        <pc:spChg chg="add del mod">
          <ac:chgData name="Yuly Andrea Castaneda Ramirez (CENIT)" userId="9d6b9224-b289-47c8-b6d4-3bf138101243" providerId="ADAL" clId="{0150EA7A-3692-4CE6-8414-A2D55987BE21}" dt="2020-06-17T00:26:48.350" v="1245" actId="12789"/>
          <ac:spMkLst>
            <pc:docMk/>
            <pc:sldMk cId="3972105642" sldId="2134804288"/>
            <ac:spMk id="147" creationId="{E4AEA615-7563-4C1B-A271-099D66D37367}"/>
          </ac:spMkLst>
        </pc:spChg>
        <pc:spChg chg="add del mod">
          <ac:chgData name="Yuly Andrea Castaneda Ramirez (CENIT)" userId="9d6b9224-b289-47c8-b6d4-3bf138101243" providerId="ADAL" clId="{0150EA7A-3692-4CE6-8414-A2D55987BE21}" dt="2020-06-17T00:26:48.350" v="1245" actId="12789"/>
          <ac:spMkLst>
            <pc:docMk/>
            <pc:sldMk cId="3972105642" sldId="2134804288"/>
            <ac:spMk id="148" creationId="{C466D27F-D52B-4D18-AB1A-B4A5A9F42324}"/>
          </ac:spMkLst>
        </pc:spChg>
        <pc:spChg chg="add del mod">
          <ac:chgData name="Yuly Andrea Castaneda Ramirez (CENIT)" userId="9d6b9224-b289-47c8-b6d4-3bf138101243" providerId="ADAL" clId="{0150EA7A-3692-4CE6-8414-A2D55987BE21}" dt="2020-06-17T00:26:48.350" v="1245" actId="12789"/>
          <ac:spMkLst>
            <pc:docMk/>
            <pc:sldMk cId="3972105642" sldId="2134804288"/>
            <ac:spMk id="149" creationId="{26DDE36A-BBEB-4220-A185-CCDB2EE3D917}"/>
          </ac:spMkLst>
        </pc:spChg>
        <pc:spChg chg="mod">
          <ac:chgData name="Yuly Andrea Castaneda Ramirez (CENIT)" userId="9d6b9224-b289-47c8-b6d4-3bf138101243" providerId="ADAL" clId="{0150EA7A-3692-4CE6-8414-A2D55987BE21}" dt="2020-06-17T00:23:48.297" v="1211" actId="12789"/>
          <ac:spMkLst>
            <pc:docMk/>
            <pc:sldMk cId="3972105642" sldId="2134804288"/>
            <ac:spMk id="150" creationId="{1C6B11C4-1308-4BF3-BB98-C70CE2518459}"/>
          </ac:spMkLst>
        </pc:spChg>
        <pc:spChg chg="mod">
          <ac:chgData name="Yuly Andrea Castaneda Ramirez (CENIT)" userId="9d6b9224-b289-47c8-b6d4-3bf138101243" providerId="ADAL" clId="{0150EA7A-3692-4CE6-8414-A2D55987BE21}" dt="2020-06-17T00:23:48.297" v="1211" actId="12789"/>
          <ac:spMkLst>
            <pc:docMk/>
            <pc:sldMk cId="3972105642" sldId="2134804288"/>
            <ac:spMk id="151" creationId="{E1D12F42-18F9-40F6-8EFF-433E9B9F0592}"/>
          </ac:spMkLst>
        </pc:spChg>
        <pc:spChg chg="mod">
          <ac:chgData name="Yuly Andrea Castaneda Ramirez (CENIT)" userId="9d6b9224-b289-47c8-b6d4-3bf138101243" providerId="ADAL" clId="{0150EA7A-3692-4CE6-8414-A2D55987BE21}" dt="2020-06-17T00:23:48.297" v="1211" actId="12789"/>
          <ac:spMkLst>
            <pc:docMk/>
            <pc:sldMk cId="3972105642" sldId="2134804288"/>
            <ac:spMk id="152" creationId="{6249E4F1-2D8E-4097-9179-EBC1401827BA}"/>
          </ac:spMkLst>
        </pc:spChg>
        <pc:spChg chg="mod">
          <ac:chgData name="Yuly Andrea Castaneda Ramirez (CENIT)" userId="9d6b9224-b289-47c8-b6d4-3bf138101243" providerId="ADAL" clId="{0150EA7A-3692-4CE6-8414-A2D55987BE21}" dt="2020-06-17T00:23:48.297" v="1211" actId="12789"/>
          <ac:spMkLst>
            <pc:docMk/>
            <pc:sldMk cId="3972105642" sldId="2134804288"/>
            <ac:spMk id="153" creationId="{EBCEC452-242A-41DC-B20E-8FCEB57C4FE5}"/>
          </ac:spMkLst>
        </pc:spChg>
        <pc:spChg chg="add mod">
          <ac:chgData name="Yuly Andrea Castaneda Ramirez (CENIT)" userId="9d6b9224-b289-47c8-b6d4-3bf138101243" providerId="ADAL" clId="{0150EA7A-3692-4CE6-8414-A2D55987BE21}" dt="2020-06-17T01:37:55.891" v="1876" actId="1076"/>
          <ac:spMkLst>
            <pc:docMk/>
            <pc:sldMk cId="3972105642" sldId="2134804288"/>
            <ac:spMk id="154" creationId="{2D118A3A-F9B1-4373-81CB-37E150897A64}"/>
          </ac:spMkLst>
        </pc:spChg>
        <pc:spChg chg="add del mod">
          <ac:chgData name="Yuly Andrea Castaneda Ramirez (CENIT)" userId="9d6b9224-b289-47c8-b6d4-3bf138101243" providerId="ADAL" clId="{0150EA7A-3692-4CE6-8414-A2D55987BE21}" dt="2020-06-17T00:25:09.180" v="1220"/>
          <ac:spMkLst>
            <pc:docMk/>
            <pc:sldMk cId="3972105642" sldId="2134804288"/>
            <ac:spMk id="154" creationId="{FBF8B2F4-7A4D-4355-8129-1A29D8EFB9DF}"/>
          </ac:spMkLst>
        </pc:spChg>
        <pc:spChg chg="add del mod">
          <ac:chgData name="Yuly Andrea Castaneda Ramirez (CENIT)" userId="9d6b9224-b289-47c8-b6d4-3bf138101243" providerId="ADAL" clId="{0150EA7A-3692-4CE6-8414-A2D55987BE21}" dt="2020-06-17T00:25:09.180" v="1220"/>
          <ac:spMkLst>
            <pc:docMk/>
            <pc:sldMk cId="3972105642" sldId="2134804288"/>
            <ac:spMk id="155" creationId="{974CD985-AB65-4B49-A7BA-F0DDF6BA632A}"/>
          </ac:spMkLst>
        </pc:spChg>
        <pc:spChg chg="add mod">
          <ac:chgData name="Yuly Andrea Castaneda Ramirez (CENIT)" userId="9d6b9224-b289-47c8-b6d4-3bf138101243" providerId="ADAL" clId="{0150EA7A-3692-4CE6-8414-A2D55987BE21}" dt="2020-06-17T01:47:47.625" v="1987" actId="1076"/>
          <ac:spMkLst>
            <pc:docMk/>
            <pc:sldMk cId="3972105642" sldId="2134804288"/>
            <ac:spMk id="155" creationId="{E55B9259-4EF1-4902-86B4-55035FFA0223}"/>
          </ac:spMkLst>
        </pc:spChg>
        <pc:spChg chg="add del mod">
          <ac:chgData name="Yuly Andrea Castaneda Ramirez (CENIT)" userId="9d6b9224-b289-47c8-b6d4-3bf138101243" providerId="ADAL" clId="{0150EA7A-3692-4CE6-8414-A2D55987BE21}" dt="2020-06-17T00:25:09.180" v="1220"/>
          <ac:spMkLst>
            <pc:docMk/>
            <pc:sldMk cId="3972105642" sldId="2134804288"/>
            <ac:spMk id="156" creationId="{B8A6DBCD-A2B3-4F3D-A883-A8E9B6ADB1F0}"/>
          </ac:spMkLst>
        </pc:spChg>
        <pc:spChg chg="add mod">
          <ac:chgData name="Yuly Andrea Castaneda Ramirez (CENIT)" userId="9d6b9224-b289-47c8-b6d4-3bf138101243" providerId="ADAL" clId="{0150EA7A-3692-4CE6-8414-A2D55987BE21}" dt="2020-06-17T01:45:28.404" v="1970" actId="1076"/>
          <ac:spMkLst>
            <pc:docMk/>
            <pc:sldMk cId="3972105642" sldId="2134804288"/>
            <ac:spMk id="156" creationId="{EBAD52F6-3A50-47C4-A8A6-F9957211FE0C}"/>
          </ac:spMkLst>
        </pc:spChg>
        <pc:spChg chg="add del mod">
          <ac:chgData name="Yuly Andrea Castaneda Ramirez (CENIT)" userId="9d6b9224-b289-47c8-b6d4-3bf138101243" providerId="ADAL" clId="{0150EA7A-3692-4CE6-8414-A2D55987BE21}" dt="2020-06-17T00:25:09.180" v="1220"/>
          <ac:spMkLst>
            <pc:docMk/>
            <pc:sldMk cId="3972105642" sldId="2134804288"/>
            <ac:spMk id="157" creationId="{4C15FC9B-DA89-4EDA-A038-4F5D60F8E159}"/>
          </ac:spMkLst>
        </pc:spChg>
        <pc:spChg chg="add mod">
          <ac:chgData name="Yuly Andrea Castaneda Ramirez (CENIT)" userId="9d6b9224-b289-47c8-b6d4-3bf138101243" providerId="ADAL" clId="{0150EA7A-3692-4CE6-8414-A2D55987BE21}" dt="2020-06-17T01:45:53.893" v="1977" actId="1076"/>
          <ac:spMkLst>
            <pc:docMk/>
            <pc:sldMk cId="3972105642" sldId="2134804288"/>
            <ac:spMk id="157" creationId="{99817ECC-A9CE-487D-A447-63834E8CDB42}"/>
          </ac:spMkLst>
        </pc:spChg>
        <pc:spChg chg="add mod">
          <ac:chgData name="Yuly Andrea Castaneda Ramirez (CENIT)" userId="9d6b9224-b289-47c8-b6d4-3bf138101243" providerId="ADAL" clId="{0150EA7A-3692-4CE6-8414-A2D55987BE21}" dt="2020-06-17T01:45:51.039" v="1976" actId="1076"/>
          <ac:spMkLst>
            <pc:docMk/>
            <pc:sldMk cId="3972105642" sldId="2134804288"/>
            <ac:spMk id="158" creationId="{1419E290-EB81-48FD-9FE7-BB69C3A55F9B}"/>
          </ac:spMkLst>
        </pc:spChg>
        <pc:spChg chg="add del mod">
          <ac:chgData name="Yuly Andrea Castaneda Ramirez (CENIT)" userId="9d6b9224-b289-47c8-b6d4-3bf138101243" providerId="ADAL" clId="{0150EA7A-3692-4CE6-8414-A2D55987BE21}" dt="2020-06-17T00:25:09.180" v="1220"/>
          <ac:spMkLst>
            <pc:docMk/>
            <pc:sldMk cId="3972105642" sldId="2134804288"/>
            <ac:spMk id="158" creationId="{C28AFF76-FAF1-4C61-81EF-700B918E8962}"/>
          </ac:spMkLst>
        </pc:spChg>
        <pc:spChg chg="add mod">
          <ac:chgData name="Yuly Andrea Castaneda Ramirez (CENIT)" userId="9d6b9224-b289-47c8-b6d4-3bf138101243" providerId="ADAL" clId="{0150EA7A-3692-4CE6-8414-A2D55987BE21}" dt="2020-06-17T01:47:53.959" v="1989" actId="1076"/>
          <ac:spMkLst>
            <pc:docMk/>
            <pc:sldMk cId="3972105642" sldId="2134804288"/>
            <ac:spMk id="159" creationId="{AC5431C5-08AE-45CB-89CC-44576AD161AE}"/>
          </ac:spMkLst>
        </pc:spChg>
        <pc:spChg chg="add del mod">
          <ac:chgData name="Yuly Andrea Castaneda Ramirez (CENIT)" userId="9d6b9224-b289-47c8-b6d4-3bf138101243" providerId="ADAL" clId="{0150EA7A-3692-4CE6-8414-A2D55987BE21}" dt="2020-06-17T00:25:09.180" v="1220"/>
          <ac:spMkLst>
            <pc:docMk/>
            <pc:sldMk cId="3972105642" sldId="2134804288"/>
            <ac:spMk id="159" creationId="{EC18C315-428A-42DB-A91E-DE4261879DE9}"/>
          </ac:spMkLst>
        </pc:spChg>
        <pc:spChg chg="add del mod">
          <ac:chgData name="Yuly Andrea Castaneda Ramirez (CENIT)" userId="9d6b9224-b289-47c8-b6d4-3bf138101243" providerId="ADAL" clId="{0150EA7A-3692-4CE6-8414-A2D55987BE21}" dt="2020-06-17T00:25:09.180" v="1220"/>
          <ac:spMkLst>
            <pc:docMk/>
            <pc:sldMk cId="3972105642" sldId="2134804288"/>
            <ac:spMk id="160" creationId="{12084EC5-17C3-4CCD-B155-105961CF28D2}"/>
          </ac:spMkLst>
        </pc:spChg>
        <pc:spChg chg="add mod">
          <ac:chgData name="Yuly Andrea Castaneda Ramirez (CENIT)" userId="9d6b9224-b289-47c8-b6d4-3bf138101243" providerId="ADAL" clId="{0150EA7A-3692-4CE6-8414-A2D55987BE21}" dt="2020-06-17T01:46:51.859" v="1981" actId="1076"/>
          <ac:spMkLst>
            <pc:docMk/>
            <pc:sldMk cId="3972105642" sldId="2134804288"/>
            <ac:spMk id="160" creationId="{B4FEEF27-B06C-4BEC-AB6B-022835691884}"/>
          </ac:spMkLst>
        </pc:spChg>
        <pc:spChg chg="add del mod">
          <ac:chgData name="Yuly Andrea Castaneda Ramirez (CENIT)" userId="9d6b9224-b289-47c8-b6d4-3bf138101243" providerId="ADAL" clId="{0150EA7A-3692-4CE6-8414-A2D55987BE21}" dt="2020-06-17T00:25:09.180" v="1220"/>
          <ac:spMkLst>
            <pc:docMk/>
            <pc:sldMk cId="3972105642" sldId="2134804288"/>
            <ac:spMk id="161" creationId="{DD9055F2-BB3C-4A2B-8AB2-45D61D89E541}"/>
          </ac:spMkLst>
        </pc:spChg>
        <pc:spChg chg="add mod">
          <ac:chgData name="Yuly Andrea Castaneda Ramirez (CENIT)" userId="9d6b9224-b289-47c8-b6d4-3bf138101243" providerId="ADAL" clId="{0150EA7A-3692-4CE6-8414-A2D55987BE21}" dt="2020-06-17T01:46:51.859" v="1981" actId="1076"/>
          <ac:spMkLst>
            <pc:docMk/>
            <pc:sldMk cId="3972105642" sldId="2134804288"/>
            <ac:spMk id="161" creationId="{E1FB320D-93BB-4E5E-8B1F-01F3EE9BE992}"/>
          </ac:spMkLst>
        </pc:spChg>
        <pc:spChg chg="add mod">
          <ac:chgData name="Yuly Andrea Castaneda Ramirez (CENIT)" userId="9d6b9224-b289-47c8-b6d4-3bf138101243" providerId="ADAL" clId="{0150EA7A-3692-4CE6-8414-A2D55987BE21}" dt="2020-06-17T01:47:26.043" v="1984" actId="1076"/>
          <ac:spMkLst>
            <pc:docMk/>
            <pc:sldMk cId="3972105642" sldId="2134804288"/>
            <ac:spMk id="162" creationId="{6911BCA5-CA63-42AB-899E-09B501CBAAF8}"/>
          </ac:spMkLst>
        </pc:spChg>
        <pc:spChg chg="add del mod">
          <ac:chgData name="Yuly Andrea Castaneda Ramirez (CENIT)" userId="9d6b9224-b289-47c8-b6d4-3bf138101243" providerId="ADAL" clId="{0150EA7A-3692-4CE6-8414-A2D55987BE21}" dt="2020-06-17T00:25:09.180" v="1220"/>
          <ac:spMkLst>
            <pc:docMk/>
            <pc:sldMk cId="3972105642" sldId="2134804288"/>
            <ac:spMk id="162" creationId="{8639D397-7207-4CD3-8852-0FBD204F87DC}"/>
          </ac:spMkLst>
        </pc:spChg>
        <pc:spChg chg="add del mod">
          <ac:chgData name="Yuly Andrea Castaneda Ramirez (CENIT)" userId="9d6b9224-b289-47c8-b6d4-3bf138101243" providerId="ADAL" clId="{0150EA7A-3692-4CE6-8414-A2D55987BE21}" dt="2020-06-17T00:25:09.180" v="1220"/>
          <ac:spMkLst>
            <pc:docMk/>
            <pc:sldMk cId="3972105642" sldId="2134804288"/>
            <ac:spMk id="163" creationId="{14CBFBF0-D8D4-4352-BF55-7247BC0186C9}"/>
          </ac:spMkLst>
        </pc:spChg>
        <pc:spChg chg="add mod">
          <ac:chgData name="Yuly Andrea Castaneda Ramirez (CENIT)" userId="9d6b9224-b289-47c8-b6d4-3bf138101243" providerId="ADAL" clId="{0150EA7A-3692-4CE6-8414-A2D55987BE21}" dt="2020-06-17T01:47:34.300" v="1986" actId="1076"/>
          <ac:spMkLst>
            <pc:docMk/>
            <pc:sldMk cId="3972105642" sldId="2134804288"/>
            <ac:spMk id="163" creationId="{AA59E27B-C332-4588-A79C-03B73DF9E177}"/>
          </ac:spMkLst>
        </pc:spChg>
        <pc:spChg chg="add mod">
          <ac:chgData name="Yuly Andrea Castaneda Ramirez (CENIT)" userId="9d6b9224-b289-47c8-b6d4-3bf138101243" providerId="ADAL" clId="{0150EA7A-3692-4CE6-8414-A2D55987BE21}" dt="2020-06-17T01:48:08.760" v="1991" actId="1076"/>
          <ac:spMkLst>
            <pc:docMk/>
            <pc:sldMk cId="3972105642" sldId="2134804288"/>
            <ac:spMk id="164" creationId="{7EA67C76-C50B-4A11-852B-672BF8D888A6}"/>
          </ac:spMkLst>
        </pc:spChg>
        <pc:spChg chg="add del mod">
          <ac:chgData name="Yuly Andrea Castaneda Ramirez (CENIT)" userId="9d6b9224-b289-47c8-b6d4-3bf138101243" providerId="ADAL" clId="{0150EA7A-3692-4CE6-8414-A2D55987BE21}" dt="2020-06-17T00:25:09.180" v="1220"/>
          <ac:spMkLst>
            <pc:docMk/>
            <pc:sldMk cId="3972105642" sldId="2134804288"/>
            <ac:spMk id="164" creationId="{9510919C-7701-4E74-9505-131D154A5F07}"/>
          </ac:spMkLst>
        </pc:spChg>
        <pc:spChg chg="add mod">
          <ac:chgData name="Yuly Andrea Castaneda Ramirez (CENIT)" userId="9d6b9224-b289-47c8-b6d4-3bf138101243" providerId="ADAL" clId="{0150EA7A-3692-4CE6-8414-A2D55987BE21}" dt="2020-06-17T01:49:29.209" v="2072"/>
          <ac:spMkLst>
            <pc:docMk/>
            <pc:sldMk cId="3972105642" sldId="2134804288"/>
            <ac:spMk id="165" creationId="{88182965-6606-4519-A0D6-EB88DDF04091}"/>
          </ac:spMkLst>
        </pc:spChg>
        <pc:spChg chg="add del mod">
          <ac:chgData name="Yuly Andrea Castaneda Ramirez (CENIT)" userId="9d6b9224-b289-47c8-b6d4-3bf138101243" providerId="ADAL" clId="{0150EA7A-3692-4CE6-8414-A2D55987BE21}" dt="2020-06-17T00:25:09.180" v="1220"/>
          <ac:spMkLst>
            <pc:docMk/>
            <pc:sldMk cId="3972105642" sldId="2134804288"/>
            <ac:spMk id="165" creationId="{BE7B59B5-43A1-44F0-A633-0D77D1925FA8}"/>
          </ac:spMkLst>
        </pc:spChg>
        <pc:spChg chg="add mod">
          <ac:chgData name="Yuly Andrea Castaneda Ramirez (CENIT)" userId="9d6b9224-b289-47c8-b6d4-3bf138101243" providerId="ADAL" clId="{0150EA7A-3692-4CE6-8414-A2D55987BE21}" dt="2020-06-17T01:49:29.209" v="2072"/>
          <ac:spMkLst>
            <pc:docMk/>
            <pc:sldMk cId="3972105642" sldId="2134804288"/>
            <ac:spMk id="166" creationId="{2C3D5691-8414-442D-8811-64DB867F4E4D}"/>
          </ac:spMkLst>
        </pc:spChg>
        <pc:spChg chg="add del mod">
          <ac:chgData name="Yuly Andrea Castaneda Ramirez (CENIT)" userId="9d6b9224-b289-47c8-b6d4-3bf138101243" providerId="ADAL" clId="{0150EA7A-3692-4CE6-8414-A2D55987BE21}" dt="2020-06-17T00:25:09.180" v="1220"/>
          <ac:spMkLst>
            <pc:docMk/>
            <pc:sldMk cId="3972105642" sldId="2134804288"/>
            <ac:spMk id="166" creationId="{F080011B-6A4D-48C8-880D-6DE959B0AF9E}"/>
          </ac:spMkLst>
        </pc:spChg>
        <pc:spChg chg="add mod">
          <ac:chgData name="Yuly Andrea Castaneda Ramirez (CENIT)" userId="9d6b9224-b289-47c8-b6d4-3bf138101243" providerId="ADAL" clId="{0150EA7A-3692-4CE6-8414-A2D55987BE21}" dt="2020-06-17T01:49:29.209" v="2072"/>
          <ac:spMkLst>
            <pc:docMk/>
            <pc:sldMk cId="3972105642" sldId="2134804288"/>
            <ac:spMk id="167" creationId="{5B10B864-70B1-46D4-B7EF-EAEA82A4B41D}"/>
          </ac:spMkLst>
        </pc:spChg>
        <pc:spChg chg="add del mod">
          <ac:chgData name="Yuly Andrea Castaneda Ramirez (CENIT)" userId="9d6b9224-b289-47c8-b6d4-3bf138101243" providerId="ADAL" clId="{0150EA7A-3692-4CE6-8414-A2D55987BE21}" dt="2020-06-17T00:25:09.180" v="1220"/>
          <ac:spMkLst>
            <pc:docMk/>
            <pc:sldMk cId="3972105642" sldId="2134804288"/>
            <ac:spMk id="167" creationId="{82171D3F-5DDD-432C-852D-E240DBB40C3E}"/>
          </ac:spMkLst>
        </pc:spChg>
        <pc:spChg chg="add del mod">
          <ac:chgData name="Yuly Andrea Castaneda Ramirez (CENIT)" userId="9d6b9224-b289-47c8-b6d4-3bf138101243" providerId="ADAL" clId="{0150EA7A-3692-4CE6-8414-A2D55987BE21}" dt="2020-06-17T00:25:09.180" v="1220"/>
          <ac:spMkLst>
            <pc:docMk/>
            <pc:sldMk cId="3972105642" sldId="2134804288"/>
            <ac:spMk id="168" creationId="{9C49704D-126C-45A6-800E-BFC09EA49FB0}"/>
          </ac:spMkLst>
        </pc:spChg>
        <pc:spChg chg="add mod">
          <ac:chgData name="Yuly Andrea Castaneda Ramirez (CENIT)" userId="9d6b9224-b289-47c8-b6d4-3bf138101243" providerId="ADAL" clId="{0150EA7A-3692-4CE6-8414-A2D55987BE21}" dt="2020-06-17T01:49:29.209" v="2072"/>
          <ac:spMkLst>
            <pc:docMk/>
            <pc:sldMk cId="3972105642" sldId="2134804288"/>
            <ac:spMk id="168" creationId="{B00504A4-CC7F-4C15-8B79-6311130D897F}"/>
          </ac:spMkLst>
        </pc:spChg>
        <pc:spChg chg="add mod">
          <ac:chgData name="Yuly Andrea Castaneda Ramirez (CENIT)" userId="9d6b9224-b289-47c8-b6d4-3bf138101243" providerId="ADAL" clId="{0150EA7A-3692-4CE6-8414-A2D55987BE21}" dt="2020-06-17T01:49:29.209" v="2072"/>
          <ac:spMkLst>
            <pc:docMk/>
            <pc:sldMk cId="3972105642" sldId="2134804288"/>
            <ac:spMk id="169" creationId="{0AC0A371-B78E-44C5-915B-C4B31D1E1A79}"/>
          </ac:spMkLst>
        </pc:spChg>
        <pc:spChg chg="add del mod">
          <ac:chgData name="Yuly Andrea Castaneda Ramirez (CENIT)" userId="9d6b9224-b289-47c8-b6d4-3bf138101243" providerId="ADAL" clId="{0150EA7A-3692-4CE6-8414-A2D55987BE21}" dt="2020-06-17T00:25:09.180" v="1220"/>
          <ac:spMkLst>
            <pc:docMk/>
            <pc:sldMk cId="3972105642" sldId="2134804288"/>
            <ac:spMk id="169" creationId="{ACC68F52-D84B-4BB1-ABAB-ECFC700D6D9E}"/>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70" creationId="{6A4985B7-CFDA-4919-B35C-1A906980524E}"/>
          </ac:spMkLst>
        </pc:spChg>
        <pc:spChg chg="add del mod">
          <ac:chgData name="Yuly Andrea Castaneda Ramirez (CENIT)" userId="9d6b9224-b289-47c8-b6d4-3bf138101243" providerId="ADAL" clId="{0150EA7A-3692-4CE6-8414-A2D55987BE21}" dt="2020-06-17T01:49:28.909" v="2071" actId="478"/>
          <ac:spMkLst>
            <pc:docMk/>
            <pc:sldMk cId="3972105642" sldId="2134804288"/>
            <ac:spMk id="171" creationId="{CD36C93B-858F-4E33-A56F-518042C604AB}"/>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72" creationId="{9D21624C-09A0-4BAC-BC9A-9B80B9BCB9BB}"/>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73" creationId="{1EA2C09D-165C-43D8-B8B2-5E1CAC01F1D6}"/>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74" creationId="{296C90A4-4A0B-4006-A9EF-B1B5D356D784}"/>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75" creationId="{A43C161E-C8C6-4DE5-BC5F-3E9A61FA0B33}"/>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76" creationId="{11A08FE8-133D-4269-87AD-945C5966A2EE}"/>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77" creationId="{3E99A803-E8D3-4B93-8296-7A32E6509D07}"/>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78" creationId="{C71CC98A-1955-4E5D-9D69-80C29981E644}"/>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79" creationId="{10C5E4BF-FEF4-4A54-8C7B-28037E8A16E5}"/>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80" creationId="{A9DBE556-7649-436A-91D7-E63BFDC0E75A}"/>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81" creationId="{69B33750-142B-4903-AC71-3805F0C05B98}"/>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82" creationId="{F19D6EB7-9760-45AF-A1F8-0ECB6FAD2E55}"/>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83" creationId="{16F1FB1B-3EEC-4087-80C1-B6BAF2C74F2E}"/>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84" creationId="{47701719-41E3-4A14-A94C-EA163B3BCDBC}"/>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85" creationId="{52989975-7951-4288-B58B-44A911CE0CDF}"/>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86" creationId="{A5455FBE-F627-42CC-9FCC-BC62F42222F0}"/>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87" creationId="{C68CFFFA-3ED5-44D4-9DCE-2B34BF96A3EC}"/>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88" creationId="{44D9C693-3818-4AC6-86C6-8CAAF9E973ED}"/>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89" creationId="{27DA0FF6-3B07-40D2-B412-BF14D4779524}"/>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90" creationId="{CF7EB90D-96D2-4990-9DBA-759B87DC488F}"/>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91" creationId="{EA41803D-BBE1-43F9-852F-C997982BA1BF}"/>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92" creationId="{C668E719-2ACA-4B60-9F8B-CDEA7B4123ED}"/>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93" creationId="{166FA57D-7679-4CC1-9B3A-C4D7B34A355B}"/>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94" creationId="{DFAA6187-7C48-4900-A85B-4E597400D327}"/>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95" creationId="{15ACD528-2610-4243-8C90-4630CAE98857}"/>
          </ac:spMkLst>
        </pc:spChg>
        <pc:spChg chg="add del mod">
          <ac:chgData name="Yuly Andrea Castaneda Ramirez (CENIT)" userId="9d6b9224-b289-47c8-b6d4-3bf138101243" providerId="ADAL" clId="{0150EA7A-3692-4CE6-8414-A2D55987BE21}" dt="2020-06-17T01:49:26.834" v="2070" actId="478"/>
          <ac:spMkLst>
            <pc:docMk/>
            <pc:sldMk cId="3972105642" sldId="2134804288"/>
            <ac:spMk id="196" creationId="{975436EC-58E0-48E2-A269-6C4D4BCF7B4A}"/>
          </ac:spMkLst>
        </pc:spChg>
        <pc:spChg chg="add mod">
          <ac:chgData name="Yuly Andrea Castaneda Ramirez (CENIT)" userId="9d6b9224-b289-47c8-b6d4-3bf138101243" providerId="ADAL" clId="{0150EA7A-3692-4CE6-8414-A2D55987BE21}" dt="2020-06-17T01:49:29.209" v="2072"/>
          <ac:spMkLst>
            <pc:docMk/>
            <pc:sldMk cId="3972105642" sldId="2134804288"/>
            <ac:spMk id="197" creationId="{E1BFB25D-4251-4EE2-8536-86E897FBDA5A}"/>
          </ac:spMkLst>
        </pc:spChg>
        <pc:spChg chg="add mod">
          <ac:chgData name="Yuly Andrea Castaneda Ramirez (CENIT)" userId="9d6b9224-b289-47c8-b6d4-3bf138101243" providerId="ADAL" clId="{0150EA7A-3692-4CE6-8414-A2D55987BE21}" dt="2020-06-17T01:49:29.209" v="2072"/>
          <ac:spMkLst>
            <pc:docMk/>
            <pc:sldMk cId="3972105642" sldId="2134804288"/>
            <ac:spMk id="198" creationId="{8AF8F09D-72B9-45DF-AF8D-5F2D9E6AA990}"/>
          </ac:spMkLst>
        </pc:spChg>
        <pc:spChg chg="add mod">
          <ac:chgData name="Yuly Andrea Castaneda Ramirez (CENIT)" userId="9d6b9224-b289-47c8-b6d4-3bf138101243" providerId="ADAL" clId="{0150EA7A-3692-4CE6-8414-A2D55987BE21}" dt="2020-06-17T01:49:29.209" v="2072"/>
          <ac:spMkLst>
            <pc:docMk/>
            <pc:sldMk cId="3972105642" sldId="2134804288"/>
            <ac:spMk id="199" creationId="{6B967254-9BF9-41C9-B68B-4498BA1CEDA1}"/>
          </ac:spMkLst>
        </pc:spChg>
        <pc:spChg chg="add mod">
          <ac:chgData name="Yuly Andrea Castaneda Ramirez (CENIT)" userId="9d6b9224-b289-47c8-b6d4-3bf138101243" providerId="ADAL" clId="{0150EA7A-3692-4CE6-8414-A2D55987BE21}" dt="2020-06-17T01:49:29.209" v="2072"/>
          <ac:spMkLst>
            <pc:docMk/>
            <pc:sldMk cId="3972105642" sldId="2134804288"/>
            <ac:spMk id="200" creationId="{4355305E-ECA3-4A92-B14E-9180DE961743}"/>
          </ac:spMkLst>
        </pc:spChg>
        <pc:spChg chg="add mod">
          <ac:chgData name="Yuly Andrea Castaneda Ramirez (CENIT)" userId="9d6b9224-b289-47c8-b6d4-3bf138101243" providerId="ADAL" clId="{0150EA7A-3692-4CE6-8414-A2D55987BE21}" dt="2020-06-17T01:49:29.209" v="2072"/>
          <ac:spMkLst>
            <pc:docMk/>
            <pc:sldMk cId="3972105642" sldId="2134804288"/>
            <ac:spMk id="201" creationId="{3237594A-EB43-4AC6-B5BF-D9034E086644}"/>
          </ac:spMkLst>
        </pc:spChg>
        <pc:spChg chg="add mod">
          <ac:chgData name="Yuly Andrea Castaneda Ramirez (CENIT)" userId="9d6b9224-b289-47c8-b6d4-3bf138101243" providerId="ADAL" clId="{0150EA7A-3692-4CE6-8414-A2D55987BE21}" dt="2020-06-17T01:49:29.209" v="2072"/>
          <ac:spMkLst>
            <pc:docMk/>
            <pc:sldMk cId="3972105642" sldId="2134804288"/>
            <ac:spMk id="202" creationId="{39988F86-AFA6-404C-8467-0253FC4643AB}"/>
          </ac:spMkLst>
        </pc:spChg>
        <pc:spChg chg="add mod">
          <ac:chgData name="Yuly Andrea Castaneda Ramirez (CENIT)" userId="9d6b9224-b289-47c8-b6d4-3bf138101243" providerId="ADAL" clId="{0150EA7A-3692-4CE6-8414-A2D55987BE21}" dt="2020-06-17T01:49:29.209" v="2072"/>
          <ac:spMkLst>
            <pc:docMk/>
            <pc:sldMk cId="3972105642" sldId="2134804288"/>
            <ac:spMk id="203" creationId="{2BA9A1F3-874E-492D-835A-D1B89CEEA195}"/>
          </ac:spMkLst>
        </pc:spChg>
        <pc:spChg chg="add mod">
          <ac:chgData name="Yuly Andrea Castaneda Ramirez (CENIT)" userId="9d6b9224-b289-47c8-b6d4-3bf138101243" providerId="ADAL" clId="{0150EA7A-3692-4CE6-8414-A2D55987BE21}" dt="2020-06-17T01:49:29.209" v="2072"/>
          <ac:spMkLst>
            <pc:docMk/>
            <pc:sldMk cId="3972105642" sldId="2134804288"/>
            <ac:spMk id="204" creationId="{A7811C59-1D22-4EB0-BADF-629F183ADA9D}"/>
          </ac:spMkLst>
        </pc:spChg>
        <pc:spChg chg="add mod">
          <ac:chgData name="Yuly Andrea Castaneda Ramirez (CENIT)" userId="9d6b9224-b289-47c8-b6d4-3bf138101243" providerId="ADAL" clId="{0150EA7A-3692-4CE6-8414-A2D55987BE21}" dt="2020-06-17T01:49:29.209" v="2072"/>
          <ac:spMkLst>
            <pc:docMk/>
            <pc:sldMk cId="3972105642" sldId="2134804288"/>
            <ac:spMk id="205" creationId="{D13DFFB7-EBF7-4843-B70A-781A007C0641}"/>
          </ac:spMkLst>
        </pc:spChg>
        <pc:spChg chg="add mod">
          <ac:chgData name="Yuly Andrea Castaneda Ramirez (CENIT)" userId="9d6b9224-b289-47c8-b6d4-3bf138101243" providerId="ADAL" clId="{0150EA7A-3692-4CE6-8414-A2D55987BE21}" dt="2020-06-17T01:49:29.209" v="2072"/>
          <ac:spMkLst>
            <pc:docMk/>
            <pc:sldMk cId="3972105642" sldId="2134804288"/>
            <ac:spMk id="206" creationId="{001BF6B4-F10C-498C-8197-8B18561C47D3}"/>
          </ac:spMkLst>
        </pc:spChg>
        <pc:spChg chg="add mod">
          <ac:chgData name="Yuly Andrea Castaneda Ramirez (CENIT)" userId="9d6b9224-b289-47c8-b6d4-3bf138101243" providerId="ADAL" clId="{0150EA7A-3692-4CE6-8414-A2D55987BE21}" dt="2020-06-17T01:49:29.209" v="2072"/>
          <ac:spMkLst>
            <pc:docMk/>
            <pc:sldMk cId="3972105642" sldId="2134804288"/>
            <ac:spMk id="207" creationId="{4DC56ADD-AE94-4E23-B0F1-80CE3C771376}"/>
          </ac:spMkLst>
        </pc:spChg>
        <pc:spChg chg="add mod">
          <ac:chgData name="Yuly Andrea Castaneda Ramirez (CENIT)" userId="9d6b9224-b289-47c8-b6d4-3bf138101243" providerId="ADAL" clId="{0150EA7A-3692-4CE6-8414-A2D55987BE21}" dt="2020-06-17T01:49:29.209" v="2072"/>
          <ac:spMkLst>
            <pc:docMk/>
            <pc:sldMk cId="3972105642" sldId="2134804288"/>
            <ac:spMk id="208" creationId="{5DD7D93F-235F-4389-BC6F-DB96258DBED2}"/>
          </ac:spMkLst>
        </pc:spChg>
        <pc:spChg chg="add mod">
          <ac:chgData name="Yuly Andrea Castaneda Ramirez (CENIT)" userId="9d6b9224-b289-47c8-b6d4-3bf138101243" providerId="ADAL" clId="{0150EA7A-3692-4CE6-8414-A2D55987BE21}" dt="2020-06-17T01:49:29.209" v="2072"/>
          <ac:spMkLst>
            <pc:docMk/>
            <pc:sldMk cId="3972105642" sldId="2134804288"/>
            <ac:spMk id="209" creationId="{4EAF9B4D-91C8-4894-B543-3B1D33977581}"/>
          </ac:spMkLst>
        </pc:spChg>
        <pc:spChg chg="add mod">
          <ac:chgData name="Yuly Andrea Castaneda Ramirez (CENIT)" userId="9d6b9224-b289-47c8-b6d4-3bf138101243" providerId="ADAL" clId="{0150EA7A-3692-4CE6-8414-A2D55987BE21}" dt="2020-06-17T01:49:29.209" v="2072"/>
          <ac:spMkLst>
            <pc:docMk/>
            <pc:sldMk cId="3972105642" sldId="2134804288"/>
            <ac:spMk id="210" creationId="{7A82F63B-8C0B-48BA-99B7-6BFBC4D6054C}"/>
          </ac:spMkLst>
        </pc:spChg>
        <pc:cxnChg chg="add mod">
          <ac:chgData name="Yuly Andrea Castaneda Ramirez (CENIT)" userId="9d6b9224-b289-47c8-b6d4-3bf138101243" providerId="ADAL" clId="{0150EA7A-3692-4CE6-8414-A2D55987BE21}" dt="2020-06-17T01:11:06.735" v="1635" actId="1036"/>
          <ac:cxnSpMkLst>
            <pc:docMk/>
            <pc:sldMk cId="3972105642" sldId="2134804288"/>
            <ac:cxnSpMk id="97" creationId="{E32FBCED-3C2F-4F33-86D3-F05FA8DADE11}"/>
          </ac:cxnSpMkLst>
        </pc:cxnChg>
        <pc:cxnChg chg="add mod">
          <ac:chgData name="Yuly Andrea Castaneda Ramirez (CENIT)" userId="9d6b9224-b289-47c8-b6d4-3bf138101243" providerId="ADAL" clId="{0150EA7A-3692-4CE6-8414-A2D55987BE21}" dt="2020-06-17T00:27:13.277" v="1262" actId="1035"/>
          <ac:cxnSpMkLst>
            <pc:docMk/>
            <pc:sldMk cId="3972105642" sldId="2134804288"/>
            <ac:cxnSpMk id="99" creationId="{73113A7D-6D7E-4E41-9EB9-BC99F9681A4E}"/>
          </ac:cxnSpMkLst>
        </pc:cxnChg>
      </pc:sldChg>
      <pc:sldChg chg="del">
        <pc:chgData name="Yuly Andrea Castaneda Ramirez (CENIT)" userId="9d6b9224-b289-47c8-b6d4-3bf138101243" providerId="ADAL" clId="{0150EA7A-3692-4CE6-8414-A2D55987BE21}" dt="2020-06-17T01:50:12.079" v="2073" actId="47"/>
        <pc:sldMkLst>
          <pc:docMk/>
          <pc:sldMk cId="747345529" sldId="2134804301"/>
        </pc:sldMkLst>
      </pc:sldChg>
      <pc:sldChg chg="del">
        <pc:chgData name="Yuly Andrea Castaneda Ramirez (CENIT)" userId="9d6b9224-b289-47c8-b6d4-3bf138101243" providerId="ADAL" clId="{0150EA7A-3692-4CE6-8414-A2D55987BE21}" dt="2020-06-16T23:50:31.770" v="682" actId="47"/>
        <pc:sldMkLst>
          <pc:docMk/>
          <pc:sldMk cId="2563757368" sldId="2134804308"/>
        </pc:sldMkLst>
      </pc:sldChg>
      <pc:sldChg chg="addSp delSp modSp add mod">
        <pc:chgData name="Yuly Andrea Castaneda Ramirez (CENIT)" userId="9d6b9224-b289-47c8-b6d4-3bf138101243" providerId="ADAL" clId="{0150EA7A-3692-4CE6-8414-A2D55987BE21}" dt="2020-06-17T01:49:14.514" v="2069" actId="14100"/>
        <pc:sldMkLst>
          <pc:docMk/>
          <pc:sldMk cId="1881171097" sldId="2134804309"/>
        </pc:sldMkLst>
        <pc:spChg chg="mod">
          <ac:chgData name="Yuly Andrea Castaneda Ramirez (CENIT)" userId="9d6b9224-b289-47c8-b6d4-3bf138101243" providerId="ADAL" clId="{0150EA7A-3692-4CE6-8414-A2D55987BE21}" dt="2020-06-16T23:59:45.102" v="772" actId="1076"/>
          <ac:spMkLst>
            <pc:docMk/>
            <pc:sldMk cId="1881171097" sldId="2134804309"/>
            <ac:spMk id="2" creationId="{BF7D9B5C-799C-4F14-B623-A08588E6FFE0}"/>
          </ac:spMkLst>
        </pc:spChg>
        <pc:spChg chg="del mod">
          <ac:chgData name="Yuly Andrea Castaneda Ramirez (CENIT)" userId="9d6b9224-b289-47c8-b6d4-3bf138101243" providerId="ADAL" clId="{0150EA7A-3692-4CE6-8414-A2D55987BE21}" dt="2020-06-16T23:45:28.413" v="554" actId="478"/>
          <ac:spMkLst>
            <pc:docMk/>
            <pc:sldMk cId="1881171097" sldId="2134804309"/>
            <ac:spMk id="3" creationId="{1524C45A-97FD-4A0C-A286-8B4FC211198E}"/>
          </ac:spMkLst>
        </pc:spChg>
        <pc:spChg chg="add del mod">
          <ac:chgData name="Yuly Andrea Castaneda Ramirez (CENIT)" userId="9d6b9224-b289-47c8-b6d4-3bf138101243" providerId="ADAL" clId="{0150EA7A-3692-4CE6-8414-A2D55987BE21}" dt="2020-06-17T01:16:48.002" v="1664" actId="207"/>
          <ac:spMkLst>
            <pc:docMk/>
            <pc:sldMk cId="1881171097" sldId="2134804309"/>
            <ac:spMk id="5" creationId="{6E9A1754-20A7-4B35-82A8-CAADFE6AA79E}"/>
          </ac:spMkLst>
        </pc:spChg>
        <pc:spChg chg="add del mod">
          <ac:chgData name="Yuly Andrea Castaneda Ramirez (CENIT)" userId="9d6b9224-b289-47c8-b6d4-3bf138101243" providerId="ADAL" clId="{0150EA7A-3692-4CE6-8414-A2D55987BE21}" dt="2020-06-16T23:24:31.426" v="116"/>
          <ac:spMkLst>
            <pc:docMk/>
            <pc:sldMk cId="1881171097" sldId="2134804309"/>
            <ac:spMk id="6" creationId="{9FDCFDEA-EF5D-4DF8-9FA0-7B4D76D4A627}"/>
          </ac:spMkLst>
        </pc:spChg>
        <pc:spChg chg="add del mod">
          <ac:chgData name="Yuly Andrea Castaneda Ramirez (CENIT)" userId="9d6b9224-b289-47c8-b6d4-3bf138101243" providerId="ADAL" clId="{0150EA7A-3692-4CE6-8414-A2D55987BE21}" dt="2020-06-16T23:44:29.497" v="543"/>
          <ac:spMkLst>
            <pc:docMk/>
            <pc:sldMk cId="1881171097" sldId="2134804309"/>
            <ac:spMk id="7" creationId="{A80EAFD6-EFB7-428F-873C-DB744B876CD9}"/>
          </ac:spMkLst>
        </pc:spChg>
        <pc:spChg chg="add del mod">
          <ac:chgData name="Yuly Andrea Castaneda Ramirez (CENIT)" userId="9d6b9224-b289-47c8-b6d4-3bf138101243" providerId="ADAL" clId="{0150EA7A-3692-4CE6-8414-A2D55987BE21}" dt="2020-06-17T01:45:03.018" v="1964" actId="1035"/>
          <ac:spMkLst>
            <pc:docMk/>
            <pc:sldMk cId="1881171097" sldId="2134804309"/>
            <ac:spMk id="10" creationId="{A192B800-F5BA-4DF6-AD24-3F9707FAC6B5}"/>
          </ac:spMkLst>
        </pc:spChg>
        <pc:spChg chg="add del mod">
          <ac:chgData name="Yuly Andrea Castaneda Ramirez (CENIT)" userId="9d6b9224-b289-47c8-b6d4-3bf138101243" providerId="ADAL" clId="{0150EA7A-3692-4CE6-8414-A2D55987BE21}" dt="2020-06-17T00:53:49.406" v="1490" actId="12789"/>
          <ac:spMkLst>
            <pc:docMk/>
            <pc:sldMk cId="1881171097" sldId="2134804309"/>
            <ac:spMk id="23" creationId="{19DB4BE3-5133-4C05-9DFC-C8E8F930E13A}"/>
          </ac:spMkLst>
        </pc:spChg>
        <pc:spChg chg="add del mod">
          <ac:chgData name="Yuly Andrea Castaneda Ramirez (CENIT)" userId="9d6b9224-b289-47c8-b6d4-3bf138101243" providerId="ADAL" clId="{0150EA7A-3692-4CE6-8414-A2D55987BE21}" dt="2020-06-17T01:16:48.002" v="1664" actId="207"/>
          <ac:spMkLst>
            <pc:docMk/>
            <pc:sldMk cId="1881171097" sldId="2134804309"/>
            <ac:spMk id="24" creationId="{389B18D5-C39A-47EE-B3A9-7DEE4189E676}"/>
          </ac:spMkLst>
        </pc:spChg>
        <pc:spChg chg="add del mod">
          <ac:chgData name="Yuly Andrea Castaneda Ramirez (CENIT)" userId="9d6b9224-b289-47c8-b6d4-3bf138101243" providerId="ADAL" clId="{0150EA7A-3692-4CE6-8414-A2D55987BE21}" dt="2020-06-17T01:06:25.394" v="1590" actId="1038"/>
          <ac:spMkLst>
            <pc:docMk/>
            <pc:sldMk cId="1881171097" sldId="2134804309"/>
            <ac:spMk id="25" creationId="{52048D91-45AA-408F-9D1F-D2E9F2D37210}"/>
          </ac:spMkLst>
        </pc:spChg>
        <pc:spChg chg="add del mod">
          <ac:chgData name="Yuly Andrea Castaneda Ramirez (CENIT)" userId="9d6b9224-b289-47c8-b6d4-3bf138101243" providerId="ADAL" clId="{0150EA7A-3692-4CE6-8414-A2D55987BE21}" dt="2020-06-17T01:16:48.002" v="1664" actId="207"/>
          <ac:spMkLst>
            <pc:docMk/>
            <pc:sldMk cId="1881171097" sldId="2134804309"/>
            <ac:spMk id="27" creationId="{626ADC92-4AB0-48C8-94D3-787A8F6B3965}"/>
          </ac:spMkLst>
        </pc:spChg>
        <pc:spChg chg="del mod">
          <ac:chgData name="Yuly Andrea Castaneda Ramirez (CENIT)" userId="9d6b9224-b289-47c8-b6d4-3bf138101243" providerId="ADAL" clId="{0150EA7A-3692-4CE6-8414-A2D55987BE21}" dt="2020-06-16T23:58:10.966" v="756" actId="21"/>
          <ac:spMkLst>
            <pc:docMk/>
            <pc:sldMk cId="1881171097" sldId="2134804309"/>
            <ac:spMk id="33" creationId="{7789E6CD-12A8-49BE-BB62-0F2E7B9DA7BD}"/>
          </ac:spMkLst>
        </pc:spChg>
        <pc:spChg chg="del mod">
          <ac:chgData name="Yuly Andrea Castaneda Ramirez (CENIT)" userId="9d6b9224-b289-47c8-b6d4-3bf138101243" providerId="ADAL" clId="{0150EA7A-3692-4CE6-8414-A2D55987BE21}" dt="2020-06-16T23:58:10.966" v="756" actId="21"/>
          <ac:spMkLst>
            <pc:docMk/>
            <pc:sldMk cId="1881171097" sldId="2134804309"/>
            <ac:spMk id="37" creationId="{3711A2D9-52BE-4CB1-B730-5A820326C85E}"/>
          </ac:spMkLst>
        </pc:spChg>
        <pc:spChg chg="del mod">
          <ac:chgData name="Yuly Andrea Castaneda Ramirez (CENIT)" userId="9d6b9224-b289-47c8-b6d4-3bf138101243" providerId="ADAL" clId="{0150EA7A-3692-4CE6-8414-A2D55987BE21}" dt="2020-06-16T23:58:10.966" v="756" actId="21"/>
          <ac:spMkLst>
            <pc:docMk/>
            <pc:sldMk cId="1881171097" sldId="2134804309"/>
            <ac:spMk id="38" creationId="{DA34B12E-EB9B-46FF-91FB-EC5344118F0F}"/>
          </ac:spMkLst>
        </pc:spChg>
        <pc:spChg chg="add mod">
          <ac:chgData name="Yuly Andrea Castaneda Ramirez (CENIT)" userId="9d6b9224-b289-47c8-b6d4-3bf138101243" providerId="ADAL" clId="{0150EA7A-3692-4CE6-8414-A2D55987BE21}" dt="2020-06-17T00:42:34.320" v="1299" actId="571"/>
          <ac:spMkLst>
            <pc:docMk/>
            <pc:sldMk cId="1881171097" sldId="2134804309"/>
            <ac:spMk id="53" creationId="{621E9AEA-816B-4675-B851-C11367ECFD98}"/>
          </ac:spMkLst>
        </pc:spChg>
        <pc:spChg chg="add mod">
          <ac:chgData name="Yuly Andrea Castaneda Ramirez (CENIT)" userId="9d6b9224-b289-47c8-b6d4-3bf138101243" providerId="ADAL" clId="{0150EA7A-3692-4CE6-8414-A2D55987BE21}" dt="2020-06-17T00:42:34.320" v="1299" actId="571"/>
          <ac:spMkLst>
            <pc:docMk/>
            <pc:sldMk cId="1881171097" sldId="2134804309"/>
            <ac:spMk id="54" creationId="{A802D700-FCBC-445E-B597-BB4AB64739AB}"/>
          </ac:spMkLst>
        </pc:spChg>
        <pc:spChg chg="add mod">
          <ac:chgData name="Yuly Andrea Castaneda Ramirez (CENIT)" userId="9d6b9224-b289-47c8-b6d4-3bf138101243" providerId="ADAL" clId="{0150EA7A-3692-4CE6-8414-A2D55987BE21}" dt="2020-06-17T00:42:34.320" v="1299" actId="571"/>
          <ac:spMkLst>
            <pc:docMk/>
            <pc:sldMk cId="1881171097" sldId="2134804309"/>
            <ac:spMk id="55" creationId="{018BF07A-364C-4D36-85E6-CB399D1BCEC5}"/>
          </ac:spMkLst>
        </pc:spChg>
        <pc:spChg chg="add mod">
          <ac:chgData name="Yuly Andrea Castaneda Ramirez (CENIT)" userId="9d6b9224-b289-47c8-b6d4-3bf138101243" providerId="ADAL" clId="{0150EA7A-3692-4CE6-8414-A2D55987BE21}" dt="2020-06-17T00:42:34.320" v="1299" actId="571"/>
          <ac:spMkLst>
            <pc:docMk/>
            <pc:sldMk cId="1881171097" sldId="2134804309"/>
            <ac:spMk id="56" creationId="{75ACAA4B-DB22-4005-96B7-C5A55C0608FB}"/>
          </ac:spMkLst>
        </pc:spChg>
        <pc:spChg chg="add mod">
          <ac:chgData name="Yuly Andrea Castaneda Ramirez (CENIT)" userId="9d6b9224-b289-47c8-b6d4-3bf138101243" providerId="ADAL" clId="{0150EA7A-3692-4CE6-8414-A2D55987BE21}" dt="2020-06-17T00:42:34.320" v="1299" actId="571"/>
          <ac:spMkLst>
            <pc:docMk/>
            <pc:sldMk cId="1881171097" sldId="2134804309"/>
            <ac:spMk id="57" creationId="{BB70D810-04FE-44E4-8DEB-6A2E2ED81766}"/>
          </ac:spMkLst>
        </pc:spChg>
        <pc:spChg chg="add mod">
          <ac:chgData name="Yuly Andrea Castaneda Ramirez (CENIT)" userId="9d6b9224-b289-47c8-b6d4-3bf138101243" providerId="ADAL" clId="{0150EA7A-3692-4CE6-8414-A2D55987BE21}" dt="2020-06-17T01:06:29.661" v="1593" actId="1038"/>
          <ac:spMkLst>
            <pc:docMk/>
            <pc:sldMk cId="1881171097" sldId="2134804309"/>
            <ac:spMk id="58" creationId="{9E214831-F319-484B-878F-CC814AD0E45E}"/>
          </ac:spMkLst>
        </pc:spChg>
        <pc:spChg chg="add del mod">
          <ac:chgData name="Yuly Andrea Castaneda Ramirez (CENIT)" userId="9d6b9224-b289-47c8-b6d4-3bf138101243" providerId="ADAL" clId="{0150EA7A-3692-4CE6-8414-A2D55987BE21}" dt="2020-06-17T00:56:20.574" v="1515" actId="1035"/>
          <ac:spMkLst>
            <pc:docMk/>
            <pc:sldMk cId="1881171097" sldId="2134804309"/>
            <ac:spMk id="59" creationId="{BE3F100C-50B3-4F15-9903-FB21CD00628E}"/>
          </ac:spMkLst>
        </pc:spChg>
        <pc:spChg chg="add del mod">
          <ac:chgData name="Yuly Andrea Castaneda Ramirez (CENIT)" userId="9d6b9224-b289-47c8-b6d4-3bf138101243" providerId="ADAL" clId="{0150EA7A-3692-4CE6-8414-A2D55987BE21}" dt="2020-06-17T00:56:20.574" v="1515" actId="1035"/>
          <ac:spMkLst>
            <pc:docMk/>
            <pc:sldMk cId="1881171097" sldId="2134804309"/>
            <ac:spMk id="60" creationId="{2F47BFE6-652B-4A11-A467-141CEABC6BB5}"/>
          </ac:spMkLst>
        </pc:spChg>
        <pc:spChg chg="add del mod">
          <ac:chgData name="Yuly Andrea Castaneda Ramirez (CENIT)" userId="9d6b9224-b289-47c8-b6d4-3bf138101243" providerId="ADAL" clId="{0150EA7A-3692-4CE6-8414-A2D55987BE21}" dt="2020-06-17T00:56:20.574" v="1515" actId="1035"/>
          <ac:spMkLst>
            <pc:docMk/>
            <pc:sldMk cId="1881171097" sldId="2134804309"/>
            <ac:spMk id="61" creationId="{36328718-1AD9-4A1D-AD92-CA23A630214F}"/>
          </ac:spMkLst>
        </pc:spChg>
        <pc:spChg chg="add del mod">
          <ac:chgData name="Yuly Andrea Castaneda Ramirez (CENIT)" userId="9d6b9224-b289-47c8-b6d4-3bf138101243" providerId="ADAL" clId="{0150EA7A-3692-4CE6-8414-A2D55987BE21}" dt="2020-06-17T01:29:18.554" v="1780" actId="6549"/>
          <ac:spMkLst>
            <pc:docMk/>
            <pc:sldMk cId="1881171097" sldId="2134804309"/>
            <ac:spMk id="62" creationId="{89D5887B-F59D-488C-ABC2-49882027020C}"/>
          </ac:spMkLst>
        </pc:spChg>
        <pc:spChg chg="add mod">
          <ac:chgData name="Yuly Andrea Castaneda Ramirez (CENIT)" userId="9d6b9224-b289-47c8-b6d4-3bf138101243" providerId="ADAL" clId="{0150EA7A-3692-4CE6-8414-A2D55987BE21}" dt="2020-06-17T01:06:29.661" v="1593" actId="1038"/>
          <ac:spMkLst>
            <pc:docMk/>
            <pc:sldMk cId="1881171097" sldId="2134804309"/>
            <ac:spMk id="63" creationId="{374BF4F6-A8B2-4663-84A5-7564A6B6BE76}"/>
          </ac:spMkLst>
        </pc:spChg>
        <pc:spChg chg="add del mod">
          <ac:chgData name="Yuly Andrea Castaneda Ramirez (CENIT)" userId="9d6b9224-b289-47c8-b6d4-3bf138101243" providerId="ADAL" clId="{0150EA7A-3692-4CE6-8414-A2D55987BE21}" dt="2020-06-16T23:23:55.372" v="109"/>
          <ac:spMkLst>
            <pc:docMk/>
            <pc:sldMk cId="1881171097" sldId="2134804309"/>
            <ac:spMk id="63" creationId="{ECF96F9A-A729-4DC8-8578-B38FAB620D14}"/>
          </ac:spMkLst>
        </pc:spChg>
        <pc:spChg chg="add del mod">
          <ac:chgData name="Yuly Andrea Castaneda Ramirez (CENIT)" userId="9d6b9224-b289-47c8-b6d4-3bf138101243" providerId="ADAL" clId="{0150EA7A-3692-4CE6-8414-A2D55987BE21}" dt="2020-06-17T00:57:00.610" v="1533" actId="14100"/>
          <ac:spMkLst>
            <pc:docMk/>
            <pc:sldMk cId="1881171097" sldId="2134804309"/>
            <ac:spMk id="64" creationId="{C5E7E4EB-F106-4781-B7BA-2EE2E258AF62}"/>
          </ac:spMkLst>
        </pc:spChg>
        <pc:spChg chg="add mod">
          <ac:chgData name="Yuly Andrea Castaneda Ramirez (CENIT)" userId="9d6b9224-b289-47c8-b6d4-3bf138101243" providerId="ADAL" clId="{0150EA7A-3692-4CE6-8414-A2D55987BE21}" dt="2020-06-17T01:06:29.661" v="1593" actId="1038"/>
          <ac:spMkLst>
            <pc:docMk/>
            <pc:sldMk cId="1881171097" sldId="2134804309"/>
            <ac:spMk id="65" creationId="{3AB53F82-6278-4D35-87FA-B760C5ACA7CC}"/>
          </ac:spMkLst>
        </pc:spChg>
        <pc:spChg chg="add del mod">
          <ac:chgData name="Yuly Andrea Castaneda Ramirez (CENIT)" userId="9d6b9224-b289-47c8-b6d4-3bf138101243" providerId="ADAL" clId="{0150EA7A-3692-4CE6-8414-A2D55987BE21}" dt="2020-06-17T00:56:57.137" v="1532" actId="1036"/>
          <ac:spMkLst>
            <pc:docMk/>
            <pc:sldMk cId="1881171097" sldId="2134804309"/>
            <ac:spMk id="66" creationId="{985BCC26-C4E2-4E5F-98E2-17B1D4970605}"/>
          </ac:spMkLst>
        </pc:spChg>
        <pc:spChg chg="add del mod">
          <ac:chgData name="Yuly Andrea Castaneda Ramirez (CENIT)" userId="9d6b9224-b289-47c8-b6d4-3bf138101243" providerId="ADAL" clId="{0150EA7A-3692-4CE6-8414-A2D55987BE21}" dt="2020-06-17T01:16:48.002" v="1664" actId="207"/>
          <ac:spMkLst>
            <pc:docMk/>
            <pc:sldMk cId="1881171097" sldId="2134804309"/>
            <ac:spMk id="67" creationId="{0B609A71-0C9E-44AA-A60D-A49754DFA355}"/>
          </ac:spMkLst>
        </pc:spChg>
        <pc:spChg chg="add del mod">
          <ac:chgData name="Yuly Andrea Castaneda Ramirez (CENIT)" userId="9d6b9224-b289-47c8-b6d4-3bf138101243" providerId="ADAL" clId="{0150EA7A-3692-4CE6-8414-A2D55987BE21}" dt="2020-06-17T00:50:23.460" v="1401" actId="478"/>
          <ac:spMkLst>
            <pc:docMk/>
            <pc:sldMk cId="1881171097" sldId="2134804309"/>
            <ac:spMk id="68" creationId="{A3F481BB-1FAB-4410-826E-0D16095DC8A2}"/>
          </ac:spMkLst>
        </pc:spChg>
        <pc:spChg chg="add del mod">
          <ac:chgData name="Yuly Andrea Castaneda Ramirez (CENIT)" userId="9d6b9224-b289-47c8-b6d4-3bf138101243" providerId="ADAL" clId="{0150EA7A-3692-4CE6-8414-A2D55987BE21}" dt="2020-06-17T00:50:31.789" v="1404" actId="478"/>
          <ac:spMkLst>
            <pc:docMk/>
            <pc:sldMk cId="1881171097" sldId="2134804309"/>
            <ac:spMk id="69" creationId="{C3C823BF-995B-45B7-AFA2-0AAD6DB53BD5}"/>
          </ac:spMkLst>
        </pc:spChg>
        <pc:spChg chg="add del mod">
          <ac:chgData name="Yuly Andrea Castaneda Ramirez (CENIT)" userId="9d6b9224-b289-47c8-b6d4-3bf138101243" providerId="ADAL" clId="{0150EA7A-3692-4CE6-8414-A2D55987BE21}" dt="2020-06-17T00:56:57.137" v="1532" actId="1036"/>
          <ac:spMkLst>
            <pc:docMk/>
            <pc:sldMk cId="1881171097" sldId="2134804309"/>
            <ac:spMk id="70" creationId="{174EEA1B-56BF-43B0-AD0F-9422D850ED90}"/>
          </ac:spMkLst>
        </pc:spChg>
        <pc:spChg chg="add del mod">
          <ac:chgData name="Yuly Andrea Castaneda Ramirez (CENIT)" userId="9d6b9224-b289-47c8-b6d4-3bf138101243" providerId="ADAL" clId="{0150EA7A-3692-4CE6-8414-A2D55987BE21}" dt="2020-06-17T01:08:13.961" v="1606" actId="207"/>
          <ac:spMkLst>
            <pc:docMk/>
            <pc:sldMk cId="1881171097" sldId="2134804309"/>
            <ac:spMk id="71" creationId="{BC07B333-2990-47FE-BD43-8FDF5587ED98}"/>
          </ac:spMkLst>
        </pc:spChg>
        <pc:spChg chg="add del mod">
          <ac:chgData name="Yuly Andrea Castaneda Ramirez (CENIT)" userId="9d6b9224-b289-47c8-b6d4-3bf138101243" providerId="ADAL" clId="{0150EA7A-3692-4CE6-8414-A2D55987BE21}" dt="2020-06-17T01:08:16.169" v="1607" actId="108"/>
          <ac:spMkLst>
            <pc:docMk/>
            <pc:sldMk cId="1881171097" sldId="2134804309"/>
            <ac:spMk id="72" creationId="{07300B76-F7DA-4C54-81BE-87BD0E3501A2}"/>
          </ac:spMkLst>
        </pc:spChg>
        <pc:spChg chg="add del mod">
          <ac:chgData name="Yuly Andrea Castaneda Ramirez (CENIT)" userId="9d6b9224-b289-47c8-b6d4-3bf138101243" providerId="ADAL" clId="{0150EA7A-3692-4CE6-8414-A2D55987BE21}" dt="2020-06-16T23:33:25.380" v="355" actId="21"/>
          <ac:spMkLst>
            <pc:docMk/>
            <pc:sldMk cId="1881171097" sldId="2134804309"/>
            <ac:spMk id="73" creationId="{355747D5-75A0-4E6F-B00C-0803803712E1}"/>
          </ac:spMkLst>
        </pc:spChg>
        <pc:spChg chg="add mod">
          <ac:chgData name="Yuly Andrea Castaneda Ramirez (CENIT)" userId="9d6b9224-b289-47c8-b6d4-3bf138101243" providerId="ADAL" clId="{0150EA7A-3692-4CE6-8414-A2D55987BE21}" dt="2020-06-17T01:06:29.661" v="1593" actId="1038"/>
          <ac:spMkLst>
            <pc:docMk/>
            <pc:sldMk cId="1881171097" sldId="2134804309"/>
            <ac:spMk id="73" creationId="{AF0C32C2-C6CF-4F2E-8207-CBC53BB5AFCC}"/>
          </ac:spMkLst>
        </pc:spChg>
        <pc:spChg chg="add del mod">
          <ac:chgData name="Yuly Andrea Castaneda Ramirez (CENIT)" userId="9d6b9224-b289-47c8-b6d4-3bf138101243" providerId="ADAL" clId="{0150EA7A-3692-4CE6-8414-A2D55987BE21}" dt="2020-06-17T01:08:18.421" v="1608" actId="108"/>
          <ac:spMkLst>
            <pc:docMk/>
            <pc:sldMk cId="1881171097" sldId="2134804309"/>
            <ac:spMk id="74" creationId="{044D154E-124C-451E-A67B-8A00C55BEF8B}"/>
          </ac:spMkLst>
        </pc:spChg>
        <pc:spChg chg="add del mod">
          <ac:chgData name="Yuly Andrea Castaneda Ramirez (CENIT)" userId="9d6b9224-b289-47c8-b6d4-3bf138101243" providerId="ADAL" clId="{0150EA7A-3692-4CE6-8414-A2D55987BE21}" dt="2020-06-17T01:08:24.275" v="1609" actId="108"/>
          <ac:spMkLst>
            <pc:docMk/>
            <pc:sldMk cId="1881171097" sldId="2134804309"/>
            <ac:spMk id="75" creationId="{11A62AE7-512B-4427-88F3-27458EBDAC40}"/>
          </ac:spMkLst>
        </pc:spChg>
        <pc:spChg chg="add mod">
          <ac:chgData name="Yuly Andrea Castaneda Ramirez (CENIT)" userId="9d6b9224-b289-47c8-b6d4-3bf138101243" providerId="ADAL" clId="{0150EA7A-3692-4CE6-8414-A2D55987BE21}" dt="2020-06-17T00:57:35.383" v="1541" actId="14100"/>
          <ac:spMkLst>
            <pc:docMk/>
            <pc:sldMk cId="1881171097" sldId="2134804309"/>
            <ac:spMk id="76" creationId="{68D0324B-6F93-4628-91B6-C79861BBE01F}"/>
          </ac:spMkLst>
        </pc:spChg>
        <pc:spChg chg="add mod">
          <ac:chgData name="Yuly Andrea Castaneda Ramirez (CENIT)" userId="9d6b9224-b289-47c8-b6d4-3bf138101243" providerId="ADAL" clId="{0150EA7A-3692-4CE6-8414-A2D55987BE21}" dt="2020-06-17T00:57:44.270" v="1546" actId="1036"/>
          <ac:spMkLst>
            <pc:docMk/>
            <pc:sldMk cId="1881171097" sldId="2134804309"/>
            <ac:spMk id="77" creationId="{82EA84D5-1753-4B93-8376-CBA6A570815D}"/>
          </ac:spMkLst>
        </pc:spChg>
        <pc:spChg chg="add mod">
          <ac:chgData name="Yuly Andrea Castaneda Ramirez (CENIT)" userId="9d6b9224-b289-47c8-b6d4-3bf138101243" providerId="ADAL" clId="{0150EA7A-3692-4CE6-8414-A2D55987BE21}" dt="2020-06-17T00:57:42.065" v="1545" actId="1036"/>
          <ac:spMkLst>
            <pc:docMk/>
            <pc:sldMk cId="1881171097" sldId="2134804309"/>
            <ac:spMk id="78" creationId="{30621AE7-EF9C-4ABE-84F2-40370AA03E60}"/>
          </ac:spMkLst>
        </pc:spChg>
        <pc:spChg chg="add del mod">
          <ac:chgData name="Yuly Andrea Castaneda Ramirez (CENIT)" userId="9d6b9224-b289-47c8-b6d4-3bf138101243" providerId="ADAL" clId="{0150EA7A-3692-4CE6-8414-A2D55987BE21}" dt="2020-06-16T23:58:10.966" v="756" actId="21"/>
          <ac:spMkLst>
            <pc:docMk/>
            <pc:sldMk cId="1881171097" sldId="2134804309"/>
            <ac:spMk id="80" creationId="{4EA6D3FC-07C6-4F51-BF2B-C47DBDEE77C5}"/>
          </ac:spMkLst>
        </pc:spChg>
        <pc:spChg chg="add del mod">
          <ac:chgData name="Yuly Andrea Castaneda Ramirez (CENIT)" userId="9d6b9224-b289-47c8-b6d4-3bf138101243" providerId="ADAL" clId="{0150EA7A-3692-4CE6-8414-A2D55987BE21}" dt="2020-06-17T00:50:54.609" v="1412"/>
          <ac:spMkLst>
            <pc:docMk/>
            <pc:sldMk cId="1881171097" sldId="2134804309"/>
            <ac:spMk id="80" creationId="{6E72C5D0-EAD5-49B9-B277-FD12B794BAA9}"/>
          </ac:spMkLst>
        </pc:spChg>
        <pc:spChg chg="add del mod">
          <ac:chgData name="Yuly Andrea Castaneda Ramirez (CENIT)" userId="9d6b9224-b289-47c8-b6d4-3bf138101243" providerId="ADAL" clId="{0150EA7A-3692-4CE6-8414-A2D55987BE21}" dt="2020-06-17T00:50:54.609" v="1412"/>
          <ac:spMkLst>
            <pc:docMk/>
            <pc:sldMk cId="1881171097" sldId="2134804309"/>
            <ac:spMk id="81" creationId="{53925A36-5960-4CD9-AE25-50E0C7BC9A9C}"/>
          </ac:spMkLst>
        </pc:spChg>
        <pc:spChg chg="del mod">
          <ac:chgData name="Yuly Andrea Castaneda Ramirez (CENIT)" userId="9d6b9224-b289-47c8-b6d4-3bf138101243" providerId="ADAL" clId="{0150EA7A-3692-4CE6-8414-A2D55987BE21}" dt="2020-06-16T23:58:10.966" v="756" actId="21"/>
          <ac:spMkLst>
            <pc:docMk/>
            <pc:sldMk cId="1881171097" sldId="2134804309"/>
            <ac:spMk id="81" creationId="{55664DF5-A233-44A7-9101-538787CD3FB0}"/>
          </ac:spMkLst>
        </pc:spChg>
        <pc:spChg chg="add del mod">
          <ac:chgData name="Yuly Andrea Castaneda Ramirez (CENIT)" userId="9d6b9224-b289-47c8-b6d4-3bf138101243" providerId="ADAL" clId="{0150EA7A-3692-4CE6-8414-A2D55987BE21}" dt="2020-06-17T00:50:54.609" v="1412"/>
          <ac:spMkLst>
            <pc:docMk/>
            <pc:sldMk cId="1881171097" sldId="2134804309"/>
            <ac:spMk id="82" creationId="{BF4CB5E5-1DE4-44FD-81B8-89592A506BA0}"/>
          </ac:spMkLst>
        </pc:spChg>
        <pc:spChg chg="add del mod">
          <ac:chgData name="Yuly Andrea Castaneda Ramirez (CENIT)" userId="9d6b9224-b289-47c8-b6d4-3bf138101243" providerId="ADAL" clId="{0150EA7A-3692-4CE6-8414-A2D55987BE21}" dt="2020-06-16T23:58:10.966" v="756" actId="21"/>
          <ac:spMkLst>
            <pc:docMk/>
            <pc:sldMk cId="1881171097" sldId="2134804309"/>
            <ac:spMk id="82" creationId="{CFE2FDF7-7563-492B-AF58-DC091195DF0A}"/>
          </ac:spMkLst>
        </pc:spChg>
        <pc:spChg chg="add del mod">
          <ac:chgData name="Yuly Andrea Castaneda Ramirez (CENIT)" userId="9d6b9224-b289-47c8-b6d4-3bf138101243" providerId="ADAL" clId="{0150EA7A-3692-4CE6-8414-A2D55987BE21}" dt="2020-06-16T23:56:21.718" v="733" actId="21"/>
          <ac:spMkLst>
            <pc:docMk/>
            <pc:sldMk cId="1881171097" sldId="2134804309"/>
            <ac:spMk id="83" creationId="{82278C55-B34E-4403-84C6-0284BB21E30F}"/>
          </ac:spMkLst>
        </pc:spChg>
        <pc:spChg chg="add del mod">
          <ac:chgData name="Yuly Andrea Castaneda Ramirez (CENIT)" userId="9d6b9224-b289-47c8-b6d4-3bf138101243" providerId="ADAL" clId="{0150EA7A-3692-4CE6-8414-A2D55987BE21}" dt="2020-06-17T00:50:54.609" v="1412"/>
          <ac:spMkLst>
            <pc:docMk/>
            <pc:sldMk cId="1881171097" sldId="2134804309"/>
            <ac:spMk id="83" creationId="{CE15EE06-1716-4A27-B708-4BB01C17DE60}"/>
          </ac:spMkLst>
        </pc:spChg>
        <pc:spChg chg="add del mod">
          <ac:chgData name="Yuly Andrea Castaneda Ramirez (CENIT)" userId="9d6b9224-b289-47c8-b6d4-3bf138101243" providerId="ADAL" clId="{0150EA7A-3692-4CE6-8414-A2D55987BE21}" dt="2020-06-16T23:56:21.718" v="733" actId="21"/>
          <ac:spMkLst>
            <pc:docMk/>
            <pc:sldMk cId="1881171097" sldId="2134804309"/>
            <ac:spMk id="84" creationId="{81C5D11B-6C10-47EC-9725-67D989458ACF}"/>
          </ac:spMkLst>
        </pc:spChg>
        <pc:spChg chg="add del mod">
          <ac:chgData name="Yuly Andrea Castaneda Ramirez (CENIT)" userId="9d6b9224-b289-47c8-b6d4-3bf138101243" providerId="ADAL" clId="{0150EA7A-3692-4CE6-8414-A2D55987BE21}" dt="2020-06-17T00:50:54.609" v="1412"/>
          <ac:spMkLst>
            <pc:docMk/>
            <pc:sldMk cId="1881171097" sldId="2134804309"/>
            <ac:spMk id="84" creationId="{A2F057ED-AFB8-4F45-8C36-D5FB60972365}"/>
          </ac:spMkLst>
        </pc:spChg>
        <pc:spChg chg="add del mod">
          <ac:chgData name="Yuly Andrea Castaneda Ramirez (CENIT)" userId="9d6b9224-b289-47c8-b6d4-3bf138101243" providerId="ADAL" clId="{0150EA7A-3692-4CE6-8414-A2D55987BE21}" dt="2020-06-17T00:23:22.255" v="1206" actId="21"/>
          <ac:spMkLst>
            <pc:docMk/>
            <pc:sldMk cId="1881171097" sldId="2134804309"/>
            <ac:spMk id="85" creationId="{9F287BA6-6F52-496A-96CD-902D2B6DC873}"/>
          </ac:spMkLst>
        </pc:spChg>
        <pc:spChg chg="add del mod">
          <ac:chgData name="Yuly Andrea Castaneda Ramirez (CENIT)" userId="9d6b9224-b289-47c8-b6d4-3bf138101243" providerId="ADAL" clId="{0150EA7A-3692-4CE6-8414-A2D55987BE21}" dt="2020-06-17T00:50:54.609" v="1412"/>
          <ac:spMkLst>
            <pc:docMk/>
            <pc:sldMk cId="1881171097" sldId="2134804309"/>
            <ac:spMk id="85" creationId="{FAC4F22F-3414-44C1-A65D-540B9112C989}"/>
          </ac:spMkLst>
        </pc:spChg>
        <pc:spChg chg="add del mod">
          <ac:chgData name="Yuly Andrea Castaneda Ramirez (CENIT)" userId="9d6b9224-b289-47c8-b6d4-3bf138101243" providerId="ADAL" clId="{0150EA7A-3692-4CE6-8414-A2D55987BE21}" dt="2020-06-17T00:50:54.609" v="1412"/>
          <ac:spMkLst>
            <pc:docMk/>
            <pc:sldMk cId="1881171097" sldId="2134804309"/>
            <ac:spMk id="86" creationId="{620FDB6F-5071-4318-BDFE-2D1F99863907}"/>
          </ac:spMkLst>
        </pc:spChg>
        <pc:spChg chg="add del mod">
          <ac:chgData name="Yuly Andrea Castaneda Ramirez (CENIT)" userId="9d6b9224-b289-47c8-b6d4-3bf138101243" providerId="ADAL" clId="{0150EA7A-3692-4CE6-8414-A2D55987BE21}" dt="2020-06-17T00:23:22.255" v="1206" actId="21"/>
          <ac:spMkLst>
            <pc:docMk/>
            <pc:sldMk cId="1881171097" sldId="2134804309"/>
            <ac:spMk id="86" creationId="{69BE6FDF-22BC-411D-A95D-41CBCDE034B5}"/>
          </ac:spMkLst>
        </pc:spChg>
        <pc:spChg chg="add del mod">
          <ac:chgData name="Yuly Andrea Castaneda Ramirez (CENIT)" userId="9d6b9224-b289-47c8-b6d4-3bf138101243" providerId="ADAL" clId="{0150EA7A-3692-4CE6-8414-A2D55987BE21}" dt="2020-06-17T00:50:54.609" v="1412"/>
          <ac:spMkLst>
            <pc:docMk/>
            <pc:sldMk cId="1881171097" sldId="2134804309"/>
            <ac:spMk id="87" creationId="{F24941ED-3972-4753-9445-8954FDD8DF8F}"/>
          </ac:spMkLst>
        </pc:spChg>
        <pc:spChg chg="del">
          <ac:chgData name="Yuly Andrea Castaneda Ramirez (CENIT)" userId="9d6b9224-b289-47c8-b6d4-3bf138101243" providerId="ADAL" clId="{0150EA7A-3692-4CE6-8414-A2D55987BE21}" dt="2020-06-16T23:28:54.810" v="223" actId="478"/>
          <ac:spMkLst>
            <pc:docMk/>
            <pc:sldMk cId="1881171097" sldId="2134804309"/>
            <ac:spMk id="87" creationId="{FE811B0C-88CE-4A45-95A3-61C236577A97}"/>
          </ac:spMkLst>
        </pc:spChg>
        <pc:spChg chg="add del mod">
          <ac:chgData name="Yuly Andrea Castaneda Ramirez (CENIT)" userId="9d6b9224-b289-47c8-b6d4-3bf138101243" providerId="ADAL" clId="{0150EA7A-3692-4CE6-8414-A2D55987BE21}" dt="2020-06-17T00:23:22.255" v="1206" actId="21"/>
          <ac:spMkLst>
            <pc:docMk/>
            <pc:sldMk cId="1881171097" sldId="2134804309"/>
            <ac:spMk id="88" creationId="{937276FC-4238-4AA6-8D50-D428B08651F0}"/>
          </ac:spMkLst>
        </pc:spChg>
        <pc:spChg chg="add del mod">
          <ac:chgData name="Yuly Andrea Castaneda Ramirez (CENIT)" userId="9d6b9224-b289-47c8-b6d4-3bf138101243" providerId="ADAL" clId="{0150EA7A-3692-4CE6-8414-A2D55987BE21}" dt="2020-06-17T00:50:54.609" v="1412"/>
          <ac:spMkLst>
            <pc:docMk/>
            <pc:sldMk cId="1881171097" sldId="2134804309"/>
            <ac:spMk id="88" creationId="{B561C3D5-A20C-493C-9C02-E2314860CB0B}"/>
          </ac:spMkLst>
        </pc:spChg>
        <pc:spChg chg="add del mod">
          <ac:chgData name="Yuly Andrea Castaneda Ramirez (CENIT)" userId="9d6b9224-b289-47c8-b6d4-3bf138101243" providerId="ADAL" clId="{0150EA7A-3692-4CE6-8414-A2D55987BE21}" dt="2020-06-17T00:46:47.319" v="1341" actId="478"/>
          <ac:spMkLst>
            <pc:docMk/>
            <pc:sldMk cId="1881171097" sldId="2134804309"/>
            <ac:spMk id="90" creationId="{955BB129-0C1B-408A-B212-FFDA7FB1B194}"/>
          </ac:spMkLst>
        </pc:spChg>
        <pc:spChg chg="add del mod">
          <ac:chgData name="Yuly Andrea Castaneda Ramirez (CENIT)" userId="9d6b9224-b289-47c8-b6d4-3bf138101243" providerId="ADAL" clId="{0150EA7A-3692-4CE6-8414-A2D55987BE21}" dt="2020-06-17T01:45:03.018" v="1964" actId="1035"/>
          <ac:spMkLst>
            <pc:docMk/>
            <pc:sldMk cId="1881171097" sldId="2134804309"/>
            <ac:spMk id="92" creationId="{E621B45B-C605-46EF-8BAD-713A8EBB5BFF}"/>
          </ac:spMkLst>
        </pc:spChg>
        <pc:spChg chg="add del mod">
          <ac:chgData name="Yuly Andrea Castaneda Ramirez (CENIT)" userId="9d6b9224-b289-47c8-b6d4-3bf138101243" providerId="ADAL" clId="{0150EA7A-3692-4CE6-8414-A2D55987BE21}" dt="2020-06-17T00:41:10.471" v="1293" actId="478"/>
          <ac:spMkLst>
            <pc:docMk/>
            <pc:sldMk cId="1881171097" sldId="2134804309"/>
            <ac:spMk id="93" creationId="{7FB27A17-D47B-4EFA-8880-9AA325F91D46}"/>
          </ac:spMkLst>
        </pc:spChg>
        <pc:spChg chg="add del mod">
          <ac:chgData name="Yuly Andrea Castaneda Ramirez (CENIT)" userId="9d6b9224-b289-47c8-b6d4-3bf138101243" providerId="ADAL" clId="{0150EA7A-3692-4CE6-8414-A2D55987BE21}" dt="2020-06-17T00:50:54.609" v="1412"/>
          <ac:spMkLst>
            <pc:docMk/>
            <pc:sldMk cId="1881171097" sldId="2134804309"/>
            <ac:spMk id="94" creationId="{7D1D4A17-C5B5-4909-8085-D935590F1CA6}"/>
          </ac:spMkLst>
        </pc:spChg>
        <pc:spChg chg="add del mod">
          <ac:chgData name="Yuly Andrea Castaneda Ramirez (CENIT)" userId="9d6b9224-b289-47c8-b6d4-3bf138101243" providerId="ADAL" clId="{0150EA7A-3692-4CE6-8414-A2D55987BE21}" dt="2020-06-17T00:50:54.609" v="1412"/>
          <ac:spMkLst>
            <pc:docMk/>
            <pc:sldMk cId="1881171097" sldId="2134804309"/>
            <ac:spMk id="95" creationId="{BE3B4170-B32A-40FF-B5DE-DA6EBC5A676C}"/>
          </ac:spMkLst>
        </pc:spChg>
        <pc:spChg chg="add del mod">
          <ac:chgData name="Yuly Andrea Castaneda Ramirez (CENIT)" userId="9d6b9224-b289-47c8-b6d4-3bf138101243" providerId="ADAL" clId="{0150EA7A-3692-4CE6-8414-A2D55987BE21}" dt="2020-06-17T00:50:54.609" v="1412"/>
          <ac:spMkLst>
            <pc:docMk/>
            <pc:sldMk cId="1881171097" sldId="2134804309"/>
            <ac:spMk id="96" creationId="{FAF863B0-6E98-4B56-A392-942449A11C4C}"/>
          </ac:spMkLst>
        </pc:spChg>
        <pc:spChg chg="add del mod">
          <ac:chgData name="Yuly Andrea Castaneda Ramirez (CENIT)" userId="9d6b9224-b289-47c8-b6d4-3bf138101243" providerId="ADAL" clId="{0150EA7A-3692-4CE6-8414-A2D55987BE21}" dt="2020-06-17T00:50:54.609" v="1412"/>
          <ac:spMkLst>
            <pc:docMk/>
            <pc:sldMk cId="1881171097" sldId="2134804309"/>
            <ac:spMk id="97" creationId="{8899B45E-E2B7-4AC3-B2BB-693D2735369F}"/>
          </ac:spMkLst>
        </pc:spChg>
        <pc:spChg chg="add del mod">
          <ac:chgData name="Yuly Andrea Castaneda Ramirez (CENIT)" userId="9d6b9224-b289-47c8-b6d4-3bf138101243" providerId="ADAL" clId="{0150EA7A-3692-4CE6-8414-A2D55987BE21}" dt="2020-06-17T00:50:54.609" v="1412"/>
          <ac:spMkLst>
            <pc:docMk/>
            <pc:sldMk cId="1881171097" sldId="2134804309"/>
            <ac:spMk id="98" creationId="{A68B0893-D689-4EE8-8D3E-54F73A9757E5}"/>
          </ac:spMkLst>
        </pc:spChg>
        <pc:spChg chg="add del mod">
          <ac:chgData name="Yuly Andrea Castaneda Ramirez (CENIT)" userId="9d6b9224-b289-47c8-b6d4-3bf138101243" providerId="ADAL" clId="{0150EA7A-3692-4CE6-8414-A2D55987BE21}" dt="2020-06-17T00:50:54.609" v="1412"/>
          <ac:spMkLst>
            <pc:docMk/>
            <pc:sldMk cId="1881171097" sldId="2134804309"/>
            <ac:spMk id="99" creationId="{21738C4C-B6CA-45EC-8816-71F99EA0FEC6}"/>
          </ac:spMkLst>
        </pc:spChg>
        <pc:spChg chg="add del mod">
          <ac:chgData name="Yuly Andrea Castaneda Ramirez (CENIT)" userId="9d6b9224-b289-47c8-b6d4-3bf138101243" providerId="ADAL" clId="{0150EA7A-3692-4CE6-8414-A2D55987BE21}" dt="2020-06-17T01:45:03.018" v="1964" actId="1035"/>
          <ac:spMkLst>
            <pc:docMk/>
            <pc:sldMk cId="1881171097" sldId="2134804309"/>
            <ac:spMk id="100" creationId="{65BEA0CF-3025-4182-BB7C-7FCB9677B093}"/>
          </ac:spMkLst>
        </pc:spChg>
        <pc:spChg chg="add del mod">
          <ac:chgData name="Yuly Andrea Castaneda Ramirez (CENIT)" userId="9d6b9224-b289-47c8-b6d4-3bf138101243" providerId="ADAL" clId="{0150EA7A-3692-4CE6-8414-A2D55987BE21}" dt="2020-06-17T01:45:03.018" v="1964" actId="1035"/>
          <ac:spMkLst>
            <pc:docMk/>
            <pc:sldMk cId="1881171097" sldId="2134804309"/>
            <ac:spMk id="101" creationId="{69EAD6EC-44EF-4157-BA6D-9433BAF52D36}"/>
          </ac:spMkLst>
        </pc:spChg>
        <pc:spChg chg="add del mod">
          <ac:chgData name="Yuly Andrea Castaneda Ramirez (CENIT)" userId="9d6b9224-b289-47c8-b6d4-3bf138101243" providerId="ADAL" clId="{0150EA7A-3692-4CE6-8414-A2D55987BE21}" dt="2020-06-17T00:50:54.609" v="1412"/>
          <ac:spMkLst>
            <pc:docMk/>
            <pc:sldMk cId="1881171097" sldId="2134804309"/>
            <ac:spMk id="102" creationId="{F8FA8ECE-E658-4C64-A3B1-6A806255C79E}"/>
          </ac:spMkLst>
        </pc:spChg>
        <pc:spChg chg="add del mod">
          <ac:chgData name="Yuly Andrea Castaneda Ramirez (CENIT)" userId="9d6b9224-b289-47c8-b6d4-3bf138101243" providerId="ADAL" clId="{0150EA7A-3692-4CE6-8414-A2D55987BE21}" dt="2020-06-17T00:50:54.609" v="1412"/>
          <ac:spMkLst>
            <pc:docMk/>
            <pc:sldMk cId="1881171097" sldId="2134804309"/>
            <ac:spMk id="103" creationId="{0B0068DF-8560-4DE3-A5B3-C1B0DC13B991}"/>
          </ac:spMkLst>
        </pc:spChg>
        <pc:spChg chg="del">
          <ac:chgData name="Yuly Andrea Castaneda Ramirez (CENIT)" userId="9d6b9224-b289-47c8-b6d4-3bf138101243" providerId="ADAL" clId="{0150EA7A-3692-4CE6-8414-A2D55987BE21}" dt="2020-06-16T23:28:54.810" v="223" actId="478"/>
          <ac:spMkLst>
            <pc:docMk/>
            <pc:sldMk cId="1881171097" sldId="2134804309"/>
            <ac:spMk id="103" creationId="{EAB5FB81-51BD-4B45-B02E-4D00C22C82CB}"/>
          </ac:spMkLst>
        </pc:spChg>
        <pc:spChg chg="add del mod">
          <ac:chgData name="Yuly Andrea Castaneda Ramirez (CENIT)" userId="9d6b9224-b289-47c8-b6d4-3bf138101243" providerId="ADAL" clId="{0150EA7A-3692-4CE6-8414-A2D55987BE21}" dt="2020-06-17T00:50:54.609" v="1412"/>
          <ac:spMkLst>
            <pc:docMk/>
            <pc:sldMk cId="1881171097" sldId="2134804309"/>
            <ac:spMk id="104" creationId="{E701ACE9-46EE-422A-AE16-833BD058D397}"/>
          </ac:spMkLst>
        </pc:spChg>
        <pc:spChg chg="add del mod">
          <ac:chgData name="Yuly Andrea Castaneda Ramirez (CENIT)" userId="9d6b9224-b289-47c8-b6d4-3bf138101243" providerId="ADAL" clId="{0150EA7A-3692-4CE6-8414-A2D55987BE21}" dt="2020-06-17T00:50:54.609" v="1412"/>
          <ac:spMkLst>
            <pc:docMk/>
            <pc:sldMk cId="1881171097" sldId="2134804309"/>
            <ac:spMk id="105" creationId="{45CF518F-B271-43E8-B6A2-B64CBB97A470}"/>
          </ac:spMkLst>
        </pc:spChg>
        <pc:spChg chg="del">
          <ac:chgData name="Yuly Andrea Castaneda Ramirez (CENIT)" userId="9d6b9224-b289-47c8-b6d4-3bf138101243" providerId="ADAL" clId="{0150EA7A-3692-4CE6-8414-A2D55987BE21}" dt="2020-06-16T23:28:54.810" v="223" actId="478"/>
          <ac:spMkLst>
            <pc:docMk/>
            <pc:sldMk cId="1881171097" sldId="2134804309"/>
            <ac:spMk id="106" creationId="{35E26E95-A46B-4DFF-AAB8-2D6D1A35193D}"/>
          </ac:spMkLst>
        </pc:spChg>
        <pc:spChg chg="add del mod">
          <ac:chgData name="Yuly Andrea Castaneda Ramirez (CENIT)" userId="9d6b9224-b289-47c8-b6d4-3bf138101243" providerId="ADAL" clId="{0150EA7A-3692-4CE6-8414-A2D55987BE21}" dt="2020-06-17T00:50:54.609" v="1412"/>
          <ac:spMkLst>
            <pc:docMk/>
            <pc:sldMk cId="1881171097" sldId="2134804309"/>
            <ac:spMk id="106" creationId="{F44BB698-7111-4393-8AC4-ABEA13806C18}"/>
          </ac:spMkLst>
        </pc:spChg>
        <pc:spChg chg="add del mod">
          <ac:chgData name="Yuly Andrea Castaneda Ramirez (CENIT)" userId="9d6b9224-b289-47c8-b6d4-3bf138101243" providerId="ADAL" clId="{0150EA7A-3692-4CE6-8414-A2D55987BE21}" dt="2020-06-17T00:50:54.609" v="1412"/>
          <ac:spMkLst>
            <pc:docMk/>
            <pc:sldMk cId="1881171097" sldId="2134804309"/>
            <ac:spMk id="107" creationId="{15CD6DD8-D09F-44A5-AE7D-D7A57797EBCA}"/>
          </ac:spMkLst>
        </pc:spChg>
        <pc:spChg chg="add del mod">
          <ac:chgData name="Yuly Andrea Castaneda Ramirez (CENIT)" userId="9d6b9224-b289-47c8-b6d4-3bf138101243" providerId="ADAL" clId="{0150EA7A-3692-4CE6-8414-A2D55987BE21}" dt="2020-06-17T00:50:54.609" v="1412"/>
          <ac:spMkLst>
            <pc:docMk/>
            <pc:sldMk cId="1881171097" sldId="2134804309"/>
            <ac:spMk id="108" creationId="{A395EA7F-CF32-480C-80C5-34EFCB04E1C0}"/>
          </ac:spMkLst>
        </pc:spChg>
        <pc:spChg chg="add del mod">
          <ac:chgData name="Yuly Andrea Castaneda Ramirez (CENIT)" userId="9d6b9224-b289-47c8-b6d4-3bf138101243" providerId="ADAL" clId="{0150EA7A-3692-4CE6-8414-A2D55987BE21}" dt="2020-06-17T00:50:54.609" v="1412"/>
          <ac:spMkLst>
            <pc:docMk/>
            <pc:sldMk cId="1881171097" sldId="2134804309"/>
            <ac:spMk id="109" creationId="{142F92A7-9D21-447F-A2E7-82C0B84CAD59}"/>
          </ac:spMkLst>
        </pc:spChg>
        <pc:spChg chg="add del mod">
          <ac:chgData name="Yuly Andrea Castaneda Ramirez (CENIT)" userId="9d6b9224-b289-47c8-b6d4-3bf138101243" providerId="ADAL" clId="{0150EA7A-3692-4CE6-8414-A2D55987BE21}" dt="2020-06-17T00:50:54.609" v="1412"/>
          <ac:spMkLst>
            <pc:docMk/>
            <pc:sldMk cId="1881171097" sldId="2134804309"/>
            <ac:spMk id="110" creationId="{FF5CBA6A-80B4-47FC-9377-C9EA74D76109}"/>
          </ac:spMkLst>
        </pc:spChg>
        <pc:spChg chg="add del mod">
          <ac:chgData name="Yuly Andrea Castaneda Ramirez (CENIT)" userId="9d6b9224-b289-47c8-b6d4-3bf138101243" providerId="ADAL" clId="{0150EA7A-3692-4CE6-8414-A2D55987BE21}" dt="2020-06-17T00:50:54.609" v="1412"/>
          <ac:spMkLst>
            <pc:docMk/>
            <pc:sldMk cId="1881171097" sldId="2134804309"/>
            <ac:spMk id="111" creationId="{7DE6D372-1CE3-4F58-AF7B-63976926F0D7}"/>
          </ac:spMkLst>
        </pc:spChg>
        <pc:spChg chg="add del mod">
          <ac:chgData name="Yuly Andrea Castaneda Ramirez (CENIT)" userId="9d6b9224-b289-47c8-b6d4-3bf138101243" providerId="ADAL" clId="{0150EA7A-3692-4CE6-8414-A2D55987BE21}" dt="2020-06-17T00:50:54.609" v="1412"/>
          <ac:spMkLst>
            <pc:docMk/>
            <pc:sldMk cId="1881171097" sldId="2134804309"/>
            <ac:spMk id="112" creationId="{7F0C49F2-B262-453A-8A98-455A0D6FD8F4}"/>
          </ac:spMkLst>
        </pc:spChg>
        <pc:spChg chg="add del mod">
          <ac:chgData name="Yuly Andrea Castaneda Ramirez (CENIT)" userId="9d6b9224-b289-47c8-b6d4-3bf138101243" providerId="ADAL" clId="{0150EA7A-3692-4CE6-8414-A2D55987BE21}" dt="2020-06-17T00:50:54.609" v="1412"/>
          <ac:spMkLst>
            <pc:docMk/>
            <pc:sldMk cId="1881171097" sldId="2134804309"/>
            <ac:spMk id="113" creationId="{A1ADACBA-24CA-4485-BB08-E6C9F5317722}"/>
          </ac:spMkLst>
        </pc:spChg>
        <pc:spChg chg="add del mod">
          <ac:chgData name="Yuly Andrea Castaneda Ramirez (CENIT)" userId="9d6b9224-b289-47c8-b6d4-3bf138101243" providerId="ADAL" clId="{0150EA7A-3692-4CE6-8414-A2D55987BE21}" dt="2020-06-17T01:45:03.018" v="1964" actId="1035"/>
          <ac:spMkLst>
            <pc:docMk/>
            <pc:sldMk cId="1881171097" sldId="2134804309"/>
            <ac:spMk id="114" creationId="{5FC9CB71-87BB-40AF-8B70-47E1CB40C223}"/>
          </ac:spMkLst>
        </pc:spChg>
        <pc:spChg chg="add del mod">
          <ac:chgData name="Yuly Andrea Castaneda Ramirez (CENIT)" userId="9d6b9224-b289-47c8-b6d4-3bf138101243" providerId="ADAL" clId="{0150EA7A-3692-4CE6-8414-A2D55987BE21}" dt="2020-06-17T01:48:34.930" v="1995" actId="478"/>
          <ac:spMkLst>
            <pc:docMk/>
            <pc:sldMk cId="1881171097" sldId="2134804309"/>
            <ac:spMk id="115" creationId="{6CAC64A2-A363-4B91-8AEA-39062CEC425E}"/>
          </ac:spMkLst>
        </pc:spChg>
        <pc:spChg chg="add mod">
          <ac:chgData name="Yuly Andrea Castaneda Ramirez (CENIT)" userId="9d6b9224-b289-47c8-b6d4-3bf138101243" providerId="ADAL" clId="{0150EA7A-3692-4CE6-8414-A2D55987BE21}" dt="2020-06-17T01:49:08.945" v="2068" actId="14100"/>
          <ac:spMkLst>
            <pc:docMk/>
            <pc:sldMk cId="1881171097" sldId="2134804309"/>
            <ac:spMk id="116" creationId="{5A16BED0-F706-4065-9F89-248100093201}"/>
          </ac:spMkLst>
        </pc:spChg>
        <pc:spChg chg="add mod">
          <ac:chgData name="Yuly Andrea Castaneda Ramirez (CENIT)" userId="9d6b9224-b289-47c8-b6d4-3bf138101243" providerId="ADAL" clId="{0150EA7A-3692-4CE6-8414-A2D55987BE21}" dt="2020-06-17T01:49:14.514" v="2069" actId="14100"/>
          <ac:spMkLst>
            <pc:docMk/>
            <pc:sldMk cId="1881171097" sldId="2134804309"/>
            <ac:spMk id="117" creationId="{CD823FF2-16E5-48CF-8D46-A0FA3D6C7F89}"/>
          </ac:spMkLst>
        </pc:spChg>
        <pc:spChg chg="add del mod">
          <ac:chgData name="Yuly Andrea Castaneda Ramirez (CENIT)" userId="9d6b9224-b289-47c8-b6d4-3bf138101243" providerId="ADAL" clId="{0150EA7A-3692-4CE6-8414-A2D55987BE21}" dt="2020-06-17T01:16:48.002" v="1664" actId="207"/>
          <ac:spMkLst>
            <pc:docMk/>
            <pc:sldMk cId="1881171097" sldId="2134804309"/>
            <ac:spMk id="118" creationId="{4595D805-A213-43C8-B637-A714BE5381A5}"/>
          </ac:spMkLst>
        </pc:spChg>
        <pc:spChg chg="add del mod">
          <ac:chgData name="Yuly Andrea Castaneda Ramirez (CENIT)" userId="9d6b9224-b289-47c8-b6d4-3bf138101243" providerId="ADAL" clId="{0150EA7A-3692-4CE6-8414-A2D55987BE21}" dt="2020-06-17T01:45:03.018" v="1964" actId="1035"/>
          <ac:spMkLst>
            <pc:docMk/>
            <pc:sldMk cId="1881171097" sldId="2134804309"/>
            <ac:spMk id="119" creationId="{7EC1E586-865D-4AE6-8E83-6DD1A461383A}"/>
          </ac:spMkLst>
        </pc:spChg>
        <pc:spChg chg="add del mod">
          <ac:chgData name="Yuly Andrea Castaneda Ramirez (CENIT)" userId="9d6b9224-b289-47c8-b6d4-3bf138101243" providerId="ADAL" clId="{0150EA7A-3692-4CE6-8414-A2D55987BE21}" dt="2020-06-17T01:45:03.018" v="1964" actId="1035"/>
          <ac:spMkLst>
            <pc:docMk/>
            <pc:sldMk cId="1881171097" sldId="2134804309"/>
            <ac:spMk id="120" creationId="{8AC43903-3E05-4E77-83F5-D173AA753F73}"/>
          </ac:spMkLst>
        </pc:spChg>
        <pc:spChg chg="mod">
          <ac:chgData name="Yuly Andrea Castaneda Ramirez (CENIT)" userId="9d6b9224-b289-47c8-b6d4-3bf138101243" providerId="ADAL" clId="{0150EA7A-3692-4CE6-8414-A2D55987BE21}" dt="2020-06-17T01:45:03.018" v="1964" actId="1035"/>
          <ac:spMkLst>
            <pc:docMk/>
            <pc:sldMk cId="1881171097" sldId="2134804309"/>
            <ac:spMk id="121" creationId="{33D17D00-C5E0-4296-BB51-8B9CF48F67F8}"/>
          </ac:spMkLst>
        </pc:spChg>
        <pc:spChg chg="add del mod">
          <ac:chgData name="Yuly Andrea Castaneda Ramirez (CENIT)" userId="9d6b9224-b289-47c8-b6d4-3bf138101243" providerId="ADAL" clId="{0150EA7A-3692-4CE6-8414-A2D55987BE21}" dt="2020-06-17T01:45:03.018" v="1964" actId="1035"/>
          <ac:spMkLst>
            <pc:docMk/>
            <pc:sldMk cId="1881171097" sldId="2134804309"/>
            <ac:spMk id="122" creationId="{977AA09D-5209-43EC-82D8-E76ADC7BF2E0}"/>
          </ac:spMkLst>
        </pc:spChg>
        <pc:spChg chg="add del mod">
          <ac:chgData name="Yuly Andrea Castaneda Ramirez (CENIT)" userId="9d6b9224-b289-47c8-b6d4-3bf138101243" providerId="ADAL" clId="{0150EA7A-3692-4CE6-8414-A2D55987BE21}" dt="2020-06-17T01:45:03.018" v="1964" actId="1035"/>
          <ac:spMkLst>
            <pc:docMk/>
            <pc:sldMk cId="1881171097" sldId="2134804309"/>
            <ac:spMk id="123" creationId="{B7B2CB6A-5941-466A-A7D0-8B81D284EE83}"/>
          </ac:spMkLst>
        </pc:spChg>
        <pc:spChg chg="add mod">
          <ac:chgData name="Yuly Andrea Castaneda Ramirez (CENIT)" userId="9d6b9224-b289-47c8-b6d4-3bf138101243" providerId="ADAL" clId="{0150EA7A-3692-4CE6-8414-A2D55987BE21}" dt="2020-06-17T01:48:57.643" v="2061" actId="1038"/>
          <ac:spMkLst>
            <pc:docMk/>
            <pc:sldMk cId="1881171097" sldId="2134804309"/>
            <ac:spMk id="124" creationId="{A4328D8F-5DD8-48CF-8F73-62B7720062CB}"/>
          </ac:spMkLst>
        </pc:spChg>
        <pc:spChg chg="add mod">
          <ac:chgData name="Yuly Andrea Castaneda Ramirez (CENIT)" userId="9d6b9224-b289-47c8-b6d4-3bf138101243" providerId="ADAL" clId="{0150EA7A-3692-4CE6-8414-A2D55987BE21}" dt="2020-06-17T01:48:57.643" v="2061" actId="1038"/>
          <ac:spMkLst>
            <pc:docMk/>
            <pc:sldMk cId="1881171097" sldId="2134804309"/>
            <ac:spMk id="130" creationId="{4FD9B8CA-9352-41D3-88BC-F0C86CA4B007}"/>
          </ac:spMkLst>
        </pc:spChg>
        <pc:spChg chg="del mod">
          <ac:chgData name="Yuly Andrea Castaneda Ramirez (CENIT)" userId="9d6b9224-b289-47c8-b6d4-3bf138101243" providerId="ADAL" clId="{0150EA7A-3692-4CE6-8414-A2D55987BE21}" dt="2020-06-16T23:58:10.966" v="756" actId="21"/>
          <ac:spMkLst>
            <pc:docMk/>
            <pc:sldMk cId="1881171097" sldId="2134804309"/>
            <ac:spMk id="130" creationId="{87BE4D39-585A-439A-9AD3-A09D201B12FA}"/>
          </ac:spMkLst>
        </pc:spChg>
        <pc:spChg chg="add del mod">
          <ac:chgData name="Yuly Andrea Castaneda Ramirez (CENIT)" userId="9d6b9224-b289-47c8-b6d4-3bf138101243" providerId="ADAL" clId="{0150EA7A-3692-4CE6-8414-A2D55987BE21}" dt="2020-06-17T01:48:20.549" v="1992" actId="478"/>
          <ac:spMkLst>
            <pc:docMk/>
            <pc:sldMk cId="1881171097" sldId="2134804309"/>
            <ac:spMk id="131" creationId="{4B528B22-1701-45EE-B9A4-8C449FE60978}"/>
          </ac:spMkLst>
        </pc:spChg>
        <pc:spChg chg="del">
          <ac:chgData name="Yuly Andrea Castaneda Ramirez (CENIT)" userId="9d6b9224-b289-47c8-b6d4-3bf138101243" providerId="ADAL" clId="{0150EA7A-3692-4CE6-8414-A2D55987BE21}" dt="2020-06-16T23:28:54.810" v="223" actId="478"/>
          <ac:spMkLst>
            <pc:docMk/>
            <pc:sldMk cId="1881171097" sldId="2134804309"/>
            <ac:spMk id="131" creationId="{8889283B-005D-488D-86F9-CDCDA28E5F7B}"/>
          </ac:spMkLst>
        </pc:spChg>
        <pc:spChg chg="add del mod">
          <ac:chgData name="Yuly Andrea Castaneda Ramirez (CENIT)" userId="9d6b9224-b289-47c8-b6d4-3bf138101243" providerId="ADAL" clId="{0150EA7A-3692-4CE6-8414-A2D55987BE21}" dt="2020-06-17T00:53:49.406" v="1490" actId="12789"/>
          <ac:spMkLst>
            <pc:docMk/>
            <pc:sldMk cId="1881171097" sldId="2134804309"/>
            <ac:spMk id="132" creationId="{6A90B078-206F-4E1D-89A1-298F78E33B76}"/>
          </ac:spMkLst>
        </pc:spChg>
        <pc:spChg chg="add del mod">
          <ac:chgData name="Yuly Andrea Castaneda Ramirez (CENIT)" userId="9d6b9224-b289-47c8-b6d4-3bf138101243" providerId="ADAL" clId="{0150EA7A-3692-4CE6-8414-A2D55987BE21}" dt="2020-06-17T01:45:03.018" v="1964" actId="1035"/>
          <ac:spMkLst>
            <pc:docMk/>
            <pc:sldMk cId="1881171097" sldId="2134804309"/>
            <ac:spMk id="133" creationId="{DB96E95E-854F-43C5-96C3-F7AE75CE00DC}"/>
          </ac:spMkLst>
        </pc:spChg>
        <pc:spChg chg="del mod">
          <ac:chgData name="Yuly Andrea Castaneda Ramirez (CENIT)" userId="9d6b9224-b289-47c8-b6d4-3bf138101243" providerId="ADAL" clId="{0150EA7A-3692-4CE6-8414-A2D55987BE21}" dt="2020-06-16T23:58:10.966" v="756" actId="21"/>
          <ac:spMkLst>
            <pc:docMk/>
            <pc:sldMk cId="1881171097" sldId="2134804309"/>
            <ac:spMk id="134" creationId="{2015B74C-B102-4125-897E-A341F263D14B}"/>
          </ac:spMkLst>
        </pc:spChg>
        <pc:spChg chg="add mod">
          <ac:chgData name="Yuly Andrea Castaneda Ramirez (CENIT)" userId="9d6b9224-b289-47c8-b6d4-3bf138101243" providerId="ADAL" clId="{0150EA7A-3692-4CE6-8414-A2D55987BE21}" dt="2020-06-17T01:48:57.643" v="2061" actId="1038"/>
          <ac:spMkLst>
            <pc:docMk/>
            <pc:sldMk cId="1881171097" sldId="2134804309"/>
            <ac:spMk id="134" creationId="{E4A40521-62DA-4B43-B879-4935D7E2A31A}"/>
          </ac:spMkLst>
        </pc:spChg>
        <pc:spChg chg="del mod">
          <ac:chgData name="Yuly Andrea Castaneda Ramirez (CENIT)" userId="9d6b9224-b289-47c8-b6d4-3bf138101243" providerId="ADAL" clId="{0150EA7A-3692-4CE6-8414-A2D55987BE21}" dt="2020-06-16T23:58:10.966" v="756" actId="21"/>
          <ac:spMkLst>
            <pc:docMk/>
            <pc:sldMk cId="1881171097" sldId="2134804309"/>
            <ac:spMk id="135" creationId="{965631E9-4740-4B58-A1AB-6ED9AA0B8ABC}"/>
          </ac:spMkLst>
        </pc:spChg>
        <pc:spChg chg="add mod">
          <ac:chgData name="Yuly Andrea Castaneda Ramirez (CENIT)" userId="9d6b9224-b289-47c8-b6d4-3bf138101243" providerId="ADAL" clId="{0150EA7A-3692-4CE6-8414-A2D55987BE21}" dt="2020-06-17T01:48:57.643" v="2061" actId="1038"/>
          <ac:spMkLst>
            <pc:docMk/>
            <pc:sldMk cId="1881171097" sldId="2134804309"/>
            <ac:spMk id="135" creationId="{A96D59B7-AD0C-4A43-B666-01ACCBF85F75}"/>
          </ac:spMkLst>
        </pc:spChg>
        <pc:spChg chg="add mod">
          <ac:chgData name="Yuly Andrea Castaneda Ramirez (CENIT)" userId="9d6b9224-b289-47c8-b6d4-3bf138101243" providerId="ADAL" clId="{0150EA7A-3692-4CE6-8414-A2D55987BE21}" dt="2020-06-17T01:48:57.643" v="2061" actId="1038"/>
          <ac:spMkLst>
            <pc:docMk/>
            <pc:sldMk cId="1881171097" sldId="2134804309"/>
            <ac:spMk id="136" creationId="{5890EB29-9FAA-4C90-A355-FBA18A97BDDE}"/>
          </ac:spMkLst>
        </pc:spChg>
        <pc:spChg chg="del mod">
          <ac:chgData name="Yuly Andrea Castaneda Ramirez (CENIT)" userId="9d6b9224-b289-47c8-b6d4-3bf138101243" providerId="ADAL" clId="{0150EA7A-3692-4CE6-8414-A2D55987BE21}" dt="2020-06-16T23:58:10.966" v="756" actId="21"/>
          <ac:spMkLst>
            <pc:docMk/>
            <pc:sldMk cId="1881171097" sldId="2134804309"/>
            <ac:spMk id="136" creationId="{DC2DE3F9-ECAC-40AD-A20A-B32B38C58757}"/>
          </ac:spMkLst>
        </pc:spChg>
        <pc:spChg chg="add mod">
          <ac:chgData name="Yuly Andrea Castaneda Ramirez (CENIT)" userId="9d6b9224-b289-47c8-b6d4-3bf138101243" providerId="ADAL" clId="{0150EA7A-3692-4CE6-8414-A2D55987BE21}" dt="2020-06-17T01:48:57.643" v="2061" actId="1038"/>
          <ac:spMkLst>
            <pc:docMk/>
            <pc:sldMk cId="1881171097" sldId="2134804309"/>
            <ac:spMk id="137" creationId="{2ED733E9-8720-4819-BEBA-1DF79F59A52E}"/>
          </ac:spMkLst>
        </pc:spChg>
        <pc:spChg chg="del mod">
          <ac:chgData name="Yuly Andrea Castaneda Ramirez (CENIT)" userId="9d6b9224-b289-47c8-b6d4-3bf138101243" providerId="ADAL" clId="{0150EA7A-3692-4CE6-8414-A2D55987BE21}" dt="2020-06-16T23:58:10.966" v="756" actId="21"/>
          <ac:spMkLst>
            <pc:docMk/>
            <pc:sldMk cId="1881171097" sldId="2134804309"/>
            <ac:spMk id="137" creationId="{BDEF36B3-92BD-43BC-AD5C-2DF950D99692}"/>
          </ac:spMkLst>
        </pc:spChg>
        <pc:spChg chg="del mod">
          <ac:chgData name="Yuly Andrea Castaneda Ramirez (CENIT)" userId="9d6b9224-b289-47c8-b6d4-3bf138101243" providerId="ADAL" clId="{0150EA7A-3692-4CE6-8414-A2D55987BE21}" dt="2020-06-16T23:58:10.966" v="756" actId="21"/>
          <ac:spMkLst>
            <pc:docMk/>
            <pc:sldMk cId="1881171097" sldId="2134804309"/>
            <ac:spMk id="138" creationId="{0A50029C-6FF1-4E5B-8FE3-9A0E8C0D7425}"/>
          </ac:spMkLst>
        </pc:spChg>
        <pc:spChg chg="add mod">
          <ac:chgData name="Yuly Andrea Castaneda Ramirez (CENIT)" userId="9d6b9224-b289-47c8-b6d4-3bf138101243" providerId="ADAL" clId="{0150EA7A-3692-4CE6-8414-A2D55987BE21}" dt="2020-06-17T01:48:57.643" v="2061" actId="1038"/>
          <ac:spMkLst>
            <pc:docMk/>
            <pc:sldMk cId="1881171097" sldId="2134804309"/>
            <ac:spMk id="138" creationId="{47FFB5EB-8D30-4053-83FE-3EB0C26FC914}"/>
          </ac:spMkLst>
        </pc:spChg>
        <pc:spChg chg="add mod">
          <ac:chgData name="Yuly Andrea Castaneda Ramirez (CENIT)" userId="9d6b9224-b289-47c8-b6d4-3bf138101243" providerId="ADAL" clId="{0150EA7A-3692-4CE6-8414-A2D55987BE21}" dt="2020-06-17T01:48:57.643" v="2061" actId="1038"/>
          <ac:spMkLst>
            <pc:docMk/>
            <pc:sldMk cId="1881171097" sldId="2134804309"/>
            <ac:spMk id="139" creationId="{BD162B85-53EB-43DE-ABAD-5EA1F4E7CB92}"/>
          </ac:spMkLst>
        </pc:spChg>
        <pc:spChg chg="mod">
          <ac:chgData name="Yuly Andrea Castaneda Ramirez (CENIT)" userId="9d6b9224-b289-47c8-b6d4-3bf138101243" providerId="ADAL" clId="{0150EA7A-3692-4CE6-8414-A2D55987BE21}" dt="2020-06-17T01:45:03.018" v="1964" actId="1035"/>
          <ac:spMkLst>
            <pc:docMk/>
            <pc:sldMk cId="1881171097" sldId="2134804309"/>
            <ac:spMk id="140" creationId="{2192EC14-9AFE-49A4-ACE7-7007DE218105}"/>
          </ac:spMkLst>
        </pc:spChg>
        <pc:spChg chg="add del mod">
          <ac:chgData name="Yuly Andrea Castaneda Ramirez (CENIT)" userId="9d6b9224-b289-47c8-b6d4-3bf138101243" providerId="ADAL" clId="{0150EA7A-3692-4CE6-8414-A2D55987BE21}" dt="2020-06-17T01:45:03.018" v="1964" actId="1035"/>
          <ac:spMkLst>
            <pc:docMk/>
            <pc:sldMk cId="1881171097" sldId="2134804309"/>
            <ac:spMk id="141" creationId="{69FF13A6-B914-4228-B818-FA84C77810D8}"/>
          </ac:spMkLst>
        </pc:spChg>
        <pc:spChg chg="add del mod">
          <ac:chgData name="Yuly Andrea Castaneda Ramirez (CENIT)" userId="9d6b9224-b289-47c8-b6d4-3bf138101243" providerId="ADAL" clId="{0150EA7A-3692-4CE6-8414-A2D55987BE21}" dt="2020-06-17T01:45:03.018" v="1964" actId="1035"/>
          <ac:spMkLst>
            <pc:docMk/>
            <pc:sldMk cId="1881171097" sldId="2134804309"/>
            <ac:spMk id="142" creationId="{09BA4622-4FF0-4AE7-A2BE-CA9EB89C56FC}"/>
          </ac:spMkLst>
        </pc:spChg>
        <pc:spChg chg="del">
          <ac:chgData name="Yuly Andrea Castaneda Ramirez (CENIT)" userId="9d6b9224-b289-47c8-b6d4-3bf138101243" providerId="ADAL" clId="{0150EA7A-3692-4CE6-8414-A2D55987BE21}" dt="2020-06-16T23:28:54.810" v="223" actId="478"/>
          <ac:spMkLst>
            <pc:docMk/>
            <pc:sldMk cId="1881171097" sldId="2134804309"/>
            <ac:spMk id="143" creationId="{3B6CC448-71E4-48AD-AC27-24C2C48F7494}"/>
          </ac:spMkLst>
        </pc:spChg>
        <pc:spChg chg="add mod">
          <ac:chgData name="Yuly Andrea Castaneda Ramirez (CENIT)" userId="9d6b9224-b289-47c8-b6d4-3bf138101243" providerId="ADAL" clId="{0150EA7A-3692-4CE6-8414-A2D55987BE21}" dt="2020-06-17T01:48:57.643" v="2061" actId="1038"/>
          <ac:spMkLst>
            <pc:docMk/>
            <pc:sldMk cId="1881171097" sldId="2134804309"/>
            <ac:spMk id="143" creationId="{5C29BAE3-34CF-48B9-85BE-140234AE0E0E}"/>
          </ac:spMkLst>
        </pc:spChg>
        <pc:spChg chg="add mod">
          <ac:chgData name="Yuly Andrea Castaneda Ramirez (CENIT)" userId="9d6b9224-b289-47c8-b6d4-3bf138101243" providerId="ADAL" clId="{0150EA7A-3692-4CE6-8414-A2D55987BE21}" dt="2020-06-17T01:48:57.643" v="2061" actId="1038"/>
          <ac:spMkLst>
            <pc:docMk/>
            <pc:sldMk cId="1881171097" sldId="2134804309"/>
            <ac:spMk id="144" creationId="{31297E8D-1EAA-46FA-A7B3-D13961584BDA}"/>
          </ac:spMkLst>
        </pc:spChg>
        <pc:spChg chg="del">
          <ac:chgData name="Yuly Andrea Castaneda Ramirez (CENIT)" userId="9d6b9224-b289-47c8-b6d4-3bf138101243" providerId="ADAL" clId="{0150EA7A-3692-4CE6-8414-A2D55987BE21}" dt="2020-06-16T23:28:54.810" v="223" actId="478"/>
          <ac:spMkLst>
            <pc:docMk/>
            <pc:sldMk cId="1881171097" sldId="2134804309"/>
            <ac:spMk id="144" creationId="{459CE26A-2C70-483D-8505-6145B8B804E7}"/>
          </ac:spMkLst>
        </pc:spChg>
        <pc:spChg chg="del mod">
          <ac:chgData name="Yuly Andrea Castaneda Ramirez (CENIT)" userId="9d6b9224-b289-47c8-b6d4-3bf138101243" providerId="ADAL" clId="{0150EA7A-3692-4CE6-8414-A2D55987BE21}" dt="2020-06-16T23:58:10.966" v="756" actId="21"/>
          <ac:spMkLst>
            <pc:docMk/>
            <pc:sldMk cId="1881171097" sldId="2134804309"/>
            <ac:spMk id="145" creationId="{73499BFD-F641-4498-BC47-3D42BE7BF515}"/>
          </ac:spMkLst>
        </pc:spChg>
        <pc:spChg chg="add mod">
          <ac:chgData name="Yuly Andrea Castaneda Ramirez (CENIT)" userId="9d6b9224-b289-47c8-b6d4-3bf138101243" providerId="ADAL" clId="{0150EA7A-3692-4CE6-8414-A2D55987BE21}" dt="2020-06-17T01:48:57.643" v="2061" actId="1038"/>
          <ac:spMkLst>
            <pc:docMk/>
            <pc:sldMk cId="1881171097" sldId="2134804309"/>
            <ac:spMk id="145" creationId="{C35B3BDA-B5DD-49E4-869E-1BA753B77D0F}"/>
          </ac:spMkLst>
        </pc:spChg>
        <pc:spChg chg="del mod">
          <ac:chgData name="Yuly Andrea Castaneda Ramirez (CENIT)" userId="9d6b9224-b289-47c8-b6d4-3bf138101243" providerId="ADAL" clId="{0150EA7A-3692-4CE6-8414-A2D55987BE21}" dt="2020-06-16T23:58:10.966" v="756" actId="21"/>
          <ac:spMkLst>
            <pc:docMk/>
            <pc:sldMk cId="1881171097" sldId="2134804309"/>
            <ac:spMk id="146" creationId="{044A596C-01C5-4049-AD23-91F31E1CC4A1}"/>
          </ac:spMkLst>
        </pc:spChg>
        <pc:spChg chg="add mod">
          <ac:chgData name="Yuly Andrea Castaneda Ramirez (CENIT)" userId="9d6b9224-b289-47c8-b6d4-3bf138101243" providerId="ADAL" clId="{0150EA7A-3692-4CE6-8414-A2D55987BE21}" dt="2020-06-17T01:48:57.643" v="2061" actId="1038"/>
          <ac:spMkLst>
            <pc:docMk/>
            <pc:sldMk cId="1881171097" sldId="2134804309"/>
            <ac:spMk id="146" creationId="{3CD3EBB4-398A-4098-A764-49CE8DCD2DF5}"/>
          </ac:spMkLst>
        </pc:spChg>
        <pc:spChg chg="add mod">
          <ac:chgData name="Yuly Andrea Castaneda Ramirez (CENIT)" userId="9d6b9224-b289-47c8-b6d4-3bf138101243" providerId="ADAL" clId="{0150EA7A-3692-4CE6-8414-A2D55987BE21}" dt="2020-06-17T01:48:57.643" v="2061" actId="1038"/>
          <ac:spMkLst>
            <pc:docMk/>
            <pc:sldMk cId="1881171097" sldId="2134804309"/>
            <ac:spMk id="147" creationId="{81EBC7C5-5794-471A-9D9A-8E79D7746286}"/>
          </ac:spMkLst>
        </pc:spChg>
        <pc:spChg chg="del">
          <ac:chgData name="Yuly Andrea Castaneda Ramirez (CENIT)" userId="9d6b9224-b289-47c8-b6d4-3bf138101243" providerId="ADAL" clId="{0150EA7A-3692-4CE6-8414-A2D55987BE21}" dt="2020-06-16T23:28:54.810" v="223" actId="478"/>
          <ac:spMkLst>
            <pc:docMk/>
            <pc:sldMk cId="1881171097" sldId="2134804309"/>
            <ac:spMk id="147" creationId="{E4AEA615-7563-4C1B-A271-099D66D37367}"/>
          </ac:spMkLst>
        </pc:spChg>
        <pc:spChg chg="add mod">
          <ac:chgData name="Yuly Andrea Castaneda Ramirez (CENIT)" userId="9d6b9224-b289-47c8-b6d4-3bf138101243" providerId="ADAL" clId="{0150EA7A-3692-4CE6-8414-A2D55987BE21}" dt="2020-06-17T01:48:57.643" v="2061" actId="1038"/>
          <ac:spMkLst>
            <pc:docMk/>
            <pc:sldMk cId="1881171097" sldId="2134804309"/>
            <ac:spMk id="148" creationId="{A1979FAB-B967-4CBE-BEB7-74EA805D3AE4}"/>
          </ac:spMkLst>
        </pc:spChg>
        <pc:spChg chg="del">
          <ac:chgData name="Yuly Andrea Castaneda Ramirez (CENIT)" userId="9d6b9224-b289-47c8-b6d4-3bf138101243" providerId="ADAL" clId="{0150EA7A-3692-4CE6-8414-A2D55987BE21}" dt="2020-06-16T23:28:54.810" v="223" actId="478"/>
          <ac:spMkLst>
            <pc:docMk/>
            <pc:sldMk cId="1881171097" sldId="2134804309"/>
            <ac:spMk id="148" creationId="{C466D27F-D52B-4D18-AB1A-B4A5A9F42324}"/>
          </ac:spMkLst>
        </pc:spChg>
        <pc:spChg chg="del">
          <ac:chgData name="Yuly Andrea Castaneda Ramirez (CENIT)" userId="9d6b9224-b289-47c8-b6d4-3bf138101243" providerId="ADAL" clId="{0150EA7A-3692-4CE6-8414-A2D55987BE21}" dt="2020-06-16T23:28:54.810" v="223" actId="478"/>
          <ac:spMkLst>
            <pc:docMk/>
            <pc:sldMk cId="1881171097" sldId="2134804309"/>
            <ac:spMk id="149" creationId="{26DDE36A-BBEB-4220-A185-CCDB2EE3D917}"/>
          </ac:spMkLst>
        </pc:spChg>
        <pc:spChg chg="add del mod">
          <ac:chgData name="Yuly Andrea Castaneda Ramirez (CENIT)" userId="9d6b9224-b289-47c8-b6d4-3bf138101243" providerId="ADAL" clId="{0150EA7A-3692-4CE6-8414-A2D55987BE21}" dt="2020-06-17T01:42:51.132" v="1930" actId="478"/>
          <ac:spMkLst>
            <pc:docMk/>
            <pc:sldMk cId="1881171097" sldId="2134804309"/>
            <ac:spMk id="149" creationId="{8E90A061-D8BE-4F9D-ADC6-A081ADBEFB89}"/>
          </ac:spMkLst>
        </pc:spChg>
        <pc:spChg chg="del mod">
          <ac:chgData name="Yuly Andrea Castaneda Ramirez (CENIT)" userId="9d6b9224-b289-47c8-b6d4-3bf138101243" providerId="ADAL" clId="{0150EA7A-3692-4CE6-8414-A2D55987BE21}" dt="2020-06-16T23:58:10.966" v="756" actId="21"/>
          <ac:spMkLst>
            <pc:docMk/>
            <pc:sldMk cId="1881171097" sldId="2134804309"/>
            <ac:spMk id="150" creationId="{1C6B11C4-1308-4BF3-BB98-C70CE2518459}"/>
          </ac:spMkLst>
        </pc:spChg>
        <pc:spChg chg="add del mod">
          <ac:chgData name="Yuly Andrea Castaneda Ramirez (CENIT)" userId="9d6b9224-b289-47c8-b6d4-3bf138101243" providerId="ADAL" clId="{0150EA7A-3692-4CE6-8414-A2D55987BE21}" dt="2020-06-17T01:42:16.059" v="1906" actId="478"/>
          <ac:spMkLst>
            <pc:docMk/>
            <pc:sldMk cId="1881171097" sldId="2134804309"/>
            <ac:spMk id="150" creationId="{EAE7DA8B-6063-454F-9BA8-7FB5BC4469FF}"/>
          </ac:spMkLst>
        </pc:spChg>
        <pc:spChg chg="add del mod">
          <ac:chgData name="Yuly Andrea Castaneda Ramirez (CENIT)" userId="9d6b9224-b289-47c8-b6d4-3bf138101243" providerId="ADAL" clId="{0150EA7A-3692-4CE6-8414-A2D55987BE21}" dt="2020-06-17T01:42:48.250" v="1929" actId="478"/>
          <ac:spMkLst>
            <pc:docMk/>
            <pc:sldMk cId="1881171097" sldId="2134804309"/>
            <ac:spMk id="151" creationId="{8F03D81E-4AB8-400D-9E55-4662A8D8A5A7}"/>
          </ac:spMkLst>
        </pc:spChg>
        <pc:spChg chg="del mod">
          <ac:chgData name="Yuly Andrea Castaneda Ramirez (CENIT)" userId="9d6b9224-b289-47c8-b6d4-3bf138101243" providerId="ADAL" clId="{0150EA7A-3692-4CE6-8414-A2D55987BE21}" dt="2020-06-16T23:58:10.966" v="756" actId="21"/>
          <ac:spMkLst>
            <pc:docMk/>
            <pc:sldMk cId="1881171097" sldId="2134804309"/>
            <ac:spMk id="151" creationId="{E1D12F42-18F9-40F6-8EFF-433E9B9F0592}"/>
          </ac:spMkLst>
        </pc:spChg>
        <pc:spChg chg="del mod">
          <ac:chgData name="Yuly Andrea Castaneda Ramirez (CENIT)" userId="9d6b9224-b289-47c8-b6d4-3bf138101243" providerId="ADAL" clId="{0150EA7A-3692-4CE6-8414-A2D55987BE21}" dt="2020-06-16T23:58:10.966" v="756" actId="21"/>
          <ac:spMkLst>
            <pc:docMk/>
            <pc:sldMk cId="1881171097" sldId="2134804309"/>
            <ac:spMk id="152" creationId="{6249E4F1-2D8E-4097-9179-EBC1401827BA}"/>
          </ac:spMkLst>
        </pc:spChg>
        <pc:spChg chg="add del mod">
          <ac:chgData name="Yuly Andrea Castaneda Ramirez (CENIT)" userId="9d6b9224-b289-47c8-b6d4-3bf138101243" providerId="ADAL" clId="{0150EA7A-3692-4CE6-8414-A2D55987BE21}" dt="2020-06-17T01:42:14.470" v="1905" actId="478"/>
          <ac:spMkLst>
            <pc:docMk/>
            <pc:sldMk cId="1881171097" sldId="2134804309"/>
            <ac:spMk id="152" creationId="{FE5F88C7-31ED-4BE9-995C-AF382C684243}"/>
          </ac:spMkLst>
        </pc:spChg>
        <pc:spChg chg="mod">
          <ac:chgData name="Yuly Andrea Castaneda Ramirez (CENIT)" userId="9d6b9224-b289-47c8-b6d4-3bf138101243" providerId="ADAL" clId="{0150EA7A-3692-4CE6-8414-A2D55987BE21}" dt="2020-06-17T01:45:03.018" v="1964" actId="1035"/>
          <ac:spMkLst>
            <pc:docMk/>
            <pc:sldMk cId="1881171097" sldId="2134804309"/>
            <ac:spMk id="153" creationId="{EBCEC452-242A-41DC-B20E-8FCEB57C4FE5}"/>
          </ac:spMkLst>
        </pc:spChg>
        <pc:spChg chg="add del mod">
          <ac:chgData name="Yuly Andrea Castaneda Ramirez (CENIT)" userId="9d6b9224-b289-47c8-b6d4-3bf138101243" providerId="ADAL" clId="{0150EA7A-3692-4CE6-8414-A2D55987BE21}" dt="2020-06-17T01:42:19.448" v="1908" actId="478"/>
          <ac:spMkLst>
            <pc:docMk/>
            <pc:sldMk cId="1881171097" sldId="2134804309"/>
            <ac:spMk id="154" creationId="{30044D49-4489-47D1-B0CA-10EBA37E3025}"/>
          </ac:spMkLst>
        </pc:spChg>
        <pc:spChg chg="add del mod">
          <ac:chgData name="Yuly Andrea Castaneda Ramirez (CENIT)" userId="9d6b9224-b289-47c8-b6d4-3bf138101243" providerId="ADAL" clId="{0150EA7A-3692-4CE6-8414-A2D55987BE21}" dt="2020-06-17T01:42:17.913" v="1907" actId="478"/>
          <ac:spMkLst>
            <pc:docMk/>
            <pc:sldMk cId="1881171097" sldId="2134804309"/>
            <ac:spMk id="155" creationId="{2DB40538-DD47-4D31-A9CA-CE4FD2C226EF}"/>
          </ac:spMkLst>
        </pc:spChg>
        <pc:spChg chg="add mod">
          <ac:chgData name="Yuly Andrea Castaneda Ramirez (CENIT)" userId="9d6b9224-b289-47c8-b6d4-3bf138101243" providerId="ADAL" clId="{0150EA7A-3692-4CE6-8414-A2D55987BE21}" dt="2020-06-17T01:49:01.352" v="2067" actId="1038"/>
          <ac:spMkLst>
            <pc:docMk/>
            <pc:sldMk cId="1881171097" sldId="2134804309"/>
            <ac:spMk id="156" creationId="{490A74A3-1964-4E35-BB2D-A4095C49EEBB}"/>
          </ac:spMkLst>
        </pc:spChg>
        <pc:spChg chg="add mod">
          <ac:chgData name="Yuly Andrea Castaneda Ramirez (CENIT)" userId="9d6b9224-b289-47c8-b6d4-3bf138101243" providerId="ADAL" clId="{0150EA7A-3692-4CE6-8414-A2D55987BE21}" dt="2020-06-17T01:49:01.352" v="2067" actId="1038"/>
          <ac:spMkLst>
            <pc:docMk/>
            <pc:sldMk cId="1881171097" sldId="2134804309"/>
            <ac:spMk id="157" creationId="{2FC4149F-5027-46B3-9E30-4BDE1F81B657}"/>
          </ac:spMkLst>
        </pc:spChg>
        <pc:spChg chg="add mod">
          <ac:chgData name="Yuly Andrea Castaneda Ramirez (CENIT)" userId="9d6b9224-b289-47c8-b6d4-3bf138101243" providerId="ADAL" clId="{0150EA7A-3692-4CE6-8414-A2D55987BE21}" dt="2020-06-17T01:49:01.352" v="2067" actId="1038"/>
          <ac:spMkLst>
            <pc:docMk/>
            <pc:sldMk cId="1881171097" sldId="2134804309"/>
            <ac:spMk id="158" creationId="{2FD20487-A8FC-4169-8ACD-EEB7DE7361C9}"/>
          </ac:spMkLst>
        </pc:spChg>
        <pc:spChg chg="add mod">
          <ac:chgData name="Yuly Andrea Castaneda Ramirez (CENIT)" userId="9d6b9224-b289-47c8-b6d4-3bf138101243" providerId="ADAL" clId="{0150EA7A-3692-4CE6-8414-A2D55987BE21}" dt="2020-06-17T01:27:58.686" v="1744" actId="1076"/>
          <ac:spMkLst>
            <pc:docMk/>
            <pc:sldMk cId="1881171097" sldId="2134804309"/>
            <ac:spMk id="159" creationId="{B93976E5-27D0-4BF6-A212-0E310DF88389}"/>
          </ac:spMkLst>
        </pc:spChg>
        <pc:spChg chg="add mod">
          <ac:chgData name="Yuly Andrea Castaneda Ramirez (CENIT)" userId="9d6b9224-b289-47c8-b6d4-3bf138101243" providerId="ADAL" clId="{0150EA7A-3692-4CE6-8414-A2D55987BE21}" dt="2020-06-17T01:43:16.781" v="1937" actId="404"/>
          <ac:spMkLst>
            <pc:docMk/>
            <pc:sldMk cId="1881171097" sldId="2134804309"/>
            <ac:spMk id="160" creationId="{2901AD0B-4413-40F5-ACFA-AFC448843BD0}"/>
          </ac:spMkLst>
        </pc:spChg>
        <pc:spChg chg="add mod">
          <ac:chgData name="Yuly Andrea Castaneda Ramirez (CENIT)" userId="9d6b9224-b289-47c8-b6d4-3bf138101243" providerId="ADAL" clId="{0150EA7A-3692-4CE6-8414-A2D55987BE21}" dt="2020-06-17T01:40:41.704" v="1885" actId="1582"/>
          <ac:spMkLst>
            <pc:docMk/>
            <pc:sldMk cId="1881171097" sldId="2134804309"/>
            <ac:spMk id="161" creationId="{4DFB72A5-4B3C-41DB-A5E7-D636B9A1ED41}"/>
          </ac:spMkLst>
        </pc:spChg>
        <pc:spChg chg="add mod">
          <ac:chgData name="Yuly Andrea Castaneda Ramirez (CENIT)" userId="9d6b9224-b289-47c8-b6d4-3bf138101243" providerId="ADAL" clId="{0150EA7A-3692-4CE6-8414-A2D55987BE21}" dt="2020-06-17T01:45:03.018" v="1964" actId="1035"/>
          <ac:spMkLst>
            <pc:docMk/>
            <pc:sldMk cId="1881171097" sldId="2134804309"/>
            <ac:spMk id="162" creationId="{C80AAD0A-3366-4703-9780-480AA5B1EC87}"/>
          </ac:spMkLst>
        </pc:spChg>
        <pc:spChg chg="add mod">
          <ac:chgData name="Yuly Andrea Castaneda Ramirez (CENIT)" userId="9d6b9224-b289-47c8-b6d4-3bf138101243" providerId="ADAL" clId="{0150EA7A-3692-4CE6-8414-A2D55987BE21}" dt="2020-06-17T01:32:18.906" v="1805" actId="404"/>
          <ac:spMkLst>
            <pc:docMk/>
            <pc:sldMk cId="1881171097" sldId="2134804309"/>
            <ac:spMk id="163" creationId="{2B9AC342-E8FE-4143-925A-3CB829923C4D}"/>
          </ac:spMkLst>
        </pc:spChg>
        <pc:spChg chg="add mod">
          <ac:chgData name="Yuly Andrea Castaneda Ramirez (CENIT)" userId="9d6b9224-b289-47c8-b6d4-3bf138101243" providerId="ADAL" clId="{0150EA7A-3692-4CE6-8414-A2D55987BE21}" dt="2020-06-17T01:32:26.052" v="1811" actId="404"/>
          <ac:spMkLst>
            <pc:docMk/>
            <pc:sldMk cId="1881171097" sldId="2134804309"/>
            <ac:spMk id="164" creationId="{70748BF9-B4EA-4E45-A806-C5641A532561}"/>
          </ac:spMkLst>
        </pc:spChg>
        <pc:spChg chg="add mod">
          <ac:chgData name="Yuly Andrea Castaneda Ramirez (CENIT)" userId="9d6b9224-b289-47c8-b6d4-3bf138101243" providerId="ADAL" clId="{0150EA7A-3692-4CE6-8414-A2D55987BE21}" dt="2020-06-17T01:45:07.723" v="1968" actId="1036"/>
          <ac:spMkLst>
            <pc:docMk/>
            <pc:sldMk cId="1881171097" sldId="2134804309"/>
            <ac:spMk id="165" creationId="{194EC9F5-F1D2-47AF-990B-CBCBFCC972F8}"/>
          </ac:spMkLst>
        </pc:spChg>
        <pc:spChg chg="add mod">
          <ac:chgData name="Yuly Andrea Castaneda Ramirez (CENIT)" userId="9d6b9224-b289-47c8-b6d4-3bf138101243" providerId="ADAL" clId="{0150EA7A-3692-4CE6-8414-A2D55987BE21}" dt="2020-06-17T01:32:14.877" v="1802" actId="404"/>
          <ac:spMkLst>
            <pc:docMk/>
            <pc:sldMk cId="1881171097" sldId="2134804309"/>
            <ac:spMk id="166" creationId="{3AAC2A12-F2F6-48CB-9F59-FACC86D61FA7}"/>
          </ac:spMkLst>
        </pc:spChg>
        <pc:spChg chg="add mod">
          <ac:chgData name="Yuly Andrea Castaneda Ramirez (CENIT)" userId="9d6b9224-b289-47c8-b6d4-3bf138101243" providerId="ADAL" clId="{0150EA7A-3692-4CE6-8414-A2D55987BE21}" dt="2020-06-17T01:28:58.105" v="1746" actId="1076"/>
          <ac:spMkLst>
            <pc:docMk/>
            <pc:sldMk cId="1881171097" sldId="2134804309"/>
            <ac:spMk id="167" creationId="{A5D3EC19-3BF6-4041-9828-93D1DE4CDAD0}"/>
          </ac:spMkLst>
        </pc:spChg>
        <pc:spChg chg="add mod">
          <ac:chgData name="Yuly Andrea Castaneda Ramirez (CENIT)" userId="9d6b9224-b289-47c8-b6d4-3bf138101243" providerId="ADAL" clId="{0150EA7A-3692-4CE6-8414-A2D55987BE21}" dt="2020-06-17T01:29:31.391" v="1782" actId="1076"/>
          <ac:spMkLst>
            <pc:docMk/>
            <pc:sldMk cId="1881171097" sldId="2134804309"/>
            <ac:spMk id="168" creationId="{A52E7ECA-65B4-453E-936A-E9AF2AAFD058}"/>
          </ac:spMkLst>
        </pc:spChg>
        <pc:spChg chg="add mod">
          <ac:chgData name="Yuly Andrea Castaneda Ramirez (CENIT)" userId="9d6b9224-b289-47c8-b6d4-3bf138101243" providerId="ADAL" clId="{0150EA7A-3692-4CE6-8414-A2D55987BE21}" dt="2020-06-17T01:29:43.384" v="1784" actId="1076"/>
          <ac:spMkLst>
            <pc:docMk/>
            <pc:sldMk cId="1881171097" sldId="2134804309"/>
            <ac:spMk id="169" creationId="{86DC604E-B99E-462C-9EA2-106AD4E6C314}"/>
          </ac:spMkLst>
        </pc:spChg>
        <pc:spChg chg="add mod">
          <ac:chgData name="Yuly Andrea Castaneda Ramirez (CENIT)" userId="9d6b9224-b289-47c8-b6d4-3bf138101243" providerId="ADAL" clId="{0150EA7A-3692-4CE6-8414-A2D55987BE21}" dt="2020-06-17T01:43:23.064" v="1938" actId="108"/>
          <ac:spMkLst>
            <pc:docMk/>
            <pc:sldMk cId="1881171097" sldId="2134804309"/>
            <ac:spMk id="170" creationId="{54D05389-E3E9-4168-AFFF-27D476CAFCA2}"/>
          </ac:spMkLst>
        </pc:spChg>
        <pc:spChg chg="add mod">
          <ac:chgData name="Yuly Andrea Castaneda Ramirez (CENIT)" userId="9d6b9224-b289-47c8-b6d4-3bf138101243" providerId="ADAL" clId="{0150EA7A-3692-4CE6-8414-A2D55987BE21}" dt="2020-06-17T01:43:26.236" v="1939" actId="108"/>
          <ac:spMkLst>
            <pc:docMk/>
            <pc:sldMk cId="1881171097" sldId="2134804309"/>
            <ac:spMk id="171" creationId="{497FA596-462E-412E-B356-7FBE349705A0}"/>
          </ac:spMkLst>
        </pc:spChg>
        <pc:spChg chg="add mod">
          <ac:chgData name="Yuly Andrea Castaneda Ramirez (CENIT)" userId="9d6b9224-b289-47c8-b6d4-3bf138101243" providerId="ADAL" clId="{0150EA7A-3692-4CE6-8414-A2D55987BE21}" dt="2020-06-17T01:43:52.026" v="1946" actId="108"/>
          <ac:spMkLst>
            <pc:docMk/>
            <pc:sldMk cId="1881171097" sldId="2134804309"/>
            <ac:spMk id="172" creationId="{0C07494B-8798-4454-8C76-A3DF84B018D8}"/>
          </ac:spMkLst>
        </pc:spChg>
        <pc:spChg chg="add mod">
          <ac:chgData name="Yuly Andrea Castaneda Ramirez (CENIT)" userId="9d6b9224-b289-47c8-b6d4-3bf138101243" providerId="ADAL" clId="{0150EA7A-3692-4CE6-8414-A2D55987BE21}" dt="2020-06-17T01:33:54.281" v="1830" actId="1076"/>
          <ac:spMkLst>
            <pc:docMk/>
            <pc:sldMk cId="1881171097" sldId="2134804309"/>
            <ac:spMk id="173" creationId="{91CD8E64-8CB2-44A7-8795-E9D52032D305}"/>
          </ac:spMkLst>
        </pc:spChg>
        <pc:spChg chg="add mod">
          <ac:chgData name="Yuly Andrea Castaneda Ramirez (CENIT)" userId="9d6b9224-b289-47c8-b6d4-3bf138101243" providerId="ADAL" clId="{0150EA7A-3692-4CE6-8414-A2D55987BE21}" dt="2020-06-17T01:43:53.636" v="1947" actId="108"/>
          <ac:spMkLst>
            <pc:docMk/>
            <pc:sldMk cId="1881171097" sldId="2134804309"/>
            <ac:spMk id="174" creationId="{4F7554FC-2E26-4AD3-96CD-552B818B62E9}"/>
          </ac:spMkLst>
        </pc:spChg>
        <pc:spChg chg="add mod">
          <ac:chgData name="Yuly Andrea Castaneda Ramirez (CENIT)" userId="9d6b9224-b289-47c8-b6d4-3bf138101243" providerId="ADAL" clId="{0150EA7A-3692-4CE6-8414-A2D55987BE21}" dt="2020-06-17T01:43:46.507" v="1943" actId="108"/>
          <ac:spMkLst>
            <pc:docMk/>
            <pc:sldMk cId="1881171097" sldId="2134804309"/>
            <ac:spMk id="175" creationId="{0D55B3BB-A7B6-4628-8AA8-738A4C6F3437}"/>
          </ac:spMkLst>
        </pc:spChg>
        <pc:spChg chg="add mod">
          <ac:chgData name="Yuly Andrea Castaneda Ramirez (CENIT)" userId="9d6b9224-b289-47c8-b6d4-3bf138101243" providerId="ADAL" clId="{0150EA7A-3692-4CE6-8414-A2D55987BE21}" dt="2020-06-17T01:43:50.296" v="1944" actId="108"/>
          <ac:spMkLst>
            <pc:docMk/>
            <pc:sldMk cId="1881171097" sldId="2134804309"/>
            <ac:spMk id="176" creationId="{393DD43E-1230-4F0C-9651-99E6BBD4FE05}"/>
          </ac:spMkLst>
        </pc:spChg>
        <pc:spChg chg="add mod">
          <ac:chgData name="Yuly Andrea Castaneda Ramirez (CENIT)" userId="9d6b9224-b289-47c8-b6d4-3bf138101243" providerId="ADAL" clId="{0150EA7A-3692-4CE6-8414-A2D55987BE21}" dt="2020-06-17T01:43:51.375" v="1945" actId="108"/>
          <ac:spMkLst>
            <pc:docMk/>
            <pc:sldMk cId="1881171097" sldId="2134804309"/>
            <ac:spMk id="177" creationId="{521F6A96-E05A-4EBC-8A00-20717CBD3086}"/>
          </ac:spMkLst>
        </pc:spChg>
        <pc:spChg chg="add mod">
          <ac:chgData name="Yuly Andrea Castaneda Ramirez (CENIT)" userId="9d6b9224-b289-47c8-b6d4-3bf138101243" providerId="ADAL" clId="{0150EA7A-3692-4CE6-8414-A2D55987BE21}" dt="2020-06-17T01:45:03.018" v="1964" actId="1035"/>
          <ac:spMkLst>
            <pc:docMk/>
            <pc:sldMk cId="1881171097" sldId="2134804309"/>
            <ac:spMk id="178" creationId="{76ED4BF6-4BF8-4724-854E-DCAD04C995BC}"/>
          </ac:spMkLst>
        </pc:spChg>
        <pc:spChg chg="add mod">
          <ac:chgData name="Yuly Andrea Castaneda Ramirez (CENIT)" userId="9d6b9224-b289-47c8-b6d4-3bf138101243" providerId="ADAL" clId="{0150EA7A-3692-4CE6-8414-A2D55987BE21}" dt="2020-06-17T01:40:49.637" v="1887" actId="20577"/>
          <ac:spMkLst>
            <pc:docMk/>
            <pc:sldMk cId="1881171097" sldId="2134804309"/>
            <ac:spMk id="179" creationId="{56D1A497-A8FE-4FC9-9783-FAE1DF97D648}"/>
          </ac:spMkLst>
        </pc:spChg>
        <pc:spChg chg="add mod">
          <ac:chgData name="Yuly Andrea Castaneda Ramirez (CENIT)" userId="9d6b9224-b289-47c8-b6d4-3bf138101243" providerId="ADAL" clId="{0150EA7A-3692-4CE6-8414-A2D55987BE21}" dt="2020-06-17T01:41:50.894" v="1904" actId="1582"/>
          <ac:spMkLst>
            <pc:docMk/>
            <pc:sldMk cId="1881171097" sldId="2134804309"/>
            <ac:spMk id="180" creationId="{0F422F67-327E-41CA-B2AE-E1590988ACDA}"/>
          </ac:spMkLst>
        </pc:spChg>
        <pc:spChg chg="add del mod">
          <ac:chgData name="Yuly Andrea Castaneda Ramirez (CENIT)" userId="9d6b9224-b289-47c8-b6d4-3bf138101243" providerId="ADAL" clId="{0150EA7A-3692-4CE6-8414-A2D55987BE21}" dt="2020-06-17T01:44:22.023" v="1959" actId="20577"/>
          <ac:spMkLst>
            <pc:docMk/>
            <pc:sldMk cId="1881171097" sldId="2134804309"/>
            <ac:spMk id="181" creationId="{37080A62-F27F-4A20-A3F0-2EE06B877BC2}"/>
          </ac:spMkLst>
        </pc:spChg>
        <pc:cxnChg chg="add mod">
          <ac:chgData name="Yuly Andrea Castaneda Ramirez (CENIT)" userId="9d6b9224-b289-47c8-b6d4-3bf138101243" providerId="ADAL" clId="{0150EA7A-3692-4CE6-8414-A2D55987BE21}" dt="2020-06-17T01:45:03.018" v="1964" actId="1035"/>
          <ac:cxnSpMkLst>
            <pc:docMk/>
            <pc:sldMk cId="1881171097" sldId="2134804309"/>
            <ac:cxnSpMk id="89" creationId="{04477992-0B9B-4BEC-B170-FAA9A5EBAF51}"/>
          </ac:cxnSpMkLst>
        </pc:cxnChg>
        <pc:cxnChg chg="add del mod">
          <ac:chgData name="Yuly Andrea Castaneda Ramirez (CENIT)" userId="9d6b9224-b289-47c8-b6d4-3bf138101243" providerId="ADAL" clId="{0150EA7A-3692-4CE6-8414-A2D55987BE21}" dt="2020-06-17T00:43:09.340" v="1307" actId="478"/>
          <ac:cxnSpMkLst>
            <pc:docMk/>
            <pc:sldMk cId="1881171097" sldId="2134804309"/>
            <ac:cxnSpMk id="91" creationId="{02F6DB37-F9A7-4C02-9D10-7FFB9EF202B4}"/>
          </ac:cxnSpMkLst>
        </pc:cxnChg>
      </pc:sldChg>
    </pc:docChg>
  </pc:docChgLst>
  <pc:docChgLst>
    <pc:chgData name="Andrea Mogollon Nossa (CENIT)" userId="f6a3e592-cc27-4858-b185-ff86be206069" providerId="ADAL" clId="{7512AD08-729F-4631-AFF5-A13DAAFD1BEE}"/>
    <pc:docChg chg="undo custSel addSld delSld modSld sldOrd">
      <pc:chgData name="Andrea Mogollon Nossa (CENIT)" userId="f6a3e592-cc27-4858-b185-ff86be206069" providerId="ADAL" clId="{7512AD08-729F-4631-AFF5-A13DAAFD1BEE}" dt="2020-07-28T21:01:29.237" v="2854" actId="47"/>
      <pc:docMkLst>
        <pc:docMk/>
      </pc:docMkLst>
      <pc:sldChg chg="modSp mod">
        <pc:chgData name="Andrea Mogollon Nossa (CENIT)" userId="f6a3e592-cc27-4858-b185-ff86be206069" providerId="ADAL" clId="{7512AD08-729F-4631-AFF5-A13DAAFD1BEE}" dt="2020-07-28T20:01:24.726" v="2696" actId="20577"/>
        <pc:sldMkLst>
          <pc:docMk/>
          <pc:sldMk cId="692789810" sldId="2134804140"/>
        </pc:sldMkLst>
        <pc:spChg chg="mod">
          <ac:chgData name="Andrea Mogollon Nossa (CENIT)" userId="f6a3e592-cc27-4858-b185-ff86be206069" providerId="ADAL" clId="{7512AD08-729F-4631-AFF5-A13DAAFD1BEE}" dt="2020-07-28T20:01:24.726" v="2696" actId="20577"/>
          <ac:spMkLst>
            <pc:docMk/>
            <pc:sldMk cId="692789810" sldId="2134804140"/>
            <ac:spMk id="2" creationId="{6431BBCF-96E5-45A7-B7E5-D44090D06329}"/>
          </ac:spMkLst>
        </pc:spChg>
      </pc:sldChg>
      <pc:sldChg chg="modSp mod ord">
        <pc:chgData name="Andrea Mogollon Nossa (CENIT)" userId="f6a3e592-cc27-4858-b185-ff86be206069" providerId="ADAL" clId="{7512AD08-729F-4631-AFF5-A13DAAFD1BEE}" dt="2020-07-28T19:36:22.356" v="1587" actId="20577"/>
        <pc:sldMkLst>
          <pc:docMk/>
          <pc:sldMk cId="1245803374" sldId="2134804241"/>
        </pc:sldMkLst>
        <pc:spChg chg="mod">
          <ac:chgData name="Andrea Mogollon Nossa (CENIT)" userId="f6a3e592-cc27-4858-b185-ff86be206069" providerId="ADAL" clId="{7512AD08-729F-4631-AFF5-A13DAAFD1BEE}" dt="2020-07-28T19:36:22.356" v="1587" actId="20577"/>
          <ac:spMkLst>
            <pc:docMk/>
            <pc:sldMk cId="1245803374" sldId="2134804241"/>
            <ac:spMk id="2" creationId="{6431BBCF-96E5-45A7-B7E5-D44090D06329}"/>
          </ac:spMkLst>
        </pc:spChg>
      </pc:sldChg>
      <pc:sldChg chg="modSp mod ord">
        <pc:chgData name="Andrea Mogollon Nossa (CENIT)" userId="f6a3e592-cc27-4858-b185-ff86be206069" providerId="ADAL" clId="{7512AD08-729F-4631-AFF5-A13DAAFD1BEE}" dt="2020-07-28T19:36:43.031" v="1588" actId="1076"/>
        <pc:sldMkLst>
          <pc:docMk/>
          <pc:sldMk cId="4180204205" sldId="2134804244"/>
        </pc:sldMkLst>
        <pc:spChg chg="mod">
          <ac:chgData name="Andrea Mogollon Nossa (CENIT)" userId="f6a3e592-cc27-4858-b185-ff86be206069" providerId="ADAL" clId="{7512AD08-729F-4631-AFF5-A13DAAFD1BEE}" dt="2020-07-28T19:36:43.031" v="1588" actId="1076"/>
          <ac:spMkLst>
            <pc:docMk/>
            <pc:sldMk cId="4180204205" sldId="2134804244"/>
            <ac:spMk id="9" creationId="{67D111AC-8EEF-4E52-9E92-29F403327CDF}"/>
          </ac:spMkLst>
        </pc:spChg>
      </pc:sldChg>
      <pc:sldChg chg="modSp mod ord">
        <pc:chgData name="Andrea Mogollon Nossa (CENIT)" userId="f6a3e592-cc27-4858-b185-ff86be206069" providerId="ADAL" clId="{7512AD08-729F-4631-AFF5-A13DAAFD1BEE}" dt="2020-07-28T19:35:28.854" v="1585" actId="20577"/>
        <pc:sldMkLst>
          <pc:docMk/>
          <pc:sldMk cId="1980531121" sldId="2134804273"/>
        </pc:sldMkLst>
        <pc:spChg chg="mod">
          <ac:chgData name="Andrea Mogollon Nossa (CENIT)" userId="f6a3e592-cc27-4858-b185-ff86be206069" providerId="ADAL" clId="{7512AD08-729F-4631-AFF5-A13DAAFD1BEE}" dt="2020-07-28T19:35:28.854" v="1585" actId="20577"/>
          <ac:spMkLst>
            <pc:docMk/>
            <pc:sldMk cId="1980531121" sldId="2134804273"/>
            <ac:spMk id="2" creationId="{6431BBCF-96E5-45A7-B7E5-D44090D06329}"/>
          </ac:spMkLst>
        </pc:spChg>
      </pc:sldChg>
      <pc:sldChg chg="addSp modSp mod ord">
        <pc:chgData name="Andrea Mogollon Nossa (CENIT)" userId="f6a3e592-cc27-4858-b185-ff86be206069" providerId="ADAL" clId="{7512AD08-729F-4631-AFF5-A13DAAFD1BEE}" dt="2020-07-28T19:31:57.832" v="1577" actId="20577"/>
        <pc:sldMkLst>
          <pc:docMk/>
          <pc:sldMk cId="2406967117" sldId="2134804274"/>
        </pc:sldMkLst>
        <pc:spChg chg="mod">
          <ac:chgData name="Andrea Mogollon Nossa (CENIT)" userId="f6a3e592-cc27-4858-b185-ff86be206069" providerId="ADAL" clId="{7512AD08-729F-4631-AFF5-A13DAAFD1BEE}" dt="2020-07-28T19:31:40.313" v="1571" actId="1076"/>
          <ac:spMkLst>
            <pc:docMk/>
            <pc:sldMk cId="2406967117" sldId="2134804274"/>
            <ac:spMk id="2" creationId="{6431BBCF-96E5-45A7-B7E5-D44090D06329}"/>
          </ac:spMkLst>
        </pc:spChg>
        <pc:spChg chg="add mod">
          <ac:chgData name="Andrea Mogollon Nossa (CENIT)" userId="f6a3e592-cc27-4858-b185-ff86be206069" providerId="ADAL" clId="{7512AD08-729F-4631-AFF5-A13DAAFD1BEE}" dt="2020-07-28T19:31:57.832" v="1577" actId="20577"/>
          <ac:spMkLst>
            <pc:docMk/>
            <pc:sldMk cId="2406967117" sldId="2134804274"/>
            <ac:spMk id="5" creationId="{7F709B4B-3EDD-41FF-AEC5-E3B140C091B3}"/>
          </ac:spMkLst>
        </pc:spChg>
      </pc:sldChg>
      <pc:sldChg chg="ord">
        <pc:chgData name="Andrea Mogollon Nossa (CENIT)" userId="f6a3e592-cc27-4858-b185-ff86be206069" providerId="ADAL" clId="{7512AD08-729F-4631-AFF5-A13DAAFD1BEE}" dt="2020-07-28T19:27:45.610" v="1552"/>
        <pc:sldMkLst>
          <pc:docMk/>
          <pc:sldMk cId="383958496" sldId="2134804281"/>
        </pc:sldMkLst>
      </pc:sldChg>
      <pc:sldChg chg="ord">
        <pc:chgData name="Andrea Mogollon Nossa (CENIT)" userId="f6a3e592-cc27-4858-b185-ff86be206069" providerId="ADAL" clId="{7512AD08-729F-4631-AFF5-A13DAAFD1BEE}" dt="2020-07-28T19:28:23.204" v="1554"/>
        <pc:sldMkLst>
          <pc:docMk/>
          <pc:sldMk cId="2275827461" sldId="2134804285"/>
        </pc:sldMkLst>
      </pc:sldChg>
      <pc:sldChg chg="ord">
        <pc:chgData name="Andrea Mogollon Nossa (CENIT)" userId="f6a3e592-cc27-4858-b185-ff86be206069" providerId="ADAL" clId="{7512AD08-729F-4631-AFF5-A13DAAFD1BEE}" dt="2020-07-28T19:26:28.044" v="1545"/>
        <pc:sldMkLst>
          <pc:docMk/>
          <pc:sldMk cId="838099151" sldId="2134804292"/>
        </pc:sldMkLst>
      </pc:sldChg>
      <pc:sldChg chg="ord">
        <pc:chgData name="Andrea Mogollon Nossa (CENIT)" userId="f6a3e592-cc27-4858-b185-ff86be206069" providerId="ADAL" clId="{7512AD08-729F-4631-AFF5-A13DAAFD1BEE}" dt="2020-07-28T19:28:23.204" v="1554"/>
        <pc:sldMkLst>
          <pc:docMk/>
          <pc:sldMk cId="1822149763" sldId="2134804293"/>
        </pc:sldMkLst>
      </pc:sldChg>
      <pc:sldChg chg="delSp modSp mod ord">
        <pc:chgData name="Andrea Mogollon Nossa (CENIT)" userId="f6a3e592-cc27-4858-b185-ff86be206069" providerId="ADAL" clId="{7512AD08-729F-4631-AFF5-A13DAAFD1BEE}" dt="2020-07-28T20:00:02.889" v="2624" actId="790"/>
        <pc:sldMkLst>
          <pc:docMk/>
          <pc:sldMk cId="2197550008" sldId="2134804299"/>
        </pc:sldMkLst>
        <pc:spChg chg="del">
          <ac:chgData name="Andrea Mogollon Nossa (CENIT)" userId="f6a3e592-cc27-4858-b185-ff86be206069" providerId="ADAL" clId="{7512AD08-729F-4631-AFF5-A13DAAFD1BEE}" dt="2020-07-28T19:41:51.993" v="1860" actId="478"/>
          <ac:spMkLst>
            <pc:docMk/>
            <pc:sldMk cId="2197550008" sldId="2134804299"/>
            <ac:spMk id="13" creationId="{0C105355-B353-4974-AE3C-CAE77E3666F4}"/>
          </ac:spMkLst>
        </pc:spChg>
        <pc:spChg chg="mod">
          <ac:chgData name="Andrea Mogollon Nossa (CENIT)" userId="f6a3e592-cc27-4858-b185-ff86be206069" providerId="ADAL" clId="{7512AD08-729F-4631-AFF5-A13DAAFD1BEE}" dt="2020-07-28T19:49:02.414" v="2314" actId="20577"/>
          <ac:spMkLst>
            <pc:docMk/>
            <pc:sldMk cId="2197550008" sldId="2134804299"/>
            <ac:spMk id="55" creationId="{804531EE-B071-4214-9182-DEDD9B20B6A6}"/>
          </ac:spMkLst>
        </pc:spChg>
        <pc:spChg chg="mod">
          <ac:chgData name="Andrea Mogollon Nossa (CENIT)" userId="f6a3e592-cc27-4858-b185-ff86be206069" providerId="ADAL" clId="{7512AD08-729F-4631-AFF5-A13DAAFD1BEE}" dt="2020-07-28T19:46:49.385" v="2097" actId="20577"/>
          <ac:spMkLst>
            <pc:docMk/>
            <pc:sldMk cId="2197550008" sldId="2134804299"/>
            <ac:spMk id="56" creationId="{D31E7DE7-A7DC-4AA9-BB36-6C1C3B30A6A8}"/>
          </ac:spMkLst>
        </pc:spChg>
        <pc:spChg chg="mod">
          <ac:chgData name="Andrea Mogollon Nossa (CENIT)" userId="f6a3e592-cc27-4858-b185-ff86be206069" providerId="ADAL" clId="{7512AD08-729F-4631-AFF5-A13DAAFD1BEE}" dt="2020-07-28T20:00:02.889" v="2624" actId="790"/>
          <ac:spMkLst>
            <pc:docMk/>
            <pc:sldMk cId="2197550008" sldId="2134804299"/>
            <ac:spMk id="64" creationId="{0B241E27-0669-4644-94CA-0292F2D10DF6}"/>
          </ac:spMkLst>
        </pc:spChg>
        <pc:spChg chg="mod">
          <ac:chgData name="Andrea Mogollon Nossa (CENIT)" userId="f6a3e592-cc27-4858-b185-ff86be206069" providerId="ADAL" clId="{7512AD08-729F-4631-AFF5-A13DAAFD1BEE}" dt="2020-07-28T20:00:02.889" v="2624" actId="790"/>
          <ac:spMkLst>
            <pc:docMk/>
            <pc:sldMk cId="2197550008" sldId="2134804299"/>
            <ac:spMk id="65" creationId="{14BA1960-1B77-46A9-B4B9-CBCBDCFAF42D}"/>
          </ac:spMkLst>
        </pc:spChg>
        <pc:spChg chg="mod">
          <ac:chgData name="Andrea Mogollon Nossa (CENIT)" userId="f6a3e592-cc27-4858-b185-ff86be206069" providerId="ADAL" clId="{7512AD08-729F-4631-AFF5-A13DAAFD1BEE}" dt="2020-07-28T20:00:02.889" v="2624" actId="790"/>
          <ac:spMkLst>
            <pc:docMk/>
            <pc:sldMk cId="2197550008" sldId="2134804299"/>
            <ac:spMk id="66" creationId="{D85A4DF8-3044-4B8E-8B4E-A3482DC7BE48}"/>
          </ac:spMkLst>
        </pc:spChg>
        <pc:spChg chg="mod">
          <ac:chgData name="Andrea Mogollon Nossa (CENIT)" userId="f6a3e592-cc27-4858-b185-ff86be206069" providerId="ADAL" clId="{7512AD08-729F-4631-AFF5-A13DAAFD1BEE}" dt="2020-07-28T19:41:44.919" v="1859" actId="1076"/>
          <ac:spMkLst>
            <pc:docMk/>
            <pc:sldMk cId="2197550008" sldId="2134804299"/>
            <ac:spMk id="72" creationId="{2C1815BB-5DDB-4DA6-8220-F8F82216AB7C}"/>
          </ac:spMkLst>
        </pc:spChg>
        <pc:grpChg chg="mod">
          <ac:chgData name="Andrea Mogollon Nossa (CENIT)" userId="f6a3e592-cc27-4858-b185-ff86be206069" providerId="ADAL" clId="{7512AD08-729F-4631-AFF5-A13DAAFD1BEE}" dt="2020-07-28T19:49:15.271" v="2315" actId="1076"/>
          <ac:grpSpMkLst>
            <pc:docMk/>
            <pc:sldMk cId="2197550008" sldId="2134804299"/>
            <ac:grpSpMk id="4" creationId="{C2212130-341D-4E97-9373-753A16E80D5B}"/>
          </ac:grpSpMkLst>
        </pc:grpChg>
        <pc:grpChg chg="mod">
          <ac:chgData name="Andrea Mogollon Nossa (CENIT)" userId="f6a3e592-cc27-4858-b185-ff86be206069" providerId="ADAL" clId="{7512AD08-729F-4631-AFF5-A13DAAFD1BEE}" dt="2020-07-28T19:49:22.679" v="2316" actId="1076"/>
          <ac:grpSpMkLst>
            <pc:docMk/>
            <pc:sldMk cId="2197550008" sldId="2134804299"/>
            <ac:grpSpMk id="5" creationId="{956A1F1A-E405-4EF7-9417-042051623463}"/>
          </ac:grpSpMkLst>
        </pc:grpChg>
        <pc:grpChg chg="mod">
          <ac:chgData name="Andrea Mogollon Nossa (CENIT)" userId="f6a3e592-cc27-4858-b185-ff86be206069" providerId="ADAL" clId="{7512AD08-729F-4631-AFF5-A13DAAFD1BEE}" dt="2020-07-28T19:49:27.623" v="2317" actId="1076"/>
          <ac:grpSpMkLst>
            <pc:docMk/>
            <pc:sldMk cId="2197550008" sldId="2134804299"/>
            <ac:grpSpMk id="6" creationId="{E0631263-5920-456B-88C6-34F5F5D6A497}"/>
          </ac:grpSpMkLst>
        </pc:grpChg>
      </pc:sldChg>
      <pc:sldChg chg="ord">
        <pc:chgData name="Andrea Mogollon Nossa (CENIT)" userId="f6a3e592-cc27-4858-b185-ff86be206069" providerId="ADAL" clId="{7512AD08-729F-4631-AFF5-A13DAAFD1BEE}" dt="2020-07-28T19:40:26.086" v="1718"/>
        <pc:sldMkLst>
          <pc:docMk/>
          <pc:sldMk cId="1505401777" sldId="2134804310"/>
        </pc:sldMkLst>
      </pc:sldChg>
      <pc:sldChg chg="ord">
        <pc:chgData name="Andrea Mogollon Nossa (CENIT)" userId="f6a3e592-cc27-4858-b185-ff86be206069" providerId="ADAL" clId="{7512AD08-729F-4631-AFF5-A13DAAFD1BEE}" dt="2020-07-28T19:27:45.610" v="1552"/>
        <pc:sldMkLst>
          <pc:docMk/>
          <pc:sldMk cId="2857089145" sldId="2134804311"/>
        </pc:sldMkLst>
      </pc:sldChg>
      <pc:sldChg chg="addSp modSp mod ord">
        <pc:chgData name="Andrea Mogollon Nossa (CENIT)" userId="f6a3e592-cc27-4858-b185-ff86be206069" providerId="ADAL" clId="{7512AD08-729F-4631-AFF5-A13DAAFD1BEE}" dt="2020-07-28T19:35:11.889" v="1583" actId="1076"/>
        <pc:sldMkLst>
          <pc:docMk/>
          <pc:sldMk cId="1359201595" sldId="2134804313"/>
        </pc:sldMkLst>
        <pc:spChg chg="add mod">
          <ac:chgData name="Andrea Mogollon Nossa (CENIT)" userId="f6a3e592-cc27-4858-b185-ff86be206069" providerId="ADAL" clId="{7512AD08-729F-4631-AFF5-A13DAAFD1BEE}" dt="2020-07-28T19:35:11.889" v="1583" actId="1076"/>
          <ac:spMkLst>
            <pc:docMk/>
            <pc:sldMk cId="1359201595" sldId="2134804313"/>
            <ac:spMk id="15" creationId="{1C2ABFDB-C2F7-4E6A-8302-DE9F365D3965}"/>
          </ac:spMkLst>
        </pc:spChg>
      </pc:sldChg>
      <pc:sldChg chg="modSp mod">
        <pc:chgData name="Andrea Mogollon Nossa (CENIT)" userId="f6a3e592-cc27-4858-b185-ff86be206069" providerId="ADAL" clId="{7512AD08-729F-4631-AFF5-A13DAAFD1BEE}" dt="2020-07-28T19:20:29.360" v="1504" actId="20577"/>
        <pc:sldMkLst>
          <pc:docMk/>
          <pc:sldMk cId="1535562114" sldId="2134804316"/>
        </pc:sldMkLst>
        <pc:spChg chg="mod">
          <ac:chgData name="Andrea Mogollon Nossa (CENIT)" userId="f6a3e592-cc27-4858-b185-ff86be206069" providerId="ADAL" clId="{7512AD08-729F-4631-AFF5-A13DAAFD1BEE}" dt="2020-07-28T19:20:20.995" v="1502" actId="20577"/>
          <ac:spMkLst>
            <pc:docMk/>
            <pc:sldMk cId="1535562114" sldId="2134804316"/>
            <ac:spMk id="4" creationId="{9B0CE30D-625A-4CD9-98D4-3AF33243D194}"/>
          </ac:spMkLst>
        </pc:spChg>
        <pc:graphicFrameChg chg="modGraphic">
          <ac:chgData name="Andrea Mogollon Nossa (CENIT)" userId="f6a3e592-cc27-4858-b185-ff86be206069" providerId="ADAL" clId="{7512AD08-729F-4631-AFF5-A13DAAFD1BEE}" dt="2020-07-28T19:20:29.360" v="1504" actId="20577"/>
          <ac:graphicFrameMkLst>
            <pc:docMk/>
            <pc:sldMk cId="1535562114" sldId="2134804316"/>
            <ac:graphicFrameMk id="46" creationId="{0D626CD9-F4FF-45E4-88CE-52500C2C1600}"/>
          </ac:graphicFrameMkLst>
        </pc:graphicFrameChg>
      </pc:sldChg>
      <pc:sldChg chg="modSp mod modShow">
        <pc:chgData name="Andrea Mogollon Nossa (CENIT)" userId="f6a3e592-cc27-4858-b185-ff86be206069" providerId="ADAL" clId="{7512AD08-729F-4631-AFF5-A13DAAFD1BEE}" dt="2020-07-28T19:30:48.624" v="1560" actId="729"/>
        <pc:sldMkLst>
          <pc:docMk/>
          <pc:sldMk cId="0" sldId="2134804320"/>
        </pc:sldMkLst>
        <pc:spChg chg="mod">
          <ac:chgData name="Andrea Mogollon Nossa (CENIT)" userId="f6a3e592-cc27-4858-b185-ff86be206069" providerId="ADAL" clId="{7512AD08-729F-4631-AFF5-A13DAAFD1BEE}" dt="2020-07-28T15:08:42.821" v="1234" actId="20577"/>
          <ac:spMkLst>
            <pc:docMk/>
            <pc:sldMk cId="0" sldId="2134804320"/>
            <ac:spMk id="20" creationId="{8EDCB9EC-5CC6-4C88-ABEF-5A221B8F5238}"/>
          </ac:spMkLst>
        </pc:spChg>
        <pc:spChg chg="mod">
          <ac:chgData name="Andrea Mogollon Nossa (CENIT)" userId="f6a3e592-cc27-4858-b185-ff86be206069" providerId="ADAL" clId="{7512AD08-729F-4631-AFF5-A13DAAFD1BEE}" dt="2020-07-28T15:10:11.695" v="1237" actId="20577"/>
          <ac:spMkLst>
            <pc:docMk/>
            <pc:sldMk cId="0" sldId="2134804320"/>
            <ac:spMk id="30" creationId="{8D3DD9F5-AB4C-41FB-A836-8C039CCB0F58}"/>
          </ac:spMkLst>
        </pc:spChg>
      </pc:sldChg>
      <pc:sldChg chg="modSp mod ord">
        <pc:chgData name="Andrea Mogollon Nossa (CENIT)" userId="f6a3e592-cc27-4858-b185-ff86be206069" providerId="ADAL" clId="{7512AD08-729F-4631-AFF5-A13DAAFD1BEE}" dt="2020-07-28T19:33:51.823" v="1581" actId="20577"/>
        <pc:sldMkLst>
          <pc:docMk/>
          <pc:sldMk cId="1900142549" sldId="2134804321"/>
        </pc:sldMkLst>
        <pc:spChg chg="mod">
          <ac:chgData name="Andrea Mogollon Nossa (CENIT)" userId="f6a3e592-cc27-4858-b185-ff86be206069" providerId="ADAL" clId="{7512AD08-729F-4631-AFF5-A13DAAFD1BEE}" dt="2020-07-28T19:33:51.823" v="1581" actId="20577"/>
          <ac:spMkLst>
            <pc:docMk/>
            <pc:sldMk cId="1900142549" sldId="2134804321"/>
            <ac:spMk id="23" creationId="{2090C287-4A91-45B9-8277-A5A2EF2B34A0}"/>
          </ac:spMkLst>
        </pc:spChg>
      </pc:sldChg>
      <pc:sldChg chg="modSp mod">
        <pc:chgData name="Andrea Mogollon Nossa (CENIT)" userId="f6a3e592-cc27-4858-b185-ff86be206069" providerId="ADAL" clId="{7512AD08-729F-4631-AFF5-A13DAAFD1BEE}" dt="2020-07-28T19:31:33.310" v="1570" actId="20577"/>
        <pc:sldMkLst>
          <pc:docMk/>
          <pc:sldMk cId="2351433242" sldId="2134804322"/>
        </pc:sldMkLst>
        <pc:spChg chg="mod">
          <ac:chgData name="Andrea Mogollon Nossa (CENIT)" userId="f6a3e592-cc27-4858-b185-ff86be206069" providerId="ADAL" clId="{7512AD08-729F-4631-AFF5-A13DAAFD1BEE}" dt="2020-07-28T19:31:33.310" v="1570" actId="20577"/>
          <ac:spMkLst>
            <pc:docMk/>
            <pc:sldMk cId="2351433242" sldId="2134804322"/>
            <ac:spMk id="2" creationId="{6431BBCF-96E5-45A7-B7E5-D44090D06329}"/>
          </ac:spMkLst>
        </pc:spChg>
      </pc:sldChg>
      <pc:sldChg chg="ord">
        <pc:chgData name="Andrea Mogollon Nossa (CENIT)" userId="f6a3e592-cc27-4858-b185-ff86be206069" providerId="ADAL" clId="{7512AD08-729F-4631-AFF5-A13DAAFD1BEE}" dt="2020-07-28T19:40:26.086" v="1718"/>
        <pc:sldMkLst>
          <pc:docMk/>
          <pc:sldMk cId="237599856" sldId="2134804323"/>
        </pc:sldMkLst>
      </pc:sldChg>
      <pc:sldChg chg="addSp delSp modSp mod ord">
        <pc:chgData name="Andrea Mogollon Nossa (CENIT)" userId="f6a3e592-cc27-4858-b185-ff86be206069" providerId="ADAL" clId="{7512AD08-729F-4631-AFF5-A13DAAFD1BEE}" dt="2020-07-28T19:59:40.512" v="2623" actId="478"/>
        <pc:sldMkLst>
          <pc:docMk/>
          <pc:sldMk cId="2408337444" sldId="2134804326"/>
        </pc:sldMkLst>
        <pc:spChg chg="del">
          <ac:chgData name="Andrea Mogollon Nossa (CENIT)" userId="f6a3e592-cc27-4858-b185-ff86be206069" providerId="ADAL" clId="{7512AD08-729F-4631-AFF5-A13DAAFD1BEE}" dt="2020-07-28T15:33:54.657" v="1426" actId="478"/>
          <ac:spMkLst>
            <pc:docMk/>
            <pc:sldMk cId="2408337444" sldId="2134804326"/>
            <ac:spMk id="4" creationId="{9B0CE30D-625A-4CD9-98D4-3AF33243D194}"/>
          </ac:spMkLst>
        </pc:spChg>
        <pc:spChg chg="del">
          <ac:chgData name="Andrea Mogollon Nossa (CENIT)" userId="f6a3e592-cc27-4858-b185-ff86be206069" providerId="ADAL" clId="{7512AD08-729F-4631-AFF5-A13DAAFD1BEE}" dt="2020-07-28T19:59:37.571" v="2621" actId="478"/>
          <ac:spMkLst>
            <pc:docMk/>
            <pc:sldMk cId="2408337444" sldId="2134804326"/>
            <ac:spMk id="8" creationId="{B46B11CB-ECE9-4DC1-8D5A-3D4191E846CB}"/>
          </ac:spMkLst>
        </pc:spChg>
        <pc:spChg chg="del">
          <ac:chgData name="Andrea Mogollon Nossa (CENIT)" userId="f6a3e592-cc27-4858-b185-ff86be206069" providerId="ADAL" clId="{7512AD08-729F-4631-AFF5-A13DAAFD1BEE}" dt="2020-07-28T19:59:35.729" v="2620" actId="478"/>
          <ac:spMkLst>
            <pc:docMk/>
            <pc:sldMk cId="2408337444" sldId="2134804326"/>
            <ac:spMk id="9" creationId="{8108DFDE-B635-4D5C-BEB3-6C6B91F33414}"/>
          </ac:spMkLst>
        </pc:spChg>
        <pc:spChg chg="mod">
          <ac:chgData name="Andrea Mogollon Nossa (CENIT)" userId="f6a3e592-cc27-4858-b185-ff86be206069" providerId="ADAL" clId="{7512AD08-729F-4631-AFF5-A13DAAFD1BEE}" dt="2020-07-28T19:52:55.346" v="2363" actId="20577"/>
          <ac:spMkLst>
            <pc:docMk/>
            <pc:sldMk cId="2408337444" sldId="2134804326"/>
            <ac:spMk id="10" creationId="{810E18BD-2955-4DB2-AEDB-386E84418C6C}"/>
          </ac:spMkLst>
        </pc:spChg>
        <pc:spChg chg="del">
          <ac:chgData name="Andrea Mogollon Nossa (CENIT)" userId="f6a3e592-cc27-4858-b185-ff86be206069" providerId="ADAL" clId="{7512AD08-729F-4631-AFF5-A13DAAFD1BEE}" dt="2020-07-28T19:59:39.435" v="2622" actId="478"/>
          <ac:spMkLst>
            <pc:docMk/>
            <pc:sldMk cId="2408337444" sldId="2134804326"/>
            <ac:spMk id="11" creationId="{C00D8317-CDBE-463E-BBC1-98FBC7DF74D6}"/>
          </ac:spMkLst>
        </pc:spChg>
        <pc:spChg chg="del">
          <ac:chgData name="Andrea Mogollon Nossa (CENIT)" userId="f6a3e592-cc27-4858-b185-ff86be206069" providerId="ADAL" clId="{7512AD08-729F-4631-AFF5-A13DAAFD1BEE}" dt="2020-07-28T19:59:40.512" v="2623" actId="478"/>
          <ac:spMkLst>
            <pc:docMk/>
            <pc:sldMk cId="2408337444" sldId="2134804326"/>
            <ac:spMk id="13" creationId="{C9BF5F0A-B4B2-496C-A56A-E128A1D82393}"/>
          </ac:spMkLst>
        </pc:spChg>
        <pc:spChg chg="mod">
          <ac:chgData name="Andrea Mogollon Nossa (CENIT)" userId="f6a3e592-cc27-4858-b185-ff86be206069" providerId="ADAL" clId="{7512AD08-729F-4631-AFF5-A13DAAFD1BEE}" dt="2020-07-28T19:57:20.854" v="2410" actId="14100"/>
          <ac:spMkLst>
            <pc:docMk/>
            <pc:sldMk cId="2408337444" sldId="2134804326"/>
            <ac:spMk id="14" creationId="{EF03CAF6-DF53-4F57-8A93-EC5A4AD2CF09}"/>
          </ac:spMkLst>
        </pc:spChg>
        <pc:spChg chg="del mod">
          <ac:chgData name="Andrea Mogollon Nossa (CENIT)" userId="f6a3e592-cc27-4858-b185-ff86be206069" providerId="ADAL" clId="{7512AD08-729F-4631-AFF5-A13DAAFD1BEE}" dt="2020-07-28T19:50:25.233" v="2335" actId="478"/>
          <ac:spMkLst>
            <pc:docMk/>
            <pc:sldMk cId="2408337444" sldId="2134804326"/>
            <ac:spMk id="15" creationId="{2A6E3A58-0C9F-484B-9BBC-E5AE156B83E3}"/>
          </ac:spMkLst>
        </pc:spChg>
        <pc:spChg chg="del mod">
          <ac:chgData name="Andrea Mogollon Nossa (CENIT)" userId="f6a3e592-cc27-4858-b185-ff86be206069" providerId="ADAL" clId="{7512AD08-729F-4631-AFF5-A13DAAFD1BEE}" dt="2020-07-28T19:51:53.810" v="2343" actId="478"/>
          <ac:spMkLst>
            <pc:docMk/>
            <pc:sldMk cId="2408337444" sldId="2134804326"/>
            <ac:spMk id="33" creationId="{257A51C8-EB6E-4CAA-8ED7-3E4E7C0B3A8A}"/>
          </ac:spMkLst>
        </pc:spChg>
        <pc:spChg chg="del">
          <ac:chgData name="Andrea Mogollon Nossa (CENIT)" userId="f6a3e592-cc27-4858-b185-ff86be206069" providerId="ADAL" clId="{7512AD08-729F-4631-AFF5-A13DAAFD1BEE}" dt="2020-07-28T19:51:43.475" v="2339" actId="478"/>
          <ac:spMkLst>
            <pc:docMk/>
            <pc:sldMk cId="2408337444" sldId="2134804326"/>
            <ac:spMk id="36" creationId="{25CCB3F9-8A57-42B5-B0AC-56F5E0EDACF5}"/>
          </ac:spMkLst>
        </pc:spChg>
        <pc:spChg chg="del">
          <ac:chgData name="Andrea Mogollon Nossa (CENIT)" userId="f6a3e592-cc27-4858-b185-ff86be206069" providerId="ADAL" clId="{7512AD08-729F-4631-AFF5-A13DAAFD1BEE}" dt="2020-07-28T19:51:43.475" v="2339" actId="478"/>
          <ac:spMkLst>
            <pc:docMk/>
            <pc:sldMk cId="2408337444" sldId="2134804326"/>
            <ac:spMk id="37" creationId="{50BFBD21-058C-4134-A883-5F522F8B0B76}"/>
          </ac:spMkLst>
        </pc:spChg>
        <pc:spChg chg="mod">
          <ac:chgData name="Andrea Mogollon Nossa (CENIT)" userId="f6a3e592-cc27-4858-b185-ff86be206069" providerId="ADAL" clId="{7512AD08-729F-4631-AFF5-A13DAAFD1BEE}" dt="2020-07-28T19:52:31.086" v="2348" actId="1076"/>
          <ac:spMkLst>
            <pc:docMk/>
            <pc:sldMk cId="2408337444" sldId="2134804326"/>
            <ac:spMk id="38" creationId="{3552541D-17C8-4822-9A1D-90A0C0B5AD8E}"/>
          </ac:spMkLst>
        </pc:spChg>
        <pc:spChg chg="del">
          <ac:chgData name="Andrea Mogollon Nossa (CENIT)" userId="f6a3e592-cc27-4858-b185-ff86be206069" providerId="ADAL" clId="{7512AD08-729F-4631-AFF5-A13DAAFD1BEE}" dt="2020-07-28T19:51:43.475" v="2339" actId="478"/>
          <ac:spMkLst>
            <pc:docMk/>
            <pc:sldMk cId="2408337444" sldId="2134804326"/>
            <ac:spMk id="41" creationId="{F04142FF-DA42-4442-8692-4F397E7AEFE4}"/>
          </ac:spMkLst>
        </pc:spChg>
        <pc:spChg chg="mod">
          <ac:chgData name="Andrea Mogollon Nossa (CENIT)" userId="f6a3e592-cc27-4858-b185-ff86be206069" providerId="ADAL" clId="{7512AD08-729F-4631-AFF5-A13DAAFD1BEE}" dt="2020-07-28T19:53:33.351" v="2372" actId="1076"/>
          <ac:spMkLst>
            <pc:docMk/>
            <pc:sldMk cId="2408337444" sldId="2134804326"/>
            <ac:spMk id="44" creationId="{4B1A9C8A-FFC0-483B-B825-ED5EF0C388A9}"/>
          </ac:spMkLst>
        </pc:spChg>
        <pc:spChg chg="mod">
          <ac:chgData name="Andrea Mogollon Nossa (CENIT)" userId="f6a3e592-cc27-4858-b185-ff86be206069" providerId="ADAL" clId="{7512AD08-729F-4631-AFF5-A13DAAFD1BEE}" dt="2020-07-28T19:53:01.499" v="2368" actId="20577"/>
          <ac:spMkLst>
            <pc:docMk/>
            <pc:sldMk cId="2408337444" sldId="2134804326"/>
            <ac:spMk id="45" creationId="{8E8CD834-7B34-47C9-9BE7-09ECA14BFCEB}"/>
          </ac:spMkLst>
        </pc:spChg>
        <pc:spChg chg="add mod">
          <ac:chgData name="Andrea Mogollon Nossa (CENIT)" userId="f6a3e592-cc27-4858-b185-ff86be206069" providerId="ADAL" clId="{7512AD08-729F-4631-AFF5-A13DAAFD1BEE}" dt="2020-07-28T19:52:35.142" v="2349" actId="1076"/>
          <ac:spMkLst>
            <pc:docMk/>
            <pc:sldMk cId="2408337444" sldId="2134804326"/>
            <ac:spMk id="46" creationId="{E743D3A5-E06C-4DB9-B76D-A067CACA830E}"/>
          </ac:spMkLst>
        </pc:spChg>
        <pc:spChg chg="mod">
          <ac:chgData name="Andrea Mogollon Nossa (CENIT)" userId="f6a3e592-cc27-4858-b185-ff86be206069" providerId="ADAL" clId="{7512AD08-729F-4631-AFF5-A13DAAFD1BEE}" dt="2020-07-28T19:54:51.140" v="2389" actId="20577"/>
          <ac:spMkLst>
            <pc:docMk/>
            <pc:sldMk cId="2408337444" sldId="2134804326"/>
            <ac:spMk id="47" creationId="{137B0C4F-8471-4337-954D-6AECA53DF9C2}"/>
          </ac:spMkLst>
        </pc:spChg>
        <pc:spChg chg="add mod">
          <ac:chgData name="Andrea Mogollon Nossa (CENIT)" userId="f6a3e592-cc27-4858-b185-ff86be206069" providerId="ADAL" clId="{7512AD08-729F-4631-AFF5-A13DAAFD1BEE}" dt="2020-07-28T19:52:35.142" v="2349" actId="1076"/>
          <ac:spMkLst>
            <pc:docMk/>
            <pc:sldMk cId="2408337444" sldId="2134804326"/>
            <ac:spMk id="48" creationId="{960C4BFA-3B0A-4EEB-96F6-3783C5EECDB6}"/>
          </ac:spMkLst>
        </pc:spChg>
        <pc:spChg chg="add mod">
          <ac:chgData name="Andrea Mogollon Nossa (CENIT)" userId="f6a3e592-cc27-4858-b185-ff86be206069" providerId="ADAL" clId="{7512AD08-729F-4631-AFF5-A13DAAFD1BEE}" dt="2020-07-28T19:53:30.438" v="2371" actId="1076"/>
          <ac:spMkLst>
            <pc:docMk/>
            <pc:sldMk cId="2408337444" sldId="2134804326"/>
            <ac:spMk id="49" creationId="{83CBE9D2-66F2-41DF-974D-21CB4E41129D}"/>
          </ac:spMkLst>
        </pc:spChg>
        <pc:spChg chg="add mod">
          <ac:chgData name="Andrea Mogollon Nossa (CENIT)" userId="f6a3e592-cc27-4858-b185-ff86be206069" providerId="ADAL" clId="{7512AD08-729F-4631-AFF5-A13DAAFD1BEE}" dt="2020-07-28T19:52:37.300" v="2351" actId="20577"/>
          <ac:spMkLst>
            <pc:docMk/>
            <pc:sldMk cId="2408337444" sldId="2134804326"/>
            <ac:spMk id="50" creationId="{43B7DA1A-E620-4FEE-BD9A-7EAF88C0AAB8}"/>
          </ac:spMkLst>
        </pc:spChg>
        <pc:spChg chg="mod">
          <ac:chgData name="Andrea Mogollon Nossa (CENIT)" userId="f6a3e592-cc27-4858-b185-ff86be206069" providerId="ADAL" clId="{7512AD08-729F-4631-AFF5-A13DAAFD1BEE}" dt="2020-07-28T19:55:42.949" v="2392" actId="1076"/>
          <ac:spMkLst>
            <pc:docMk/>
            <pc:sldMk cId="2408337444" sldId="2134804326"/>
            <ac:spMk id="52" creationId="{FC3592D3-9AB1-446B-A099-2A5C49525B49}"/>
          </ac:spMkLst>
        </pc:spChg>
        <pc:spChg chg="add mod">
          <ac:chgData name="Andrea Mogollon Nossa (CENIT)" userId="f6a3e592-cc27-4858-b185-ff86be206069" providerId="ADAL" clId="{7512AD08-729F-4631-AFF5-A13DAAFD1BEE}" dt="2020-07-28T19:56:57.282" v="2404" actId="20577"/>
          <ac:spMkLst>
            <pc:docMk/>
            <pc:sldMk cId="2408337444" sldId="2134804326"/>
            <ac:spMk id="53" creationId="{DD1A17DA-C747-405E-8B0E-2619695AC430}"/>
          </ac:spMkLst>
        </pc:spChg>
        <pc:spChg chg="del mod">
          <ac:chgData name="Andrea Mogollon Nossa (CENIT)" userId="f6a3e592-cc27-4858-b185-ff86be206069" providerId="ADAL" clId="{7512AD08-729F-4631-AFF5-A13DAAFD1BEE}" dt="2020-07-28T19:55:35.996" v="2391" actId="478"/>
          <ac:spMkLst>
            <pc:docMk/>
            <pc:sldMk cId="2408337444" sldId="2134804326"/>
            <ac:spMk id="55" creationId="{24B43721-8F2C-4416-AF8D-9AB7CA3936C4}"/>
          </ac:spMkLst>
        </pc:spChg>
        <pc:spChg chg="add del mod">
          <ac:chgData name="Andrea Mogollon Nossa (CENIT)" userId="f6a3e592-cc27-4858-b185-ff86be206069" providerId="ADAL" clId="{7512AD08-729F-4631-AFF5-A13DAAFD1BEE}" dt="2020-07-28T19:57:53.990" v="2418" actId="478"/>
          <ac:spMkLst>
            <pc:docMk/>
            <pc:sldMk cId="2408337444" sldId="2134804326"/>
            <ac:spMk id="56" creationId="{4BC0C89A-9E13-4035-AFBE-7EDE7C85E393}"/>
          </ac:spMkLst>
        </pc:spChg>
        <pc:spChg chg="add mod">
          <ac:chgData name="Andrea Mogollon Nossa (CENIT)" userId="f6a3e592-cc27-4858-b185-ff86be206069" providerId="ADAL" clId="{7512AD08-729F-4631-AFF5-A13DAAFD1BEE}" dt="2020-07-28T19:56:50.463" v="2394" actId="1076"/>
          <ac:spMkLst>
            <pc:docMk/>
            <pc:sldMk cId="2408337444" sldId="2134804326"/>
            <ac:spMk id="57" creationId="{90CE75B7-C905-44BC-86F7-95C74176DDFC}"/>
          </ac:spMkLst>
        </pc:spChg>
        <pc:spChg chg="add mod">
          <ac:chgData name="Andrea Mogollon Nossa (CENIT)" userId="f6a3e592-cc27-4858-b185-ff86be206069" providerId="ADAL" clId="{7512AD08-729F-4631-AFF5-A13DAAFD1BEE}" dt="2020-07-28T19:57:28.162" v="2412" actId="207"/>
          <ac:spMkLst>
            <pc:docMk/>
            <pc:sldMk cId="2408337444" sldId="2134804326"/>
            <ac:spMk id="59" creationId="{190FDEE7-BF46-4887-BCFB-836592D690D8}"/>
          </ac:spMkLst>
        </pc:spChg>
        <pc:spChg chg="mod">
          <ac:chgData name="Andrea Mogollon Nossa (CENIT)" userId="f6a3e592-cc27-4858-b185-ff86be206069" providerId="ADAL" clId="{7512AD08-729F-4631-AFF5-A13DAAFD1BEE}" dt="2020-07-28T19:54:36.767" v="2383" actId="13926"/>
          <ac:spMkLst>
            <pc:docMk/>
            <pc:sldMk cId="2408337444" sldId="2134804326"/>
            <ac:spMk id="61" creationId="{7C69D657-65A5-4E1B-8464-4A04E7AFC334}"/>
          </ac:spMkLst>
        </pc:spChg>
        <pc:spChg chg="mod">
          <ac:chgData name="Andrea Mogollon Nossa (CENIT)" userId="f6a3e592-cc27-4858-b185-ff86be206069" providerId="ADAL" clId="{7512AD08-729F-4631-AFF5-A13DAAFD1BEE}" dt="2020-07-28T19:54:47.008" v="2387" actId="113"/>
          <ac:spMkLst>
            <pc:docMk/>
            <pc:sldMk cId="2408337444" sldId="2134804326"/>
            <ac:spMk id="62" creationId="{CAD53C17-134A-4DBD-B578-EF435A01FB3F}"/>
          </ac:spMkLst>
        </pc:spChg>
        <pc:spChg chg="del">
          <ac:chgData name="Andrea Mogollon Nossa (CENIT)" userId="f6a3e592-cc27-4858-b185-ff86be206069" providerId="ADAL" clId="{7512AD08-729F-4631-AFF5-A13DAAFD1BEE}" dt="2020-07-28T19:55:35.996" v="2391" actId="478"/>
          <ac:spMkLst>
            <pc:docMk/>
            <pc:sldMk cId="2408337444" sldId="2134804326"/>
            <ac:spMk id="64" creationId="{61CFA38E-1F3E-49A0-A330-E5F97D5B2A01}"/>
          </ac:spMkLst>
        </pc:spChg>
        <pc:spChg chg="del mod">
          <ac:chgData name="Andrea Mogollon Nossa (CENIT)" userId="f6a3e592-cc27-4858-b185-ff86be206069" providerId="ADAL" clId="{7512AD08-729F-4631-AFF5-A13DAAFD1BEE}" dt="2020-07-28T19:57:35.890" v="2413" actId="478"/>
          <ac:spMkLst>
            <pc:docMk/>
            <pc:sldMk cId="2408337444" sldId="2134804326"/>
            <ac:spMk id="65" creationId="{E1D02522-5753-4EFB-951A-5755483EDD96}"/>
          </ac:spMkLst>
        </pc:spChg>
        <pc:spChg chg="del">
          <ac:chgData name="Andrea Mogollon Nossa (CENIT)" userId="f6a3e592-cc27-4858-b185-ff86be206069" providerId="ADAL" clId="{7512AD08-729F-4631-AFF5-A13DAAFD1BEE}" dt="2020-07-28T19:55:35.996" v="2391" actId="478"/>
          <ac:spMkLst>
            <pc:docMk/>
            <pc:sldMk cId="2408337444" sldId="2134804326"/>
            <ac:spMk id="66" creationId="{6F85F403-E123-4C2D-A378-CDAFE968B9D9}"/>
          </ac:spMkLst>
        </pc:spChg>
        <pc:spChg chg="mod">
          <ac:chgData name="Andrea Mogollon Nossa (CENIT)" userId="f6a3e592-cc27-4858-b185-ff86be206069" providerId="ADAL" clId="{7512AD08-729F-4631-AFF5-A13DAAFD1BEE}" dt="2020-07-28T19:55:42.949" v="2392" actId="1076"/>
          <ac:spMkLst>
            <pc:docMk/>
            <pc:sldMk cId="2408337444" sldId="2134804326"/>
            <ac:spMk id="67" creationId="{4CC8DF42-E8CE-4AEA-AF20-116C630E45ED}"/>
          </ac:spMkLst>
        </pc:spChg>
        <pc:spChg chg="del">
          <ac:chgData name="Andrea Mogollon Nossa (CENIT)" userId="f6a3e592-cc27-4858-b185-ff86be206069" providerId="ADAL" clId="{7512AD08-729F-4631-AFF5-A13DAAFD1BEE}" dt="2020-07-28T19:55:35.996" v="2391" actId="478"/>
          <ac:spMkLst>
            <pc:docMk/>
            <pc:sldMk cId="2408337444" sldId="2134804326"/>
            <ac:spMk id="68" creationId="{8B5ED806-B54B-4057-B826-24314EC1F9B8}"/>
          </ac:spMkLst>
        </pc:spChg>
        <pc:spChg chg="del">
          <ac:chgData name="Andrea Mogollon Nossa (CENIT)" userId="f6a3e592-cc27-4858-b185-ff86be206069" providerId="ADAL" clId="{7512AD08-729F-4631-AFF5-A13DAAFD1BEE}" dt="2020-07-28T19:56:52.966" v="2395" actId="478"/>
          <ac:spMkLst>
            <pc:docMk/>
            <pc:sldMk cId="2408337444" sldId="2134804326"/>
            <ac:spMk id="69" creationId="{5A5074EC-7041-463A-BA61-7944DB963505}"/>
          </ac:spMkLst>
        </pc:spChg>
        <pc:spChg chg="mod">
          <ac:chgData name="Andrea Mogollon Nossa (CENIT)" userId="f6a3e592-cc27-4858-b185-ff86be206069" providerId="ADAL" clId="{7512AD08-729F-4631-AFF5-A13DAAFD1BEE}" dt="2020-07-28T19:59:07.290" v="2615" actId="20577"/>
          <ac:spMkLst>
            <pc:docMk/>
            <pc:sldMk cId="2408337444" sldId="2134804326"/>
            <ac:spMk id="70" creationId="{A549087F-0234-4CF2-AA9A-E2B491A99CF5}"/>
          </ac:spMkLst>
        </pc:spChg>
        <pc:spChg chg="add mod">
          <ac:chgData name="Andrea Mogollon Nossa (CENIT)" userId="f6a3e592-cc27-4858-b185-ff86be206069" providerId="ADAL" clId="{7512AD08-729F-4631-AFF5-A13DAAFD1BEE}" dt="2020-07-28T19:57:40.767" v="2415" actId="1076"/>
          <ac:spMkLst>
            <pc:docMk/>
            <pc:sldMk cId="2408337444" sldId="2134804326"/>
            <ac:spMk id="71" creationId="{64C13836-E14D-4BA4-B54B-A071A9CA6001}"/>
          </ac:spMkLst>
        </pc:spChg>
        <pc:spChg chg="add mod">
          <ac:chgData name="Andrea Mogollon Nossa (CENIT)" userId="f6a3e592-cc27-4858-b185-ff86be206069" providerId="ADAL" clId="{7512AD08-729F-4631-AFF5-A13DAAFD1BEE}" dt="2020-07-28T19:57:40.767" v="2415" actId="1076"/>
          <ac:spMkLst>
            <pc:docMk/>
            <pc:sldMk cId="2408337444" sldId="2134804326"/>
            <ac:spMk id="72" creationId="{F3FA6477-4D78-4979-B84F-B87C3D225BA4}"/>
          </ac:spMkLst>
        </pc:spChg>
        <pc:spChg chg="add mod">
          <ac:chgData name="Andrea Mogollon Nossa (CENIT)" userId="f6a3e592-cc27-4858-b185-ff86be206069" providerId="ADAL" clId="{7512AD08-729F-4631-AFF5-A13DAAFD1BEE}" dt="2020-07-28T19:57:59.759" v="2420" actId="1076"/>
          <ac:spMkLst>
            <pc:docMk/>
            <pc:sldMk cId="2408337444" sldId="2134804326"/>
            <ac:spMk id="73" creationId="{FA34F8DA-B07B-49BE-9F9A-F56FC34185A7}"/>
          </ac:spMkLst>
        </pc:spChg>
        <pc:spChg chg="add mod">
          <ac:chgData name="Andrea Mogollon Nossa (CENIT)" userId="f6a3e592-cc27-4858-b185-ff86be206069" providerId="ADAL" clId="{7512AD08-729F-4631-AFF5-A13DAAFD1BEE}" dt="2020-07-28T19:57:59.759" v="2420" actId="1076"/>
          <ac:spMkLst>
            <pc:docMk/>
            <pc:sldMk cId="2408337444" sldId="2134804326"/>
            <ac:spMk id="74" creationId="{06C1CA62-F6CB-4C98-A7DB-85BCACE31AC4}"/>
          </ac:spMkLst>
        </pc:spChg>
        <pc:spChg chg="add mod">
          <ac:chgData name="Andrea Mogollon Nossa (CENIT)" userId="f6a3e592-cc27-4858-b185-ff86be206069" providerId="ADAL" clId="{7512AD08-729F-4631-AFF5-A13DAAFD1BEE}" dt="2020-07-28T19:58:07.086" v="2422" actId="1076"/>
          <ac:spMkLst>
            <pc:docMk/>
            <pc:sldMk cId="2408337444" sldId="2134804326"/>
            <ac:spMk id="75" creationId="{36553A3D-071E-453A-8D1D-42F8A3354A78}"/>
          </ac:spMkLst>
        </pc:spChg>
        <pc:spChg chg="add mod">
          <ac:chgData name="Andrea Mogollon Nossa (CENIT)" userId="f6a3e592-cc27-4858-b185-ff86be206069" providerId="ADAL" clId="{7512AD08-729F-4631-AFF5-A13DAAFD1BEE}" dt="2020-07-28T19:58:10.743" v="2424" actId="1076"/>
          <ac:spMkLst>
            <pc:docMk/>
            <pc:sldMk cId="2408337444" sldId="2134804326"/>
            <ac:spMk id="76" creationId="{4E44296C-92AB-40F9-97A6-55EEDAF76892}"/>
          </ac:spMkLst>
        </pc:spChg>
        <pc:spChg chg="add del mod">
          <ac:chgData name="Andrea Mogollon Nossa (CENIT)" userId="f6a3e592-cc27-4858-b185-ff86be206069" providerId="ADAL" clId="{7512AD08-729F-4631-AFF5-A13DAAFD1BEE}" dt="2020-07-28T19:59:24.841" v="2618" actId="478"/>
          <ac:spMkLst>
            <pc:docMk/>
            <pc:sldMk cId="2408337444" sldId="2134804326"/>
            <ac:spMk id="77" creationId="{D22BD51A-5CF3-4A84-8A17-9F9054DB83DD}"/>
          </ac:spMkLst>
        </pc:spChg>
        <pc:graphicFrameChg chg="modGraphic">
          <ac:chgData name="Andrea Mogollon Nossa (CENIT)" userId="f6a3e592-cc27-4858-b185-ff86be206069" providerId="ADAL" clId="{7512AD08-729F-4631-AFF5-A13DAAFD1BEE}" dt="2020-07-28T19:59:34.016" v="2619" actId="207"/>
          <ac:graphicFrameMkLst>
            <pc:docMk/>
            <pc:sldMk cId="2408337444" sldId="2134804326"/>
            <ac:graphicFrameMk id="35" creationId="{D6562056-B40E-47F9-9726-6C4C21F304AB}"/>
          </ac:graphicFrameMkLst>
        </pc:graphicFrameChg>
      </pc:sldChg>
      <pc:sldChg chg="modSp mod">
        <pc:chgData name="Andrea Mogollon Nossa (CENIT)" userId="f6a3e592-cc27-4858-b185-ff86be206069" providerId="ADAL" clId="{7512AD08-729F-4631-AFF5-A13DAAFD1BEE}" dt="2020-07-28T20:09:04.730" v="2697" actId="20578"/>
        <pc:sldMkLst>
          <pc:docMk/>
          <pc:sldMk cId="1202002608" sldId="2134804331"/>
        </pc:sldMkLst>
        <pc:spChg chg="mod">
          <ac:chgData name="Andrea Mogollon Nossa (CENIT)" userId="f6a3e592-cc27-4858-b185-ff86be206069" providerId="ADAL" clId="{7512AD08-729F-4631-AFF5-A13DAAFD1BEE}" dt="2020-07-28T19:24:48.274" v="1511" actId="1076"/>
          <ac:spMkLst>
            <pc:docMk/>
            <pc:sldMk cId="1202002608" sldId="2134804331"/>
            <ac:spMk id="14" creationId="{88D540A9-A2F6-4BF9-A7FE-8600061D0F6A}"/>
          </ac:spMkLst>
        </pc:spChg>
        <pc:spChg chg="mod">
          <ac:chgData name="Andrea Mogollon Nossa (CENIT)" userId="f6a3e592-cc27-4858-b185-ff86be206069" providerId="ADAL" clId="{7512AD08-729F-4631-AFF5-A13DAAFD1BEE}" dt="2020-07-28T19:24:23.834" v="1509" actId="1076"/>
          <ac:spMkLst>
            <pc:docMk/>
            <pc:sldMk cId="1202002608" sldId="2134804331"/>
            <ac:spMk id="15" creationId="{3AE6683F-3E42-4515-BD41-D3AAD3584C87}"/>
          </ac:spMkLst>
        </pc:spChg>
        <pc:spChg chg="mod">
          <ac:chgData name="Andrea Mogollon Nossa (CENIT)" userId="f6a3e592-cc27-4858-b185-ff86be206069" providerId="ADAL" clId="{7512AD08-729F-4631-AFF5-A13DAAFD1BEE}" dt="2020-07-28T19:23:22.222" v="1505" actId="115"/>
          <ac:spMkLst>
            <pc:docMk/>
            <pc:sldMk cId="1202002608" sldId="2134804331"/>
            <ac:spMk id="36" creationId="{7BF75727-F2D8-4B3A-8084-69B15B6BF24E}"/>
          </ac:spMkLst>
        </pc:spChg>
        <pc:spChg chg="mod">
          <ac:chgData name="Andrea Mogollon Nossa (CENIT)" userId="f6a3e592-cc27-4858-b185-ff86be206069" providerId="ADAL" clId="{7512AD08-729F-4631-AFF5-A13DAAFD1BEE}" dt="2020-07-28T19:24:23.834" v="1509" actId="1076"/>
          <ac:spMkLst>
            <pc:docMk/>
            <pc:sldMk cId="1202002608" sldId="2134804331"/>
            <ac:spMk id="49" creationId="{A35CEBA9-131C-44AD-A845-A68EC946AFBA}"/>
          </ac:spMkLst>
        </pc:spChg>
        <pc:spChg chg="mod">
          <ac:chgData name="Andrea Mogollon Nossa (CENIT)" userId="f6a3e592-cc27-4858-b185-ff86be206069" providerId="ADAL" clId="{7512AD08-729F-4631-AFF5-A13DAAFD1BEE}" dt="2020-07-28T19:24:52.170" v="1512" actId="1076"/>
          <ac:spMkLst>
            <pc:docMk/>
            <pc:sldMk cId="1202002608" sldId="2134804331"/>
            <ac:spMk id="71" creationId="{957CBAF9-7655-4A51-9450-50545E04AD44}"/>
          </ac:spMkLst>
        </pc:spChg>
        <pc:spChg chg="mod">
          <ac:chgData name="Andrea Mogollon Nossa (CENIT)" userId="f6a3e592-cc27-4858-b185-ff86be206069" providerId="ADAL" clId="{7512AD08-729F-4631-AFF5-A13DAAFD1BEE}" dt="2020-07-28T19:24:41.026" v="1510" actId="1076"/>
          <ac:spMkLst>
            <pc:docMk/>
            <pc:sldMk cId="1202002608" sldId="2134804331"/>
            <ac:spMk id="84" creationId="{293DBAF3-3942-4C58-8A63-D4484E215E20}"/>
          </ac:spMkLst>
        </pc:spChg>
        <pc:spChg chg="mod">
          <ac:chgData name="Andrea Mogollon Nossa (CENIT)" userId="f6a3e592-cc27-4858-b185-ff86be206069" providerId="ADAL" clId="{7512AD08-729F-4631-AFF5-A13DAAFD1BEE}" dt="2020-07-28T19:24:41.026" v="1510" actId="1076"/>
          <ac:spMkLst>
            <pc:docMk/>
            <pc:sldMk cId="1202002608" sldId="2134804331"/>
            <ac:spMk id="86" creationId="{7696A978-4362-4DE3-8C58-0F58608C4AA6}"/>
          </ac:spMkLst>
        </pc:spChg>
        <pc:spChg chg="mod">
          <ac:chgData name="Andrea Mogollon Nossa (CENIT)" userId="f6a3e592-cc27-4858-b185-ff86be206069" providerId="ADAL" clId="{7512AD08-729F-4631-AFF5-A13DAAFD1BEE}" dt="2020-07-28T20:09:04.730" v="2697" actId="20578"/>
          <ac:spMkLst>
            <pc:docMk/>
            <pc:sldMk cId="1202002608" sldId="2134804331"/>
            <ac:spMk id="97" creationId="{99300021-C267-43BD-A0F5-B3ECE622345E}"/>
          </ac:spMkLst>
        </pc:spChg>
        <pc:spChg chg="mod">
          <ac:chgData name="Andrea Mogollon Nossa (CENIT)" userId="f6a3e592-cc27-4858-b185-ff86be206069" providerId="ADAL" clId="{7512AD08-729F-4631-AFF5-A13DAAFD1BEE}" dt="2020-07-28T19:24:41.026" v="1510" actId="1076"/>
          <ac:spMkLst>
            <pc:docMk/>
            <pc:sldMk cId="1202002608" sldId="2134804331"/>
            <ac:spMk id="117" creationId="{8960734A-1053-42D2-BD72-6674DCCE6A97}"/>
          </ac:spMkLst>
        </pc:spChg>
        <pc:spChg chg="mod">
          <ac:chgData name="Andrea Mogollon Nossa (CENIT)" userId="f6a3e592-cc27-4858-b185-ff86be206069" providerId="ADAL" clId="{7512AD08-729F-4631-AFF5-A13DAAFD1BEE}" dt="2020-07-28T19:24:41.026" v="1510" actId="1076"/>
          <ac:spMkLst>
            <pc:docMk/>
            <pc:sldMk cId="1202002608" sldId="2134804331"/>
            <ac:spMk id="118" creationId="{C77431EE-A761-4323-B75F-692D4CAEC462}"/>
          </ac:spMkLst>
        </pc:spChg>
        <pc:spChg chg="mod">
          <ac:chgData name="Andrea Mogollon Nossa (CENIT)" userId="f6a3e592-cc27-4858-b185-ff86be206069" providerId="ADAL" clId="{7512AD08-729F-4631-AFF5-A13DAAFD1BEE}" dt="2020-07-28T19:24:41.026" v="1510" actId="1076"/>
          <ac:spMkLst>
            <pc:docMk/>
            <pc:sldMk cId="1202002608" sldId="2134804331"/>
            <ac:spMk id="119" creationId="{A66DDFF6-8990-4632-9B16-3852035C81BA}"/>
          </ac:spMkLst>
        </pc:spChg>
        <pc:grpChg chg="mod">
          <ac:chgData name="Andrea Mogollon Nossa (CENIT)" userId="f6a3e592-cc27-4858-b185-ff86be206069" providerId="ADAL" clId="{7512AD08-729F-4631-AFF5-A13DAAFD1BEE}" dt="2020-07-28T19:24:41.026" v="1510" actId="1076"/>
          <ac:grpSpMkLst>
            <pc:docMk/>
            <pc:sldMk cId="1202002608" sldId="2134804331"/>
            <ac:grpSpMk id="30" creationId="{BF4EB355-E4B6-4017-96EF-28FDA34EC932}"/>
          </ac:grpSpMkLst>
        </pc:grpChg>
        <pc:grpChg chg="mod">
          <ac:chgData name="Andrea Mogollon Nossa (CENIT)" userId="f6a3e592-cc27-4858-b185-ff86be206069" providerId="ADAL" clId="{7512AD08-729F-4631-AFF5-A13DAAFD1BEE}" dt="2020-07-28T19:24:41.026" v="1510" actId="1076"/>
          <ac:grpSpMkLst>
            <pc:docMk/>
            <pc:sldMk cId="1202002608" sldId="2134804331"/>
            <ac:grpSpMk id="43" creationId="{BCE0DAFF-5245-49B7-9324-3E2F663B4088}"/>
          </ac:grpSpMkLst>
        </pc:grpChg>
        <pc:grpChg chg="mod">
          <ac:chgData name="Andrea Mogollon Nossa (CENIT)" userId="f6a3e592-cc27-4858-b185-ff86be206069" providerId="ADAL" clId="{7512AD08-729F-4631-AFF5-A13DAAFD1BEE}" dt="2020-07-28T19:24:41.026" v="1510" actId="1076"/>
          <ac:grpSpMkLst>
            <pc:docMk/>
            <pc:sldMk cId="1202002608" sldId="2134804331"/>
            <ac:grpSpMk id="50" creationId="{DE0F3897-0C5A-4D80-8702-7FFDF501EE7F}"/>
          </ac:grpSpMkLst>
        </pc:grpChg>
        <pc:grpChg chg="mod">
          <ac:chgData name="Andrea Mogollon Nossa (CENIT)" userId="f6a3e592-cc27-4858-b185-ff86be206069" providerId="ADAL" clId="{7512AD08-729F-4631-AFF5-A13DAAFD1BEE}" dt="2020-07-28T19:24:41.026" v="1510" actId="1076"/>
          <ac:grpSpMkLst>
            <pc:docMk/>
            <pc:sldMk cId="1202002608" sldId="2134804331"/>
            <ac:grpSpMk id="55" creationId="{A424F4F5-E950-490A-85A7-08E85FB0CA9E}"/>
          </ac:grpSpMkLst>
        </pc:grpChg>
        <pc:grpChg chg="mod">
          <ac:chgData name="Andrea Mogollon Nossa (CENIT)" userId="f6a3e592-cc27-4858-b185-ff86be206069" providerId="ADAL" clId="{7512AD08-729F-4631-AFF5-A13DAAFD1BEE}" dt="2020-07-28T19:24:41.026" v="1510" actId="1076"/>
          <ac:grpSpMkLst>
            <pc:docMk/>
            <pc:sldMk cId="1202002608" sldId="2134804331"/>
            <ac:grpSpMk id="74" creationId="{07449BC8-9987-486E-BCF5-35EC6328E7E4}"/>
          </ac:grpSpMkLst>
        </pc:grpChg>
      </pc:sldChg>
      <pc:sldChg chg="modSp mod">
        <pc:chgData name="Andrea Mogollon Nossa (CENIT)" userId="f6a3e592-cc27-4858-b185-ff86be206069" providerId="ADAL" clId="{7512AD08-729F-4631-AFF5-A13DAAFD1BEE}" dt="2020-07-28T20:12:53.052" v="2707" actId="208"/>
        <pc:sldMkLst>
          <pc:docMk/>
          <pc:sldMk cId="2329099191" sldId="2134804334"/>
        </pc:sldMkLst>
        <pc:spChg chg="mod">
          <ac:chgData name="Andrea Mogollon Nossa (CENIT)" userId="f6a3e592-cc27-4858-b185-ff86be206069" providerId="ADAL" clId="{7512AD08-729F-4631-AFF5-A13DAAFD1BEE}" dt="2020-07-28T20:12:53.052" v="2707" actId="208"/>
          <ac:spMkLst>
            <pc:docMk/>
            <pc:sldMk cId="2329099191" sldId="2134804334"/>
            <ac:spMk id="21" creationId="{6DF582FE-4ED3-41AC-A715-CB130A94E54C}"/>
          </ac:spMkLst>
        </pc:spChg>
        <pc:spChg chg="mod">
          <ac:chgData name="Andrea Mogollon Nossa (CENIT)" userId="f6a3e592-cc27-4858-b185-ff86be206069" providerId="ADAL" clId="{7512AD08-729F-4631-AFF5-A13DAAFD1BEE}" dt="2020-07-28T20:12:15.709" v="2704" actId="693"/>
          <ac:spMkLst>
            <pc:docMk/>
            <pc:sldMk cId="2329099191" sldId="2134804334"/>
            <ac:spMk id="97" creationId="{99300021-C267-43BD-A0F5-B3ECE622345E}"/>
          </ac:spMkLst>
        </pc:spChg>
        <pc:spChg chg="mod">
          <ac:chgData name="Andrea Mogollon Nossa (CENIT)" userId="f6a3e592-cc27-4858-b185-ff86be206069" providerId="ADAL" clId="{7512AD08-729F-4631-AFF5-A13DAAFD1BEE}" dt="2020-07-28T20:12:27.446" v="2705" actId="108"/>
          <ac:spMkLst>
            <pc:docMk/>
            <pc:sldMk cId="2329099191" sldId="2134804334"/>
            <ac:spMk id="147" creationId="{28985963-B271-4E6A-83C5-F3A62A87E6BA}"/>
          </ac:spMkLst>
        </pc:spChg>
      </pc:sldChg>
      <pc:sldChg chg="modSp mod">
        <pc:chgData name="Andrea Mogollon Nossa (CENIT)" userId="f6a3e592-cc27-4858-b185-ff86be206069" providerId="ADAL" clId="{7512AD08-729F-4631-AFF5-A13DAAFD1BEE}" dt="2020-07-28T00:00:09.280" v="1025" actId="14100"/>
        <pc:sldMkLst>
          <pc:docMk/>
          <pc:sldMk cId="997806465" sldId="2134804335"/>
        </pc:sldMkLst>
        <pc:spChg chg="mod">
          <ac:chgData name="Andrea Mogollon Nossa (CENIT)" userId="f6a3e592-cc27-4858-b185-ff86be206069" providerId="ADAL" clId="{7512AD08-729F-4631-AFF5-A13DAAFD1BEE}" dt="2020-07-28T00:00:09.280" v="1025" actId="14100"/>
          <ac:spMkLst>
            <pc:docMk/>
            <pc:sldMk cId="997806465" sldId="2134804335"/>
            <ac:spMk id="86" creationId="{7696A978-4362-4DE3-8C58-0F58608C4AA6}"/>
          </ac:spMkLst>
        </pc:spChg>
      </pc:sldChg>
      <pc:sldChg chg="modSp mod">
        <pc:chgData name="Andrea Mogollon Nossa (CENIT)" userId="f6a3e592-cc27-4858-b185-ff86be206069" providerId="ADAL" clId="{7512AD08-729F-4631-AFF5-A13DAAFD1BEE}" dt="2020-07-28T00:00:18.482" v="1043" actId="20577"/>
        <pc:sldMkLst>
          <pc:docMk/>
          <pc:sldMk cId="827790441" sldId="2134804336"/>
        </pc:sldMkLst>
        <pc:spChg chg="mod">
          <ac:chgData name="Andrea Mogollon Nossa (CENIT)" userId="f6a3e592-cc27-4858-b185-ff86be206069" providerId="ADAL" clId="{7512AD08-729F-4631-AFF5-A13DAAFD1BEE}" dt="2020-07-28T00:00:18.482" v="1043" actId="20577"/>
          <ac:spMkLst>
            <pc:docMk/>
            <pc:sldMk cId="827790441" sldId="2134804336"/>
            <ac:spMk id="86" creationId="{7696A978-4362-4DE3-8C58-0F58608C4AA6}"/>
          </ac:spMkLst>
        </pc:spChg>
      </pc:sldChg>
      <pc:sldChg chg="modSp mod">
        <pc:chgData name="Andrea Mogollon Nossa (CENIT)" userId="f6a3e592-cc27-4858-b185-ff86be206069" providerId="ADAL" clId="{7512AD08-729F-4631-AFF5-A13DAAFD1BEE}" dt="2020-07-28T00:00:27.766" v="1061" actId="20577"/>
        <pc:sldMkLst>
          <pc:docMk/>
          <pc:sldMk cId="3396100439" sldId="2134804337"/>
        </pc:sldMkLst>
        <pc:spChg chg="mod">
          <ac:chgData name="Andrea Mogollon Nossa (CENIT)" userId="f6a3e592-cc27-4858-b185-ff86be206069" providerId="ADAL" clId="{7512AD08-729F-4631-AFF5-A13DAAFD1BEE}" dt="2020-07-28T00:00:27.766" v="1061" actId="20577"/>
          <ac:spMkLst>
            <pc:docMk/>
            <pc:sldMk cId="3396100439" sldId="2134804337"/>
            <ac:spMk id="86" creationId="{7696A978-4362-4DE3-8C58-0F58608C4AA6}"/>
          </ac:spMkLst>
        </pc:spChg>
      </pc:sldChg>
      <pc:sldChg chg="addSp delSp modSp mod">
        <pc:chgData name="Andrea Mogollon Nossa (CENIT)" userId="f6a3e592-cc27-4858-b185-ff86be206069" providerId="ADAL" clId="{7512AD08-729F-4631-AFF5-A13DAAFD1BEE}" dt="2020-07-27T23:51:35.852" v="1021" actId="1076"/>
        <pc:sldMkLst>
          <pc:docMk/>
          <pc:sldMk cId="1922339588" sldId="2134804339"/>
        </pc:sldMkLst>
        <pc:spChg chg="del">
          <ac:chgData name="Andrea Mogollon Nossa (CENIT)" userId="f6a3e592-cc27-4858-b185-ff86be206069" providerId="ADAL" clId="{7512AD08-729F-4631-AFF5-A13DAAFD1BEE}" dt="2020-07-27T23:51:04.077" v="1014" actId="478"/>
          <ac:spMkLst>
            <pc:docMk/>
            <pc:sldMk cId="1922339588" sldId="2134804339"/>
            <ac:spMk id="106" creationId="{E035A392-D2FE-42ED-A77E-F790E9068ADC}"/>
          </ac:spMkLst>
        </pc:spChg>
        <pc:spChg chg="del mod">
          <ac:chgData name="Andrea Mogollon Nossa (CENIT)" userId="f6a3e592-cc27-4858-b185-ff86be206069" providerId="ADAL" clId="{7512AD08-729F-4631-AFF5-A13DAAFD1BEE}" dt="2020-07-27T23:50:59.995" v="1011" actId="478"/>
          <ac:spMkLst>
            <pc:docMk/>
            <pc:sldMk cId="1922339588" sldId="2134804339"/>
            <ac:spMk id="107" creationId="{2E2D6748-9C7C-4727-AAF2-4ABB89A1052D}"/>
          </ac:spMkLst>
        </pc:spChg>
        <pc:spChg chg="mod">
          <ac:chgData name="Andrea Mogollon Nossa (CENIT)" userId="f6a3e592-cc27-4858-b185-ff86be206069" providerId="ADAL" clId="{7512AD08-729F-4631-AFF5-A13DAAFD1BEE}" dt="2020-07-27T23:51:30.219" v="1020" actId="1076"/>
          <ac:spMkLst>
            <pc:docMk/>
            <pc:sldMk cId="1922339588" sldId="2134804339"/>
            <ac:spMk id="110" creationId="{EA8DE01B-9DBA-4FFD-8F33-5E3C211E0235}"/>
          </ac:spMkLst>
        </pc:spChg>
        <pc:spChg chg="mod">
          <ac:chgData name="Andrea Mogollon Nossa (CENIT)" userId="f6a3e592-cc27-4858-b185-ff86be206069" providerId="ADAL" clId="{7512AD08-729F-4631-AFF5-A13DAAFD1BEE}" dt="2020-07-27T23:51:15.961" v="1015" actId="1076"/>
          <ac:spMkLst>
            <pc:docMk/>
            <pc:sldMk cId="1922339588" sldId="2134804339"/>
            <ac:spMk id="111" creationId="{0584C2A1-F208-4EF4-B35E-A13F567E7748}"/>
          </ac:spMkLst>
        </pc:spChg>
        <pc:spChg chg="mod">
          <ac:chgData name="Andrea Mogollon Nossa (CENIT)" userId="f6a3e592-cc27-4858-b185-ff86be206069" providerId="ADAL" clId="{7512AD08-729F-4631-AFF5-A13DAAFD1BEE}" dt="2020-07-27T23:51:35.852" v="1021" actId="1076"/>
          <ac:spMkLst>
            <pc:docMk/>
            <pc:sldMk cId="1922339588" sldId="2134804339"/>
            <ac:spMk id="113" creationId="{68C79E44-944B-4ED7-B5A1-6558BBCE4EC6}"/>
          </ac:spMkLst>
        </pc:spChg>
        <pc:spChg chg="mod">
          <ac:chgData name="Andrea Mogollon Nossa (CENIT)" userId="f6a3e592-cc27-4858-b185-ff86be206069" providerId="ADAL" clId="{7512AD08-729F-4631-AFF5-A13DAAFD1BEE}" dt="2020-07-27T23:51:17.798" v="1016" actId="1076"/>
          <ac:spMkLst>
            <pc:docMk/>
            <pc:sldMk cId="1922339588" sldId="2134804339"/>
            <ac:spMk id="114" creationId="{80BC0FD4-937D-475D-ABCF-698168B2BE8D}"/>
          </ac:spMkLst>
        </pc:spChg>
        <pc:grpChg chg="add del mod">
          <ac:chgData name="Andrea Mogollon Nossa (CENIT)" userId="f6a3e592-cc27-4858-b185-ff86be206069" providerId="ADAL" clId="{7512AD08-729F-4631-AFF5-A13DAAFD1BEE}" dt="2020-07-27T23:51:24.801" v="1019" actId="1076"/>
          <ac:grpSpMkLst>
            <pc:docMk/>
            <pc:sldMk cId="1922339588" sldId="2134804339"/>
            <ac:grpSpMk id="50" creationId="{4253AEFC-C817-486B-9CB2-F7DEC0389719}"/>
          </ac:grpSpMkLst>
        </pc:grpChg>
        <pc:graphicFrameChg chg="modGraphic">
          <ac:chgData name="Andrea Mogollon Nossa (CENIT)" userId="f6a3e592-cc27-4858-b185-ff86be206069" providerId="ADAL" clId="{7512AD08-729F-4631-AFF5-A13DAAFD1BEE}" dt="2020-07-27T23:50:53.463" v="1009" actId="207"/>
          <ac:graphicFrameMkLst>
            <pc:docMk/>
            <pc:sldMk cId="1922339588" sldId="2134804339"/>
            <ac:graphicFrameMk id="6" creationId="{55A3C4F2-9AF1-4081-BD13-26D94B00509A}"/>
          </ac:graphicFrameMkLst>
        </pc:graphicFrameChg>
        <pc:graphicFrameChg chg="modGraphic">
          <ac:chgData name="Andrea Mogollon Nossa (CENIT)" userId="f6a3e592-cc27-4858-b185-ff86be206069" providerId="ADAL" clId="{7512AD08-729F-4631-AFF5-A13DAAFD1BEE}" dt="2020-07-27T23:50:40.392" v="1008" actId="207"/>
          <ac:graphicFrameMkLst>
            <pc:docMk/>
            <pc:sldMk cId="1922339588" sldId="2134804339"/>
            <ac:graphicFrameMk id="9" creationId="{6080D7D3-5082-435E-BDF1-D2115CE124C8}"/>
          </ac:graphicFrameMkLst>
        </pc:graphicFrameChg>
      </pc:sldChg>
      <pc:sldChg chg="modSp mod">
        <pc:chgData name="Andrea Mogollon Nossa (CENIT)" userId="f6a3e592-cc27-4858-b185-ff86be206069" providerId="ADAL" clId="{7512AD08-729F-4631-AFF5-A13DAAFD1BEE}" dt="2020-07-28T20:14:49.109" v="2719" actId="108"/>
        <pc:sldMkLst>
          <pc:docMk/>
          <pc:sldMk cId="3318311001" sldId="2134804340"/>
        </pc:sldMkLst>
        <pc:spChg chg="mod">
          <ac:chgData name="Andrea Mogollon Nossa (CENIT)" userId="f6a3e592-cc27-4858-b185-ff86be206069" providerId="ADAL" clId="{7512AD08-729F-4631-AFF5-A13DAAFD1BEE}" dt="2020-07-28T20:14:08.717" v="2714" actId="208"/>
          <ac:spMkLst>
            <pc:docMk/>
            <pc:sldMk cId="3318311001" sldId="2134804340"/>
            <ac:spMk id="11" creationId="{772CA61D-742C-45F0-BAFA-0F3B90176E98}"/>
          </ac:spMkLst>
        </pc:spChg>
        <pc:spChg chg="mod">
          <ac:chgData name="Andrea Mogollon Nossa (CENIT)" userId="f6a3e592-cc27-4858-b185-ff86be206069" providerId="ADAL" clId="{7512AD08-729F-4631-AFF5-A13DAAFD1BEE}" dt="2020-07-28T20:14:46.720" v="2718" actId="108"/>
          <ac:spMkLst>
            <pc:docMk/>
            <pc:sldMk cId="3318311001" sldId="2134804340"/>
            <ac:spMk id="30" creationId="{5BF08848-45AE-451C-A99D-7322CF796742}"/>
          </ac:spMkLst>
        </pc:spChg>
        <pc:spChg chg="mod">
          <ac:chgData name="Andrea Mogollon Nossa (CENIT)" userId="f6a3e592-cc27-4858-b185-ff86be206069" providerId="ADAL" clId="{7512AD08-729F-4631-AFF5-A13DAAFD1BEE}" dt="2020-07-28T20:14:49.109" v="2719" actId="108"/>
          <ac:spMkLst>
            <pc:docMk/>
            <pc:sldMk cId="3318311001" sldId="2134804340"/>
            <ac:spMk id="36" creationId="{80930BAD-CC8E-47DD-9473-5B8864A2680A}"/>
          </ac:spMkLst>
        </pc:spChg>
        <pc:spChg chg="mod">
          <ac:chgData name="Andrea Mogollon Nossa (CENIT)" userId="f6a3e592-cc27-4858-b185-ff86be206069" providerId="ADAL" clId="{7512AD08-729F-4631-AFF5-A13DAAFD1BEE}" dt="2020-07-28T20:14:27.072" v="2717" actId="108"/>
          <ac:spMkLst>
            <pc:docMk/>
            <pc:sldMk cId="3318311001" sldId="2134804340"/>
            <ac:spMk id="42" creationId="{4101169F-B3FD-425D-90F0-D9CCBE1BF3D2}"/>
          </ac:spMkLst>
        </pc:spChg>
        <pc:spChg chg="mod">
          <ac:chgData name="Andrea Mogollon Nossa (CENIT)" userId="f6a3e592-cc27-4858-b185-ff86be206069" providerId="ADAL" clId="{7512AD08-729F-4631-AFF5-A13DAAFD1BEE}" dt="2020-07-28T00:00:41.431" v="1104" actId="20577"/>
          <ac:spMkLst>
            <pc:docMk/>
            <pc:sldMk cId="3318311001" sldId="2134804340"/>
            <ac:spMk id="86" creationId="{7696A978-4362-4DE3-8C58-0F58608C4AA6}"/>
          </ac:spMkLst>
        </pc:spChg>
        <pc:spChg chg="mod">
          <ac:chgData name="Andrea Mogollon Nossa (CENIT)" userId="f6a3e592-cc27-4858-b185-ff86be206069" providerId="ADAL" clId="{7512AD08-729F-4631-AFF5-A13DAAFD1BEE}" dt="2020-07-28T20:13:51.258" v="2713" actId="108"/>
          <ac:spMkLst>
            <pc:docMk/>
            <pc:sldMk cId="3318311001" sldId="2134804340"/>
            <ac:spMk id="97" creationId="{99300021-C267-43BD-A0F5-B3ECE622345E}"/>
          </ac:spMkLst>
        </pc:spChg>
      </pc:sldChg>
      <pc:sldChg chg="modSp mod">
        <pc:chgData name="Andrea Mogollon Nossa (CENIT)" userId="f6a3e592-cc27-4858-b185-ff86be206069" providerId="ADAL" clId="{7512AD08-729F-4631-AFF5-A13DAAFD1BEE}" dt="2020-07-28T20:21:42.200" v="2738" actId="693"/>
        <pc:sldMkLst>
          <pc:docMk/>
          <pc:sldMk cId="2532921639" sldId="2134804341"/>
        </pc:sldMkLst>
        <pc:spChg chg="mod">
          <ac:chgData name="Andrea Mogollon Nossa (CENIT)" userId="f6a3e592-cc27-4858-b185-ff86be206069" providerId="ADAL" clId="{7512AD08-729F-4631-AFF5-A13DAAFD1BEE}" dt="2020-07-28T20:20:35.643" v="2733" actId="208"/>
          <ac:spMkLst>
            <pc:docMk/>
            <pc:sldMk cId="2532921639" sldId="2134804341"/>
            <ac:spMk id="6" creationId="{26EF451C-53F1-4D38-8304-40A934E147B1}"/>
          </ac:spMkLst>
        </pc:spChg>
        <pc:spChg chg="mod">
          <ac:chgData name="Andrea Mogollon Nossa (CENIT)" userId="f6a3e592-cc27-4858-b185-ff86be206069" providerId="ADAL" clId="{7512AD08-729F-4631-AFF5-A13DAAFD1BEE}" dt="2020-07-28T20:20:50.140" v="2734" actId="108"/>
          <ac:spMkLst>
            <pc:docMk/>
            <pc:sldMk cId="2532921639" sldId="2134804341"/>
            <ac:spMk id="7" creationId="{6EA46AB2-D46D-465D-9B99-C8FCD330B565}"/>
          </ac:spMkLst>
        </pc:spChg>
        <pc:spChg chg="mod">
          <ac:chgData name="Andrea Mogollon Nossa (CENIT)" userId="f6a3e592-cc27-4858-b185-ff86be206069" providerId="ADAL" clId="{7512AD08-729F-4631-AFF5-A13DAAFD1BEE}" dt="2020-07-28T20:21:42.200" v="2738" actId="693"/>
          <ac:spMkLst>
            <pc:docMk/>
            <pc:sldMk cId="2532921639" sldId="2134804341"/>
            <ac:spMk id="10" creationId="{8CBE0999-A3DB-4ABC-B7A0-9F684B332B8D}"/>
          </ac:spMkLst>
        </pc:spChg>
        <pc:spChg chg="mod">
          <ac:chgData name="Andrea Mogollon Nossa (CENIT)" userId="f6a3e592-cc27-4858-b185-ff86be206069" providerId="ADAL" clId="{7512AD08-729F-4631-AFF5-A13DAAFD1BEE}" dt="2020-07-28T20:16:33.613" v="2720" actId="108"/>
          <ac:spMkLst>
            <pc:docMk/>
            <pc:sldMk cId="2532921639" sldId="2134804341"/>
            <ac:spMk id="76" creationId="{40DFE32F-CAB8-49D6-A7AD-D6BF8E59BE91}"/>
          </ac:spMkLst>
        </pc:spChg>
        <pc:spChg chg="mod">
          <ac:chgData name="Andrea Mogollon Nossa (CENIT)" userId="f6a3e592-cc27-4858-b185-ff86be206069" providerId="ADAL" clId="{7512AD08-729F-4631-AFF5-A13DAAFD1BEE}" dt="2020-07-28T00:00:58.188" v="1129" actId="20577"/>
          <ac:spMkLst>
            <pc:docMk/>
            <pc:sldMk cId="2532921639" sldId="2134804341"/>
            <ac:spMk id="86" creationId="{7696A978-4362-4DE3-8C58-0F58608C4AA6}"/>
          </ac:spMkLst>
        </pc:spChg>
        <pc:spChg chg="mod">
          <ac:chgData name="Andrea Mogollon Nossa (CENIT)" userId="f6a3e592-cc27-4858-b185-ff86be206069" providerId="ADAL" clId="{7512AD08-729F-4631-AFF5-A13DAAFD1BEE}" dt="2020-07-28T20:16:44.241" v="2721" actId="108"/>
          <ac:spMkLst>
            <pc:docMk/>
            <pc:sldMk cId="2532921639" sldId="2134804341"/>
            <ac:spMk id="88" creationId="{5287C6BB-7462-47AA-82FC-0995E12885D0}"/>
          </ac:spMkLst>
        </pc:spChg>
        <pc:spChg chg="mod">
          <ac:chgData name="Andrea Mogollon Nossa (CENIT)" userId="f6a3e592-cc27-4858-b185-ff86be206069" providerId="ADAL" clId="{7512AD08-729F-4631-AFF5-A13DAAFD1BEE}" dt="2020-07-28T20:16:46.848" v="2722" actId="108"/>
          <ac:spMkLst>
            <pc:docMk/>
            <pc:sldMk cId="2532921639" sldId="2134804341"/>
            <ac:spMk id="90" creationId="{9CA5C34E-F534-4DBB-8CB2-C4A73E40BE1D}"/>
          </ac:spMkLst>
        </pc:spChg>
        <pc:spChg chg="mod">
          <ac:chgData name="Andrea Mogollon Nossa (CENIT)" userId="f6a3e592-cc27-4858-b185-ff86be206069" providerId="ADAL" clId="{7512AD08-729F-4631-AFF5-A13DAAFD1BEE}" dt="2020-07-28T20:16:49.636" v="2723" actId="108"/>
          <ac:spMkLst>
            <pc:docMk/>
            <pc:sldMk cId="2532921639" sldId="2134804341"/>
            <ac:spMk id="92" creationId="{3C2594EF-C944-4301-B969-227960A0B177}"/>
          </ac:spMkLst>
        </pc:spChg>
        <pc:spChg chg="mod">
          <ac:chgData name="Andrea Mogollon Nossa (CENIT)" userId="f6a3e592-cc27-4858-b185-ff86be206069" providerId="ADAL" clId="{7512AD08-729F-4631-AFF5-A13DAAFD1BEE}" dt="2020-07-28T20:16:51.745" v="2724" actId="108"/>
          <ac:spMkLst>
            <pc:docMk/>
            <pc:sldMk cId="2532921639" sldId="2134804341"/>
            <ac:spMk id="104" creationId="{1B6EB9B8-45E2-4F88-8131-9C401AEBBBCF}"/>
          </ac:spMkLst>
        </pc:spChg>
        <pc:spChg chg="mod">
          <ac:chgData name="Andrea Mogollon Nossa (CENIT)" userId="f6a3e592-cc27-4858-b185-ff86be206069" providerId="ADAL" clId="{7512AD08-729F-4631-AFF5-A13DAAFD1BEE}" dt="2020-07-28T20:16:54.651" v="2725" actId="108"/>
          <ac:spMkLst>
            <pc:docMk/>
            <pc:sldMk cId="2532921639" sldId="2134804341"/>
            <ac:spMk id="106" creationId="{FCC08065-7019-4222-B77B-FB007CEA4423}"/>
          </ac:spMkLst>
        </pc:spChg>
        <pc:spChg chg="mod">
          <ac:chgData name="Andrea Mogollon Nossa (CENIT)" userId="f6a3e592-cc27-4858-b185-ff86be206069" providerId="ADAL" clId="{7512AD08-729F-4631-AFF5-A13DAAFD1BEE}" dt="2020-07-28T20:17:08.391" v="2726" actId="108"/>
          <ac:spMkLst>
            <pc:docMk/>
            <pc:sldMk cId="2532921639" sldId="2134804341"/>
            <ac:spMk id="108" creationId="{6F2232EE-FB4E-4DD9-AD82-A570467F39DB}"/>
          </ac:spMkLst>
        </pc:spChg>
        <pc:spChg chg="mod">
          <ac:chgData name="Andrea Mogollon Nossa (CENIT)" userId="f6a3e592-cc27-4858-b185-ff86be206069" providerId="ADAL" clId="{7512AD08-729F-4631-AFF5-A13DAAFD1BEE}" dt="2020-07-28T20:17:10.607" v="2727" actId="108"/>
          <ac:spMkLst>
            <pc:docMk/>
            <pc:sldMk cId="2532921639" sldId="2134804341"/>
            <ac:spMk id="110" creationId="{7D09FF47-4E46-4C38-80B0-B607480382EC}"/>
          </ac:spMkLst>
        </pc:spChg>
        <pc:spChg chg="mod">
          <ac:chgData name="Andrea Mogollon Nossa (CENIT)" userId="f6a3e592-cc27-4858-b185-ff86be206069" providerId="ADAL" clId="{7512AD08-729F-4631-AFF5-A13DAAFD1BEE}" dt="2020-07-28T20:17:13.942" v="2728" actId="108"/>
          <ac:spMkLst>
            <pc:docMk/>
            <pc:sldMk cId="2532921639" sldId="2134804341"/>
            <ac:spMk id="126" creationId="{AD4ED8B4-B12A-4144-927B-9A51E646655A}"/>
          </ac:spMkLst>
        </pc:spChg>
        <pc:spChg chg="mod">
          <ac:chgData name="Andrea Mogollon Nossa (CENIT)" userId="f6a3e592-cc27-4858-b185-ff86be206069" providerId="ADAL" clId="{7512AD08-729F-4631-AFF5-A13DAAFD1BEE}" dt="2020-07-28T20:19:03.141" v="2729" actId="108"/>
          <ac:spMkLst>
            <pc:docMk/>
            <pc:sldMk cId="2532921639" sldId="2134804341"/>
            <ac:spMk id="152" creationId="{BABCCD2D-BE76-4FC2-ADA5-9D144AA6B4B2}"/>
          </ac:spMkLst>
        </pc:spChg>
        <pc:spChg chg="mod">
          <ac:chgData name="Andrea Mogollon Nossa (CENIT)" userId="f6a3e592-cc27-4858-b185-ff86be206069" providerId="ADAL" clId="{7512AD08-729F-4631-AFF5-A13DAAFD1BEE}" dt="2020-07-28T20:19:10.824" v="2730" actId="108"/>
          <ac:spMkLst>
            <pc:docMk/>
            <pc:sldMk cId="2532921639" sldId="2134804341"/>
            <ac:spMk id="154" creationId="{023A45C0-4000-48FB-9E82-3BD6579F07E8}"/>
          </ac:spMkLst>
        </pc:spChg>
        <pc:spChg chg="mod">
          <ac:chgData name="Andrea Mogollon Nossa (CENIT)" userId="f6a3e592-cc27-4858-b185-ff86be206069" providerId="ADAL" clId="{7512AD08-729F-4631-AFF5-A13DAAFD1BEE}" dt="2020-07-28T20:19:15.284" v="2731" actId="108"/>
          <ac:spMkLst>
            <pc:docMk/>
            <pc:sldMk cId="2532921639" sldId="2134804341"/>
            <ac:spMk id="162" creationId="{F90D48DD-6D46-46CC-B160-D915402FD8FC}"/>
          </ac:spMkLst>
        </pc:spChg>
      </pc:sldChg>
      <pc:sldChg chg="modSp mod">
        <pc:chgData name="Andrea Mogollon Nossa (CENIT)" userId="f6a3e592-cc27-4858-b185-ff86be206069" providerId="ADAL" clId="{7512AD08-729F-4631-AFF5-A13DAAFD1BEE}" dt="2020-07-28T20:31:50.894" v="2754" actId="693"/>
        <pc:sldMkLst>
          <pc:docMk/>
          <pc:sldMk cId="2183210988" sldId="2134804342"/>
        </pc:sldMkLst>
        <pc:spChg chg="mod">
          <ac:chgData name="Andrea Mogollon Nossa (CENIT)" userId="f6a3e592-cc27-4858-b185-ff86be206069" providerId="ADAL" clId="{7512AD08-729F-4631-AFF5-A13DAAFD1BEE}" dt="2020-07-28T20:30:58.953" v="2751" actId="108"/>
          <ac:spMkLst>
            <pc:docMk/>
            <pc:sldMk cId="2183210988" sldId="2134804342"/>
            <ac:spMk id="15" creationId="{F5F6020F-918E-4261-B79A-8D7C5966BB0C}"/>
          </ac:spMkLst>
        </pc:spChg>
        <pc:spChg chg="mod">
          <ac:chgData name="Andrea Mogollon Nossa (CENIT)" userId="f6a3e592-cc27-4858-b185-ff86be206069" providerId="ADAL" clId="{7512AD08-729F-4631-AFF5-A13DAAFD1BEE}" dt="2020-07-28T20:31:01.462" v="2752" actId="108"/>
          <ac:spMkLst>
            <pc:docMk/>
            <pc:sldMk cId="2183210988" sldId="2134804342"/>
            <ac:spMk id="19" creationId="{F04331EA-3C34-4632-A33B-964C955FEA5B}"/>
          </ac:spMkLst>
        </pc:spChg>
        <pc:spChg chg="mod">
          <ac:chgData name="Andrea Mogollon Nossa (CENIT)" userId="f6a3e592-cc27-4858-b185-ff86be206069" providerId="ADAL" clId="{7512AD08-729F-4631-AFF5-A13DAAFD1BEE}" dt="2020-07-28T20:22:55.915" v="2744" actId="208"/>
          <ac:spMkLst>
            <pc:docMk/>
            <pc:sldMk cId="2183210988" sldId="2134804342"/>
            <ac:spMk id="69" creationId="{19A1630B-DA92-4FE5-8C69-AFF7139B1FFA}"/>
          </ac:spMkLst>
        </pc:spChg>
        <pc:spChg chg="mod">
          <ac:chgData name="Andrea Mogollon Nossa (CENIT)" userId="f6a3e592-cc27-4858-b185-ff86be206069" providerId="ADAL" clId="{7512AD08-729F-4631-AFF5-A13DAAFD1BEE}" dt="2020-07-28T20:23:42.203" v="2748" actId="108"/>
          <ac:spMkLst>
            <pc:docMk/>
            <pc:sldMk cId="2183210988" sldId="2134804342"/>
            <ac:spMk id="74" creationId="{02238FA8-CD97-4ED0-9834-B628DBE001FC}"/>
          </ac:spMkLst>
        </pc:spChg>
        <pc:spChg chg="mod">
          <ac:chgData name="Andrea Mogollon Nossa (CENIT)" userId="f6a3e592-cc27-4858-b185-ff86be206069" providerId="ADAL" clId="{7512AD08-729F-4631-AFF5-A13DAAFD1BEE}" dt="2020-07-28T20:22:24.660" v="2739" actId="108"/>
          <ac:spMkLst>
            <pc:docMk/>
            <pc:sldMk cId="2183210988" sldId="2134804342"/>
            <ac:spMk id="219" creationId="{62FC86D8-1E1F-477E-A8C1-DE0EA4C4AB17}"/>
          </ac:spMkLst>
        </pc:spChg>
        <pc:spChg chg="mod">
          <ac:chgData name="Andrea Mogollon Nossa (CENIT)" userId="f6a3e592-cc27-4858-b185-ff86be206069" providerId="ADAL" clId="{7512AD08-729F-4631-AFF5-A13DAAFD1BEE}" dt="2020-07-28T20:22:29.986" v="2740" actId="108"/>
          <ac:spMkLst>
            <pc:docMk/>
            <pc:sldMk cId="2183210988" sldId="2134804342"/>
            <ac:spMk id="221" creationId="{C23958D9-8D2A-476C-A650-5C5842068126}"/>
          </ac:spMkLst>
        </pc:spChg>
        <pc:spChg chg="mod">
          <ac:chgData name="Andrea Mogollon Nossa (CENIT)" userId="f6a3e592-cc27-4858-b185-ff86be206069" providerId="ADAL" clId="{7512AD08-729F-4631-AFF5-A13DAAFD1BEE}" dt="2020-07-28T20:22:52.118" v="2743" actId="208"/>
          <ac:spMkLst>
            <pc:docMk/>
            <pc:sldMk cId="2183210988" sldId="2134804342"/>
            <ac:spMk id="223" creationId="{99E0F853-4FD1-46B7-8A75-EA8670F01C90}"/>
          </ac:spMkLst>
        </pc:spChg>
        <pc:spChg chg="mod">
          <ac:chgData name="Andrea Mogollon Nossa (CENIT)" userId="f6a3e592-cc27-4858-b185-ff86be206069" providerId="ADAL" clId="{7512AD08-729F-4631-AFF5-A13DAAFD1BEE}" dt="2020-07-28T20:23:08.189" v="2745" actId="108"/>
          <ac:spMkLst>
            <pc:docMk/>
            <pc:sldMk cId="2183210988" sldId="2134804342"/>
            <ac:spMk id="233" creationId="{A9C794B6-CC7C-44F8-BC30-A0E42B3A6EAF}"/>
          </ac:spMkLst>
        </pc:spChg>
        <pc:spChg chg="mod">
          <ac:chgData name="Andrea Mogollon Nossa (CENIT)" userId="f6a3e592-cc27-4858-b185-ff86be206069" providerId="ADAL" clId="{7512AD08-729F-4631-AFF5-A13DAAFD1BEE}" dt="2020-07-28T20:23:12.477" v="2746" actId="108"/>
          <ac:spMkLst>
            <pc:docMk/>
            <pc:sldMk cId="2183210988" sldId="2134804342"/>
            <ac:spMk id="235" creationId="{67397329-06CB-4EAD-BB20-9DB9C847A3B1}"/>
          </ac:spMkLst>
        </pc:spChg>
        <pc:spChg chg="mod">
          <ac:chgData name="Andrea Mogollon Nossa (CENIT)" userId="f6a3e592-cc27-4858-b185-ff86be206069" providerId="ADAL" clId="{7512AD08-729F-4631-AFF5-A13DAAFD1BEE}" dt="2020-07-28T20:23:14.990" v="2747" actId="108"/>
          <ac:spMkLst>
            <pc:docMk/>
            <pc:sldMk cId="2183210988" sldId="2134804342"/>
            <ac:spMk id="237" creationId="{51598549-7FE1-4A9E-8F40-B2099285B661}"/>
          </ac:spMkLst>
        </pc:spChg>
        <pc:spChg chg="mod">
          <ac:chgData name="Andrea Mogollon Nossa (CENIT)" userId="f6a3e592-cc27-4858-b185-ff86be206069" providerId="ADAL" clId="{7512AD08-729F-4631-AFF5-A13DAAFD1BEE}" dt="2020-07-28T20:30:45.776" v="2749" actId="108"/>
          <ac:spMkLst>
            <pc:docMk/>
            <pc:sldMk cId="2183210988" sldId="2134804342"/>
            <ac:spMk id="277" creationId="{8C179BE5-9C31-4DC6-92CF-18666A46155E}"/>
          </ac:spMkLst>
        </pc:spChg>
        <pc:spChg chg="mod">
          <ac:chgData name="Andrea Mogollon Nossa (CENIT)" userId="f6a3e592-cc27-4858-b185-ff86be206069" providerId="ADAL" clId="{7512AD08-729F-4631-AFF5-A13DAAFD1BEE}" dt="2020-07-28T20:30:47.872" v="2750" actId="108"/>
          <ac:spMkLst>
            <pc:docMk/>
            <pc:sldMk cId="2183210988" sldId="2134804342"/>
            <ac:spMk id="283" creationId="{5B397935-C4A0-45CD-9F44-64AC2D6438E5}"/>
          </ac:spMkLst>
        </pc:spChg>
        <pc:spChg chg="mod">
          <ac:chgData name="Andrea Mogollon Nossa (CENIT)" userId="f6a3e592-cc27-4858-b185-ff86be206069" providerId="ADAL" clId="{7512AD08-729F-4631-AFF5-A13DAAFD1BEE}" dt="2020-07-28T20:31:50.894" v="2754" actId="693"/>
          <ac:spMkLst>
            <pc:docMk/>
            <pc:sldMk cId="2183210988" sldId="2134804342"/>
            <ac:spMk id="296" creationId="{6EB1D654-7D2E-4C5A-A742-EC00673A449F}"/>
          </ac:spMkLst>
        </pc:spChg>
        <pc:spChg chg="mod">
          <ac:chgData name="Andrea Mogollon Nossa (CENIT)" userId="f6a3e592-cc27-4858-b185-ff86be206069" providerId="ADAL" clId="{7512AD08-729F-4631-AFF5-A13DAAFD1BEE}" dt="2020-07-28T00:01:09.369" v="1154" actId="20577"/>
          <ac:spMkLst>
            <pc:docMk/>
            <pc:sldMk cId="2183210988" sldId="2134804342"/>
            <ac:spMk id="302" creationId="{C642D50B-C6B3-4A0C-87B7-132C6B2DE4AC}"/>
          </ac:spMkLst>
        </pc:spChg>
      </pc:sldChg>
      <pc:sldChg chg="addSp delSp modSp new mod">
        <pc:chgData name="Andrea Mogollon Nossa (CENIT)" userId="f6a3e592-cc27-4858-b185-ff86be206069" providerId="ADAL" clId="{7512AD08-729F-4631-AFF5-A13DAAFD1BEE}" dt="2020-07-28T19:08:56.011" v="1462" actId="1076"/>
        <pc:sldMkLst>
          <pc:docMk/>
          <pc:sldMk cId="1108072925" sldId="2134804343"/>
        </pc:sldMkLst>
        <pc:spChg chg="add mod">
          <ac:chgData name="Andrea Mogollon Nossa (CENIT)" userId="f6a3e592-cc27-4858-b185-ff86be206069" providerId="ADAL" clId="{7512AD08-729F-4631-AFF5-A13DAAFD1BEE}" dt="2020-07-28T19:08:09.543" v="1453" actId="13926"/>
          <ac:spMkLst>
            <pc:docMk/>
            <pc:sldMk cId="1108072925" sldId="2134804343"/>
            <ac:spMk id="3" creationId="{164DF9F9-0719-4943-934C-41A1DA9BF0D5}"/>
          </ac:spMkLst>
        </pc:spChg>
        <pc:spChg chg="add mod">
          <ac:chgData name="Andrea Mogollon Nossa (CENIT)" userId="f6a3e592-cc27-4858-b185-ff86be206069" providerId="ADAL" clId="{7512AD08-729F-4631-AFF5-A13DAAFD1BEE}" dt="2020-07-28T15:29:45.576" v="1342" actId="108"/>
          <ac:spMkLst>
            <pc:docMk/>
            <pc:sldMk cId="1108072925" sldId="2134804343"/>
            <ac:spMk id="4" creationId="{25C67AAE-195C-4BD0-89AC-637004543F79}"/>
          </ac:spMkLst>
        </pc:spChg>
        <pc:spChg chg="add mod">
          <ac:chgData name="Andrea Mogollon Nossa (CENIT)" userId="f6a3e592-cc27-4858-b185-ff86be206069" providerId="ADAL" clId="{7512AD08-729F-4631-AFF5-A13DAAFD1BEE}" dt="2020-07-28T15:29:43.252" v="1341" actId="108"/>
          <ac:spMkLst>
            <pc:docMk/>
            <pc:sldMk cId="1108072925" sldId="2134804343"/>
            <ac:spMk id="5" creationId="{DD5A3B7D-7DBE-4898-A489-8AE5D9344831}"/>
          </ac:spMkLst>
        </pc:spChg>
        <pc:spChg chg="add mod">
          <ac:chgData name="Andrea Mogollon Nossa (CENIT)" userId="f6a3e592-cc27-4858-b185-ff86be206069" providerId="ADAL" clId="{7512AD08-729F-4631-AFF5-A13DAAFD1BEE}" dt="2020-07-28T15:29:29.212" v="1339" actId="108"/>
          <ac:spMkLst>
            <pc:docMk/>
            <pc:sldMk cId="1108072925" sldId="2134804343"/>
            <ac:spMk id="6" creationId="{F890A780-0AE9-4BF0-8CB4-292BA41F0D4D}"/>
          </ac:spMkLst>
        </pc:spChg>
        <pc:spChg chg="add mod">
          <ac:chgData name="Andrea Mogollon Nossa (CENIT)" userId="f6a3e592-cc27-4858-b185-ff86be206069" providerId="ADAL" clId="{7512AD08-729F-4631-AFF5-A13DAAFD1BEE}" dt="2020-07-28T15:29:50.759" v="1343" actId="108"/>
          <ac:spMkLst>
            <pc:docMk/>
            <pc:sldMk cId="1108072925" sldId="2134804343"/>
            <ac:spMk id="7" creationId="{8A2BBF5B-87FF-4A67-94F6-B149160C9102}"/>
          </ac:spMkLst>
        </pc:spChg>
        <pc:spChg chg="add mod">
          <ac:chgData name="Andrea Mogollon Nossa (CENIT)" userId="f6a3e592-cc27-4858-b185-ff86be206069" providerId="ADAL" clId="{7512AD08-729F-4631-AFF5-A13DAAFD1BEE}" dt="2020-07-28T15:29:36.202" v="1340" actId="108"/>
          <ac:spMkLst>
            <pc:docMk/>
            <pc:sldMk cId="1108072925" sldId="2134804343"/>
            <ac:spMk id="8" creationId="{B43FC437-82E8-4198-8B4B-072E5DB4852E}"/>
          </ac:spMkLst>
        </pc:spChg>
        <pc:spChg chg="add mod">
          <ac:chgData name="Andrea Mogollon Nossa (CENIT)" userId="f6a3e592-cc27-4858-b185-ff86be206069" providerId="ADAL" clId="{7512AD08-729F-4631-AFF5-A13DAAFD1BEE}" dt="2020-07-27T22:55:47.199" v="720"/>
          <ac:spMkLst>
            <pc:docMk/>
            <pc:sldMk cId="1108072925" sldId="2134804343"/>
            <ac:spMk id="9" creationId="{4B2629AB-0194-4429-B721-D46F1AE1DD27}"/>
          </ac:spMkLst>
        </pc:spChg>
        <pc:spChg chg="add del mod">
          <ac:chgData name="Andrea Mogollon Nossa (CENIT)" userId="f6a3e592-cc27-4858-b185-ff86be206069" providerId="ADAL" clId="{7512AD08-729F-4631-AFF5-A13DAAFD1BEE}" dt="2020-07-27T22:56:09.100" v="731" actId="478"/>
          <ac:spMkLst>
            <pc:docMk/>
            <pc:sldMk cId="1108072925" sldId="2134804343"/>
            <ac:spMk id="10" creationId="{F8B179F9-766B-4524-906A-B33774BAE62E}"/>
          </ac:spMkLst>
        </pc:spChg>
        <pc:spChg chg="add del mod">
          <ac:chgData name="Andrea Mogollon Nossa (CENIT)" userId="f6a3e592-cc27-4858-b185-ff86be206069" providerId="ADAL" clId="{7512AD08-729F-4631-AFF5-A13DAAFD1BEE}" dt="2020-07-27T22:56:08.218" v="730" actId="478"/>
          <ac:spMkLst>
            <pc:docMk/>
            <pc:sldMk cId="1108072925" sldId="2134804343"/>
            <ac:spMk id="11" creationId="{F9C9F302-895B-46EC-9B07-31252FC5004D}"/>
          </ac:spMkLst>
        </pc:spChg>
        <pc:spChg chg="add del mod">
          <ac:chgData name="Andrea Mogollon Nossa (CENIT)" userId="f6a3e592-cc27-4858-b185-ff86be206069" providerId="ADAL" clId="{7512AD08-729F-4631-AFF5-A13DAAFD1BEE}" dt="2020-07-27T22:56:06.695" v="728" actId="478"/>
          <ac:spMkLst>
            <pc:docMk/>
            <pc:sldMk cId="1108072925" sldId="2134804343"/>
            <ac:spMk id="12" creationId="{C22FA06A-9C78-4D36-94A3-26B18C2FCBBF}"/>
          </ac:spMkLst>
        </pc:spChg>
        <pc:spChg chg="add del mod">
          <ac:chgData name="Andrea Mogollon Nossa (CENIT)" userId="f6a3e592-cc27-4858-b185-ff86be206069" providerId="ADAL" clId="{7512AD08-729F-4631-AFF5-A13DAAFD1BEE}" dt="2020-07-27T22:56:03.826" v="727" actId="478"/>
          <ac:spMkLst>
            <pc:docMk/>
            <pc:sldMk cId="1108072925" sldId="2134804343"/>
            <ac:spMk id="13" creationId="{8E4F96A5-F965-4548-B527-C0EE4A1A329C}"/>
          </ac:spMkLst>
        </pc:spChg>
        <pc:spChg chg="add mod">
          <ac:chgData name="Andrea Mogollon Nossa (CENIT)" userId="f6a3e592-cc27-4858-b185-ff86be206069" providerId="ADAL" clId="{7512AD08-729F-4631-AFF5-A13DAAFD1BEE}" dt="2020-07-27T23:00:30.554" v="868" actId="20577"/>
          <ac:spMkLst>
            <pc:docMk/>
            <pc:sldMk cId="1108072925" sldId="2134804343"/>
            <ac:spMk id="14" creationId="{FE03BCAB-75A5-44EE-8BDC-032F6CEBA0D7}"/>
          </ac:spMkLst>
        </pc:spChg>
        <pc:spChg chg="add mod">
          <ac:chgData name="Andrea Mogollon Nossa (CENIT)" userId="f6a3e592-cc27-4858-b185-ff86be206069" providerId="ADAL" clId="{7512AD08-729F-4631-AFF5-A13DAAFD1BEE}" dt="2020-07-27T22:57:44.982" v="844" actId="20577"/>
          <ac:spMkLst>
            <pc:docMk/>
            <pc:sldMk cId="1108072925" sldId="2134804343"/>
            <ac:spMk id="15" creationId="{EA00BF16-70C8-4E77-BCFE-26B7A24F5A4E}"/>
          </ac:spMkLst>
        </pc:spChg>
        <pc:spChg chg="add mod">
          <ac:chgData name="Andrea Mogollon Nossa (CENIT)" userId="f6a3e592-cc27-4858-b185-ff86be206069" providerId="ADAL" clId="{7512AD08-729F-4631-AFF5-A13DAAFD1BEE}" dt="2020-07-27T23:00:20.536" v="860" actId="20577"/>
          <ac:spMkLst>
            <pc:docMk/>
            <pc:sldMk cId="1108072925" sldId="2134804343"/>
            <ac:spMk id="16" creationId="{3B6388DF-8204-4D49-A700-558B0FC89E23}"/>
          </ac:spMkLst>
        </pc:spChg>
        <pc:spChg chg="add mod">
          <ac:chgData name="Andrea Mogollon Nossa (CENIT)" userId="f6a3e592-cc27-4858-b185-ff86be206069" providerId="ADAL" clId="{7512AD08-729F-4631-AFF5-A13DAAFD1BEE}" dt="2020-07-27T23:00:23.295" v="862" actId="20577"/>
          <ac:spMkLst>
            <pc:docMk/>
            <pc:sldMk cId="1108072925" sldId="2134804343"/>
            <ac:spMk id="17" creationId="{72E841CB-C40B-4127-9904-0A2112173004}"/>
          </ac:spMkLst>
        </pc:spChg>
        <pc:spChg chg="add mod">
          <ac:chgData name="Andrea Mogollon Nossa (CENIT)" userId="f6a3e592-cc27-4858-b185-ff86be206069" providerId="ADAL" clId="{7512AD08-729F-4631-AFF5-A13DAAFD1BEE}" dt="2020-07-27T23:00:28.110" v="866" actId="20577"/>
          <ac:spMkLst>
            <pc:docMk/>
            <pc:sldMk cId="1108072925" sldId="2134804343"/>
            <ac:spMk id="18" creationId="{1E8B7C51-F2DC-4BF4-9153-322E3E232CB9}"/>
          </ac:spMkLst>
        </pc:spChg>
        <pc:spChg chg="add mod">
          <ac:chgData name="Andrea Mogollon Nossa (CENIT)" userId="f6a3e592-cc27-4858-b185-ff86be206069" providerId="ADAL" clId="{7512AD08-729F-4631-AFF5-A13DAAFD1BEE}" dt="2020-07-27T23:00:25.714" v="864" actId="20577"/>
          <ac:spMkLst>
            <pc:docMk/>
            <pc:sldMk cId="1108072925" sldId="2134804343"/>
            <ac:spMk id="19" creationId="{417BFA43-D1EC-4C66-AF9D-19CAC9D70AB8}"/>
          </ac:spMkLst>
        </pc:spChg>
        <pc:spChg chg="add del mod">
          <ac:chgData name="Andrea Mogollon Nossa (CENIT)" userId="f6a3e592-cc27-4858-b185-ff86be206069" providerId="ADAL" clId="{7512AD08-729F-4631-AFF5-A13DAAFD1BEE}" dt="2020-07-28T19:07:57.392" v="1450" actId="478"/>
          <ac:spMkLst>
            <pc:docMk/>
            <pc:sldMk cId="1108072925" sldId="2134804343"/>
            <ac:spMk id="20" creationId="{E65910E4-A096-40D0-B0E3-D9CCC9F11F42}"/>
          </ac:spMkLst>
        </pc:spChg>
        <pc:spChg chg="add mod">
          <ac:chgData name="Andrea Mogollon Nossa (CENIT)" userId="f6a3e592-cc27-4858-b185-ff86be206069" providerId="ADAL" clId="{7512AD08-729F-4631-AFF5-A13DAAFD1BEE}" dt="2020-07-27T23:07:38.650" v="979" actId="1076"/>
          <ac:spMkLst>
            <pc:docMk/>
            <pc:sldMk cId="1108072925" sldId="2134804343"/>
            <ac:spMk id="21" creationId="{EB999A37-346B-4C56-9214-B4DDB0DC4136}"/>
          </ac:spMkLst>
        </pc:spChg>
        <pc:spChg chg="add del mod">
          <ac:chgData name="Andrea Mogollon Nossa (CENIT)" userId="f6a3e592-cc27-4858-b185-ff86be206069" providerId="ADAL" clId="{7512AD08-729F-4631-AFF5-A13DAAFD1BEE}" dt="2020-07-27T23:06:13.958" v="961" actId="478"/>
          <ac:spMkLst>
            <pc:docMk/>
            <pc:sldMk cId="1108072925" sldId="2134804343"/>
            <ac:spMk id="22" creationId="{52743598-9803-4E4C-8EB6-CA16DC9E86F7}"/>
          </ac:spMkLst>
        </pc:spChg>
        <pc:spChg chg="add del mod">
          <ac:chgData name="Andrea Mogollon Nossa (CENIT)" userId="f6a3e592-cc27-4858-b185-ff86be206069" providerId="ADAL" clId="{7512AD08-729F-4631-AFF5-A13DAAFD1BEE}" dt="2020-07-27T23:06:29.626" v="965" actId="478"/>
          <ac:spMkLst>
            <pc:docMk/>
            <pc:sldMk cId="1108072925" sldId="2134804343"/>
            <ac:spMk id="23" creationId="{8E4E20A0-FAC8-4688-B1ED-142F56CDAB73}"/>
          </ac:spMkLst>
        </pc:spChg>
        <pc:spChg chg="add mod">
          <ac:chgData name="Andrea Mogollon Nossa (CENIT)" userId="f6a3e592-cc27-4858-b185-ff86be206069" providerId="ADAL" clId="{7512AD08-729F-4631-AFF5-A13DAAFD1BEE}" dt="2020-07-27T23:40:08.110" v="1000" actId="208"/>
          <ac:spMkLst>
            <pc:docMk/>
            <pc:sldMk cId="1108072925" sldId="2134804343"/>
            <ac:spMk id="24" creationId="{ACD3A537-2FEC-4895-A698-734B2A198980}"/>
          </ac:spMkLst>
        </pc:spChg>
        <pc:spChg chg="add mod">
          <ac:chgData name="Andrea Mogollon Nossa (CENIT)" userId="f6a3e592-cc27-4858-b185-ff86be206069" providerId="ADAL" clId="{7512AD08-729F-4631-AFF5-A13DAAFD1BEE}" dt="2020-07-27T23:40:11.807" v="1001" actId="208"/>
          <ac:spMkLst>
            <pc:docMk/>
            <pc:sldMk cId="1108072925" sldId="2134804343"/>
            <ac:spMk id="25" creationId="{54D9DE30-764E-4960-A02B-656F455ACCD8}"/>
          </ac:spMkLst>
        </pc:spChg>
        <pc:spChg chg="add mod">
          <ac:chgData name="Andrea Mogollon Nossa (CENIT)" userId="f6a3e592-cc27-4858-b185-ff86be206069" providerId="ADAL" clId="{7512AD08-729F-4631-AFF5-A13DAAFD1BEE}" dt="2020-07-27T23:07:02.739" v="971" actId="1076"/>
          <ac:spMkLst>
            <pc:docMk/>
            <pc:sldMk cId="1108072925" sldId="2134804343"/>
            <ac:spMk id="26" creationId="{73903E7D-5976-4068-872C-534A412616F3}"/>
          </ac:spMkLst>
        </pc:spChg>
        <pc:spChg chg="add mod">
          <ac:chgData name="Andrea Mogollon Nossa (CENIT)" userId="f6a3e592-cc27-4858-b185-ff86be206069" providerId="ADAL" clId="{7512AD08-729F-4631-AFF5-A13DAAFD1BEE}" dt="2020-07-27T23:07:07.755" v="973" actId="1076"/>
          <ac:spMkLst>
            <pc:docMk/>
            <pc:sldMk cId="1108072925" sldId="2134804343"/>
            <ac:spMk id="27" creationId="{8BA59867-5BA3-42BA-BFED-FBEB4191A8C9}"/>
          </ac:spMkLst>
        </pc:spChg>
        <pc:spChg chg="add del mod">
          <ac:chgData name="Andrea Mogollon Nossa (CENIT)" userId="f6a3e592-cc27-4858-b185-ff86be206069" providerId="ADAL" clId="{7512AD08-729F-4631-AFF5-A13DAAFD1BEE}" dt="2020-07-27T23:40:17.504" v="1002" actId="478"/>
          <ac:spMkLst>
            <pc:docMk/>
            <pc:sldMk cId="1108072925" sldId="2134804343"/>
            <ac:spMk id="28" creationId="{7792899F-3035-40A5-9FBD-C2B1A1573BFF}"/>
          </ac:spMkLst>
        </pc:spChg>
        <pc:spChg chg="add del mod">
          <ac:chgData name="Andrea Mogollon Nossa (CENIT)" userId="f6a3e592-cc27-4858-b185-ff86be206069" providerId="ADAL" clId="{7512AD08-729F-4631-AFF5-A13DAAFD1BEE}" dt="2020-07-27T23:40:17.504" v="1002" actId="478"/>
          <ac:spMkLst>
            <pc:docMk/>
            <pc:sldMk cId="1108072925" sldId="2134804343"/>
            <ac:spMk id="29" creationId="{BE65FFDB-9739-44BF-BE38-3AFF0DEE29A0}"/>
          </ac:spMkLst>
        </pc:spChg>
        <pc:spChg chg="add del mod">
          <ac:chgData name="Andrea Mogollon Nossa (CENIT)" userId="f6a3e592-cc27-4858-b185-ff86be206069" providerId="ADAL" clId="{7512AD08-729F-4631-AFF5-A13DAAFD1BEE}" dt="2020-07-27T23:40:17.504" v="1002" actId="478"/>
          <ac:spMkLst>
            <pc:docMk/>
            <pc:sldMk cId="1108072925" sldId="2134804343"/>
            <ac:spMk id="30" creationId="{3823281F-77AF-4603-A178-63CCA6BD8F67}"/>
          </ac:spMkLst>
        </pc:spChg>
        <pc:spChg chg="add del mod">
          <ac:chgData name="Andrea Mogollon Nossa (CENIT)" userId="f6a3e592-cc27-4858-b185-ff86be206069" providerId="ADAL" clId="{7512AD08-729F-4631-AFF5-A13DAAFD1BEE}" dt="2020-07-27T23:40:17.504" v="1002" actId="478"/>
          <ac:spMkLst>
            <pc:docMk/>
            <pc:sldMk cId="1108072925" sldId="2134804343"/>
            <ac:spMk id="31" creationId="{B1D5A2F1-0299-4C85-82B1-3C26252D9752}"/>
          </ac:spMkLst>
        </pc:spChg>
        <pc:spChg chg="add del mod">
          <ac:chgData name="Andrea Mogollon Nossa (CENIT)" userId="f6a3e592-cc27-4858-b185-ff86be206069" providerId="ADAL" clId="{7512AD08-729F-4631-AFF5-A13DAAFD1BEE}" dt="2020-07-27T23:40:17.504" v="1002" actId="478"/>
          <ac:spMkLst>
            <pc:docMk/>
            <pc:sldMk cId="1108072925" sldId="2134804343"/>
            <ac:spMk id="32" creationId="{5DB38D2C-B632-4807-8F32-2686843D2578}"/>
          </ac:spMkLst>
        </pc:spChg>
        <pc:spChg chg="mod">
          <ac:chgData name="Andrea Mogollon Nossa (CENIT)" userId="f6a3e592-cc27-4858-b185-ff86be206069" providerId="ADAL" clId="{7512AD08-729F-4631-AFF5-A13DAAFD1BEE}" dt="2020-07-27T23:07:16.716" v="974"/>
          <ac:spMkLst>
            <pc:docMk/>
            <pc:sldMk cId="1108072925" sldId="2134804343"/>
            <ac:spMk id="34" creationId="{A1928152-4F4F-46EB-9118-74F461C9AC60}"/>
          </ac:spMkLst>
        </pc:spChg>
        <pc:spChg chg="mod">
          <ac:chgData name="Andrea Mogollon Nossa (CENIT)" userId="f6a3e592-cc27-4858-b185-ff86be206069" providerId="ADAL" clId="{7512AD08-729F-4631-AFF5-A13DAAFD1BEE}" dt="2020-07-27T23:07:16.716" v="974"/>
          <ac:spMkLst>
            <pc:docMk/>
            <pc:sldMk cId="1108072925" sldId="2134804343"/>
            <ac:spMk id="35" creationId="{540B0C04-61D3-4955-994D-4E62F1E60F1D}"/>
          </ac:spMkLst>
        </pc:spChg>
        <pc:spChg chg="mod">
          <ac:chgData name="Andrea Mogollon Nossa (CENIT)" userId="f6a3e592-cc27-4858-b185-ff86be206069" providerId="ADAL" clId="{7512AD08-729F-4631-AFF5-A13DAAFD1BEE}" dt="2020-07-27T23:07:16.716" v="974"/>
          <ac:spMkLst>
            <pc:docMk/>
            <pc:sldMk cId="1108072925" sldId="2134804343"/>
            <ac:spMk id="37" creationId="{F6B6979B-F65C-4FCF-AED4-80D20D6B2A2D}"/>
          </ac:spMkLst>
        </pc:spChg>
        <pc:spChg chg="mod">
          <ac:chgData name="Andrea Mogollon Nossa (CENIT)" userId="f6a3e592-cc27-4858-b185-ff86be206069" providerId="ADAL" clId="{7512AD08-729F-4631-AFF5-A13DAAFD1BEE}" dt="2020-07-27T23:07:16.716" v="974"/>
          <ac:spMkLst>
            <pc:docMk/>
            <pc:sldMk cId="1108072925" sldId="2134804343"/>
            <ac:spMk id="38" creationId="{7CCB1A61-024D-42A9-A6A0-A6D3D61BC89A}"/>
          </ac:spMkLst>
        </pc:spChg>
        <pc:spChg chg="mod">
          <ac:chgData name="Andrea Mogollon Nossa (CENIT)" userId="f6a3e592-cc27-4858-b185-ff86be206069" providerId="ADAL" clId="{7512AD08-729F-4631-AFF5-A13DAAFD1BEE}" dt="2020-07-27T23:07:16.716" v="974"/>
          <ac:spMkLst>
            <pc:docMk/>
            <pc:sldMk cId="1108072925" sldId="2134804343"/>
            <ac:spMk id="40" creationId="{87DA6435-1D5E-459B-9F95-C9182E0F2409}"/>
          </ac:spMkLst>
        </pc:spChg>
        <pc:spChg chg="mod">
          <ac:chgData name="Andrea Mogollon Nossa (CENIT)" userId="f6a3e592-cc27-4858-b185-ff86be206069" providerId="ADAL" clId="{7512AD08-729F-4631-AFF5-A13DAAFD1BEE}" dt="2020-07-27T23:07:16.716" v="974"/>
          <ac:spMkLst>
            <pc:docMk/>
            <pc:sldMk cId="1108072925" sldId="2134804343"/>
            <ac:spMk id="41" creationId="{9B53F194-6882-481C-B160-83EAF3D2218E}"/>
          </ac:spMkLst>
        </pc:spChg>
        <pc:spChg chg="add del mod">
          <ac:chgData name="Andrea Mogollon Nossa (CENIT)" userId="f6a3e592-cc27-4858-b185-ff86be206069" providerId="ADAL" clId="{7512AD08-729F-4631-AFF5-A13DAAFD1BEE}" dt="2020-07-27T23:40:17.504" v="1002" actId="478"/>
          <ac:spMkLst>
            <pc:docMk/>
            <pc:sldMk cId="1108072925" sldId="2134804343"/>
            <ac:spMk id="42" creationId="{306DEF00-482D-4617-B78C-54160C0FB52C}"/>
          </ac:spMkLst>
        </pc:spChg>
        <pc:spChg chg="add del mod">
          <ac:chgData name="Andrea Mogollon Nossa (CENIT)" userId="f6a3e592-cc27-4858-b185-ff86be206069" providerId="ADAL" clId="{7512AD08-729F-4631-AFF5-A13DAAFD1BEE}" dt="2020-07-27T23:40:17.504" v="1002" actId="478"/>
          <ac:spMkLst>
            <pc:docMk/>
            <pc:sldMk cId="1108072925" sldId="2134804343"/>
            <ac:spMk id="43" creationId="{2D9D0790-7F4B-4173-80C6-C08093270346}"/>
          </ac:spMkLst>
        </pc:spChg>
        <pc:spChg chg="add del mod">
          <ac:chgData name="Andrea Mogollon Nossa (CENIT)" userId="f6a3e592-cc27-4858-b185-ff86be206069" providerId="ADAL" clId="{7512AD08-729F-4631-AFF5-A13DAAFD1BEE}" dt="2020-07-27T23:40:17.504" v="1002" actId="478"/>
          <ac:spMkLst>
            <pc:docMk/>
            <pc:sldMk cId="1108072925" sldId="2134804343"/>
            <ac:spMk id="44" creationId="{DB90E561-78D8-4FBC-BC4A-93B5FF00F771}"/>
          </ac:spMkLst>
        </pc:spChg>
        <pc:spChg chg="add del mod">
          <ac:chgData name="Andrea Mogollon Nossa (CENIT)" userId="f6a3e592-cc27-4858-b185-ff86be206069" providerId="ADAL" clId="{7512AD08-729F-4631-AFF5-A13DAAFD1BEE}" dt="2020-07-27T23:40:17.504" v="1002" actId="478"/>
          <ac:spMkLst>
            <pc:docMk/>
            <pc:sldMk cId="1108072925" sldId="2134804343"/>
            <ac:spMk id="45" creationId="{CB703A56-3BD2-47FF-B2CD-9C1A19C4931A}"/>
          </ac:spMkLst>
        </pc:spChg>
        <pc:spChg chg="add del mod">
          <ac:chgData name="Andrea Mogollon Nossa (CENIT)" userId="f6a3e592-cc27-4858-b185-ff86be206069" providerId="ADAL" clId="{7512AD08-729F-4631-AFF5-A13DAAFD1BEE}" dt="2020-07-27T23:40:17.504" v="1002" actId="478"/>
          <ac:spMkLst>
            <pc:docMk/>
            <pc:sldMk cId="1108072925" sldId="2134804343"/>
            <ac:spMk id="46" creationId="{5636C88E-8BFA-4585-9230-337BB61F07D7}"/>
          </ac:spMkLst>
        </pc:spChg>
        <pc:spChg chg="add del mod">
          <ac:chgData name="Andrea Mogollon Nossa (CENIT)" userId="f6a3e592-cc27-4858-b185-ff86be206069" providerId="ADAL" clId="{7512AD08-729F-4631-AFF5-A13DAAFD1BEE}" dt="2020-07-27T23:40:17.504" v="1002" actId="478"/>
          <ac:spMkLst>
            <pc:docMk/>
            <pc:sldMk cId="1108072925" sldId="2134804343"/>
            <ac:spMk id="47" creationId="{9BEF0AF9-A9C4-4973-9168-DB8A689D8742}"/>
          </ac:spMkLst>
        </pc:spChg>
        <pc:spChg chg="add del mod">
          <ac:chgData name="Andrea Mogollon Nossa (CENIT)" userId="f6a3e592-cc27-4858-b185-ff86be206069" providerId="ADAL" clId="{7512AD08-729F-4631-AFF5-A13DAAFD1BEE}" dt="2020-07-27T23:40:17.504" v="1002" actId="478"/>
          <ac:spMkLst>
            <pc:docMk/>
            <pc:sldMk cId="1108072925" sldId="2134804343"/>
            <ac:spMk id="48" creationId="{5573296C-608D-46EB-B964-16B38EAA0A49}"/>
          </ac:spMkLst>
        </pc:spChg>
        <pc:spChg chg="add del mod">
          <ac:chgData name="Andrea Mogollon Nossa (CENIT)" userId="f6a3e592-cc27-4858-b185-ff86be206069" providerId="ADAL" clId="{7512AD08-729F-4631-AFF5-A13DAAFD1BEE}" dt="2020-07-27T23:40:17.504" v="1002" actId="478"/>
          <ac:spMkLst>
            <pc:docMk/>
            <pc:sldMk cId="1108072925" sldId="2134804343"/>
            <ac:spMk id="49" creationId="{A6892569-D606-4ABE-90EC-F2EA7719A48B}"/>
          </ac:spMkLst>
        </pc:spChg>
        <pc:spChg chg="add del mod">
          <ac:chgData name="Andrea Mogollon Nossa (CENIT)" userId="f6a3e592-cc27-4858-b185-ff86be206069" providerId="ADAL" clId="{7512AD08-729F-4631-AFF5-A13DAAFD1BEE}" dt="2020-07-27T23:40:17.504" v="1002" actId="478"/>
          <ac:spMkLst>
            <pc:docMk/>
            <pc:sldMk cId="1108072925" sldId="2134804343"/>
            <ac:spMk id="50" creationId="{13AF632E-768D-4773-B855-1077E97D35CD}"/>
          </ac:spMkLst>
        </pc:spChg>
        <pc:spChg chg="add del mod">
          <ac:chgData name="Andrea Mogollon Nossa (CENIT)" userId="f6a3e592-cc27-4858-b185-ff86be206069" providerId="ADAL" clId="{7512AD08-729F-4631-AFF5-A13DAAFD1BEE}" dt="2020-07-27T23:40:17.504" v="1002" actId="478"/>
          <ac:spMkLst>
            <pc:docMk/>
            <pc:sldMk cId="1108072925" sldId="2134804343"/>
            <ac:spMk id="51" creationId="{B28D3C10-8675-4CFA-B062-9C3BA1F6EFB8}"/>
          </ac:spMkLst>
        </pc:spChg>
        <pc:spChg chg="add del mod">
          <ac:chgData name="Andrea Mogollon Nossa (CENIT)" userId="f6a3e592-cc27-4858-b185-ff86be206069" providerId="ADAL" clId="{7512AD08-729F-4631-AFF5-A13DAAFD1BEE}" dt="2020-07-27T23:40:17.504" v="1002" actId="478"/>
          <ac:spMkLst>
            <pc:docMk/>
            <pc:sldMk cId="1108072925" sldId="2134804343"/>
            <ac:spMk id="52" creationId="{EADB8323-88BD-4392-AEDD-E1BF8ECFB639}"/>
          </ac:spMkLst>
        </pc:spChg>
        <pc:spChg chg="add del mod">
          <ac:chgData name="Andrea Mogollon Nossa (CENIT)" userId="f6a3e592-cc27-4858-b185-ff86be206069" providerId="ADAL" clId="{7512AD08-729F-4631-AFF5-A13DAAFD1BEE}" dt="2020-07-27T23:40:17.504" v="1002" actId="478"/>
          <ac:spMkLst>
            <pc:docMk/>
            <pc:sldMk cId="1108072925" sldId="2134804343"/>
            <ac:spMk id="53" creationId="{8E327280-F865-4140-AABC-90343BAEEF5D}"/>
          </ac:spMkLst>
        </pc:spChg>
        <pc:spChg chg="add del mod">
          <ac:chgData name="Andrea Mogollon Nossa (CENIT)" userId="f6a3e592-cc27-4858-b185-ff86be206069" providerId="ADAL" clId="{7512AD08-729F-4631-AFF5-A13DAAFD1BEE}" dt="2020-07-27T23:40:17.504" v="1002" actId="478"/>
          <ac:spMkLst>
            <pc:docMk/>
            <pc:sldMk cId="1108072925" sldId="2134804343"/>
            <ac:spMk id="54" creationId="{08D4DD66-806E-4346-914F-B5F4D83C9328}"/>
          </ac:spMkLst>
        </pc:spChg>
        <pc:spChg chg="add del mod">
          <ac:chgData name="Andrea Mogollon Nossa (CENIT)" userId="f6a3e592-cc27-4858-b185-ff86be206069" providerId="ADAL" clId="{7512AD08-729F-4631-AFF5-A13DAAFD1BEE}" dt="2020-07-27T23:40:17.504" v="1002" actId="478"/>
          <ac:spMkLst>
            <pc:docMk/>
            <pc:sldMk cId="1108072925" sldId="2134804343"/>
            <ac:spMk id="55" creationId="{93A61655-F903-4A61-B918-645242E330B5}"/>
          </ac:spMkLst>
        </pc:spChg>
        <pc:spChg chg="add del mod">
          <ac:chgData name="Andrea Mogollon Nossa (CENIT)" userId="f6a3e592-cc27-4858-b185-ff86be206069" providerId="ADAL" clId="{7512AD08-729F-4631-AFF5-A13DAAFD1BEE}" dt="2020-07-28T00:01:30.681" v="1182" actId="478"/>
          <ac:spMkLst>
            <pc:docMk/>
            <pc:sldMk cId="1108072925" sldId="2134804343"/>
            <ac:spMk id="56" creationId="{80A16A5E-2DC3-48C5-A193-0E30F1ED1018}"/>
          </ac:spMkLst>
        </pc:spChg>
        <pc:spChg chg="add del mod">
          <ac:chgData name="Andrea Mogollon Nossa (CENIT)" userId="f6a3e592-cc27-4858-b185-ff86be206069" providerId="ADAL" clId="{7512AD08-729F-4631-AFF5-A13DAAFD1BEE}" dt="2020-07-28T00:01:30.681" v="1182" actId="478"/>
          <ac:spMkLst>
            <pc:docMk/>
            <pc:sldMk cId="1108072925" sldId="2134804343"/>
            <ac:spMk id="57" creationId="{F18B3914-CB2D-4935-AEEB-059797854C52}"/>
          </ac:spMkLst>
        </pc:spChg>
        <pc:spChg chg="add del mod">
          <ac:chgData name="Andrea Mogollon Nossa (CENIT)" userId="f6a3e592-cc27-4858-b185-ff86be206069" providerId="ADAL" clId="{7512AD08-729F-4631-AFF5-A13DAAFD1BEE}" dt="2020-07-28T00:01:30.681" v="1182" actId="478"/>
          <ac:spMkLst>
            <pc:docMk/>
            <pc:sldMk cId="1108072925" sldId="2134804343"/>
            <ac:spMk id="58" creationId="{A4F91B5A-86B7-4961-A1E6-381B110F6226}"/>
          </ac:spMkLst>
        </pc:spChg>
        <pc:spChg chg="add del mod">
          <ac:chgData name="Andrea Mogollon Nossa (CENIT)" userId="f6a3e592-cc27-4858-b185-ff86be206069" providerId="ADAL" clId="{7512AD08-729F-4631-AFF5-A13DAAFD1BEE}" dt="2020-07-28T00:01:30.681" v="1182" actId="478"/>
          <ac:spMkLst>
            <pc:docMk/>
            <pc:sldMk cId="1108072925" sldId="2134804343"/>
            <ac:spMk id="59" creationId="{F41F26D9-983A-486D-B690-3F42952D8E17}"/>
          </ac:spMkLst>
        </pc:spChg>
        <pc:spChg chg="add del mod">
          <ac:chgData name="Andrea Mogollon Nossa (CENIT)" userId="f6a3e592-cc27-4858-b185-ff86be206069" providerId="ADAL" clId="{7512AD08-729F-4631-AFF5-A13DAAFD1BEE}" dt="2020-07-28T00:01:30.681" v="1182" actId="478"/>
          <ac:spMkLst>
            <pc:docMk/>
            <pc:sldMk cId="1108072925" sldId="2134804343"/>
            <ac:spMk id="60" creationId="{833E97BE-162F-4A8D-A763-49CF918C16B0}"/>
          </ac:spMkLst>
        </pc:spChg>
        <pc:spChg chg="mod">
          <ac:chgData name="Andrea Mogollon Nossa (CENIT)" userId="f6a3e592-cc27-4858-b185-ff86be206069" providerId="ADAL" clId="{7512AD08-729F-4631-AFF5-A13DAAFD1BEE}" dt="2020-07-27T23:40:26.387" v="1003"/>
          <ac:spMkLst>
            <pc:docMk/>
            <pc:sldMk cId="1108072925" sldId="2134804343"/>
            <ac:spMk id="62" creationId="{238965F7-9FF4-4F6F-8EB4-81D5FC94D85C}"/>
          </ac:spMkLst>
        </pc:spChg>
        <pc:spChg chg="mod">
          <ac:chgData name="Andrea Mogollon Nossa (CENIT)" userId="f6a3e592-cc27-4858-b185-ff86be206069" providerId="ADAL" clId="{7512AD08-729F-4631-AFF5-A13DAAFD1BEE}" dt="2020-07-27T23:40:26.387" v="1003"/>
          <ac:spMkLst>
            <pc:docMk/>
            <pc:sldMk cId="1108072925" sldId="2134804343"/>
            <ac:spMk id="63" creationId="{0BB5E0A4-5A6B-466E-BD54-37D72D365AD1}"/>
          </ac:spMkLst>
        </pc:spChg>
        <pc:spChg chg="mod">
          <ac:chgData name="Andrea Mogollon Nossa (CENIT)" userId="f6a3e592-cc27-4858-b185-ff86be206069" providerId="ADAL" clId="{7512AD08-729F-4631-AFF5-A13DAAFD1BEE}" dt="2020-07-27T23:40:26.387" v="1003"/>
          <ac:spMkLst>
            <pc:docMk/>
            <pc:sldMk cId="1108072925" sldId="2134804343"/>
            <ac:spMk id="65" creationId="{2335A339-0837-4CF8-8DD3-C6F1BBE0AE9B}"/>
          </ac:spMkLst>
        </pc:spChg>
        <pc:spChg chg="mod">
          <ac:chgData name="Andrea Mogollon Nossa (CENIT)" userId="f6a3e592-cc27-4858-b185-ff86be206069" providerId="ADAL" clId="{7512AD08-729F-4631-AFF5-A13DAAFD1BEE}" dt="2020-07-27T23:40:26.387" v="1003"/>
          <ac:spMkLst>
            <pc:docMk/>
            <pc:sldMk cId="1108072925" sldId="2134804343"/>
            <ac:spMk id="66" creationId="{D9A397F4-5476-4FCB-921A-F4A88EB3714F}"/>
          </ac:spMkLst>
        </pc:spChg>
        <pc:spChg chg="mod">
          <ac:chgData name="Andrea Mogollon Nossa (CENIT)" userId="f6a3e592-cc27-4858-b185-ff86be206069" providerId="ADAL" clId="{7512AD08-729F-4631-AFF5-A13DAAFD1BEE}" dt="2020-07-27T23:40:26.387" v="1003"/>
          <ac:spMkLst>
            <pc:docMk/>
            <pc:sldMk cId="1108072925" sldId="2134804343"/>
            <ac:spMk id="68" creationId="{89CBBEB1-F520-438B-98E6-FA6F6470B092}"/>
          </ac:spMkLst>
        </pc:spChg>
        <pc:spChg chg="mod">
          <ac:chgData name="Andrea Mogollon Nossa (CENIT)" userId="f6a3e592-cc27-4858-b185-ff86be206069" providerId="ADAL" clId="{7512AD08-729F-4631-AFF5-A13DAAFD1BEE}" dt="2020-07-27T23:40:26.387" v="1003"/>
          <ac:spMkLst>
            <pc:docMk/>
            <pc:sldMk cId="1108072925" sldId="2134804343"/>
            <ac:spMk id="69" creationId="{1D0990BA-E9A0-4CCA-92B5-5FA9EF0D9963}"/>
          </ac:spMkLst>
        </pc:spChg>
        <pc:spChg chg="add del mod">
          <ac:chgData name="Andrea Mogollon Nossa (CENIT)" userId="f6a3e592-cc27-4858-b185-ff86be206069" providerId="ADAL" clId="{7512AD08-729F-4631-AFF5-A13DAAFD1BEE}" dt="2020-07-28T00:01:30.681" v="1182" actId="478"/>
          <ac:spMkLst>
            <pc:docMk/>
            <pc:sldMk cId="1108072925" sldId="2134804343"/>
            <ac:spMk id="70" creationId="{D1488391-2A35-4762-A508-80C4BF641347}"/>
          </ac:spMkLst>
        </pc:spChg>
        <pc:spChg chg="add del mod">
          <ac:chgData name="Andrea Mogollon Nossa (CENIT)" userId="f6a3e592-cc27-4858-b185-ff86be206069" providerId="ADAL" clId="{7512AD08-729F-4631-AFF5-A13DAAFD1BEE}" dt="2020-07-28T00:01:30.681" v="1182" actId="478"/>
          <ac:spMkLst>
            <pc:docMk/>
            <pc:sldMk cId="1108072925" sldId="2134804343"/>
            <ac:spMk id="71" creationId="{C479F27E-BC0A-4ABC-9D91-83C349FBE576}"/>
          </ac:spMkLst>
        </pc:spChg>
        <pc:spChg chg="add del mod">
          <ac:chgData name="Andrea Mogollon Nossa (CENIT)" userId="f6a3e592-cc27-4858-b185-ff86be206069" providerId="ADAL" clId="{7512AD08-729F-4631-AFF5-A13DAAFD1BEE}" dt="2020-07-28T00:01:30.681" v="1182" actId="478"/>
          <ac:spMkLst>
            <pc:docMk/>
            <pc:sldMk cId="1108072925" sldId="2134804343"/>
            <ac:spMk id="72" creationId="{099548EA-BCA6-4418-8BBE-EDAF3EE26B2C}"/>
          </ac:spMkLst>
        </pc:spChg>
        <pc:spChg chg="add del mod">
          <ac:chgData name="Andrea Mogollon Nossa (CENIT)" userId="f6a3e592-cc27-4858-b185-ff86be206069" providerId="ADAL" clId="{7512AD08-729F-4631-AFF5-A13DAAFD1BEE}" dt="2020-07-28T00:01:30.681" v="1182" actId="478"/>
          <ac:spMkLst>
            <pc:docMk/>
            <pc:sldMk cId="1108072925" sldId="2134804343"/>
            <ac:spMk id="73" creationId="{BE465184-3A43-4E8F-9C11-D24CBCB0D99F}"/>
          </ac:spMkLst>
        </pc:spChg>
        <pc:spChg chg="add del mod">
          <ac:chgData name="Andrea Mogollon Nossa (CENIT)" userId="f6a3e592-cc27-4858-b185-ff86be206069" providerId="ADAL" clId="{7512AD08-729F-4631-AFF5-A13DAAFD1BEE}" dt="2020-07-28T00:01:30.681" v="1182" actId="478"/>
          <ac:spMkLst>
            <pc:docMk/>
            <pc:sldMk cId="1108072925" sldId="2134804343"/>
            <ac:spMk id="74" creationId="{64FD1836-2612-4A9A-8061-FD4061A38D24}"/>
          </ac:spMkLst>
        </pc:spChg>
        <pc:spChg chg="add del mod">
          <ac:chgData name="Andrea Mogollon Nossa (CENIT)" userId="f6a3e592-cc27-4858-b185-ff86be206069" providerId="ADAL" clId="{7512AD08-729F-4631-AFF5-A13DAAFD1BEE}" dt="2020-07-28T00:01:30.681" v="1182" actId="478"/>
          <ac:spMkLst>
            <pc:docMk/>
            <pc:sldMk cId="1108072925" sldId="2134804343"/>
            <ac:spMk id="75" creationId="{287A5647-9D89-4E79-9046-8D1BFD7143F8}"/>
          </ac:spMkLst>
        </pc:spChg>
        <pc:spChg chg="add del mod">
          <ac:chgData name="Andrea Mogollon Nossa (CENIT)" userId="f6a3e592-cc27-4858-b185-ff86be206069" providerId="ADAL" clId="{7512AD08-729F-4631-AFF5-A13DAAFD1BEE}" dt="2020-07-28T00:01:30.681" v="1182" actId="478"/>
          <ac:spMkLst>
            <pc:docMk/>
            <pc:sldMk cId="1108072925" sldId="2134804343"/>
            <ac:spMk id="76" creationId="{987878F7-C79D-469A-A39B-BBED18A1705F}"/>
          </ac:spMkLst>
        </pc:spChg>
        <pc:spChg chg="add del mod">
          <ac:chgData name="Andrea Mogollon Nossa (CENIT)" userId="f6a3e592-cc27-4858-b185-ff86be206069" providerId="ADAL" clId="{7512AD08-729F-4631-AFF5-A13DAAFD1BEE}" dt="2020-07-28T00:01:30.681" v="1182" actId="478"/>
          <ac:spMkLst>
            <pc:docMk/>
            <pc:sldMk cId="1108072925" sldId="2134804343"/>
            <ac:spMk id="77" creationId="{E9E4BA15-5CF4-4FDB-B8D0-C9E8E49A3AB4}"/>
          </ac:spMkLst>
        </pc:spChg>
        <pc:spChg chg="add del mod">
          <ac:chgData name="Andrea Mogollon Nossa (CENIT)" userId="f6a3e592-cc27-4858-b185-ff86be206069" providerId="ADAL" clId="{7512AD08-729F-4631-AFF5-A13DAAFD1BEE}" dt="2020-07-28T00:01:30.681" v="1182" actId="478"/>
          <ac:spMkLst>
            <pc:docMk/>
            <pc:sldMk cId="1108072925" sldId="2134804343"/>
            <ac:spMk id="78" creationId="{BC9416A2-3DFB-4C88-81DB-D3F3D751C4E2}"/>
          </ac:spMkLst>
        </pc:spChg>
        <pc:spChg chg="add del mod">
          <ac:chgData name="Andrea Mogollon Nossa (CENIT)" userId="f6a3e592-cc27-4858-b185-ff86be206069" providerId="ADAL" clId="{7512AD08-729F-4631-AFF5-A13DAAFD1BEE}" dt="2020-07-28T00:01:30.681" v="1182" actId="478"/>
          <ac:spMkLst>
            <pc:docMk/>
            <pc:sldMk cId="1108072925" sldId="2134804343"/>
            <ac:spMk id="79" creationId="{8CC45AFB-E396-4899-BC1B-04CB4FD910C7}"/>
          </ac:spMkLst>
        </pc:spChg>
        <pc:spChg chg="add del mod">
          <ac:chgData name="Andrea Mogollon Nossa (CENIT)" userId="f6a3e592-cc27-4858-b185-ff86be206069" providerId="ADAL" clId="{7512AD08-729F-4631-AFF5-A13DAAFD1BEE}" dt="2020-07-28T00:01:30.681" v="1182" actId="478"/>
          <ac:spMkLst>
            <pc:docMk/>
            <pc:sldMk cId="1108072925" sldId="2134804343"/>
            <ac:spMk id="80" creationId="{DD5A7BBE-D503-4996-9F2A-24031475BB45}"/>
          </ac:spMkLst>
        </pc:spChg>
        <pc:spChg chg="add del mod">
          <ac:chgData name="Andrea Mogollon Nossa (CENIT)" userId="f6a3e592-cc27-4858-b185-ff86be206069" providerId="ADAL" clId="{7512AD08-729F-4631-AFF5-A13DAAFD1BEE}" dt="2020-07-28T00:01:30.681" v="1182" actId="478"/>
          <ac:spMkLst>
            <pc:docMk/>
            <pc:sldMk cId="1108072925" sldId="2134804343"/>
            <ac:spMk id="81" creationId="{DBFAF20F-9577-475B-A7E5-337370AEE6B4}"/>
          </ac:spMkLst>
        </pc:spChg>
        <pc:spChg chg="add del mod">
          <ac:chgData name="Andrea Mogollon Nossa (CENIT)" userId="f6a3e592-cc27-4858-b185-ff86be206069" providerId="ADAL" clId="{7512AD08-729F-4631-AFF5-A13DAAFD1BEE}" dt="2020-07-28T00:01:30.681" v="1182" actId="478"/>
          <ac:spMkLst>
            <pc:docMk/>
            <pc:sldMk cId="1108072925" sldId="2134804343"/>
            <ac:spMk id="82" creationId="{997846B4-2397-4D6B-86F3-AEBD8DC7310F}"/>
          </ac:spMkLst>
        </pc:spChg>
        <pc:spChg chg="add del mod">
          <ac:chgData name="Andrea Mogollon Nossa (CENIT)" userId="f6a3e592-cc27-4858-b185-ff86be206069" providerId="ADAL" clId="{7512AD08-729F-4631-AFF5-A13DAAFD1BEE}" dt="2020-07-28T00:01:30.681" v="1182" actId="478"/>
          <ac:spMkLst>
            <pc:docMk/>
            <pc:sldMk cId="1108072925" sldId="2134804343"/>
            <ac:spMk id="83" creationId="{58E9E508-409E-47D8-971D-332F02031472}"/>
          </ac:spMkLst>
        </pc:spChg>
        <pc:spChg chg="add mod">
          <ac:chgData name="Andrea Mogollon Nossa (CENIT)" userId="f6a3e592-cc27-4858-b185-ff86be206069" providerId="ADAL" clId="{7512AD08-729F-4631-AFF5-A13DAAFD1BEE}" dt="2020-07-28T00:01:39.110" v="1184" actId="1076"/>
          <ac:spMkLst>
            <pc:docMk/>
            <pc:sldMk cId="1108072925" sldId="2134804343"/>
            <ac:spMk id="84" creationId="{886FB85F-4045-49C0-B9EC-FEBB97BC84D1}"/>
          </ac:spMkLst>
        </pc:spChg>
        <pc:spChg chg="add mod">
          <ac:chgData name="Andrea Mogollon Nossa (CENIT)" userId="f6a3e592-cc27-4858-b185-ff86be206069" providerId="ADAL" clId="{7512AD08-729F-4631-AFF5-A13DAAFD1BEE}" dt="2020-07-28T00:01:39.110" v="1184" actId="1076"/>
          <ac:spMkLst>
            <pc:docMk/>
            <pc:sldMk cId="1108072925" sldId="2134804343"/>
            <ac:spMk id="85" creationId="{6C4D690C-0DB4-41A6-A8EE-0D7063849892}"/>
          </ac:spMkLst>
        </pc:spChg>
        <pc:spChg chg="add mod">
          <ac:chgData name="Andrea Mogollon Nossa (CENIT)" userId="f6a3e592-cc27-4858-b185-ff86be206069" providerId="ADAL" clId="{7512AD08-729F-4631-AFF5-A13DAAFD1BEE}" dt="2020-07-28T00:01:39.110" v="1184" actId="1076"/>
          <ac:spMkLst>
            <pc:docMk/>
            <pc:sldMk cId="1108072925" sldId="2134804343"/>
            <ac:spMk id="86" creationId="{67F18975-54EA-4187-B6DC-1E49D8E3794E}"/>
          </ac:spMkLst>
        </pc:spChg>
        <pc:spChg chg="add mod">
          <ac:chgData name="Andrea Mogollon Nossa (CENIT)" userId="f6a3e592-cc27-4858-b185-ff86be206069" providerId="ADAL" clId="{7512AD08-729F-4631-AFF5-A13DAAFD1BEE}" dt="2020-07-28T00:01:39.110" v="1184" actId="1076"/>
          <ac:spMkLst>
            <pc:docMk/>
            <pc:sldMk cId="1108072925" sldId="2134804343"/>
            <ac:spMk id="87" creationId="{455C26A8-EBAD-4421-B4F0-87FC292780FA}"/>
          </ac:spMkLst>
        </pc:spChg>
        <pc:spChg chg="add mod">
          <ac:chgData name="Andrea Mogollon Nossa (CENIT)" userId="f6a3e592-cc27-4858-b185-ff86be206069" providerId="ADAL" clId="{7512AD08-729F-4631-AFF5-A13DAAFD1BEE}" dt="2020-07-28T00:01:39.110" v="1184" actId="1076"/>
          <ac:spMkLst>
            <pc:docMk/>
            <pc:sldMk cId="1108072925" sldId="2134804343"/>
            <ac:spMk id="88" creationId="{58E7088F-6565-4477-A2B9-065944FF04EF}"/>
          </ac:spMkLst>
        </pc:spChg>
        <pc:spChg chg="mod">
          <ac:chgData name="Andrea Mogollon Nossa (CENIT)" userId="f6a3e592-cc27-4858-b185-ff86be206069" providerId="ADAL" clId="{7512AD08-729F-4631-AFF5-A13DAAFD1BEE}" dt="2020-07-28T00:01:36.167" v="1183"/>
          <ac:spMkLst>
            <pc:docMk/>
            <pc:sldMk cId="1108072925" sldId="2134804343"/>
            <ac:spMk id="90" creationId="{C688E8D0-B289-4753-B07B-3E88A33C8527}"/>
          </ac:spMkLst>
        </pc:spChg>
        <pc:spChg chg="mod">
          <ac:chgData name="Andrea Mogollon Nossa (CENIT)" userId="f6a3e592-cc27-4858-b185-ff86be206069" providerId="ADAL" clId="{7512AD08-729F-4631-AFF5-A13DAAFD1BEE}" dt="2020-07-28T00:01:36.167" v="1183"/>
          <ac:spMkLst>
            <pc:docMk/>
            <pc:sldMk cId="1108072925" sldId="2134804343"/>
            <ac:spMk id="91" creationId="{BBCC8BAA-7FFD-4B43-843D-06A05AE6C439}"/>
          </ac:spMkLst>
        </pc:spChg>
        <pc:spChg chg="mod">
          <ac:chgData name="Andrea Mogollon Nossa (CENIT)" userId="f6a3e592-cc27-4858-b185-ff86be206069" providerId="ADAL" clId="{7512AD08-729F-4631-AFF5-A13DAAFD1BEE}" dt="2020-07-28T00:01:36.167" v="1183"/>
          <ac:spMkLst>
            <pc:docMk/>
            <pc:sldMk cId="1108072925" sldId="2134804343"/>
            <ac:spMk id="93" creationId="{504D58DD-A8AF-4E19-A298-E8C3F4298695}"/>
          </ac:spMkLst>
        </pc:spChg>
        <pc:spChg chg="mod">
          <ac:chgData name="Andrea Mogollon Nossa (CENIT)" userId="f6a3e592-cc27-4858-b185-ff86be206069" providerId="ADAL" clId="{7512AD08-729F-4631-AFF5-A13DAAFD1BEE}" dt="2020-07-28T00:01:36.167" v="1183"/>
          <ac:spMkLst>
            <pc:docMk/>
            <pc:sldMk cId="1108072925" sldId="2134804343"/>
            <ac:spMk id="94" creationId="{802CB3DF-F07C-4654-BEC6-CED186A1D638}"/>
          </ac:spMkLst>
        </pc:spChg>
        <pc:spChg chg="mod">
          <ac:chgData name="Andrea Mogollon Nossa (CENIT)" userId="f6a3e592-cc27-4858-b185-ff86be206069" providerId="ADAL" clId="{7512AD08-729F-4631-AFF5-A13DAAFD1BEE}" dt="2020-07-28T00:01:36.167" v="1183"/>
          <ac:spMkLst>
            <pc:docMk/>
            <pc:sldMk cId="1108072925" sldId="2134804343"/>
            <ac:spMk id="96" creationId="{A90A0CD4-C9A4-444E-AB65-771FF5EF730B}"/>
          </ac:spMkLst>
        </pc:spChg>
        <pc:spChg chg="mod">
          <ac:chgData name="Andrea Mogollon Nossa (CENIT)" userId="f6a3e592-cc27-4858-b185-ff86be206069" providerId="ADAL" clId="{7512AD08-729F-4631-AFF5-A13DAAFD1BEE}" dt="2020-07-28T00:01:36.167" v="1183"/>
          <ac:spMkLst>
            <pc:docMk/>
            <pc:sldMk cId="1108072925" sldId="2134804343"/>
            <ac:spMk id="97" creationId="{CD1CCC2A-CF3E-4E52-9801-7E74B9A5B0CD}"/>
          </ac:spMkLst>
        </pc:spChg>
        <pc:spChg chg="add mod">
          <ac:chgData name="Andrea Mogollon Nossa (CENIT)" userId="f6a3e592-cc27-4858-b185-ff86be206069" providerId="ADAL" clId="{7512AD08-729F-4631-AFF5-A13DAAFD1BEE}" dt="2020-07-28T00:01:39.110" v="1184" actId="1076"/>
          <ac:spMkLst>
            <pc:docMk/>
            <pc:sldMk cId="1108072925" sldId="2134804343"/>
            <ac:spMk id="98" creationId="{2874F4A7-BA31-42F8-8B44-D2B5FBA0E2F3}"/>
          </ac:spMkLst>
        </pc:spChg>
        <pc:spChg chg="add mod">
          <ac:chgData name="Andrea Mogollon Nossa (CENIT)" userId="f6a3e592-cc27-4858-b185-ff86be206069" providerId="ADAL" clId="{7512AD08-729F-4631-AFF5-A13DAAFD1BEE}" dt="2020-07-28T00:01:39.110" v="1184" actId="1076"/>
          <ac:spMkLst>
            <pc:docMk/>
            <pc:sldMk cId="1108072925" sldId="2134804343"/>
            <ac:spMk id="99" creationId="{998B0A73-274C-481A-A4B8-8A1CBF5C7BCE}"/>
          </ac:spMkLst>
        </pc:spChg>
        <pc:spChg chg="add mod">
          <ac:chgData name="Andrea Mogollon Nossa (CENIT)" userId="f6a3e592-cc27-4858-b185-ff86be206069" providerId="ADAL" clId="{7512AD08-729F-4631-AFF5-A13DAAFD1BEE}" dt="2020-07-28T00:01:39.110" v="1184" actId="1076"/>
          <ac:spMkLst>
            <pc:docMk/>
            <pc:sldMk cId="1108072925" sldId="2134804343"/>
            <ac:spMk id="100" creationId="{C18B66AE-9817-483D-AAE7-505E4F691E5D}"/>
          </ac:spMkLst>
        </pc:spChg>
        <pc:spChg chg="add mod">
          <ac:chgData name="Andrea Mogollon Nossa (CENIT)" userId="f6a3e592-cc27-4858-b185-ff86be206069" providerId="ADAL" clId="{7512AD08-729F-4631-AFF5-A13DAAFD1BEE}" dt="2020-07-28T00:01:39.110" v="1184" actId="1076"/>
          <ac:spMkLst>
            <pc:docMk/>
            <pc:sldMk cId="1108072925" sldId="2134804343"/>
            <ac:spMk id="101" creationId="{DA655B72-124C-4293-8F6E-D524B87ECFC7}"/>
          </ac:spMkLst>
        </pc:spChg>
        <pc:spChg chg="add mod">
          <ac:chgData name="Andrea Mogollon Nossa (CENIT)" userId="f6a3e592-cc27-4858-b185-ff86be206069" providerId="ADAL" clId="{7512AD08-729F-4631-AFF5-A13DAAFD1BEE}" dt="2020-07-28T00:01:39.110" v="1184" actId="1076"/>
          <ac:spMkLst>
            <pc:docMk/>
            <pc:sldMk cId="1108072925" sldId="2134804343"/>
            <ac:spMk id="102" creationId="{D67A4E90-F0D2-4EE2-98BE-5F82E84023F3}"/>
          </ac:spMkLst>
        </pc:spChg>
        <pc:spChg chg="add mod">
          <ac:chgData name="Andrea Mogollon Nossa (CENIT)" userId="f6a3e592-cc27-4858-b185-ff86be206069" providerId="ADAL" clId="{7512AD08-729F-4631-AFF5-A13DAAFD1BEE}" dt="2020-07-28T00:01:39.110" v="1184" actId="1076"/>
          <ac:spMkLst>
            <pc:docMk/>
            <pc:sldMk cId="1108072925" sldId="2134804343"/>
            <ac:spMk id="103" creationId="{F2FC0816-B83C-46C8-9FA1-F426211DB612}"/>
          </ac:spMkLst>
        </pc:spChg>
        <pc:spChg chg="add mod">
          <ac:chgData name="Andrea Mogollon Nossa (CENIT)" userId="f6a3e592-cc27-4858-b185-ff86be206069" providerId="ADAL" clId="{7512AD08-729F-4631-AFF5-A13DAAFD1BEE}" dt="2020-07-28T00:01:39.110" v="1184" actId="1076"/>
          <ac:spMkLst>
            <pc:docMk/>
            <pc:sldMk cId="1108072925" sldId="2134804343"/>
            <ac:spMk id="104" creationId="{FBA1521A-5C1D-4407-905C-71C307B27F97}"/>
          </ac:spMkLst>
        </pc:spChg>
        <pc:spChg chg="add mod">
          <ac:chgData name="Andrea Mogollon Nossa (CENIT)" userId="f6a3e592-cc27-4858-b185-ff86be206069" providerId="ADAL" clId="{7512AD08-729F-4631-AFF5-A13DAAFD1BEE}" dt="2020-07-28T00:01:39.110" v="1184" actId="1076"/>
          <ac:spMkLst>
            <pc:docMk/>
            <pc:sldMk cId="1108072925" sldId="2134804343"/>
            <ac:spMk id="105" creationId="{B56171C3-6BB7-49EC-BD2D-F2473F3C4E2B}"/>
          </ac:spMkLst>
        </pc:spChg>
        <pc:spChg chg="add mod">
          <ac:chgData name="Andrea Mogollon Nossa (CENIT)" userId="f6a3e592-cc27-4858-b185-ff86be206069" providerId="ADAL" clId="{7512AD08-729F-4631-AFF5-A13DAAFD1BEE}" dt="2020-07-28T00:01:39.110" v="1184" actId="1076"/>
          <ac:spMkLst>
            <pc:docMk/>
            <pc:sldMk cId="1108072925" sldId="2134804343"/>
            <ac:spMk id="106" creationId="{47144B9C-3AB4-4608-898D-E5D227B54004}"/>
          </ac:spMkLst>
        </pc:spChg>
        <pc:spChg chg="add mod">
          <ac:chgData name="Andrea Mogollon Nossa (CENIT)" userId="f6a3e592-cc27-4858-b185-ff86be206069" providerId="ADAL" clId="{7512AD08-729F-4631-AFF5-A13DAAFD1BEE}" dt="2020-07-28T00:01:39.110" v="1184" actId="1076"/>
          <ac:spMkLst>
            <pc:docMk/>
            <pc:sldMk cId="1108072925" sldId="2134804343"/>
            <ac:spMk id="107" creationId="{C5E9DB97-7794-4A4A-A523-A103AD0517ED}"/>
          </ac:spMkLst>
        </pc:spChg>
        <pc:spChg chg="add mod">
          <ac:chgData name="Andrea Mogollon Nossa (CENIT)" userId="f6a3e592-cc27-4858-b185-ff86be206069" providerId="ADAL" clId="{7512AD08-729F-4631-AFF5-A13DAAFD1BEE}" dt="2020-07-28T00:01:39.110" v="1184" actId="1076"/>
          <ac:spMkLst>
            <pc:docMk/>
            <pc:sldMk cId="1108072925" sldId="2134804343"/>
            <ac:spMk id="108" creationId="{0DC7BE94-6BD5-46D4-BC49-2B712E9DEB9D}"/>
          </ac:spMkLst>
        </pc:spChg>
        <pc:spChg chg="add mod">
          <ac:chgData name="Andrea Mogollon Nossa (CENIT)" userId="f6a3e592-cc27-4858-b185-ff86be206069" providerId="ADAL" clId="{7512AD08-729F-4631-AFF5-A13DAAFD1BEE}" dt="2020-07-28T00:01:39.110" v="1184" actId="1076"/>
          <ac:spMkLst>
            <pc:docMk/>
            <pc:sldMk cId="1108072925" sldId="2134804343"/>
            <ac:spMk id="109" creationId="{E2C836AB-E138-454F-A410-54DB37F42323}"/>
          </ac:spMkLst>
        </pc:spChg>
        <pc:spChg chg="add mod">
          <ac:chgData name="Andrea Mogollon Nossa (CENIT)" userId="f6a3e592-cc27-4858-b185-ff86be206069" providerId="ADAL" clId="{7512AD08-729F-4631-AFF5-A13DAAFD1BEE}" dt="2020-07-28T00:01:39.110" v="1184" actId="1076"/>
          <ac:spMkLst>
            <pc:docMk/>
            <pc:sldMk cId="1108072925" sldId="2134804343"/>
            <ac:spMk id="110" creationId="{E9975283-C6EA-4D0A-929B-59144ED5D0CE}"/>
          </ac:spMkLst>
        </pc:spChg>
        <pc:spChg chg="add mod">
          <ac:chgData name="Andrea Mogollon Nossa (CENIT)" userId="f6a3e592-cc27-4858-b185-ff86be206069" providerId="ADAL" clId="{7512AD08-729F-4631-AFF5-A13DAAFD1BEE}" dt="2020-07-28T00:01:39.110" v="1184" actId="1076"/>
          <ac:spMkLst>
            <pc:docMk/>
            <pc:sldMk cId="1108072925" sldId="2134804343"/>
            <ac:spMk id="111" creationId="{332D485A-369B-4473-A3F1-550E372F3A44}"/>
          </ac:spMkLst>
        </pc:spChg>
        <pc:spChg chg="mod">
          <ac:chgData name="Andrea Mogollon Nossa (CENIT)" userId="f6a3e592-cc27-4858-b185-ff86be206069" providerId="ADAL" clId="{7512AD08-729F-4631-AFF5-A13DAAFD1BEE}" dt="2020-07-28T17:05:12.408" v="1430" actId="108"/>
          <ac:spMkLst>
            <pc:docMk/>
            <pc:sldMk cId="1108072925" sldId="2134804343"/>
            <ac:spMk id="130" creationId="{E6F7A92A-2E90-4E0A-AE82-D285E1B836CE}"/>
          </ac:spMkLst>
        </pc:spChg>
        <pc:spChg chg="del">
          <ac:chgData name="Andrea Mogollon Nossa (CENIT)" userId="f6a3e592-cc27-4858-b185-ff86be206069" providerId="ADAL" clId="{7512AD08-729F-4631-AFF5-A13DAAFD1BEE}" dt="2020-07-28T17:05:18.314" v="1431" actId="478"/>
          <ac:spMkLst>
            <pc:docMk/>
            <pc:sldMk cId="1108072925" sldId="2134804343"/>
            <ac:spMk id="131" creationId="{C35964BB-AF62-490A-95C9-F74F0297887A}"/>
          </ac:spMkLst>
        </pc:spChg>
        <pc:spChg chg="mod">
          <ac:chgData name="Andrea Mogollon Nossa (CENIT)" userId="f6a3e592-cc27-4858-b185-ff86be206069" providerId="ADAL" clId="{7512AD08-729F-4631-AFF5-A13DAAFD1BEE}" dt="2020-07-28T17:06:19.791" v="1443" actId="1076"/>
          <ac:spMkLst>
            <pc:docMk/>
            <pc:sldMk cId="1108072925" sldId="2134804343"/>
            <ac:spMk id="135" creationId="{5B87A7D7-77D6-4944-AB47-116D5E89008C}"/>
          </ac:spMkLst>
        </pc:spChg>
        <pc:spChg chg="mod">
          <ac:chgData name="Andrea Mogollon Nossa (CENIT)" userId="f6a3e592-cc27-4858-b185-ff86be206069" providerId="ADAL" clId="{7512AD08-729F-4631-AFF5-A13DAAFD1BEE}" dt="2020-07-28T19:08:32.861" v="1458" actId="20577"/>
          <ac:spMkLst>
            <pc:docMk/>
            <pc:sldMk cId="1108072925" sldId="2134804343"/>
            <ac:spMk id="142" creationId="{2B9D1DDC-E53C-4AB4-8F8C-79CC1055A3B5}"/>
          </ac:spMkLst>
        </pc:spChg>
        <pc:spChg chg="mod">
          <ac:chgData name="Andrea Mogollon Nossa (CENIT)" userId="f6a3e592-cc27-4858-b185-ff86be206069" providerId="ADAL" clId="{7512AD08-729F-4631-AFF5-A13DAAFD1BEE}" dt="2020-07-28T17:05:49.638" v="1438" actId="20577"/>
          <ac:spMkLst>
            <pc:docMk/>
            <pc:sldMk cId="1108072925" sldId="2134804343"/>
            <ac:spMk id="157" creationId="{B09E8BC7-6112-462D-8358-7B930C3BA512}"/>
          </ac:spMkLst>
        </pc:spChg>
        <pc:spChg chg="add mod">
          <ac:chgData name="Andrea Mogollon Nossa (CENIT)" userId="f6a3e592-cc27-4858-b185-ff86be206069" providerId="ADAL" clId="{7512AD08-729F-4631-AFF5-A13DAAFD1BEE}" dt="2020-07-28T17:05:26.704" v="1433" actId="1076"/>
          <ac:spMkLst>
            <pc:docMk/>
            <pc:sldMk cId="1108072925" sldId="2134804343"/>
            <ac:spMk id="170" creationId="{407CED4E-C6B4-445C-BB41-36F8991E119E}"/>
          </ac:spMkLst>
        </pc:spChg>
        <pc:spChg chg="add mod">
          <ac:chgData name="Andrea Mogollon Nossa (CENIT)" userId="f6a3e592-cc27-4858-b185-ff86be206069" providerId="ADAL" clId="{7512AD08-729F-4631-AFF5-A13DAAFD1BEE}" dt="2020-07-28T19:08:04.001" v="1452" actId="1076"/>
          <ac:spMkLst>
            <pc:docMk/>
            <pc:sldMk cId="1108072925" sldId="2134804343"/>
            <ac:spMk id="171" creationId="{18B9CD25-EDDB-41F2-A61D-855837F78386}"/>
          </ac:spMkLst>
        </pc:spChg>
        <pc:grpChg chg="add del mod">
          <ac:chgData name="Andrea Mogollon Nossa (CENIT)" userId="f6a3e592-cc27-4858-b185-ff86be206069" providerId="ADAL" clId="{7512AD08-729F-4631-AFF5-A13DAAFD1BEE}" dt="2020-07-27T23:40:17.504" v="1002" actId="478"/>
          <ac:grpSpMkLst>
            <pc:docMk/>
            <pc:sldMk cId="1108072925" sldId="2134804343"/>
            <ac:grpSpMk id="33" creationId="{D45DD21E-2EF0-4BED-9A0F-47A89A0C85EE}"/>
          </ac:grpSpMkLst>
        </pc:grpChg>
        <pc:grpChg chg="add del mod">
          <ac:chgData name="Andrea Mogollon Nossa (CENIT)" userId="f6a3e592-cc27-4858-b185-ff86be206069" providerId="ADAL" clId="{7512AD08-729F-4631-AFF5-A13DAAFD1BEE}" dt="2020-07-27T23:40:17.504" v="1002" actId="478"/>
          <ac:grpSpMkLst>
            <pc:docMk/>
            <pc:sldMk cId="1108072925" sldId="2134804343"/>
            <ac:grpSpMk id="36" creationId="{C60B5EE3-7120-4B36-B7D8-CCBA87BF1E04}"/>
          </ac:grpSpMkLst>
        </pc:grpChg>
        <pc:grpChg chg="add del mod">
          <ac:chgData name="Andrea Mogollon Nossa (CENIT)" userId="f6a3e592-cc27-4858-b185-ff86be206069" providerId="ADAL" clId="{7512AD08-729F-4631-AFF5-A13DAAFD1BEE}" dt="2020-07-27T23:40:17.504" v="1002" actId="478"/>
          <ac:grpSpMkLst>
            <pc:docMk/>
            <pc:sldMk cId="1108072925" sldId="2134804343"/>
            <ac:grpSpMk id="39" creationId="{4E327529-EF35-447B-AA66-14B0E00790E2}"/>
          </ac:grpSpMkLst>
        </pc:grpChg>
        <pc:grpChg chg="add del mod">
          <ac:chgData name="Andrea Mogollon Nossa (CENIT)" userId="f6a3e592-cc27-4858-b185-ff86be206069" providerId="ADAL" clId="{7512AD08-729F-4631-AFF5-A13DAAFD1BEE}" dt="2020-07-28T00:01:30.681" v="1182" actId="478"/>
          <ac:grpSpMkLst>
            <pc:docMk/>
            <pc:sldMk cId="1108072925" sldId="2134804343"/>
            <ac:grpSpMk id="61" creationId="{DA9EEDC4-35D6-4FFB-8907-CD1605170D71}"/>
          </ac:grpSpMkLst>
        </pc:grpChg>
        <pc:grpChg chg="add del mod">
          <ac:chgData name="Andrea Mogollon Nossa (CENIT)" userId="f6a3e592-cc27-4858-b185-ff86be206069" providerId="ADAL" clId="{7512AD08-729F-4631-AFF5-A13DAAFD1BEE}" dt="2020-07-28T00:01:30.681" v="1182" actId="478"/>
          <ac:grpSpMkLst>
            <pc:docMk/>
            <pc:sldMk cId="1108072925" sldId="2134804343"/>
            <ac:grpSpMk id="64" creationId="{EC3A8AA2-F3C5-4203-8A9C-A69307169130}"/>
          </ac:grpSpMkLst>
        </pc:grpChg>
        <pc:grpChg chg="add del mod">
          <ac:chgData name="Andrea Mogollon Nossa (CENIT)" userId="f6a3e592-cc27-4858-b185-ff86be206069" providerId="ADAL" clId="{7512AD08-729F-4631-AFF5-A13DAAFD1BEE}" dt="2020-07-28T00:01:30.681" v="1182" actId="478"/>
          <ac:grpSpMkLst>
            <pc:docMk/>
            <pc:sldMk cId="1108072925" sldId="2134804343"/>
            <ac:grpSpMk id="67" creationId="{35F7367E-79D2-4246-A2FC-165E489F942D}"/>
          </ac:grpSpMkLst>
        </pc:grpChg>
        <pc:grpChg chg="add mod">
          <ac:chgData name="Andrea Mogollon Nossa (CENIT)" userId="f6a3e592-cc27-4858-b185-ff86be206069" providerId="ADAL" clId="{7512AD08-729F-4631-AFF5-A13DAAFD1BEE}" dt="2020-07-28T00:01:39.110" v="1184" actId="1076"/>
          <ac:grpSpMkLst>
            <pc:docMk/>
            <pc:sldMk cId="1108072925" sldId="2134804343"/>
            <ac:grpSpMk id="89" creationId="{59020B7F-5C00-46D8-B954-0E8DE83F8545}"/>
          </ac:grpSpMkLst>
        </pc:grpChg>
        <pc:grpChg chg="add mod">
          <ac:chgData name="Andrea Mogollon Nossa (CENIT)" userId="f6a3e592-cc27-4858-b185-ff86be206069" providerId="ADAL" clId="{7512AD08-729F-4631-AFF5-A13DAAFD1BEE}" dt="2020-07-28T00:01:39.110" v="1184" actId="1076"/>
          <ac:grpSpMkLst>
            <pc:docMk/>
            <pc:sldMk cId="1108072925" sldId="2134804343"/>
            <ac:grpSpMk id="92" creationId="{BD6C9D72-C63D-408A-8C68-F7A4DAA4B27E}"/>
          </ac:grpSpMkLst>
        </pc:grpChg>
        <pc:grpChg chg="add mod">
          <ac:chgData name="Andrea Mogollon Nossa (CENIT)" userId="f6a3e592-cc27-4858-b185-ff86be206069" providerId="ADAL" clId="{7512AD08-729F-4631-AFF5-A13DAAFD1BEE}" dt="2020-07-28T00:01:39.110" v="1184" actId="1076"/>
          <ac:grpSpMkLst>
            <pc:docMk/>
            <pc:sldMk cId="1108072925" sldId="2134804343"/>
            <ac:grpSpMk id="95" creationId="{008F843C-7249-4CAC-877B-CFA2F16F922E}"/>
          </ac:grpSpMkLst>
        </pc:grpChg>
        <pc:grpChg chg="mod">
          <ac:chgData name="Andrea Mogollon Nossa (CENIT)" userId="f6a3e592-cc27-4858-b185-ff86be206069" providerId="ADAL" clId="{7512AD08-729F-4631-AFF5-A13DAAFD1BEE}" dt="2020-07-28T19:08:47.739" v="1460" actId="1076"/>
          <ac:grpSpMkLst>
            <pc:docMk/>
            <pc:sldMk cId="1108072925" sldId="2134804343"/>
            <ac:grpSpMk id="140" creationId="{89A29AE7-7F6C-4890-9B88-06A3EC85355F}"/>
          </ac:grpSpMkLst>
        </pc:grpChg>
        <pc:grpChg chg="mod">
          <ac:chgData name="Andrea Mogollon Nossa (CENIT)" userId="f6a3e592-cc27-4858-b185-ff86be206069" providerId="ADAL" clId="{7512AD08-729F-4631-AFF5-A13DAAFD1BEE}" dt="2020-07-28T17:06:16.042" v="1442" actId="1076"/>
          <ac:grpSpMkLst>
            <pc:docMk/>
            <pc:sldMk cId="1108072925" sldId="2134804343"/>
            <ac:grpSpMk id="143" creationId="{5AD05D54-864C-480F-B3BE-8EDE665F45C1}"/>
          </ac:grpSpMkLst>
        </pc:grpChg>
        <pc:grpChg chg="mod">
          <ac:chgData name="Andrea Mogollon Nossa (CENIT)" userId="f6a3e592-cc27-4858-b185-ff86be206069" providerId="ADAL" clId="{7512AD08-729F-4631-AFF5-A13DAAFD1BEE}" dt="2020-07-28T17:06:16.042" v="1442" actId="1076"/>
          <ac:grpSpMkLst>
            <pc:docMk/>
            <pc:sldMk cId="1108072925" sldId="2134804343"/>
            <ac:grpSpMk id="146" creationId="{A770A3D7-E6A7-47E9-ABA9-593F59AC6696}"/>
          </ac:grpSpMkLst>
        </pc:grpChg>
        <pc:grpChg chg="mod">
          <ac:chgData name="Andrea Mogollon Nossa (CENIT)" userId="f6a3e592-cc27-4858-b185-ff86be206069" providerId="ADAL" clId="{7512AD08-729F-4631-AFF5-A13DAAFD1BEE}" dt="2020-07-28T17:06:16.042" v="1442" actId="1076"/>
          <ac:grpSpMkLst>
            <pc:docMk/>
            <pc:sldMk cId="1108072925" sldId="2134804343"/>
            <ac:grpSpMk id="149" creationId="{9D223151-F879-4232-A05F-7E3EB49AD541}"/>
          </ac:grpSpMkLst>
        </pc:grpChg>
        <pc:grpChg chg="mod">
          <ac:chgData name="Andrea Mogollon Nossa (CENIT)" userId="f6a3e592-cc27-4858-b185-ff86be206069" providerId="ADAL" clId="{7512AD08-729F-4631-AFF5-A13DAAFD1BEE}" dt="2020-07-28T17:06:16.042" v="1442" actId="1076"/>
          <ac:grpSpMkLst>
            <pc:docMk/>
            <pc:sldMk cId="1108072925" sldId="2134804343"/>
            <ac:grpSpMk id="152" creationId="{24001A25-A388-439B-8076-320B9AA91D13}"/>
          </ac:grpSpMkLst>
        </pc:grpChg>
        <pc:grpChg chg="mod">
          <ac:chgData name="Andrea Mogollon Nossa (CENIT)" userId="f6a3e592-cc27-4858-b185-ff86be206069" providerId="ADAL" clId="{7512AD08-729F-4631-AFF5-A13DAAFD1BEE}" dt="2020-07-28T19:08:56.011" v="1462" actId="1076"/>
          <ac:grpSpMkLst>
            <pc:docMk/>
            <pc:sldMk cId="1108072925" sldId="2134804343"/>
            <ac:grpSpMk id="155" creationId="{178061AA-E9DE-4A6D-B70F-AE54A2672D81}"/>
          </ac:grpSpMkLst>
        </pc:grpChg>
        <pc:grpChg chg="del">
          <ac:chgData name="Andrea Mogollon Nossa (CENIT)" userId="f6a3e592-cc27-4858-b185-ff86be206069" providerId="ADAL" clId="{7512AD08-729F-4631-AFF5-A13DAAFD1BEE}" dt="2020-07-28T17:05:51.844" v="1439" actId="478"/>
          <ac:grpSpMkLst>
            <pc:docMk/>
            <pc:sldMk cId="1108072925" sldId="2134804343"/>
            <ac:grpSpMk id="158" creationId="{5FF04808-F2E0-485D-B717-9A6F1A111139}"/>
          </ac:grpSpMkLst>
        </pc:grpChg>
        <pc:grpChg chg="del mod">
          <ac:chgData name="Andrea Mogollon Nossa (CENIT)" userId="f6a3e592-cc27-4858-b185-ff86be206069" providerId="ADAL" clId="{7512AD08-729F-4631-AFF5-A13DAAFD1BEE}" dt="2020-07-28T19:08:28.237" v="1454" actId="478"/>
          <ac:grpSpMkLst>
            <pc:docMk/>
            <pc:sldMk cId="1108072925" sldId="2134804343"/>
            <ac:grpSpMk id="161" creationId="{44C5581E-E63E-497F-9C23-347DD876B469}"/>
          </ac:grpSpMkLst>
        </pc:grpChg>
        <pc:grpChg chg="mod">
          <ac:chgData name="Andrea Mogollon Nossa (CENIT)" userId="f6a3e592-cc27-4858-b185-ff86be206069" providerId="ADAL" clId="{7512AD08-729F-4631-AFF5-A13DAAFD1BEE}" dt="2020-07-28T17:06:16.042" v="1442" actId="1076"/>
          <ac:grpSpMkLst>
            <pc:docMk/>
            <pc:sldMk cId="1108072925" sldId="2134804343"/>
            <ac:grpSpMk id="164" creationId="{8B37E1FD-7126-44DA-952C-66C1412536A2}"/>
          </ac:grpSpMkLst>
        </pc:grpChg>
        <pc:grpChg chg="mod">
          <ac:chgData name="Andrea Mogollon Nossa (CENIT)" userId="f6a3e592-cc27-4858-b185-ff86be206069" providerId="ADAL" clId="{7512AD08-729F-4631-AFF5-A13DAAFD1BEE}" dt="2020-07-28T19:08:53.787" v="1461" actId="1076"/>
          <ac:grpSpMkLst>
            <pc:docMk/>
            <pc:sldMk cId="1108072925" sldId="2134804343"/>
            <ac:grpSpMk id="167" creationId="{20C5926F-D7AF-40E1-8377-6A9B462E8907}"/>
          </ac:grpSpMkLst>
        </pc:grpChg>
      </pc:sldChg>
      <pc:sldChg chg="addSp delSp modSp mod">
        <pc:chgData name="Andrea Mogollon Nossa (CENIT)" userId="f6a3e592-cc27-4858-b185-ff86be206069" providerId="ADAL" clId="{7512AD08-729F-4631-AFF5-A13DAAFD1BEE}" dt="2020-07-28T17:06:35.941" v="1449"/>
        <pc:sldMkLst>
          <pc:docMk/>
          <pc:sldMk cId="1734415321" sldId="2134804344"/>
        </pc:sldMkLst>
        <pc:spChg chg="mod">
          <ac:chgData name="Andrea Mogollon Nossa (CENIT)" userId="f6a3e592-cc27-4858-b185-ff86be206069" providerId="ADAL" clId="{7512AD08-729F-4631-AFF5-A13DAAFD1BEE}" dt="2020-07-27T22:56:39.852" v="745" actId="1076"/>
          <ac:spMkLst>
            <pc:docMk/>
            <pc:sldMk cId="1734415321" sldId="2134804344"/>
            <ac:spMk id="2" creationId="{3A93B487-116E-4767-AA0D-CAE2A460FBE4}"/>
          </ac:spMkLst>
        </pc:spChg>
        <pc:spChg chg="mod">
          <ac:chgData name="Andrea Mogollon Nossa (CENIT)" userId="f6a3e592-cc27-4858-b185-ff86be206069" providerId="ADAL" clId="{7512AD08-729F-4631-AFF5-A13DAAFD1BEE}" dt="2020-07-27T22:53:03.084" v="670" actId="1076"/>
          <ac:spMkLst>
            <pc:docMk/>
            <pc:sldMk cId="1734415321" sldId="2134804344"/>
            <ac:spMk id="3" creationId="{815B10B7-60B3-4C63-8431-70CC556387C9}"/>
          </ac:spMkLst>
        </pc:spChg>
        <pc:spChg chg="mod">
          <ac:chgData name="Andrea Mogollon Nossa (CENIT)" userId="f6a3e592-cc27-4858-b185-ff86be206069" providerId="ADAL" clId="{7512AD08-729F-4631-AFF5-A13DAAFD1BEE}" dt="2020-07-28T15:26:52.357" v="1335" actId="255"/>
          <ac:spMkLst>
            <pc:docMk/>
            <pc:sldMk cId="1734415321" sldId="2134804344"/>
            <ac:spMk id="11" creationId="{772CA61D-742C-45F0-BAFA-0F3B90176E98}"/>
          </ac:spMkLst>
        </pc:spChg>
        <pc:spChg chg="mod">
          <ac:chgData name="Andrea Mogollon Nossa (CENIT)" userId="f6a3e592-cc27-4858-b185-ff86be206069" providerId="ADAL" clId="{7512AD08-729F-4631-AFF5-A13DAAFD1BEE}" dt="2020-07-27T22:51:37.115" v="656" actId="1076"/>
          <ac:spMkLst>
            <pc:docMk/>
            <pc:sldMk cId="1734415321" sldId="2134804344"/>
            <ac:spMk id="12" creationId="{7F3CEC4C-7588-4B74-823D-9CF22E2DAD79}"/>
          </ac:spMkLst>
        </pc:spChg>
        <pc:spChg chg="del">
          <ac:chgData name="Andrea Mogollon Nossa (CENIT)" userId="f6a3e592-cc27-4858-b185-ff86be206069" providerId="ADAL" clId="{7512AD08-729F-4631-AFF5-A13DAAFD1BEE}" dt="2020-07-28T15:26:02.400" v="1327" actId="478"/>
          <ac:spMkLst>
            <pc:docMk/>
            <pc:sldMk cId="1734415321" sldId="2134804344"/>
            <ac:spMk id="15" creationId="{2344D56D-6203-47F9-98E9-EC7D6783C459}"/>
          </ac:spMkLst>
        </pc:spChg>
        <pc:spChg chg="mod">
          <ac:chgData name="Andrea Mogollon Nossa (CENIT)" userId="f6a3e592-cc27-4858-b185-ff86be206069" providerId="ADAL" clId="{7512AD08-729F-4631-AFF5-A13DAAFD1BEE}" dt="2020-07-27T23:38:16.591" v="988" actId="208"/>
          <ac:spMkLst>
            <pc:docMk/>
            <pc:sldMk cId="1734415321" sldId="2134804344"/>
            <ac:spMk id="22" creationId="{53E538FE-3283-40FB-A5F0-3E57246B6EFA}"/>
          </ac:spMkLst>
        </pc:spChg>
        <pc:spChg chg="mod">
          <ac:chgData name="Andrea Mogollon Nossa (CENIT)" userId="f6a3e592-cc27-4858-b185-ff86be206069" providerId="ADAL" clId="{7512AD08-729F-4631-AFF5-A13DAAFD1BEE}" dt="2020-07-27T21:01:55.378" v="187" actId="6549"/>
          <ac:spMkLst>
            <pc:docMk/>
            <pc:sldMk cId="1734415321" sldId="2134804344"/>
            <ac:spMk id="27" creationId="{910DCB24-1C9B-45BE-9592-B8EC86E558A4}"/>
          </ac:spMkLst>
        </pc:spChg>
        <pc:spChg chg="mod">
          <ac:chgData name="Andrea Mogollon Nossa (CENIT)" userId="f6a3e592-cc27-4858-b185-ff86be206069" providerId="ADAL" clId="{7512AD08-729F-4631-AFF5-A13DAAFD1BEE}" dt="2020-07-27T23:38:20.790" v="989" actId="208"/>
          <ac:spMkLst>
            <pc:docMk/>
            <pc:sldMk cId="1734415321" sldId="2134804344"/>
            <ac:spMk id="28" creationId="{4A0F0E28-A961-4260-8BB9-16809CE2E13A}"/>
          </ac:spMkLst>
        </pc:spChg>
        <pc:spChg chg="mod">
          <ac:chgData name="Andrea Mogollon Nossa (CENIT)" userId="f6a3e592-cc27-4858-b185-ff86be206069" providerId="ADAL" clId="{7512AD08-729F-4631-AFF5-A13DAAFD1BEE}" dt="2020-07-27T22:51:37.115" v="656" actId="1076"/>
          <ac:spMkLst>
            <pc:docMk/>
            <pc:sldMk cId="1734415321" sldId="2134804344"/>
            <ac:spMk id="29" creationId="{46F67329-EAA2-4B09-AD5B-91FE70391A81}"/>
          </ac:spMkLst>
        </pc:spChg>
        <pc:spChg chg="mod">
          <ac:chgData name="Andrea Mogollon Nossa (CENIT)" userId="f6a3e592-cc27-4858-b185-ff86be206069" providerId="ADAL" clId="{7512AD08-729F-4631-AFF5-A13DAAFD1BEE}" dt="2020-07-28T15:26:52.357" v="1335" actId="255"/>
          <ac:spMkLst>
            <pc:docMk/>
            <pc:sldMk cId="1734415321" sldId="2134804344"/>
            <ac:spMk id="30" creationId="{5BF08848-45AE-451C-A99D-7322CF796742}"/>
          </ac:spMkLst>
        </pc:spChg>
        <pc:spChg chg="mod">
          <ac:chgData name="Andrea Mogollon Nossa (CENIT)" userId="f6a3e592-cc27-4858-b185-ff86be206069" providerId="ADAL" clId="{7512AD08-729F-4631-AFF5-A13DAAFD1BEE}" dt="2020-07-27T23:39:16.598" v="995" actId="208"/>
          <ac:spMkLst>
            <pc:docMk/>
            <pc:sldMk cId="1734415321" sldId="2134804344"/>
            <ac:spMk id="32" creationId="{112CF6BB-B57E-4E30-BDB8-A663AA382E62}"/>
          </ac:spMkLst>
        </pc:spChg>
        <pc:spChg chg="mod">
          <ac:chgData name="Andrea Mogollon Nossa (CENIT)" userId="f6a3e592-cc27-4858-b185-ff86be206069" providerId="ADAL" clId="{7512AD08-729F-4631-AFF5-A13DAAFD1BEE}" dt="2020-07-27T21:02:50.216" v="211" actId="1076"/>
          <ac:spMkLst>
            <pc:docMk/>
            <pc:sldMk cId="1734415321" sldId="2134804344"/>
            <ac:spMk id="33" creationId="{99A98136-5ADE-4ACF-97B1-9869591C8748}"/>
          </ac:spMkLst>
        </pc:spChg>
        <pc:spChg chg="mod">
          <ac:chgData name="Andrea Mogollon Nossa (CENIT)" userId="f6a3e592-cc27-4858-b185-ff86be206069" providerId="ADAL" clId="{7512AD08-729F-4631-AFF5-A13DAAFD1BEE}" dt="2020-07-27T22:52:07.004" v="661" actId="1076"/>
          <ac:spMkLst>
            <pc:docMk/>
            <pc:sldMk cId="1734415321" sldId="2134804344"/>
            <ac:spMk id="34" creationId="{2858742F-5FD0-4B7E-9334-0D1DB2CF525E}"/>
          </ac:spMkLst>
        </pc:spChg>
        <pc:spChg chg="mod">
          <ac:chgData name="Andrea Mogollon Nossa (CENIT)" userId="f6a3e592-cc27-4858-b185-ff86be206069" providerId="ADAL" clId="{7512AD08-729F-4631-AFF5-A13DAAFD1BEE}" dt="2020-07-27T23:39:11.063" v="994" actId="208"/>
          <ac:spMkLst>
            <pc:docMk/>
            <pc:sldMk cId="1734415321" sldId="2134804344"/>
            <ac:spMk id="35" creationId="{5F2982C9-1317-4114-BC67-9EA6763899B8}"/>
          </ac:spMkLst>
        </pc:spChg>
        <pc:spChg chg="mod">
          <ac:chgData name="Andrea Mogollon Nossa (CENIT)" userId="f6a3e592-cc27-4858-b185-ff86be206069" providerId="ADAL" clId="{7512AD08-729F-4631-AFF5-A13DAAFD1BEE}" dt="2020-07-28T15:26:52.357" v="1335" actId="255"/>
          <ac:spMkLst>
            <pc:docMk/>
            <pc:sldMk cId="1734415321" sldId="2134804344"/>
            <ac:spMk id="36" creationId="{80930BAD-CC8E-47DD-9473-5B8864A2680A}"/>
          </ac:spMkLst>
        </pc:spChg>
        <pc:spChg chg="mod">
          <ac:chgData name="Andrea Mogollon Nossa (CENIT)" userId="f6a3e592-cc27-4858-b185-ff86be206069" providerId="ADAL" clId="{7512AD08-729F-4631-AFF5-A13DAAFD1BEE}" dt="2020-07-27T21:21:36.354" v="517" actId="20577"/>
          <ac:spMkLst>
            <pc:docMk/>
            <pc:sldMk cId="1734415321" sldId="2134804344"/>
            <ac:spMk id="38" creationId="{A70D06D3-12BC-4CDA-B9D7-EEF1588242C9}"/>
          </ac:spMkLst>
        </pc:spChg>
        <pc:spChg chg="mod">
          <ac:chgData name="Andrea Mogollon Nossa (CENIT)" userId="f6a3e592-cc27-4858-b185-ff86be206069" providerId="ADAL" clId="{7512AD08-729F-4631-AFF5-A13DAAFD1BEE}" dt="2020-07-27T21:00:48.708" v="113" actId="20577"/>
          <ac:spMkLst>
            <pc:docMk/>
            <pc:sldMk cId="1734415321" sldId="2134804344"/>
            <ac:spMk id="39" creationId="{5FAD9D39-0163-48A2-AB90-B7B2E4C2CCC8}"/>
          </ac:spMkLst>
        </pc:spChg>
        <pc:spChg chg="mod ord">
          <ac:chgData name="Andrea Mogollon Nossa (CENIT)" userId="f6a3e592-cc27-4858-b185-ff86be206069" providerId="ADAL" clId="{7512AD08-729F-4631-AFF5-A13DAAFD1BEE}" dt="2020-07-27T22:53:26.793" v="673" actId="166"/>
          <ac:spMkLst>
            <pc:docMk/>
            <pc:sldMk cId="1734415321" sldId="2134804344"/>
            <ac:spMk id="40" creationId="{F9005A44-E530-4972-BBE0-B3ED015A6ED4}"/>
          </ac:spMkLst>
        </pc:spChg>
        <pc:spChg chg="add mod">
          <ac:chgData name="Andrea Mogollon Nossa (CENIT)" userId="f6a3e592-cc27-4858-b185-ff86be206069" providerId="ADAL" clId="{7512AD08-729F-4631-AFF5-A13DAAFD1BEE}" dt="2020-07-28T15:26:52.357" v="1335" actId="255"/>
          <ac:spMkLst>
            <pc:docMk/>
            <pc:sldMk cId="1734415321" sldId="2134804344"/>
            <ac:spMk id="41" creationId="{A6323A01-8860-4B1B-BDAF-6B75ABC06BEC}"/>
          </ac:spMkLst>
        </pc:spChg>
        <pc:spChg chg="mod">
          <ac:chgData name="Andrea Mogollon Nossa (CENIT)" userId="f6a3e592-cc27-4858-b185-ff86be206069" providerId="ADAL" clId="{7512AD08-729F-4631-AFF5-A13DAAFD1BEE}" dt="2020-07-28T15:26:52.357" v="1335" actId="255"/>
          <ac:spMkLst>
            <pc:docMk/>
            <pc:sldMk cId="1734415321" sldId="2134804344"/>
            <ac:spMk id="42" creationId="{4101169F-B3FD-425D-90F0-D9CCBE1BF3D2}"/>
          </ac:spMkLst>
        </pc:spChg>
        <pc:spChg chg="mod">
          <ac:chgData name="Andrea Mogollon Nossa (CENIT)" userId="f6a3e592-cc27-4858-b185-ff86be206069" providerId="ADAL" clId="{7512AD08-729F-4631-AFF5-A13DAAFD1BEE}" dt="2020-07-27T22:53:51.659" v="675" actId="1076"/>
          <ac:spMkLst>
            <pc:docMk/>
            <pc:sldMk cId="1734415321" sldId="2134804344"/>
            <ac:spMk id="43" creationId="{34452114-CA9E-44D1-9755-DF275F1BF2A9}"/>
          </ac:spMkLst>
        </pc:spChg>
        <pc:spChg chg="add del mod">
          <ac:chgData name="Andrea Mogollon Nossa (CENIT)" userId="f6a3e592-cc27-4858-b185-ff86be206069" providerId="ADAL" clId="{7512AD08-729F-4631-AFF5-A13DAAFD1BEE}" dt="2020-07-27T21:04:04.254" v="228" actId="478"/>
          <ac:spMkLst>
            <pc:docMk/>
            <pc:sldMk cId="1734415321" sldId="2134804344"/>
            <ac:spMk id="44" creationId="{16282632-D57A-4CD4-B850-BA0183193B67}"/>
          </ac:spMkLst>
        </pc:spChg>
        <pc:spChg chg="add mod">
          <ac:chgData name="Andrea Mogollon Nossa (CENIT)" userId="f6a3e592-cc27-4858-b185-ff86be206069" providerId="ADAL" clId="{7512AD08-729F-4631-AFF5-A13DAAFD1BEE}" dt="2020-07-27T23:08:18.891" v="983" actId="208"/>
          <ac:spMkLst>
            <pc:docMk/>
            <pc:sldMk cId="1734415321" sldId="2134804344"/>
            <ac:spMk id="45" creationId="{476FBBD3-1877-4B8E-A2BA-965C36FBD73D}"/>
          </ac:spMkLst>
        </pc:spChg>
        <pc:spChg chg="add mod">
          <ac:chgData name="Andrea Mogollon Nossa (CENIT)" userId="f6a3e592-cc27-4858-b185-ff86be206069" providerId="ADAL" clId="{7512AD08-729F-4631-AFF5-A13DAAFD1BEE}" dt="2020-07-27T23:37:15.594" v="984" actId="208"/>
          <ac:spMkLst>
            <pc:docMk/>
            <pc:sldMk cId="1734415321" sldId="2134804344"/>
            <ac:spMk id="46" creationId="{BA5C247C-3C05-46FC-95C2-E68EAA1029EF}"/>
          </ac:spMkLst>
        </pc:spChg>
        <pc:spChg chg="add mod">
          <ac:chgData name="Andrea Mogollon Nossa (CENIT)" userId="f6a3e592-cc27-4858-b185-ff86be206069" providerId="ADAL" clId="{7512AD08-729F-4631-AFF5-A13DAAFD1BEE}" dt="2020-07-27T23:02:23.907" v="869" actId="1076"/>
          <ac:spMkLst>
            <pc:docMk/>
            <pc:sldMk cId="1734415321" sldId="2134804344"/>
            <ac:spMk id="47" creationId="{D222A558-E5A3-43A6-B640-1B3D767D7C70}"/>
          </ac:spMkLst>
        </pc:spChg>
        <pc:spChg chg="add mod">
          <ac:chgData name="Andrea Mogollon Nossa (CENIT)" userId="f6a3e592-cc27-4858-b185-ff86be206069" providerId="ADAL" clId="{7512AD08-729F-4631-AFF5-A13DAAFD1BEE}" dt="2020-07-27T23:08:15.517" v="982" actId="208"/>
          <ac:spMkLst>
            <pc:docMk/>
            <pc:sldMk cId="1734415321" sldId="2134804344"/>
            <ac:spMk id="48" creationId="{F926AC88-2103-4B74-A485-8F98AF37FABE}"/>
          </ac:spMkLst>
        </pc:spChg>
        <pc:spChg chg="add del">
          <ac:chgData name="Andrea Mogollon Nossa (CENIT)" userId="f6a3e592-cc27-4858-b185-ff86be206069" providerId="ADAL" clId="{7512AD08-729F-4631-AFF5-A13DAAFD1BEE}" dt="2020-07-27T21:05:48.079" v="282" actId="478"/>
          <ac:spMkLst>
            <pc:docMk/>
            <pc:sldMk cId="1734415321" sldId="2134804344"/>
            <ac:spMk id="49" creationId="{4114BB5A-E573-4CB9-B93D-B020A356DD64}"/>
          </ac:spMkLst>
        </pc:spChg>
        <pc:spChg chg="del">
          <ac:chgData name="Andrea Mogollon Nossa (CENIT)" userId="f6a3e592-cc27-4858-b185-ff86be206069" providerId="ADAL" clId="{7512AD08-729F-4631-AFF5-A13DAAFD1BEE}" dt="2020-07-27T21:06:18.548" v="310" actId="478"/>
          <ac:spMkLst>
            <pc:docMk/>
            <pc:sldMk cId="1734415321" sldId="2134804344"/>
            <ac:spMk id="50" creationId="{EFEDA77C-7665-4725-A074-A36D4F4400A8}"/>
          </ac:spMkLst>
        </pc:spChg>
        <pc:spChg chg="add mod">
          <ac:chgData name="Andrea Mogollon Nossa (CENIT)" userId="f6a3e592-cc27-4858-b185-ff86be206069" providerId="ADAL" clId="{7512AD08-729F-4631-AFF5-A13DAAFD1BEE}" dt="2020-07-27T23:38:36.751" v="991" actId="208"/>
          <ac:spMkLst>
            <pc:docMk/>
            <pc:sldMk cId="1734415321" sldId="2134804344"/>
            <ac:spMk id="51" creationId="{4BD00AB8-6F7E-42D4-B8A4-B81C5CA9035A}"/>
          </ac:spMkLst>
        </pc:spChg>
        <pc:spChg chg="add mod">
          <ac:chgData name="Andrea Mogollon Nossa (CENIT)" userId="f6a3e592-cc27-4858-b185-ff86be206069" providerId="ADAL" clId="{7512AD08-729F-4631-AFF5-A13DAAFD1BEE}" dt="2020-07-28T17:06:33.603" v="1447" actId="20577"/>
          <ac:spMkLst>
            <pc:docMk/>
            <pc:sldMk cId="1734415321" sldId="2134804344"/>
            <ac:spMk id="52" creationId="{611E23A2-0A02-4674-AE45-5CFC346B8303}"/>
          </ac:spMkLst>
        </pc:spChg>
        <pc:spChg chg="add mod">
          <ac:chgData name="Andrea Mogollon Nossa (CENIT)" userId="f6a3e592-cc27-4858-b185-ff86be206069" providerId="ADAL" clId="{7512AD08-729F-4631-AFF5-A13DAAFD1BEE}" dt="2020-07-27T23:38:33.964" v="990" actId="208"/>
          <ac:spMkLst>
            <pc:docMk/>
            <pc:sldMk cId="1734415321" sldId="2134804344"/>
            <ac:spMk id="53" creationId="{436F7F2A-D56C-4686-B82F-7A2F944056CC}"/>
          </ac:spMkLst>
        </pc:spChg>
        <pc:spChg chg="del">
          <ac:chgData name="Andrea Mogollon Nossa (CENIT)" userId="f6a3e592-cc27-4858-b185-ff86be206069" providerId="ADAL" clId="{7512AD08-729F-4631-AFF5-A13DAAFD1BEE}" dt="2020-07-27T21:05:03.463" v="272" actId="478"/>
          <ac:spMkLst>
            <pc:docMk/>
            <pc:sldMk cId="1734415321" sldId="2134804344"/>
            <ac:spMk id="54" creationId="{2A6509E3-0893-4B3A-9781-02B5F5938070}"/>
          </ac:spMkLst>
        </pc:spChg>
        <pc:spChg chg="add mod">
          <ac:chgData name="Andrea Mogollon Nossa (CENIT)" userId="f6a3e592-cc27-4858-b185-ff86be206069" providerId="ADAL" clId="{7512AD08-729F-4631-AFF5-A13DAAFD1BEE}" dt="2020-07-28T15:26:52.357" v="1335" actId="255"/>
          <ac:spMkLst>
            <pc:docMk/>
            <pc:sldMk cId="1734415321" sldId="2134804344"/>
            <ac:spMk id="55" creationId="{1546B975-3205-4120-A98D-4F899F2673F9}"/>
          </ac:spMkLst>
        </pc:spChg>
        <pc:spChg chg="add mod">
          <ac:chgData name="Andrea Mogollon Nossa (CENIT)" userId="f6a3e592-cc27-4858-b185-ff86be206069" providerId="ADAL" clId="{7512AD08-729F-4631-AFF5-A13DAAFD1BEE}" dt="2020-07-27T23:39:34.816" v="996" actId="208"/>
          <ac:spMkLst>
            <pc:docMk/>
            <pc:sldMk cId="1734415321" sldId="2134804344"/>
            <ac:spMk id="56" creationId="{82D32ECE-5CE8-4D30-8F1A-35940B0E5DDC}"/>
          </ac:spMkLst>
        </pc:spChg>
        <pc:spChg chg="add mod">
          <ac:chgData name="Andrea Mogollon Nossa (CENIT)" userId="f6a3e592-cc27-4858-b185-ff86be206069" providerId="ADAL" clId="{7512AD08-729F-4631-AFF5-A13DAAFD1BEE}" dt="2020-07-28T15:26:58.596" v="1336" actId="108"/>
          <ac:spMkLst>
            <pc:docMk/>
            <pc:sldMk cId="1734415321" sldId="2134804344"/>
            <ac:spMk id="57" creationId="{CFA918CB-0C7A-44FC-87D2-055F0DB1CDD9}"/>
          </ac:spMkLst>
        </pc:spChg>
        <pc:spChg chg="add mod">
          <ac:chgData name="Andrea Mogollon Nossa (CENIT)" userId="f6a3e592-cc27-4858-b185-ff86be206069" providerId="ADAL" clId="{7512AD08-729F-4631-AFF5-A13DAAFD1BEE}" dt="2020-07-27T22:51:54.787" v="660" actId="14100"/>
          <ac:spMkLst>
            <pc:docMk/>
            <pc:sldMk cId="1734415321" sldId="2134804344"/>
            <ac:spMk id="58" creationId="{6E03E4D5-20E7-48D3-98B7-8550F62788A9}"/>
          </ac:spMkLst>
        </pc:spChg>
        <pc:spChg chg="add mod">
          <ac:chgData name="Andrea Mogollon Nossa (CENIT)" userId="f6a3e592-cc27-4858-b185-ff86be206069" providerId="ADAL" clId="{7512AD08-729F-4631-AFF5-A13DAAFD1BEE}" dt="2020-07-28T15:26:52.357" v="1335" actId="255"/>
          <ac:spMkLst>
            <pc:docMk/>
            <pc:sldMk cId="1734415321" sldId="2134804344"/>
            <ac:spMk id="59" creationId="{B329FB9A-BB66-4CA1-9AB8-4B6B45E56072}"/>
          </ac:spMkLst>
        </pc:spChg>
        <pc:spChg chg="add mod">
          <ac:chgData name="Andrea Mogollon Nossa (CENIT)" userId="f6a3e592-cc27-4858-b185-ff86be206069" providerId="ADAL" clId="{7512AD08-729F-4631-AFF5-A13DAAFD1BEE}" dt="2020-07-28T15:26:22.173" v="1330" actId="208"/>
          <ac:spMkLst>
            <pc:docMk/>
            <pc:sldMk cId="1734415321" sldId="2134804344"/>
            <ac:spMk id="60" creationId="{FC98CCA7-DE6B-4116-84B8-A8982F08BE33}"/>
          </ac:spMkLst>
        </pc:spChg>
        <pc:spChg chg="add del mod">
          <ac:chgData name="Andrea Mogollon Nossa (CENIT)" userId="f6a3e592-cc27-4858-b185-ff86be206069" providerId="ADAL" clId="{7512AD08-729F-4631-AFF5-A13DAAFD1BEE}" dt="2020-07-27T21:09:46.074" v="366" actId="478"/>
          <ac:spMkLst>
            <pc:docMk/>
            <pc:sldMk cId="1734415321" sldId="2134804344"/>
            <ac:spMk id="61" creationId="{849651E2-3CEE-4A81-A1F8-9A63AFD47F33}"/>
          </ac:spMkLst>
        </pc:spChg>
        <pc:spChg chg="add mod">
          <ac:chgData name="Andrea Mogollon Nossa (CENIT)" userId="f6a3e592-cc27-4858-b185-ff86be206069" providerId="ADAL" clId="{7512AD08-729F-4631-AFF5-A13DAAFD1BEE}" dt="2020-07-27T23:02:23.907" v="869" actId="1076"/>
          <ac:spMkLst>
            <pc:docMk/>
            <pc:sldMk cId="1734415321" sldId="2134804344"/>
            <ac:spMk id="62" creationId="{506BC446-5A02-4152-97D7-89C60F968551}"/>
          </ac:spMkLst>
        </pc:spChg>
        <pc:spChg chg="add mod">
          <ac:chgData name="Andrea Mogollon Nossa (CENIT)" userId="f6a3e592-cc27-4858-b185-ff86be206069" providerId="ADAL" clId="{7512AD08-729F-4631-AFF5-A13DAAFD1BEE}" dt="2020-07-27T23:02:23.907" v="869" actId="1076"/>
          <ac:spMkLst>
            <pc:docMk/>
            <pc:sldMk cId="1734415321" sldId="2134804344"/>
            <ac:spMk id="63" creationId="{6D9EC6A6-1FA2-4F30-BA9C-2B821CC4A84E}"/>
          </ac:spMkLst>
        </pc:spChg>
        <pc:spChg chg="add del mod">
          <ac:chgData name="Andrea Mogollon Nossa (CENIT)" userId="f6a3e592-cc27-4858-b185-ff86be206069" providerId="ADAL" clId="{7512AD08-729F-4631-AFF5-A13DAAFD1BEE}" dt="2020-07-27T21:10:38.106" v="410" actId="478"/>
          <ac:spMkLst>
            <pc:docMk/>
            <pc:sldMk cId="1734415321" sldId="2134804344"/>
            <ac:spMk id="64" creationId="{03839115-7088-4CB9-842F-F7E5F58A3B9A}"/>
          </ac:spMkLst>
        </pc:spChg>
        <pc:spChg chg="add mod">
          <ac:chgData name="Andrea Mogollon Nossa (CENIT)" userId="f6a3e592-cc27-4858-b185-ff86be206069" providerId="ADAL" clId="{7512AD08-729F-4631-AFF5-A13DAAFD1BEE}" dt="2020-07-27T22:53:43.720" v="674" actId="1076"/>
          <ac:spMkLst>
            <pc:docMk/>
            <pc:sldMk cId="1734415321" sldId="2134804344"/>
            <ac:spMk id="65" creationId="{E9C72F17-5D8F-41F6-8661-3E5DE2A9E040}"/>
          </ac:spMkLst>
        </pc:spChg>
        <pc:spChg chg="add mod">
          <ac:chgData name="Andrea Mogollon Nossa (CENIT)" userId="f6a3e592-cc27-4858-b185-ff86be206069" providerId="ADAL" clId="{7512AD08-729F-4631-AFF5-A13DAAFD1BEE}" dt="2020-07-28T15:26:24.435" v="1331" actId="208"/>
          <ac:spMkLst>
            <pc:docMk/>
            <pc:sldMk cId="1734415321" sldId="2134804344"/>
            <ac:spMk id="66" creationId="{DB75697E-BD6D-4004-8F4B-2171046FC128}"/>
          </ac:spMkLst>
        </pc:spChg>
        <pc:spChg chg="add del mod">
          <ac:chgData name="Andrea Mogollon Nossa (CENIT)" userId="f6a3e592-cc27-4858-b185-ff86be206069" providerId="ADAL" clId="{7512AD08-729F-4631-AFF5-A13DAAFD1BEE}" dt="2020-07-27T23:37:39.559" v="986" actId="208"/>
          <ac:spMkLst>
            <pc:docMk/>
            <pc:sldMk cId="1734415321" sldId="2134804344"/>
            <ac:spMk id="67" creationId="{A77EC91D-C757-4362-A9C3-20B454FDE061}"/>
          </ac:spMkLst>
        </pc:spChg>
        <pc:spChg chg="add mod">
          <ac:chgData name="Andrea Mogollon Nossa (CENIT)" userId="f6a3e592-cc27-4858-b185-ff86be206069" providerId="ADAL" clId="{7512AD08-729F-4631-AFF5-A13DAAFD1BEE}" dt="2020-07-27T23:02:23.907" v="869" actId="1076"/>
          <ac:spMkLst>
            <pc:docMk/>
            <pc:sldMk cId="1734415321" sldId="2134804344"/>
            <ac:spMk id="68" creationId="{EF92D747-175E-4B05-B6C3-800CF871AECC}"/>
          </ac:spMkLst>
        </pc:spChg>
        <pc:spChg chg="add mod">
          <ac:chgData name="Andrea Mogollon Nossa (CENIT)" userId="f6a3e592-cc27-4858-b185-ff86be206069" providerId="ADAL" clId="{7512AD08-729F-4631-AFF5-A13DAAFD1BEE}" dt="2020-07-27T23:37:35.615" v="985" actId="208"/>
          <ac:spMkLst>
            <pc:docMk/>
            <pc:sldMk cId="1734415321" sldId="2134804344"/>
            <ac:spMk id="69" creationId="{42876D3F-F05B-4B3C-9DCB-629A3FE41134}"/>
          </ac:spMkLst>
        </pc:spChg>
        <pc:spChg chg="add mod">
          <ac:chgData name="Andrea Mogollon Nossa (CENIT)" userId="f6a3e592-cc27-4858-b185-ff86be206069" providerId="ADAL" clId="{7512AD08-729F-4631-AFF5-A13DAAFD1BEE}" dt="2020-07-28T15:26:26.988" v="1332" actId="208"/>
          <ac:spMkLst>
            <pc:docMk/>
            <pc:sldMk cId="1734415321" sldId="2134804344"/>
            <ac:spMk id="70" creationId="{F9D75CA7-6C16-4058-92CF-BCCF9664CBC8}"/>
          </ac:spMkLst>
        </pc:spChg>
        <pc:spChg chg="add mod">
          <ac:chgData name="Andrea Mogollon Nossa (CENIT)" userId="f6a3e592-cc27-4858-b185-ff86be206069" providerId="ADAL" clId="{7512AD08-729F-4631-AFF5-A13DAAFD1BEE}" dt="2020-07-27T23:37:44.494" v="987" actId="208"/>
          <ac:spMkLst>
            <pc:docMk/>
            <pc:sldMk cId="1734415321" sldId="2134804344"/>
            <ac:spMk id="71" creationId="{63CA118B-4517-4A8E-85F9-65AF0995F5E4}"/>
          </ac:spMkLst>
        </pc:spChg>
        <pc:spChg chg="add mod">
          <ac:chgData name="Andrea Mogollon Nossa (CENIT)" userId="f6a3e592-cc27-4858-b185-ff86be206069" providerId="ADAL" clId="{7512AD08-729F-4631-AFF5-A13DAAFD1BEE}" dt="2020-07-28T15:26:52.357" v="1335" actId="255"/>
          <ac:spMkLst>
            <pc:docMk/>
            <pc:sldMk cId="1734415321" sldId="2134804344"/>
            <ac:spMk id="72" creationId="{F0A9C2F1-1FA1-4C6D-980F-C42B048458E9}"/>
          </ac:spMkLst>
        </pc:spChg>
        <pc:spChg chg="add mod">
          <ac:chgData name="Andrea Mogollon Nossa (CENIT)" userId="f6a3e592-cc27-4858-b185-ff86be206069" providerId="ADAL" clId="{7512AD08-729F-4631-AFF5-A13DAAFD1BEE}" dt="2020-07-27T22:52:47.805" v="668" actId="1076"/>
          <ac:spMkLst>
            <pc:docMk/>
            <pc:sldMk cId="1734415321" sldId="2134804344"/>
            <ac:spMk id="73" creationId="{504B0AB9-46DB-479D-A0DE-430E1C84357C}"/>
          </ac:spMkLst>
        </pc:spChg>
        <pc:spChg chg="add mod">
          <ac:chgData name="Andrea Mogollon Nossa (CENIT)" userId="f6a3e592-cc27-4858-b185-ff86be206069" providerId="ADAL" clId="{7512AD08-729F-4631-AFF5-A13DAAFD1BEE}" dt="2020-07-27T23:00:06.370" v="854" actId="255"/>
          <ac:spMkLst>
            <pc:docMk/>
            <pc:sldMk cId="1734415321" sldId="2134804344"/>
            <ac:spMk id="74" creationId="{823F8528-F51D-40E1-BBFF-56F5317E9268}"/>
          </ac:spMkLst>
        </pc:spChg>
        <pc:spChg chg="add del">
          <ac:chgData name="Andrea Mogollon Nossa (CENIT)" userId="f6a3e592-cc27-4858-b185-ff86be206069" providerId="ADAL" clId="{7512AD08-729F-4631-AFF5-A13DAAFD1BEE}" dt="2020-07-27T21:25:22.858" v="537" actId="478"/>
          <ac:spMkLst>
            <pc:docMk/>
            <pc:sldMk cId="1734415321" sldId="2134804344"/>
            <ac:spMk id="75" creationId="{44005FCD-F043-4E77-83DE-063AEF2B3B8E}"/>
          </ac:spMkLst>
        </pc:spChg>
        <pc:spChg chg="add mod">
          <ac:chgData name="Andrea Mogollon Nossa (CENIT)" userId="f6a3e592-cc27-4858-b185-ff86be206069" providerId="ADAL" clId="{7512AD08-729F-4631-AFF5-A13DAAFD1BEE}" dt="2020-07-27T23:39:03.574" v="993" actId="208"/>
          <ac:spMkLst>
            <pc:docMk/>
            <pc:sldMk cId="1734415321" sldId="2134804344"/>
            <ac:spMk id="76" creationId="{6EFB90FC-5137-4335-BAA6-1A3BFA176C3C}"/>
          </ac:spMkLst>
        </pc:spChg>
        <pc:spChg chg="add mod">
          <ac:chgData name="Andrea Mogollon Nossa (CENIT)" userId="f6a3e592-cc27-4858-b185-ff86be206069" providerId="ADAL" clId="{7512AD08-729F-4631-AFF5-A13DAAFD1BEE}" dt="2020-07-27T23:02:23.907" v="869" actId="1076"/>
          <ac:spMkLst>
            <pc:docMk/>
            <pc:sldMk cId="1734415321" sldId="2134804344"/>
            <ac:spMk id="77" creationId="{F622E621-DEC2-4514-B5D9-8A187B645B0F}"/>
          </ac:spMkLst>
        </pc:spChg>
        <pc:spChg chg="add mod">
          <ac:chgData name="Andrea Mogollon Nossa (CENIT)" userId="f6a3e592-cc27-4858-b185-ff86be206069" providerId="ADAL" clId="{7512AD08-729F-4631-AFF5-A13DAAFD1BEE}" dt="2020-07-27T23:39:43.024" v="997" actId="208"/>
          <ac:spMkLst>
            <pc:docMk/>
            <pc:sldMk cId="1734415321" sldId="2134804344"/>
            <ac:spMk id="78" creationId="{257C9C2D-7860-44A8-95DB-27F452F82CF2}"/>
          </ac:spMkLst>
        </pc:spChg>
        <pc:spChg chg="add mod">
          <ac:chgData name="Andrea Mogollon Nossa (CENIT)" userId="f6a3e592-cc27-4858-b185-ff86be206069" providerId="ADAL" clId="{7512AD08-729F-4631-AFF5-A13DAAFD1BEE}" dt="2020-07-27T23:02:23.907" v="869" actId="1076"/>
          <ac:spMkLst>
            <pc:docMk/>
            <pc:sldMk cId="1734415321" sldId="2134804344"/>
            <ac:spMk id="79" creationId="{2F67B6BF-C36B-40CA-9E2B-C013EE1EC192}"/>
          </ac:spMkLst>
        </pc:spChg>
        <pc:spChg chg="add del mod">
          <ac:chgData name="Andrea Mogollon Nossa (CENIT)" userId="f6a3e592-cc27-4858-b185-ff86be206069" providerId="ADAL" clId="{7512AD08-729F-4631-AFF5-A13DAAFD1BEE}" dt="2020-07-27T23:03:24.875" v="873" actId="478"/>
          <ac:spMkLst>
            <pc:docMk/>
            <pc:sldMk cId="1734415321" sldId="2134804344"/>
            <ac:spMk id="80" creationId="{96AB8046-2E99-4630-8FD8-053B44BBA7B0}"/>
          </ac:spMkLst>
        </pc:spChg>
        <pc:spChg chg="add mod">
          <ac:chgData name="Andrea Mogollon Nossa (CENIT)" userId="f6a3e592-cc27-4858-b185-ff86be206069" providerId="ADAL" clId="{7512AD08-729F-4631-AFF5-A13DAAFD1BEE}" dt="2020-07-27T22:54:14.940" v="689" actId="20577"/>
          <ac:spMkLst>
            <pc:docMk/>
            <pc:sldMk cId="1734415321" sldId="2134804344"/>
            <ac:spMk id="81" creationId="{9EAEECC0-C607-4346-A4F1-115AAD4C7633}"/>
          </ac:spMkLst>
        </pc:spChg>
        <pc:spChg chg="add mod">
          <ac:chgData name="Andrea Mogollon Nossa (CENIT)" userId="f6a3e592-cc27-4858-b185-ff86be206069" providerId="ADAL" clId="{7512AD08-729F-4631-AFF5-A13DAAFD1BEE}" dt="2020-07-27T22:54:17.017" v="691" actId="20577"/>
          <ac:spMkLst>
            <pc:docMk/>
            <pc:sldMk cId="1734415321" sldId="2134804344"/>
            <ac:spMk id="82" creationId="{AE9FA5CC-5AF8-4A39-808A-A55759A10785}"/>
          </ac:spMkLst>
        </pc:spChg>
        <pc:spChg chg="add mod">
          <ac:chgData name="Andrea Mogollon Nossa (CENIT)" userId="f6a3e592-cc27-4858-b185-ff86be206069" providerId="ADAL" clId="{7512AD08-729F-4631-AFF5-A13DAAFD1BEE}" dt="2020-07-27T22:54:20.068" v="693" actId="20577"/>
          <ac:spMkLst>
            <pc:docMk/>
            <pc:sldMk cId="1734415321" sldId="2134804344"/>
            <ac:spMk id="83" creationId="{697AE0C9-8E3D-47A0-B88B-51F62D5E5F80}"/>
          </ac:spMkLst>
        </pc:spChg>
        <pc:spChg chg="del mod">
          <ac:chgData name="Andrea Mogollon Nossa (CENIT)" userId="f6a3e592-cc27-4858-b185-ff86be206069" providerId="ADAL" clId="{7512AD08-729F-4631-AFF5-A13DAAFD1BEE}" dt="2020-07-28T17:06:28.016" v="1444" actId="478"/>
          <ac:spMkLst>
            <pc:docMk/>
            <pc:sldMk cId="1734415321" sldId="2134804344"/>
            <ac:spMk id="84" creationId="{293DBAF3-3942-4C58-8A63-D4484E215E20}"/>
          </ac:spMkLst>
        </pc:spChg>
        <pc:spChg chg="add mod">
          <ac:chgData name="Andrea Mogollon Nossa (CENIT)" userId="f6a3e592-cc27-4858-b185-ff86be206069" providerId="ADAL" clId="{7512AD08-729F-4631-AFF5-A13DAAFD1BEE}" dt="2020-07-27T22:54:22.579" v="695" actId="20577"/>
          <ac:spMkLst>
            <pc:docMk/>
            <pc:sldMk cId="1734415321" sldId="2134804344"/>
            <ac:spMk id="85" creationId="{0AEECF97-B04A-4741-8EAF-E1C19707EC79}"/>
          </ac:spMkLst>
        </pc:spChg>
        <pc:spChg chg="del mod">
          <ac:chgData name="Andrea Mogollon Nossa (CENIT)" userId="f6a3e592-cc27-4858-b185-ff86be206069" providerId="ADAL" clId="{7512AD08-729F-4631-AFF5-A13DAAFD1BEE}" dt="2020-07-28T17:06:30.140" v="1445" actId="478"/>
          <ac:spMkLst>
            <pc:docMk/>
            <pc:sldMk cId="1734415321" sldId="2134804344"/>
            <ac:spMk id="86" creationId="{7696A978-4362-4DE3-8C58-0F58608C4AA6}"/>
          </ac:spMkLst>
        </pc:spChg>
        <pc:spChg chg="add mod">
          <ac:chgData name="Andrea Mogollon Nossa (CENIT)" userId="f6a3e592-cc27-4858-b185-ff86be206069" providerId="ADAL" clId="{7512AD08-729F-4631-AFF5-A13DAAFD1BEE}" dt="2020-07-27T22:54:49.444" v="704" actId="1076"/>
          <ac:spMkLst>
            <pc:docMk/>
            <pc:sldMk cId="1734415321" sldId="2134804344"/>
            <ac:spMk id="87" creationId="{269CF6B1-0EA3-4FE9-9DEC-9330E4CB8B2F}"/>
          </ac:spMkLst>
        </pc:spChg>
        <pc:spChg chg="add del mod">
          <ac:chgData name="Andrea Mogollon Nossa (CENIT)" userId="f6a3e592-cc27-4858-b185-ff86be206069" providerId="ADAL" clId="{7512AD08-729F-4631-AFF5-A13DAAFD1BEE}" dt="2020-07-27T22:54:53.354" v="705" actId="478"/>
          <ac:spMkLst>
            <pc:docMk/>
            <pc:sldMk cId="1734415321" sldId="2134804344"/>
            <ac:spMk id="88" creationId="{B25719B3-AAEF-4C4C-8829-5D037BA83129}"/>
          </ac:spMkLst>
        </pc:spChg>
        <pc:spChg chg="add mod">
          <ac:chgData name="Andrea Mogollon Nossa (CENIT)" userId="f6a3e592-cc27-4858-b185-ff86be206069" providerId="ADAL" clId="{7512AD08-729F-4631-AFF5-A13DAAFD1BEE}" dt="2020-07-27T22:55:00.644" v="709" actId="20577"/>
          <ac:spMkLst>
            <pc:docMk/>
            <pc:sldMk cId="1734415321" sldId="2134804344"/>
            <ac:spMk id="89" creationId="{5465872D-E414-4B84-A080-1F2F5C27B615}"/>
          </ac:spMkLst>
        </pc:spChg>
        <pc:spChg chg="add mod">
          <ac:chgData name="Andrea Mogollon Nossa (CENIT)" userId="f6a3e592-cc27-4858-b185-ff86be206069" providerId="ADAL" clId="{7512AD08-729F-4631-AFF5-A13DAAFD1BEE}" dt="2020-07-27T23:38:54.400" v="992" actId="208"/>
          <ac:spMkLst>
            <pc:docMk/>
            <pc:sldMk cId="1734415321" sldId="2134804344"/>
            <ac:spMk id="90" creationId="{B9160EF2-B7C0-4E67-93D1-72B561F4C522}"/>
          </ac:spMkLst>
        </pc:spChg>
        <pc:spChg chg="add del mod">
          <ac:chgData name="Andrea Mogollon Nossa (CENIT)" userId="f6a3e592-cc27-4858-b185-ff86be206069" providerId="ADAL" clId="{7512AD08-729F-4631-AFF5-A13DAAFD1BEE}" dt="2020-07-27T23:05:11.089" v="884" actId="478"/>
          <ac:spMkLst>
            <pc:docMk/>
            <pc:sldMk cId="1734415321" sldId="2134804344"/>
            <ac:spMk id="91" creationId="{B4065A05-7788-4BC5-B51A-1B5E6A701A9B}"/>
          </ac:spMkLst>
        </pc:spChg>
        <pc:spChg chg="add mod">
          <ac:chgData name="Andrea Mogollon Nossa (CENIT)" userId="f6a3e592-cc27-4858-b185-ff86be206069" providerId="ADAL" clId="{7512AD08-729F-4631-AFF5-A13DAAFD1BEE}" dt="2020-07-27T23:40:03.321" v="999" actId="208"/>
          <ac:spMkLst>
            <pc:docMk/>
            <pc:sldMk cId="1734415321" sldId="2134804344"/>
            <ac:spMk id="92" creationId="{BA5DCEF1-A51C-4DC1-A9B1-7C59485A7090}"/>
          </ac:spMkLst>
        </pc:spChg>
        <pc:spChg chg="add mod">
          <ac:chgData name="Andrea Mogollon Nossa (CENIT)" userId="f6a3e592-cc27-4858-b185-ff86be206069" providerId="ADAL" clId="{7512AD08-729F-4631-AFF5-A13DAAFD1BEE}" dt="2020-07-27T23:05:57.539" v="959" actId="1076"/>
          <ac:spMkLst>
            <pc:docMk/>
            <pc:sldMk cId="1734415321" sldId="2134804344"/>
            <ac:spMk id="93" creationId="{25FE90EB-9812-4D21-B0BA-73B6896B2EC9}"/>
          </ac:spMkLst>
        </pc:spChg>
        <pc:spChg chg="mod">
          <ac:chgData name="Andrea Mogollon Nossa (CENIT)" userId="f6a3e592-cc27-4858-b185-ff86be206069" providerId="ADAL" clId="{7512AD08-729F-4631-AFF5-A13DAAFD1BEE}" dt="2020-07-28T15:26:52.357" v="1335" actId="255"/>
          <ac:spMkLst>
            <pc:docMk/>
            <pc:sldMk cId="1734415321" sldId="2134804344"/>
            <ac:spMk id="97" creationId="{99300021-C267-43BD-A0F5-B3ECE622345E}"/>
          </ac:spMkLst>
        </pc:spChg>
        <pc:spChg chg="add mod">
          <ac:chgData name="Andrea Mogollon Nossa (CENIT)" userId="f6a3e592-cc27-4858-b185-ff86be206069" providerId="ADAL" clId="{7512AD08-729F-4631-AFF5-A13DAAFD1BEE}" dt="2020-07-28T15:26:06.476" v="1329" actId="1076"/>
          <ac:spMkLst>
            <pc:docMk/>
            <pc:sldMk cId="1734415321" sldId="2134804344"/>
            <ac:spMk id="98" creationId="{11F602EB-6CFD-4843-A675-A9D9AB24E0FE}"/>
          </ac:spMkLst>
        </pc:spChg>
        <pc:spChg chg="add mod">
          <ac:chgData name="Andrea Mogollon Nossa (CENIT)" userId="f6a3e592-cc27-4858-b185-ff86be206069" providerId="ADAL" clId="{7512AD08-729F-4631-AFF5-A13DAAFD1BEE}" dt="2020-07-28T17:06:35.941" v="1449"/>
          <ac:spMkLst>
            <pc:docMk/>
            <pc:sldMk cId="1734415321" sldId="2134804344"/>
            <ac:spMk id="99" creationId="{3F37526A-888E-4B3B-9EF1-1D4F51094B16}"/>
          </ac:spMkLst>
        </pc:spChg>
        <pc:spChg chg="add mod">
          <ac:chgData name="Andrea Mogollon Nossa (CENIT)" userId="f6a3e592-cc27-4858-b185-ff86be206069" providerId="ADAL" clId="{7512AD08-729F-4631-AFF5-A13DAAFD1BEE}" dt="2020-07-28T17:06:35.941" v="1449"/>
          <ac:spMkLst>
            <pc:docMk/>
            <pc:sldMk cId="1734415321" sldId="2134804344"/>
            <ac:spMk id="100" creationId="{35A556C0-08BB-4065-827F-E54CA0A57E33}"/>
          </ac:spMkLst>
        </pc:spChg>
        <pc:spChg chg="add mod">
          <ac:chgData name="Andrea Mogollon Nossa (CENIT)" userId="f6a3e592-cc27-4858-b185-ff86be206069" providerId="ADAL" clId="{7512AD08-729F-4631-AFF5-A13DAAFD1BEE}" dt="2020-07-28T17:06:35.941" v="1449"/>
          <ac:spMkLst>
            <pc:docMk/>
            <pc:sldMk cId="1734415321" sldId="2134804344"/>
            <ac:spMk id="101" creationId="{0F95C10F-4505-43A2-9FE4-A5D8FBED5E9D}"/>
          </ac:spMkLst>
        </pc:spChg>
        <pc:spChg chg="add mod">
          <ac:chgData name="Andrea Mogollon Nossa (CENIT)" userId="f6a3e592-cc27-4858-b185-ff86be206069" providerId="ADAL" clId="{7512AD08-729F-4631-AFF5-A13DAAFD1BEE}" dt="2020-07-28T17:06:35.941" v="1449"/>
          <ac:spMkLst>
            <pc:docMk/>
            <pc:sldMk cId="1734415321" sldId="2134804344"/>
            <ac:spMk id="102" creationId="{375A91BF-D241-42F1-A4B3-D3F3EA721080}"/>
          </ac:spMkLst>
        </pc:spChg>
        <pc:spChg chg="add mod">
          <ac:chgData name="Andrea Mogollon Nossa (CENIT)" userId="f6a3e592-cc27-4858-b185-ff86be206069" providerId="ADAL" clId="{7512AD08-729F-4631-AFF5-A13DAAFD1BEE}" dt="2020-07-28T17:06:35.941" v="1449"/>
          <ac:spMkLst>
            <pc:docMk/>
            <pc:sldMk cId="1734415321" sldId="2134804344"/>
            <ac:spMk id="103" creationId="{9CCA22EE-9CE4-456C-B76B-098E81A697E4}"/>
          </ac:spMkLst>
        </pc:spChg>
        <pc:spChg chg="mod">
          <ac:chgData name="Andrea Mogollon Nossa (CENIT)" userId="f6a3e592-cc27-4858-b185-ff86be206069" providerId="ADAL" clId="{7512AD08-729F-4631-AFF5-A13DAAFD1BEE}" dt="2020-07-28T17:06:35.941" v="1449"/>
          <ac:spMkLst>
            <pc:docMk/>
            <pc:sldMk cId="1734415321" sldId="2134804344"/>
            <ac:spMk id="105" creationId="{2EE95322-BDB4-4CF7-973B-E5DBC6D1C53E}"/>
          </ac:spMkLst>
        </pc:spChg>
        <pc:spChg chg="mod">
          <ac:chgData name="Andrea Mogollon Nossa (CENIT)" userId="f6a3e592-cc27-4858-b185-ff86be206069" providerId="ADAL" clId="{7512AD08-729F-4631-AFF5-A13DAAFD1BEE}" dt="2020-07-28T17:06:35.941" v="1449"/>
          <ac:spMkLst>
            <pc:docMk/>
            <pc:sldMk cId="1734415321" sldId="2134804344"/>
            <ac:spMk id="106" creationId="{3B211658-9448-4823-8F15-5D1C5843CE46}"/>
          </ac:spMkLst>
        </pc:spChg>
        <pc:spChg chg="mod">
          <ac:chgData name="Andrea Mogollon Nossa (CENIT)" userId="f6a3e592-cc27-4858-b185-ff86be206069" providerId="ADAL" clId="{7512AD08-729F-4631-AFF5-A13DAAFD1BEE}" dt="2020-07-28T17:06:35.941" v="1449"/>
          <ac:spMkLst>
            <pc:docMk/>
            <pc:sldMk cId="1734415321" sldId="2134804344"/>
            <ac:spMk id="108" creationId="{3D010BAD-F539-4116-8687-AD686D4C2E0F}"/>
          </ac:spMkLst>
        </pc:spChg>
        <pc:spChg chg="mod">
          <ac:chgData name="Andrea Mogollon Nossa (CENIT)" userId="f6a3e592-cc27-4858-b185-ff86be206069" providerId="ADAL" clId="{7512AD08-729F-4631-AFF5-A13DAAFD1BEE}" dt="2020-07-28T17:06:35.941" v="1449"/>
          <ac:spMkLst>
            <pc:docMk/>
            <pc:sldMk cId="1734415321" sldId="2134804344"/>
            <ac:spMk id="109" creationId="{BB252E27-19CB-42F0-A5CE-473B62340627}"/>
          </ac:spMkLst>
        </pc:spChg>
        <pc:spChg chg="mod">
          <ac:chgData name="Andrea Mogollon Nossa (CENIT)" userId="f6a3e592-cc27-4858-b185-ff86be206069" providerId="ADAL" clId="{7512AD08-729F-4631-AFF5-A13DAAFD1BEE}" dt="2020-07-28T17:06:35.941" v="1449"/>
          <ac:spMkLst>
            <pc:docMk/>
            <pc:sldMk cId="1734415321" sldId="2134804344"/>
            <ac:spMk id="111" creationId="{A4F32EC4-3805-4E33-8575-58E53F91EAD7}"/>
          </ac:spMkLst>
        </pc:spChg>
        <pc:spChg chg="mod">
          <ac:chgData name="Andrea Mogollon Nossa (CENIT)" userId="f6a3e592-cc27-4858-b185-ff86be206069" providerId="ADAL" clId="{7512AD08-729F-4631-AFF5-A13DAAFD1BEE}" dt="2020-07-28T17:06:35.941" v="1449"/>
          <ac:spMkLst>
            <pc:docMk/>
            <pc:sldMk cId="1734415321" sldId="2134804344"/>
            <ac:spMk id="112" creationId="{5A8CEDC8-152E-46F9-90EC-5ECDB2223440}"/>
          </ac:spMkLst>
        </pc:spChg>
        <pc:spChg chg="mod">
          <ac:chgData name="Andrea Mogollon Nossa (CENIT)" userId="f6a3e592-cc27-4858-b185-ff86be206069" providerId="ADAL" clId="{7512AD08-729F-4631-AFF5-A13DAAFD1BEE}" dt="2020-07-28T17:06:35.941" v="1449"/>
          <ac:spMkLst>
            <pc:docMk/>
            <pc:sldMk cId="1734415321" sldId="2134804344"/>
            <ac:spMk id="114" creationId="{01327C6F-65CD-4FAA-83F4-7A5B78A2AF92}"/>
          </ac:spMkLst>
        </pc:spChg>
        <pc:spChg chg="mod">
          <ac:chgData name="Andrea Mogollon Nossa (CENIT)" userId="f6a3e592-cc27-4858-b185-ff86be206069" providerId="ADAL" clId="{7512AD08-729F-4631-AFF5-A13DAAFD1BEE}" dt="2020-07-28T17:06:35.941" v="1449"/>
          <ac:spMkLst>
            <pc:docMk/>
            <pc:sldMk cId="1734415321" sldId="2134804344"/>
            <ac:spMk id="115" creationId="{B6C93DFC-9133-43F1-A9CD-453821AD6C04}"/>
          </ac:spMkLst>
        </pc:spChg>
        <pc:spChg chg="del mod">
          <ac:chgData name="Andrea Mogollon Nossa (CENIT)" userId="f6a3e592-cc27-4858-b185-ff86be206069" providerId="ADAL" clId="{7512AD08-729F-4631-AFF5-A13DAAFD1BEE}" dt="2020-07-28T17:06:31.984" v="1446" actId="478"/>
          <ac:spMkLst>
            <pc:docMk/>
            <pc:sldMk cId="1734415321" sldId="2134804344"/>
            <ac:spMk id="117" creationId="{8960734A-1053-42D2-BD72-6674DCCE6A97}"/>
          </ac:spMkLst>
        </pc:spChg>
        <pc:spChg chg="del mod">
          <ac:chgData name="Andrea Mogollon Nossa (CENIT)" userId="f6a3e592-cc27-4858-b185-ff86be206069" providerId="ADAL" clId="{7512AD08-729F-4631-AFF5-A13DAAFD1BEE}" dt="2020-07-28T17:06:31.984" v="1446" actId="478"/>
          <ac:spMkLst>
            <pc:docMk/>
            <pc:sldMk cId="1734415321" sldId="2134804344"/>
            <ac:spMk id="118" creationId="{C77431EE-A761-4323-B75F-692D4CAEC462}"/>
          </ac:spMkLst>
        </pc:spChg>
        <pc:spChg chg="del mod">
          <ac:chgData name="Andrea Mogollon Nossa (CENIT)" userId="f6a3e592-cc27-4858-b185-ff86be206069" providerId="ADAL" clId="{7512AD08-729F-4631-AFF5-A13DAAFD1BEE}" dt="2020-07-28T17:06:31.984" v="1446" actId="478"/>
          <ac:spMkLst>
            <pc:docMk/>
            <pc:sldMk cId="1734415321" sldId="2134804344"/>
            <ac:spMk id="119" creationId="{A66DDFF6-8990-4632-9B16-3852035C81BA}"/>
          </ac:spMkLst>
        </pc:spChg>
        <pc:spChg chg="mod">
          <ac:chgData name="Andrea Mogollon Nossa (CENIT)" userId="f6a3e592-cc27-4858-b185-ff86be206069" providerId="ADAL" clId="{7512AD08-729F-4631-AFF5-A13DAAFD1BEE}" dt="2020-07-28T17:06:35.941" v="1449"/>
          <ac:spMkLst>
            <pc:docMk/>
            <pc:sldMk cId="1734415321" sldId="2134804344"/>
            <ac:spMk id="120" creationId="{E889347F-DCDE-40C9-922E-53BDFFE1C4DD}"/>
          </ac:spMkLst>
        </pc:spChg>
        <pc:spChg chg="mod">
          <ac:chgData name="Andrea Mogollon Nossa (CENIT)" userId="f6a3e592-cc27-4858-b185-ff86be206069" providerId="ADAL" clId="{7512AD08-729F-4631-AFF5-A13DAAFD1BEE}" dt="2020-07-28T17:06:35.941" v="1449"/>
          <ac:spMkLst>
            <pc:docMk/>
            <pc:sldMk cId="1734415321" sldId="2134804344"/>
            <ac:spMk id="121" creationId="{2E311C97-6862-47DD-92C1-3BEF5D8F8865}"/>
          </ac:spMkLst>
        </pc:spChg>
        <pc:spChg chg="mod">
          <ac:chgData name="Andrea Mogollon Nossa (CENIT)" userId="f6a3e592-cc27-4858-b185-ff86be206069" providerId="ADAL" clId="{7512AD08-729F-4631-AFF5-A13DAAFD1BEE}" dt="2020-07-28T17:06:35.941" v="1449"/>
          <ac:spMkLst>
            <pc:docMk/>
            <pc:sldMk cId="1734415321" sldId="2134804344"/>
            <ac:spMk id="123" creationId="{AC01D00A-18C0-4091-AEAE-B1FC32478B03}"/>
          </ac:spMkLst>
        </pc:spChg>
        <pc:spChg chg="mod">
          <ac:chgData name="Andrea Mogollon Nossa (CENIT)" userId="f6a3e592-cc27-4858-b185-ff86be206069" providerId="ADAL" clId="{7512AD08-729F-4631-AFF5-A13DAAFD1BEE}" dt="2020-07-28T17:06:35.941" v="1449"/>
          <ac:spMkLst>
            <pc:docMk/>
            <pc:sldMk cId="1734415321" sldId="2134804344"/>
            <ac:spMk id="124" creationId="{4FCAC517-DC3C-4BB1-BF4A-8CBAA615873F}"/>
          </ac:spMkLst>
        </pc:spChg>
        <pc:spChg chg="mod">
          <ac:chgData name="Andrea Mogollon Nossa (CENIT)" userId="f6a3e592-cc27-4858-b185-ff86be206069" providerId="ADAL" clId="{7512AD08-729F-4631-AFF5-A13DAAFD1BEE}" dt="2020-07-28T17:06:35.941" v="1449"/>
          <ac:spMkLst>
            <pc:docMk/>
            <pc:sldMk cId="1734415321" sldId="2134804344"/>
            <ac:spMk id="126" creationId="{AF9C6261-00C2-4E0E-B330-D49A2044F3DE}"/>
          </ac:spMkLst>
        </pc:spChg>
        <pc:spChg chg="mod">
          <ac:chgData name="Andrea Mogollon Nossa (CENIT)" userId="f6a3e592-cc27-4858-b185-ff86be206069" providerId="ADAL" clId="{7512AD08-729F-4631-AFF5-A13DAAFD1BEE}" dt="2020-07-28T17:06:35.941" v="1449"/>
          <ac:spMkLst>
            <pc:docMk/>
            <pc:sldMk cId="1734415321" sldId="2134804344"/>
            <ac:spMk id="127" creationId="{501B1D27-37DD-4D11-80FF-526C8083A6B5}"/>
          </ac:spMkLst>
        </pc:spChg>
        <pc:spChg chg="mod">
          <ac:chgData name="Andrea Mogollon Nossa (CENIT)" userId="f6a3e592-cc27-4858-b185-ff86be206069" providerId="ADAL" clId="{7512AD08-729F-4631-AFF5-A13DAAFD1BEE}" dt="2020-07-28T17:06:35.941" v="1449"/>
          <ac:spMkLst>
            <pc:docMk/>
            <pc:sldMk cId="1734415321" sldId="2134804344"/>
            <ac:spMk id="129" creationId="{1EB544C0-7E97-4405-8241-DDF32C21875D}"/>
          </ac:spMkLst>
        </pc:spChg>
        <pc:spChg chg="mod">
          <ac:chgData name="Andrea Mogollon Nossa (CENIT)" userId="f6a3e592-cc27-4858-b185-ff86be206069" providerId="ADAL" clId="{7512AD08-729F-4631-AFF5-A13DAAFD1BEE}" dt="2020-07-28T17:06:35.941" v="1449"/>
          <ac:spMkLst>
            <pc:docMk/>
            <pc:sldMk cId="1734415321" sldId="2134804344"/>
            <ac:spMk id="130" creationId="{DA95F683-0481-491C-9E12-C20E9C8D4CB2}"/>
          </ac:spMkLst>
        </pc:spChg>
        <pc:spChg chg="mod">
          <ac:chgData name="Andrea Mogollon Nossa (CENIT)" userId="f6a3e592-cc27-4858-b185-ff86be206069" providerId="ADAL" clId="{7512AD08-729F-4631-AFF5-A13DAAFD1BEE}" dt="2020-07-28T17:06:35.941" v="1449"/>
          <ac:spMkLst>
            <pc:docMk/>
            <pc:sldMk cId="1734415321" sldId="2134804344"/>
            <ac:spMk id="132" creationId="{BEABA088-2E0C-4758-B80F-FCC9E0461845}"/>
          </ac:spMkLst>
        </pc:spChg>
        <pc:spChg chg="mod">
          <ac:chgData name="Andrea Mogollon Nossa (CENIT)" userId="f6a3e592-cc27-4858-b185-ff86be206069" providerId="ADAL" clId="{7512AD08-729F-4631-AFF5-A13DAAFD1BEE}" dt="2020-07-28T17:06:35.941" v="1449"/>
          <ac:spMkLst>
            <pc:docMk/>
            <pc:sldMk cId="1734415321" sldId="2134804344"/>
            <ac:spMk id="133" creationId="{47934E67-218B-4801-BC20-A86CE79D44A9}"/>
          </ac:spMkLst>
        </pc:spChg>
        <pc:spChg chg="mod">
          <ac:chgData name="Andrea Mogollon Nossa (CENIT)" userId="f6a3e592-cc27-4858-b185-ff86be206069" providerId="ADAL" clId="{7512AD08-729F-4631-AFF5-A13DAAFD1BEE}" dt="2020-07-27T22:52:54.924" v="669" actId="1076"/>
          <ac:spMkLst>
            <pc:docMk/>
            <pc:sldMk cId="1734415321" sldId="2134804344"/>
            <ac:spMk id="135" creationId="{C1823568-A421-4254-9106-BAEB76F16B72}"/>
          </ac:spMkLst>
        </pc:spChg>
        <pc:grpChg chg="del">
          <ac:chgData name="Andrea Mogollon Nossa (CENIT)" userId="f6a3e592-cc27-4858-b185-ff86be206069" providerId="ADAL" clId="{7512AD08-729F-4631-AFF5-A13DAAFD1BEE}" dt="2020-07-28T17:06:31.984" v="1446" actId="478"/>
          <ac:grpSpMkLst>
            <pc:docMk/>
            <pc:sldMk cId="1734415321" sldId="2134804344"/>
            <ac:grpSpMk id="6" creationId="{57633FC3-8ECB-41C1-ACEF-59A15EE6A029}"/>
          </ac:grpSpMkLst>
        </pc:grpChg>
        <pc:grpChg chg="del">
          <ac:chgData name="Andrea Mogollon Nossa (CENIT)" userId="f6a3e592-cc27-4858-b185-ff86be206069" providerId="ADAL" clId="{7512AD08-729F-4631-AFF5-A13DAAFD1BEE}" dt="2020-07-28T17:06:31.984" v="1446" actId="478"/>
          <ac:grpSpMkLst>
            <pc:docMk/>
            <pc:sldMk cId="1734415321" sldId="2134804344"/>
            <ac:grpSpMk id="7" creationId="{7089E4A7-F564-4BFC-BE70-0BCE0187790F}"/>
          </ac:grpSpMkLst>
        </pc:grpChg>
        <pc:grpChg chg="del">
          <ac:chgData name="Andrea Mogollon Nossa (CENIT)" userId="f6a3e592-cc27-4858-b185-ff86be206069" providerId="ADAL" clId="{7512AD08-729F-4631-AFF5-A13DAAFD1BEE}" dt="2020-07-28T17:06:31.984" v="1446" actId="478"/>
          <ac:grpSpMkLst>
            <pc:docMk/>
            <pc:sldMk cId="1734415321" sldId="2134804344"/>
            <ac:grpSpMk id="8" creationId="{B7E6EBFA-7B93-4A7B-8D4B-0FDC667C5573}"/>
          </ac:grpSpMkLst>
        </pc:grpChg>
        <pc:grpChg chg="del">
          <ac:chgData name="Andrea Mogollon Nossa (CENIT)" userId="f6a3e592-cc27-4858-b185-ff86be206069" providerId="ADAL" clId="{7512AD08-729F-4631-AFF5-A13DAAFD1BEE}" dt="2020-07-28T17:06:31.984" v="1446" actId="478"/>
          <ac:grpSpMkLst>
            <pc:docMk/>
            <pc:sldMk cId="1734415321" sldId="2134804344"/>
            <ac:grpSpMk id="9" creationId="{A784003E-43C3-4425-8885-B764ECECF401}"/>
          </ac:grpSpMkLst>
        </pc:grpChg>
        <pc:grpChg chg="del">
          <ac:chgData name="Andrea Mogollon Nossa (CENIT)" userId="f6a3e592-cc27-4858-b185-ff86be206069" providerId="ADAL" clId="{7512AD08-729F-4631-AFF5-A13DAAFD1BEE}" dt="2020-07-28T17:06:31.984" v="1446" actId="478"/>
          <ac:grpSpMkLst>
            <pc:docMk/>
            <pc:sldMk cId="1734415321" sldId="2134804344"/>
            <ac:grpSpMk id="10" creationId="{CD3D57A0-B151-4451-AAF5-AB1985DBF547}"/>
          </ac:grpSpMkLst>
        </pc:grpChg>
        <pc:grpChg chg="del">
          <ac:chgData name="Andrea Mogollon Nossa (CENIT)" userId="f6a3e592-cc27-4858-b185-ff86be206069" providerId="ADAL" clId="{7512AD08-729F-4631-AFF5-A13DAAFD1BEE}" dt="2020-07-28T17:06:31.984" v="1446" actId="478"/>
          <ac:grpSpMkLst>
            <pc:docMk/>
            <pc:sldMk cId="1734415321" sldId="2134804344"/>
            <ac:grpSpMk id="13" creationId="{48CC5081-B4C2-4F95-8CDE-C807CEB67E2C}"/>
          </ac:grpSpMkLst>
        </pc:grpChg>
        <pc:grpChg chg="del">
          <ac:chgData name="Andrea Mogollon Nossa (CENIT)" userId="f6a3e592-cc27-4858-b185-ff86be206069" providerId="ADAL" clId="{7512AD08-729F-4631-AFF5-A13DAAFD1BEE}" dt="2020-07-28T17:06:34.351" v="1448" actId="478"/>
          <ac:grpSpMkLst>
            <pc:docMk/>
            <pc:sldMk cId="1734415321" sldId="2134804344"/>
            <ac:grpSpMk id="14" creationId="{B35D5631-62C0-44DA-BEB9-F6D1D4614CD6}"/>
          </ac:grpSpMkLst>
        </pc:grpChg>
        <pc:grpChg chg="del mod">
          <ac:chgData name="Andrea Mogollon Nossa (CENIT)" userId="f6a3e592-cc27-4858-b185-ff86be206069" providerId="ADAL" clId="{7512AD08-729F-4631-AFF5-A13DAAFD1BEE}" dt="2020-07-28T17:06:31.984" v="1446" actId="478"/>
          <ac:grpSpMkLst>
            <pc:docMk/>
            <pc:sldMk cId="1734415321" sldId="2134804344"/>
            <ac:grpSpMk id="26" creationId="{5B1CDA9C-37CE-441A-94E7-5A5F38503613}"/>
          </ac:grpSpMkLst>
        </pc:grpChg>
        <pc:grpChg chg="del mod">
          <ac:chgData name="Andrea Mogollon Nossa (CENIT)" userId="f6a3e592-cc27-4858-b185-ff86be206069" providerId="ADAL" clId="{7512AD08-729F-4631-AFF5-A13DAAFD1BEE}" dt="2020-07-28T17:06:31.984" v="1446" actId="478"/>
          <ac:grpSpMkLst>
            <pc:docMk/>
            <pc:sldMk cId="1734415321" sldId="2134804344"/>
            <ac:grpSpMk id="31" creationId="{A0B07E6C-42EA-42D4-BF18-74CF8467911A}"/>
          </ac:grpSpMkLst>
        </pc:grpChg>
        <pc:grpChg chg="del mod">
          <ac:chgData name="Andrea Mogollon Nossa (CENIT)" userId="f6a3e592-cc27-4858-b185-ff86be206069" providerId="ADAL" clId="{7512AD08-729F-4631-AFF5-A13DAAFD1BEE}" dt="2020-07-28T17:06:31.984" v="1446" actId="478"/>
          <ac:grpSpMkLst>
            <pc:docMk/>
            <pc:sldMk cId="1734415321" sldId="2134804344"/>
            <ac:grpSpMk id="37" creationId="{33A4F641-6F0E-462A-898E-0641B151AA65}"/>
          </ac:grpSpMkLst>
        </pc:grpChg>
        <pc:grpChg chg="add mod">
          <ac:chgData name="Andrea Mogollon Nossa (CENIT)" userId="f6a3e592-cc27-4858-b185-ff86be206069" providerId="ADAL" clId="{7512AD08-729F-4631-AFF5-A13DAAFD1BEE}" dt="2020-07-28T17:06:35.941" v="1449"/>
          <ac:grpSpMkLst>
            <pc:docMk/>
            <pc:sldMk cId="1734415321" sldId="2134804344"/>
            <ac:grpSpMk id="104" creationId="{59DCCC75-910D-4156-B5D2-8F3A5AA4C455}"/>
          </ac:grpSpMkLst>
        </pc:grpChg>
        <pc:grpChg chg="add mod">
          <ac:chgData name="Andrea Mogollon Nossa (CENIT)" userId="f6a3e592-cc27-4858-b185-ff86be206069" providerId="ADAL" clId="{7512AD08-729F-4631-AFF5-A13DAAFD1BEE}" dt="2020-07-28T17:06:35.941" v="1449"/>
          <ac:grpSpMkLst>
            <pc:docMk/>
            <pc:sldMk cId="1734415321" sldId="2134804344"/>
            <ac:grpSpMk id="107" creationId="{E3576795-9E27-4D88-8404-00A3C7526AF7}"/>
          </ac:grpSpMkLst>
        </pc:grpChg>
        <pc:grpChg chg="add mod">
          <ac:chgData name="Andrea Mogollon Nossa (CENIT)" userId="f6a3e592-cc27-4858-b185-ff86be206069" providerId="ADAL" clId="{7512AD08-729F-4631-AFF5-A13DAAFD1BEE}" dt="2020-07-28T17:06:35.941" v="1449"/>
          <ac:grpSpMkLst>
            <pc:docMk/>
            <pc:sldMk cId="1734415321" sldId="2134804344"/>
            <ac:grpSpMk id="110" creationId="{D7D0C9A1-025C-4450-87B1-36C6FF8DEABD}"/>
          </ac:grpSpMkLst>
        </pc:grpChg>
        <pc:grpChg chg="add mod">
          <ac:chgData name="Andrea Mogollon Nossa (CENIT)" userId="f6a3e592-cc27-4858-b185-ff86be206069" providerId="ADAL" clId="{7512AD08-729F-4631-AFF5-A13DAAFD1BEE}" dt="2020-07-28T17:06:35.941" v="1449"/>
          <ac:grpSpMkLst>
            <pc:docMk/>
            <pc:sldMk cId="1734415321" sldId="2134804344"/>
            <ac:grpSpMk id="113" creationId="{6B581FBB-D989-4E17-A065-E7971E49DBDA}"/>
          </ac:grpSpMkLst>
        </pc:grpChg>
        <pc:grpChg chg="add mod">
          <ac:chgData name="Andrea Mogollon Nossa (CENIT)" userId="f6a3e592-cc27-4858-b185-ff86be206069" providerId="ADAL" clId="{7512AD08-729F-4631-AFF5-A13DAAFD1BEE}" dt="2020-07-28T17:06:35.941" v="1449"/>
          <ac:grpSpMkLst>
            <pc:docMk/>
            <pc:sldMk cId="1734415321" sldId="2134804344"/>
            <ac:grpSpMk id="116" creationId="{E70D78CB-6FAA-4B85-BF4A-5A9BF1BD33DE}"/>
          </ac:grpSpMkLst>
        </pc:grpChg>
        <pc:grpChg chg="add mod">
          <ac:chgData name="Andrea Mogollon Nossa (CENIT)" userId="f6a3e592-cc27-4858-b185-ff86be206069" providerId="ADAL" clId="{7512AD08-729F-4631-AFF5-A13DAAFD1BEE}" dt="2020-07-28T17:06:35.941" v="1449"/>
          <ac:grpSpMkLst>
            <pc:docMk/>
            <pc:sldMk cId="1734415321" sldId="2134804344"/>
            <ac:grpSpMk id="122" creationId="{A6FEA521-C468-4ED3-872F-BE324F3DBB8B}"/>
          </ac:grpSpMkLst>
        </pc:grpChg>
        <pc:grpChg chg="add mod">
          <ac:chgData name="Andrea Mogollon Nossa (CENIT)" userId="f6a3e592-cc27-4858-b185-ff86be206069" providerId="ADAL" clId="{7512AD08-729F-4631-AFF5-A13DAAFD1BEE}" dt="2020-07-28T17:06:35.941" v="1449"/>
          <ac:grpSpMkLst>
            <pc:docMk/>
            <pc:sldMk cId="1734415321" sldId="2134804344"/>
            <ac:grpSpMk id="125" creationId="{9BCEE625-51DE-48C5-A3B4-C0734FAEDADC}"/>
          </ac:grpSpMkLst>
        </pc:grpChg>
        <pc:grpChg chg="add mod">
          <ac:chgData name="Andrea Mogollon Nossa (CENIT)" userId="f6a3e592-cc27-4858-b185-ff86be206069" providerId="ADAL" clId="{7512AD08-729F-4631-AFF5-A13DAAFD1BEE}" dt="2020-07-28T17:06:35.941" v="1449"/>
          <ac:grpSpMkLst>
            <pc:docMk/>
            <pc:sldMk cId="1734415321" sldId="2134804344"/>
            <ac:grpSpMk id="128" creationId="{9D1AB67C-D2EF-416D-818A-29CE159D0987}"/>
          </ac:grpSpMkLst>
        </pc:grpChg>
        <pc:grpChg chg="add mod">
          <ac:chgData name="Andrea Mogollon Nossa (CENIT)" userId="f6a3e592-cc27-4858-b185-ff86be206069" providerId="ADAL" clId="{7512AD08-729F-4631-AFF5-A13DAAFD1BEE}" dt="2020-07-28T17:06:35.941" v="1449"/>
          <ac:grpSpMkLst>
            <pc:docMk/>
            <pc:sldMk cId="1734415321" sldId="2134804344"/>
            <ac:grpSpMk id="131" creationId="{8D896094-5CAE-4A34-8F54-B3EBEBD435A6}"/>
          </ac:grpSpMkLst>
        </pc:grpChg>
      </pc:sldChg>
      <pc:sldChg chg="modSp mod">
        <pc:chgData name="Andrea Mogollon Nossa (CENIT)" userId="f6a3e592-cc27-4858-b185-ff86be206069" providerId="ADAL" clId="{7512AD08-729F-4631-AFF5-A13DAAFD1BEE}" dt="2020-07-28T15:36:20.601" v="1428" actId="20577"/>
        <pc:sldMkLst>
          <pc:docMk/>
          <pc:sldMk cId="3225245280" sldId="2134804347"/>
        </pc:sldMkLst>
        <pc:spChg chg="mod">
          <ac:chgData name="Andrea Mogollon Nossa (CENIT)" userId="f6a3e592-cc27-4858-b185-ff86be206069" providerId="ADAL" clId="{7512AD08-729F-4631-AFF5-A13DAAFD1BEE}" dt="2020-07-28T15:36:20.601" v="1428" actId="20577"/>
          <ac:spMkLst>
            <pc:docMk/>
            <pc:sldMk cId="3225245280" sldId="2134804347"/>
            <ac:spMk id="36" creationId="{80930BAD-CC8E-47DD-9473-5B8864A2680A}"/>
          </ac:spMkLst>
        </pc:spChg>
      </pc:sldChg>
      <pc:sldChg chg="modSp mod">
        <pc:chgData name="Andrea Mogollon Nossa (CENIT)" userId="f6a3e592-cc27-4858-b185-ff86be206069" providerId="ADAL" clId="{7512AD08-729F-4631-AFF5-A13DAAFD1BEE}" dt="2020-07-28T15:14:57.296" v="1313" actId="108"/>
        <pc:sldMkLst>
          <pc:docMk/>
          <pc:sldMk cId="335391689" sldId="2134804348"/>
        </pc:sldMkLst>
        <pc:spChg chg="mod">
          <ac:chgData name="Andrea Mogollon Nossa (CENIT)" userId="f6a3e592-cc27-4858-b185-ff86be206069" providerId="ADAL" clId="{7512AD08-729F-4631-AFF5-A13DAAFD1BEE}" dt="2020-07-28T15:14:04.062" v="1310" actId="208"/>
          <ac:spMkLst>
            <pc:docMk/>
            <pc:sldMk cId="335391689" sldId="2134804348"/>
            <ac:spMk id="15" creationId="{EC155108-24C9-41BB-AFB7-1D8B4E0A3839}"/>
          </ac:spMkLst>
        </pc:spChg>
        <pc:spChg chg="mod">
          <ac:chgData name="Andrea Mogollon Nossa (CENIT)" userId="f6a3e592-cc27-4858-b185-ff86be206069" providerId="ADAL" clId="{7512AD08-729F-4631-AFF5-A13DAAFD1BEE}" dt="2020-07-28T15:13:10.140" v="1297" actId="108"/>
          <ac:spMkLst>
            <pc:docMk/>
            <pc:sldMk cId="335391689" sldId="2134804348"/>
            <ac:spMk id="27" creationId="{7F32EAE5-7D23-41BF-B948-664D0797EFC2}"/>
          </ac:spMkLst>
        </pc:spChg>
        <pc:spChg chg="mod">
          <ac:chgData name="Andrea Mogollon Nossa (CENIT)" userId="f6a3e592-cc27-4858-b185-ff86be206069" providerId="ADAL" clId="{7512AD08-729F-4631-AFF5-A13DAAFD1BEE}" dt="2020-07-28T15:13:45.739" v="1307" actId="108"/>
          <ac:spMkLst>
            <pc:docMk/>
            <pc:sldMk cId="335391689" sldId="2134804348"/>
            <ac:spMk id="33" creationId="{930E8CEC-501E-450A-8333-EE9FBB1D92FE}"/>
          </ac:spMkLst>
        </pc:spChg>
        <pc:spChg chg="mod">
          <ac:chgData name="Andrea Mogollon Nossa (CENIT)" userId="f6a3e592-cc27-4858-b185-ff86be206069" providerId="ADAL" clId="{7512AD08-729F-4631-AFF5-A13DAAFD1BEE}" dt="2020-07-28T15:13:00.618" v="1295" actId="108"/>
          <ac:spMkLst>
            <pc:docMk/>
            <pc:sldMk cId="335391689" sldId="2134804348"/>
            <ac:spMk id="36" creationId="{80930BAD-CC8E-47DD-9473-5B8864A2680A}"/>
          </ac:spMkLst>
        </pc:spChg>
        <pc:spChg chg="mod">
          <ac:chgData name="Andrea Mogollon Nossa (CENIT)" userId="f6a3e592-cc27-4858-b185-ff86be206069" providerId="ADAL" clId="{7512AD08-729F-4631-AFF5-A13DAAFD1BEE}" dt="2020-07-28T15:12:24.955" v="1288" actId="208"/>
          <ac:spMkLst>
            <pc:docMk/>
            <pc:sldMk cId="335391689" sldId="2134804348"/>
            <ac:spMk id="52" creationId="{D9D4C4FD-C516-42D8-9705-F75D5FE24DFE}"/>
          </ac:spMkLst>
        </pc:spChg>
        <pc:spChg chg="mod">
          <ac:chgData name="Andrea Mogollon Nossa (CENIT)" userId="f6a3e592-cc27-4858-b185-ff86be206069" providerId="ADAL" clId="{7512AD08-729F-4631-AFF5-A13DAAFD1BEE}" dt="2020-07-28T15:12:26.638" v="1289" actId="208"/>
          <ac:spMkLst>
            <pc:docMk/>
            <pc:sldMk cId="335391689" sldId="2134804348"/>
            <ac:spMk id="53" creationId="{8593FFF2-44E4-496E-BE2E-AF43086D7402}"/>
          </ac:spMkLst>
        </pc:spChg>
        <pc:spChg chg="mod">
          <ac:chgData name="Andrea Mogollon Nossa (CENIT)" userId="f6a3e592-cc27-4858-b185-ff86be206069" providerId="ADAL" clId="{7512AD08-729F-4631-AFF5-A13DAAFD1BEE}" dt="2020-07-28T15:14:57.296" v="1313" actId="108"/>
          <ac:spMkLst>
            <pc:docMk/>
            <pc:sldMk cId="335391689" sldId="2134804348"/>
            <ac:spMk id="69" creationId="{38D18292-C467-4CD3-890E-670905EDE7F1}"/>
          </ac:spMkLst>
        </pc:spChg>
        <pc:spChg chg="mod">
          <ac:chgData name="Andrea Mogollon Nossa (CENIT)" userId="f6a3e592-cc27-4858-b185-ff86be206069" providerId="ADAL" clId="{7512AD08-729F-4631-AFF5-A13DAAFD1BEE}" dt="2020-07-28T15:14:05.957" v="1311" actId="208"/>
          <ac:spMkLst>
            <pc:docMk/>
            <pc:sldMk cId="335391689" sldId="2134804348"/>
            <ac:spMk id="74" creationId="{D5140A26-6B24-4EF8-BA11-E02E558E1609}"/>
          </ac:spMkLst>
        </pc:spChg>
        <pc:spChg chg="mod">
          <ac:chgData name="Andrea Mogollon Nossa (CENIT)" userId="f6a3e592-cc27-4858-b185-ff86be206069" providerId="ADAL" clId="{7512AD08-729F-4631-AFF5-A13DAAFD1BEE}" dt="2020-07-28T15:14:13.732" v="1312" actId="208"/>
          <ac:spMkLst>
            <pc:docMk/>
            <pc:sldMk cId="335391689" sldId="2134804348"/>
            <ac:spMk id="94" creationId="{4DE4A526-D337-4C45-B9BF-7953B17E4C8C}"/>
          </ac:spMkLst>
        </pc:spChg>
      </pc:sldChg>
      <pc:sldChg chg="modSp mod">
        <pc:chgData name="Andrea Mogollon Nossa (CENIT)" userId="f6a3e592-cc27-4858-b185-ff86be206069" providerId="ADAL" clId="{7512AD08-729F-4631-AFF5-A13DAAFD1BEE}" dt="2020-07-28T20:57:47.840" v="2833" actId="1076"/>
        <pc:sldMkLst>
          <pc:docMk/>
          <pc:sldMk cId="1733347535" sldId="2134804349"/>
        </pc:sldMkLst>
        <pc:spChg chg="mod">
          <ac:chgData name="Andrea Mogollon Nossa (CENIT)" userId="f6a3e592-cc27-4858-b185-ff86be206069" providerId="ADAL" clId="{7512AD08-729F-4631-AFF5-A13DAAFD1BEE}" dt="2020-07-28T20:46:41.240" v="2782" actId="1076"/>
          <ac:spMkLst>
            <pc:docMk/>
            <pc:sldMk cId="1733347535" sldId="2134804349"/>
            <ac:spMk id="49" creationId="{5A708229-9B28-490D-903F-5AB937B8DCCB}"/>
          </ac:spMkLst>
        </pc:spChg>
        <pc:spChg chg="mod">
          <ac:chgData name="Andrea Mogollon Nossa (CENIT)" userId="f6a3e592-cc27-4858-b185-ff86be206069" providerId="ADAL" clId="{7512AD08-729F-4631-AFF5-A13DAAFD1BEE}" dt="2020-07-28T20:46:36.908" v="2781" actId="1076"/>
          <ac:spMkLst>
            <pc:docMk/>
            <pc:sldMk cId="1733347535" sldId="2134804349"/>
            <ac:spMk id="51" creationId="{350F2DB1-0F66-4C61-809B-C437241509A5}"/>
          </ac:spMkLst>
        </pc:spChg>
        <pc:spChg chg="mod">
          <ac:chgData name="Andrea Mogollon Nossa (CENIT)" userId="f6a3e592-cc27-4858-b185-ff86be206069" providerId="ADAL" clId="{7512AD08-729F-4631-AFF5-A13DAAFD1BEE}" dt="2020-07-28T20:46:33.568" v="2780" actId="1076"/>
          <ac:spMkLst>
            <pc:docMk/>
            <pc:sldMk cId="1733347535" sldId="2134804349"/>
            <ac:spMk id="52" creationId="{4407EECE-98B4-40AB-96BB-77D7A61DA8B5}"/>
          </ac:spMkLst>
        </pc:spChg>
        <pc:spChg chg="mod">
          <ac:chgData name="Andrea Mogollon Nossa (CENIT)" userId="f6a3e592-cc27-4858-b185-ff86be206069" providerId="ADAL" clId="{7512AD08-729F-4631-AFF5-A13DAAFD1BEE}" dt="2020-07-28T20:46:45.312" v="2783" actId="1076"/>
          <ac:spMkLst>
            <pc:docMk/>
            <pc:sldMk cId="1733347535" sldId="2134804349"/>
            <ac:spMk id="54" creationId="{1DF61A54-2AFD-421C-81E7-70B64E75F3D8}"/>
          </ac:spMkLst>
        </pc:spChg>
        <pc:spChg chg="mod">
          <ac:chgData name="Andrea Mogollon Nossa (CENIT)" userId="f6a3e592-cc27-4858-b185-ff86be206069" providerId="ADAL" clId="{7512AD08-729F-4631-AFF5-A13DAAFD1BEE}" dt="2020-07-28T20:47:15.896" v="2789" actId="1076"/>
          <ac:spMkLst>
            <pc:docMk/>
            <pc:sldMk cId="1733347535" sldId="2134804349"/>
            <ac:spMk id="57" creationId="{E424978D-3298-4D61-9C24-342DF5218E94}"/>
          </ac:spMkLst>
        </pc:spChg>
        <pc:spChg chg="mod">
          <ac:chgData name="Andrea Mogollon Nossa (CENIT)" userId="f6a3e592-cc27-4858-b185-ff86be206069" providerId="ADAL" clId="{7512AD08-729F-4631-AFF5-A13DAAFD1BEE}" dt="2020-07-28T20:47:24.467" v="2791" actId="1076"/>
          <ac:spMkLst>
            <pc:docMk/>
            <pc:sldMk cId="1733347535" sldId="2134804349"/>
            <ac:spMk id="59" creationId="{CA0293E5-6CDE-4F7F-B7BB-01753F923E25}"/>
          </ac:spMkLst>
        </pc:spChg>
        <pc:spChg chg="mod">
          <ac:chgData name="Andrea Mogollon Nossa (CENIT)" userId="f6a3e592-cc27-4858-b185-ff86be206069" providerId="ADAL" clId="{7512AD08-729F-4631-AFF5-A13DAAFD1BEE}" dt="2020-07-28T20:47:11.883" v="2788" actId="1076"/>
          <ac:spMkLst>
            <pc:docMk/>
            <pc:sldMk cId="1733347535" sldId="2134804349"/>
            <ac:spMk id="60" creationId="{AAE09F5F-0A44-413D-B46E-3708871A0C92}"/>
          </ac:spMkLst>
        </pc:spChg>
        <pc:spChg chg="mod">
          <ac:chgData name="Andrea Mogollon Nossa (CENIT)" userId="f6a3e592-cc27-4858-b185-ff86be206069" providerId="ADAL" clId="{7512AD08-729F-4631-AFF5-A13DAAFD1BEE}" dt="2020-07-28T20:57:37.415" v="2831" actId="1076"/>
          <ac:spMkLst>
            <pc:docMk/>
            <pc:sldMk cId="1733347535" sldId="2134804349"/>
            <ac:spMk id="61" creationId="{FDAFCC60-7C16-48C3-839A-2546E8A9832C}"/>
          </ac:spMkLst>
        </pc:spChg>
        <pc:spChg chg="mod">
          <ac:chgData name="Andrea Mogollon Nossa (CENIT)" userId="f6a3e592-cc27-4858-b185-ff86be206069" providerId="ADAL" clId="{7512AD08-729F-4631-AFF5-A13DAAFD1BEE}" dt="2020-07-28T20:57:37.415" v="2831" actId="1076"/>
          <ac:spMkLst>
            <pc:docMk/>
            <pc:sldMk cId="1733347535" sldId="2134804349"/>
            <ac:spMk id="63" creationId="{183A3FB7-4D5F-4E25-954E-1CB39C43D36A}"/>
          </ac:spMkLst>
        </pc:spChg>
        <pc:spChg chg="mod">
          <ac:chgData name="Andrea Mogollon Nossa (CENIT)" userId="f6a3e592-cc27-4858-b185-ff86be206069" providerId="ADAL" clId="{7512AD08-729F-4631-AFF5-A13DAAFD1BEE}" dt="2020-07-28T20:57:37.415" v="2831" actId="1076"/>
          <ac:spMkLst>
            <pc:docMk/>
            <pc:sldMk cId="1733347535" sldId="2134804349"/>
            <ac:spMk id="64" creationId="{3B1A5D6F-8203-4E15-B30A-BAAAAB00FBDB}"/>
          </ac:spMkLst>
        </pc:spChg>
        <pc:spChg chg="mod">
          <ac:chgData name="Andrea Mogollon Nossa (CENIT)" userId="f6a3e592-cc27-4858-b185-ff86be206069" providerId="ADAL" clId="{7512AD08-729F-4631-AFF5-A13DAAFD1BEE}" dt="2020-07-28T20:57:37.415" v="2831" actId="1076"/>
          <ac:spMkLst>
            <pc:docMk/>
            <pc:sldMk cId="1733347535" sldId="2134804349"/>
            <ac:spMk id="65" creationId="{D3761158-1427-4892-A593-EFA9206EAC44}"/>
          </ac:spMkLst>
        </pc:spChg>
        <pc:spChg chg="mod">
          <ac:chgData name="Andrea Mogollon Nossa (CENIT)" userId="f6a3e592-cc27-4858-b185-ff86be206069" providerId="ADAL" clId="{7512AD08-729F-4631-AFF5-A13DAAFD1BEE}" dt="2020-07-28T20:47:02.520" v="2785" actId="1076"/>
          <ac:spMkLst>
            <pc:docMk/>
            <pc:sldMk cId="1733347535" sldId="2134804349"/>
            <ac:spMk id="66" creationId="{66C4A00A-4D64-4945-9A1E-1FBEC3B1F06D}"/>
          </ac:spMkLst>
        </pc:spChg>
        <pc:spChg chg="mod">
          <ac:chgData name="Andrea Mogollon Nossa (CENIT)" userId="f6a3e592-cc27-4858-b185-ff86be206069" providerId="ADAL" clId="{7512AD08-729F-4631-AFF5-A13DAAFD1BEE}" dt="2020-07-28T20:47:05.184" v="2786" actId="1076"/>
          <ac:spMkLst>
            <pc:docMk/>
            <pc:sldMk cId="1733347535" sldId="2134804349"/>
            <ac:spMk id="67" creationId="{3E63B4EF-B0E9-4C7F-817D-51259CFEBAB3}"/>
          </ac:spMkLst>
        </pc:spChg>
        <pc:spChg chg="mod">
          <ac:chgData name="Andrea Mogollon Nossa (CENIT)" userId="f6a3e592-cc27-4858-b185-ff86be206069" providerId="ADAL" clId="{7512AD08-729F-4631-AFF5-A13DAAFD1BEE}" dt="2020-07-28T20:47:08.487" v="2787" actId="1076"/>
          <ac:spMkLst>
            <pc:docMk/>
            <pc:sldMk cId="1733347535" sldId="2134804349"/>
            <ac:spMk id="68" creationId="{EC4A468B-7CE8-45B5-96D6-08A54CE27F1D}"/>
          </ac:spMkLst>
        </pc:spChg>
        <pc:spChg chg="mod">
          <ac:chgData name="Andrea Mogollon Nossa (CENIT)" userId="f6a3e592-cc27-4858-b185-ff86be206069" providerId="ADAL" clId="{7512AD08-729F-4631-AFF5-A13DAAFD1BEE}" dt="2020-07-28T20:57:39.277" v="2832" actId="14100"/>
          <ac:spMkLst>
            <pc:docMk/>
            <pc:sldMk cId="1733347535" sldId="2134804349"/>
            <ac:spMk id="75" creationId="{2661451E-D5D5-4E61-ACCE-D44BDCEFB3E1}"/>
          </ac:spMkLst>
        </pc:spChg>
        <pc:spChg chg="mod">
          <ac:chgData name="Andrea Mogollon Nossa (CENIT)" userId="f6a3e592-cc27-4858-b185-ff86be206069" providerId="ADAL" clId="{7512AD08-729F-4631-AFF5-A13DAAFD1BEE}" dt="2020-07-28T20:48:29.007" v="2799" actId="208"/>
          <ac:spMkLst>
            <pc:docMk/>
            <pc:sldMk cId="1733347535" sldId="2134804349"/>
            <ac:spMk id="77" creationId="{19024DAF-FA7E-4978-AEF2-0968B2C95CEF}"/>
          </ac:spMkLst>
        </pc:spChg>
        <pc:spChg chg="mod">
          <ac:chgData name="Andrea Mogollon Nossa (CENIT)" userId="f6a3e592-cc27-4858-b185-ff86be206069" providerId="ADAL" clId="{7512AD08-729F-4631-AFF5-A13DAAFD1BEE}" dt="2020-07-28T20:48:32.457" v="2800" actId="108"/>
          <ac:spMkLst>
            <pc:docMk/>
            <pc:sldMk cId="1733347535" sldId="2134804349"/>
            <ac:spMk id="79" creationId="{760F56BD-3709-40D0-B01B-5BB74DB2FB5A}"/>
          </ac:spMkLst>
        </pc:spChg>
        <pc:spChg chg="mod">
          <ac:chgData name="Andrea Mogollon Nossa (CENIT)" userId="f6a3e592-cc27-4858-b185-ff86be206069" providerId="ADAL" clId="{7512AD08-729F-4631-AFF5-A13DAAFD1BEE}" dt="2020-07-28T20:48:34.950" v="2801" actId="108"/>
          <ac:spMkLst>
            <pc:docMk/>
            <pc:sldMk cId="1733347535" sldId="2134804349"/>
            <ac:spMk id="80" creationId="{69A65156-BB61-4872-83C3-69BE7DB70071}"/>
          </ac:spMkLst>
        </pc:spChg>
        <pc:spChg chg="mod">
          <ac:chgData name="Andrea Mogollon Nossa (CENIT)" userId="f6a3e592-cc27-4858-b185-ff86be206069" providerId="ADAL" clId="{7512AD08-729F-4631-AFF5-A13DAAFD1BEE}" dt="2020-07-28T20:48:37.078" v="2802" actId="108"/>
          <ac:spMkLst>
            <pc:docMk/>
            <pc:sldMk cId="1733347535" sldId="2134804349"/>
            <ac:spMk id="81" creationId="{9C01BBC6-8784-4E73-A8BF-AE202025C6D8}"/>
          </ac:spMkLst>
        </pc:spChg>
        <pc:spChg chg="mod">
          <ac:chgData name="Andrea Mogollon Nossa (CENIT)" userId="f6a3e592-cc27-4858-b185-ff86be206069" providerId="ADAL" clId="{7512AD08-729F-4631-AFF5-A13DAAFD1BEE}" dt="2020-07-28T20:57:47.840" v="2833" actId="1076"/>
          <ac:spMkLst>
            <pc:docMk/>
            <pc:sldMk cId="1733347535" sldId="2134804349"/>
            <ac:spMk id="84" creationId="{293DBAF3-3942-4C58-8A63-D4484E215E20}"/>
          </ac:spMkLst>
        </pc:spChg>
        <pc:spChg chg="mod">
          <ac:chgData name="Andrea Mogollon Nossa (CENIT)" userId="f6a3e592-cc27-4858-b185-ff86be206069" providerId="ADAL" clId="{7512AD08-729F-4631-AFF5-A13DAAFD1BEE}" dt="2020-07-28T20:57:47.840" v="2833" actId="1076"/>
          <ac:spMkLst>
            <pc:docMk/>
            <pc:sldMk cId="1733347535" sldId="2134804349"/>
            <ac:spMk id="86" creationId="{7696A978-4362-4DE3-8C58-0F58608C4AA6}"/>
          </ac:spMkLst>
        </pc:spChg>
        <pc:spChg chg="mod">
          <ac:chgData name="Andrea Mogollon Nossa (CENIT)" userId="f6a3e592-cc27-4858-b185-ff86be206069" providerId="ADAL" clId="{7512AD08-729F-4631-AFF5-A13DAAFD1BEE}" dt="2020-07-28T20:48:39.776" v="2803" actId="108"/>
          <ac:spMkLst>
            <pc:docMk/>
            <pc:sldMk cId="1733347535" sldId="2134804349"/>
            <ac:spMk id="87" creationId="{F991C183-F691-42BB-986A-1D4B3D0103EB}"/>
          </ac:spMkLst>
        </pc:spChg>
        <pc:spChg chg="mod">
          <ac:chgData name="Andrea Mogollon Nossa (CENIT)" userId="f6a3e592-cc27-4858-b185-ff86be206069" providerId="ADAL" clId="{7512AD08-729F-4631-AFF5-A13DAAFD1BEE}" dt="2020-07-28T20:48:43.802" v="2804" actId="108"/>
          <ac:spMkLst>
            <pc:docMk/>
            <pc:sldMk cId="1733347535" sldId="2134804349"/>
            <ac:spMk id="91" creationId="{18F9C7D0-B217-4434-8D0C-695D97120E3B}"/>
          </ac:spMkLst>
        </pc:spChg>
        <pc:spChg chg="mod">
          <ac:chgData name="Andrea Mogollon Nossa (CENIT)" userId="f6a3e592-cc27-4858-b185-ff86be206069" providerId="ADAL" clId="{7512AD08-729F-4631-AFF5-A13DAAFD1BEE}" dt="2020-07-28T20:48:45.913" v="2805" actId="108"/>
          <ac:spMkLst>
            <pc:docMk/>
            <pc:sldMk cId="1733347535" sldId="2134804349"/>
            <ac:spMk id="98" creationId="{D7FEAE21-9F37-4A63-909A-1A7AC2BC0417}"/>
          </ac:spMkLst>
        </pc:spChg>
        <pc:spChg chg="mod">
          <ac:chgData name="Andrea Mogollon Nossa (CENIT)" userId="f6a3e592-cc27-4858-b185-ff86be206069" providerId="ADAL" clId="{7512AD08-729F-4631-AFF5-A13DAAFD1BEE}" dt="2020-07-28T20:48:51.011" v="2806" actId="108"/>
          <ac:spMkLst>
            <pc:docMk/>
            <pc:sldMk cId="1733347535" sldId="2134804349"/>
            <ac:spMk id="101" creationId="{79B59DCD-FE2A-4CB0-A0BF-16552D365CC8}"/>
          </ac:spMkLst>
        </pc:spChg>
        <pc:spChg chg="mod">
          <ac:chgData name="Andrea Mogollon Nossa (CENIT)" userId="f6a3e592-cc27-4858-b185-ff86be206069" providerId="ADAL" clId="{7512AD08-729F-4631-AFF5-A13DAAFD1BEE}" dt="2020-07-28T20:48:53.666" v="2807" actId="108"/>
          <ac:spMkLst>
            <pc:docMk/>
            <pc:sldMk cId="1733347535" sldId="2134804349"/>
            <ac:spMk id="107" creationId="{DCDB75E1-F08D-48E6-BD8F-C8C43CF0E9E4}"/>
          </ac:spMkLst>
        </pc:spChg>
        <pc:spChg chg="mod">
          <ac:chgData name="Andrea Mogollon Nossa (CENIT)" userId="f6a3e592-cc27-4858-b185-ff86be206069" providerId="ADAL" clId="{7512AD08-729F-4631-AFF5-A13DAAFD1BEE}" dt="2020-07-28T20:48:56.075" v="2808" actId="108"/>
          <ac:spMkLst>
            <pc:docMk/>
            <pc:sldMk cId="1733347535" sldId="2134804349"/>
            <ac:spMk id="112" creationId="{D3449E55-D9E7-48E9-9077-F060D307C218}"/>
          </ac:spMkLst>
        </pc:spChg>
        <pc:spChg chg="mod">
          <ac:chgData name="Andrea Mogollon Nossa (CENIT)" userId="f6a3e592-cc27-4858-b185-ff86be206069" providerId="ADAL" clId="{7512AD08-729F-4631-AFF5-A13DAAFD1BEE}" dt="2020-07-28T20:48:58.468" v="2809" actId="108"/>
          <ac:spMkLst>
            <pc:docMk/>
            <pc:sldMk cId="1733347535" sldId="2134804349"/>
            <ac:spMk id="113" creationId="{F23ED729-3677-42FF-A4D9-F74AADEEAC49}"/>
          </ac:spMkLst>
        </pc:spChg>
        <pc:spChg chg="mod">
          <ac:chgData name="Andrea Mogollon Nossa (CENIT)" userId="f6a3e592-cc27-4858-b185-ff86be206069" providerId="ADAL" clId="{7512AD08-729F-4631-AFF5-A13DAAFD1BEE}" dt="2020-07-28T20:49:14.555" v="2814" actId="108"/>
          <ac:spMkLst>
            <pc:docMk/>
            <pc:sldMk cId="1733347535" sldId="2134804349"/>
            <ac:spMk id="114" creationId="{DAB2F9B5-A408-483C-BB0C-541C04A64603}"/>
          </ac:spMkLst>
        </pc:spChg>
        <pc:spChg chg="mod">
          <ac:chgData name="Andrea Mogollon Nossa (CENIT)" userId="f6a3e592-cc27-4858-b185-ff86be206069" providerId="ADAL" clId="{7512AD08-729F-4631-AFF5-A13DAAFD1BEE}" dt="2020-07-28T20:57:47.840" v="2833" actId="1076"/>
          <ac:spMkLst>
            <pc:docMk/>
            <pc:sldMk cId="1733347535" sldId="2134804349"/>
            <ac:spMk id="117" creationId="{8960734A-1053-42D2-BD72-6674DCCE6A97}"/>
          </ac:spMkLst>
        </pc:spChg>
        <pc:spChg chg="mod">
          <ac:chgData name="Andrea Mogollon Nossa (CENIT)" userId="f6a3e592-cc27-4858-b185-ff86be206069" providerId="ADAL" clId="{7512AD08-729F-4631-AFF5-A13DAAFD1BEE}" dt="2020-07-28T20:57:47.840" v="2833" actId="1076"/>
          <ac:spMkLst>
            <pc:docMk/>
            <pc:sldMk cId="1733347535" sldId="2134804349"/>
            <ac:spMk id="118" creationId="{C77431EE-A761-4323-B75F-692D4CAEC462}"/>
          </ac:spMkLst>
        </pc:spChg>
        <pc:spChg chg="mod">
          <ac:chgData name="Andrea Mogollon Nossa (CENIT)" userId="f6a3e592-cc27-4858-b185-ff86be206069" providerId="ADAL" clId="{7512AD08-729F-4631-AFF5-A13DAAFD1BEE}" dt="2020-07-28T20:57:47.840" v="2833" actId="1076"/>
          <ac:spMkLst>
            <pc:docMk/>
            <pc:sldMk cId="1733347535" sldId="2134804349"/>
            <ac:spMk id="119" creationId="{A66DDFF6-8990-4632-9B16-3852035C81BA}"/>
          </ac:spMkLst>
        </pc:spChg>
        <pc:spChg chg="mod">
          <ac:chgData name="Andrea Mogollon Nossa (CENIT)" userId="f6a3e592-cc27-4858-b185-ff86be206069" providerId="ADAL" clId="{7512AD08-729F-4631-AFF5-A13DAAFD1BEE}" dt="2020-07-28T20:49:16.621" v="2815" actId="108"/>
          <ac:spMkLst>
            <pc:docMk/>
            <pc:sldMk cId="1733347535" sldId="2134804349"/>
            <ac:spMk id="121" creationId="{DCD85B41-E0F2-49DE-BE7E-2285DCE4306F}"/>
          </ac:spMkLst>
        </pc:spChg>
        <pc:spChg chg="mod">
          <ac:chgData name="Andrea Mogollon Nossa (CENIT)" userId="f6a3e592-cc27-4858-b185-ff86be206069" providerId="ADAL" clId="{7512AD08-729F-4631-AFF5-A13DAAFD1BEE}" dt="2020-07-28T20:49:11.415" v="2813" actId="108"/>
          <ac:spMkLst>
            <pc:docMk/>
            <pc:sldMk cId="1733347535" sldId="2134804349"/>
            <ac:spMk id="123" creationId="{96309232-3CEA-4DD6-AFA6-EB7949BDC5D2}"/>
          </ac:spMkLst>
        </pc:spChg>
        <pc:spChg chg="mod">
          <ac:chgData name="Andrea Mogollon Nossa (CENIT)" userId="f6a3e592-cc27-4858-b185-ff86be206069" providerId="ADAL" clId="{7512AD08-729F-4631-AFF5-A13DAAFD1BEE}" dt="2020-07-28T20:57:37.415" v="2831" actId="1076"/>
          <ac:spMkLst>
            <pc:docMk/>
            <pc:sldMk cId="1733347535" sldId="2134804349"/>
            <ac:spMk id="128" creationId="{8C357E4C-4A5B-4328-8E90-B9521B819DA8}"/>
          </ac:spMkLst>
        </pc:spChg>
        <pc:spChg chg="mod">
          <ac:chgData name="Andrea Mogollon Nossa (CENIT)" userId="f6a3e592-cc27-4858-b185-ff86be206069" providerId="ADAL" clId="{7512AD08-729F-4631-AFF5-A13DAAFD1BEE}" dt="2020-07-28T20:57:37.415" v="2831" actId="1076"/>
          <ac:spMkLst>
            <pc:docMk/>
            <pc:sldMk cId="1733347535" sldId="2134804349"/>
            <ac:spMk id="129" creationId="{24CA492A-FC13-4941-B289-964D9D2C0595}"/>
          </ac:spMkLst>
        </pc:spChg>
        <pc:spChg chg="mod">
          <ac:chgData name="Andrea Mogollon Nossa (CENIT)" userId="f6a3e592-cc27-4858-b185-ff86be206069" providerId="ADAL" clId="{7512AD08-729F-4631-AFF5-A13DAAFD1BEE}" dt="2020-07-28T20:57:37.415" v="2831" actId="1076"/>
          <ac:spMkLst>
            <pc:docMk/>
            <pc:sldMk cId="1733347535" sldId="2134804349"/>
            <ac:spMk id="131" creationId="{659F8239-3772-4B5D-84D9-B6820973AB7D}"/>
          </ac:spMkLst>
        </pc:spChg>
        <pc:spChg chg="mod">
          <ac:chgData name="Andrea Mogollon Nossa (CENIT)" userId="f6a3e592-cc27-4858-b185-ff86be206069" providerId="ADAL" clId="{7512AD08-729F-4631-AFF5-A13DAAFD1BEE}" dt="2020-07-28T20:57:37.415" v="2831" actId="1076"/>
          <ac:spMkLst>
            <pc:docMk/>
            <pc:sldMk cId="1733347535" sldId="2134804349"/>
            <ac:spMk id="139" creationId="{9F2C6947-6656-4F12-920F-7F25FE0E0A75}"/>
          </ac:spMkLst>
        </pc:spChg>
        <pc:spChg chg="mod">
          <ac:chgData name="Andrea Mogollon Nossa (CENIT)" userId="f6a3e592-cc27-4858-b185-ff86be206069" providerId="ADAL" clId="{7512AD08-729F-4631-AFF5-A13DAAFD1BEE}" dt="2020-07-28T20:49:02.767" v="2810" actId="108"/>
          <ac:spMkLst>
            <pc:docMk/>
            <pc:sldMk cId="1733347535" sldId="2134804349"/>
            <ac:spMk id="141" creationId="{B4C15846-F4C9-4548-B734-938F5E1AC7DD}"/>
          </ac:spMkLst>
        </pc:spChg>
        <pc:spChg chg="mod">
          <ac:chgData name="Andrea Mogollon Nossa (CENIT)" userId="f6a3e592-cc27-4858-b185-ff86be206069" providerId="ADAL" clId="{7512AD08-729F-4631-AFF5-A13DAAFD1BEE}" dt="2020-07-28T20:49:06.617" v="2811" actId="108"/>
          <ac:spMkLst>
            <pc:docMk/>
            <pc:sldMk cId="1733347535" sldId="2134804349"/>
            <ac:spMk id="143" creationId="{D6B161C2-FF96-468A-8368-81C555D3426A}"/>
          </ac:spMkLst>
        </pc:spChg>
        <pc:spChg chg="mod">
          <ac:chgData name="Andrea Mogollon Nossa (CENIT)" userId="f6a3e592-cc27-4858-b185-ff86be206069" providerId="ADAL" clId="{7512AD08-729F-4631-AFF5-A13DAAFD1BEE}" dt="2020-07-28T20:49:08.651" v="2812" actId="108"/>
          <ac:spMkLst>
            <pc:docMk/>
            <pc:sldMk cId="1733347535" sldId="2134804349"/>
            <ac:spMk id="150" creationId="{C28A80CF-1701-4EF2-8A2B-1130DC0D68B0}"/>
          </ac:spMkLst>
        </pc:spChg>
        <pc:spChg chg="mod">
          <ac:chgData name="Andrea Mogollon Nossa (CENIT)" userId="f6a3e592-cc27-4858-b185-ff86be206069" providerId="ADAL" clId="{7512AD08-729F-4631-AFF5-A13DAAFD1BEE}" dt="2020-07-28T20:39:32.835" v="2763" actId="14100"/>
          <ac:spMkLst>
            <pc:docMk/>
            <pc:sldMk cId="1733347535" sldId="2134804349"/>
            <ac:spMk id="180" creationId="{0117387A-7B68-42A3-92C5-25DEBE10BBDC}"/>
          </ac:spMkLst>
        </pc:spChg>
        <pc:grpChg chg="mod">
          <ac:chgData name="Andrea Mogollon Nossa (CENIT)" userId="f6a3e592-cc27-4858-b185-ff86be206069" providerId="ADAL" clId="{7512AD08-729F-4631-AFF5-A13DAAFD1BEE}" dt="2020-07-28T20:57:47.840" v="2833" actId="1076"/>
          <ac:grpSpMkLst>
            <pc:docMk/>
            <pc:sldMk cId="1733347535" sldId="2134804349"/>
            <ac:grpSpMk id="22" creationId="{2B98B6A7-7227-4CB8-80CE-DF246B94E3DA}"/>
          </ac:grpSpMkLst>
        </pc:grpChg>
        <pc:grpChg chg="mod">
          <ac:chgData name="Andrea Mogollon Nossa (CENIT)" userId="f6a3e592-cc27-4858-b185-ff86be206069" providerId="ADAL" clId="{7512AD08-729F-4631-AFF5-A13DAAFD1BEE}" dt="2020-07-28T20:57:47.840" v="2833" actId="1076"/>
          <ac:grpSpMkLst>
            <pc:docMk/>
            <pc:sldMk cId="1733347535" sldId="2134804349"/>
            <ac:grpSpMk id="26" creationId="{5B1CDA9C-37CE-441A-94E7-5A5F38503613}"/>
          </ac:grpSpMkLst>
        </pc:grpChg>
        <pc:grpChg chg="mod">
          <ac:chgData name="Andrea Mogollon Nossa (CENIT)" userId="f6a3e592-cc27-4858-b185-ff86be206069" providerId="ADAL" clId="{7512AD08-729F-4631-AFF5-A13DAAFD1BEE}" dt="2020-07-28T20:57:47.840" v="2833" actId="1076"/>
          <ac:grpSpMkLst>
            <pc:docMk/>
            <pc:sldMk cId="1733347535" sldId="2134804349"/>
            <ac:grpSpMk id="31" creationId="{A0B07E6C-42EA-42D4-BF18-74CF8467911A}"/>
          </ac:grpSpMkLst>
        </pc:grpChg>
        <pc:grpChg chg="mod">
          <ac:chgData name="Andrea Mogollon Nossa (CENIT)" userId="f6a3e592-cc27-4858-b185-ff86be206069" providerId="ADAL" clId="{7512AD08-729F-4631-AFF5-A13DAAFD1BEE}" dt="2020-07-28T20:46:15.816" v="2776" actId="1076"/>
          <ac:grpSpMkLst>
            <pc:docMk/>
            <pc:sldMk cId="1733347535" sldId="2134804349"/>
            <ac:grpSpMk id="42" creationId="{C86E4A92-2D9B-4D15-AFAF-2C673F30F819}"/>
          </ac:grpSpMkLst>
        </pc:grpChg>
        <pc:grpChg chg="mod">
          <ac:chgData name="Andrea Mogollon Nossa (CENIT)" userId="f6a3e592-cc27-4858-b185-ff86be206069" providerId="ADAL" clId="{7512AD08-729F-4631-AFF5-A13DAAFD1BEE}" dt="2020-07-28T20:46:19.575" v="2777" actId="1076"/>
          <ac:grpSpMkLst>
            <pc:docMk/>
            <pc:sldMk cId="1733347535" sldId="2134804349"/>
            <ac:grpSpMk id="45" creationId="{EF7C10BB-35CE-43C5-B743-38C4E6BD74F1}"/>
          </ac:grpSpMkLst>
        </pc:grpChg>
        <pc:grpChg chg="mod">
          <ac:chgData name="Andrea Mogollon Nossa (CENIT)" userId="f6a3e592-cc27-4858-b185-ff86be206069" providerId="ADAL" clId="{7512AD08-729F-4631-AFF5-A13DAAFD1BEE}" dt="2020-07-28T20:57:47.840" v="2833" actId="1076"/>
          <ac:grpSpMkLst>
            <pc:docMk/>
            <pc:sldMk cId="1733347535" sldId="2134804349"/>
            <ac:grpSpMk id="53" creationId="{3873BDF9-02E9-44FD-9510-89955A3B3E89}"/>
          </ac:grpSpMkLst>
        </pc:grpChg>
        <pc:grpChg chg="mod">
          <ac:chgData name="Andrea Mogollon Nossa (CENIT)" userId="f6a3e592-cc27-4858-b185-ff86be206069" providerId="ADAL" clId="{7512AD08-729F-4631-AFF5-A13DAAFD1BEE}" dt="2020-07-28T20:57:47.840" v="2833" actId="1076"/>
          <ac:grpSpMkLst>
            <pc:docMk/>
            <pc:sldMk cId="1733347535" sldId="2134804349"/>
            <ac:grpSpMk id="167" creationId="{63AEDB8E-9F96-4691-A9CB-A70EAAEF70B8}"/>
          </ac:grpSpMkLst>
        </pc:grpChg>
        <pc:grpChg chg="mod">
          <ac:chgData name="Andrea Mogollon Nossa (CENIT)" userId="f6a3e592-cc27-4858-b185-ff86be206069" providerId="ADAL" clId="{7512AD08-729F-4631-AFF5-A13DAAFD1BEE}" dt="2020-07-28T20:57:47.840" v="2833" actId="1076"/>
          <ac:grpSpMkLst>
            <pc:docMk/>
            <pc:sldMk cId="1733347535" sldId="2134804349"/>
            <ac:grpSpMk id="174" creationId="{C6C04382-85B7-4D3F-B803-EA4D1267F0BA}"/>
          </ac:grpSpMkLst>
        </pc:grpChg>
        <pc:grpChg chg="mod">
          <ac:chgData name="Andrea Mogollon Nossa (CENIT)" userId="f6a3e592-cc27-4858-b185-ff86be206069" providerId="ADAL" clId="{7512AD08-729F-4631-AFF5-A13DAAFD1BEE}" dt="2020-07-28T20:57:47.840" v="2833" actId="1076"/>
          <ac:grpSpMkLst>
            <pc:docMk/>
            <pc:sldMk cId="1733347535" sldId="2134804349"/>
            <ac:grpSpMk id="178" creationId="{E673AC4C-B912-4B00-A07E-F353630C7D29}"/>
          </ac:grpSpMkLst>
        </pc:grpChg>
        <pc:grpChg chg="mod">
          <ac:chgData name="Andrea Mogollon Nossa (CENIT)" userId="f6a3e592-cc27-4858-b185-ff86be206069" providerId="ADAL" clId="{7512AD08-729F-4631-AFF5-A13DAAFD1BEE}" dt="2020-07-28T20:57:47.840" v="2833" actId="1076"/>
          <ac:grpSpMkLst>
            <pc:docMk/>
            <pc:sldMk cId="1733347535" sldId="2134804349"/>
            <ac:grpSpMk id="181" creationId="{F41557D1-2FC7-4DE5-8691-EAF2A4C637E1}"/>
          </ac:grpSpMkLst>
        </pc:grpChg>
        <pc:grpChg chg="mod">
          <ac:chgData name="Andrea Mogollon Nossa (CENIT)" userId="f6a3e592-cc27-4858-b185-ff86be206069" providerId="ADAL" clId="{7512AD08-729F-4631-AFF5-A13DAAFD1BEE}" dt="2020-07-28T20:57:47.840" v="2833" actId="1076"/>
          <ac:grpSpMkLst>
            <pc:docMk/>
            <pc:sldMk cId="1733347535" sldId="2134804349"/>
            <ac:grpSpMk id="186" creationId="{16DA9333-7032-45CE-9E3A-01409C1E6A05}"/>
          </ac:grpSpMkLst>
        </pc:grpChg>
        <pc:grpChg chg="mod">
          <ac:chgData name="Andrea Mogollon Nossa (CENIT)" userId="f6a3e592-cc27-4858-b185-ff86be206069" providerId="ADAL" clId="{7512AD08-729F-4631-AFF5-A13DAAFD1BEE}" dt="2020-07-28T20:57:47.840" v="2833" actId="1076"/>
          <ac:grpSpMkLst>
            <pc:docMk/>
            <pc:sldMk cId="1733347535" sldId="2134804349"/>
            <ac:grpSpMk id="191" creationId="{FA20B0AB-4006-4C51-82AE-68A90BD76171}"/>
          </ac:grpSpMkLst>
        </pc:grpChg>
        <pc:grpChg chg="mod">
          <ac:chgData name="Andrea Mogollon Nossa (CENIT)" userId="f6a3e592-cc27-4858-b185-ff86be206069" providerId="ADAL" clId="{7512AD08-729F-4631-AFF5-A13DAAFD1BEE}" dt="2020-07-28T20:57:47.840" v="2833" actId="1076"/>
          <ac:grpSpMkLst>
            <pc:docMk/>
            <pc:sldMk cId="1733347535" sldId="2134804349"/>
            <ac:grpSpMk id="200" creationId="{5EC7640D-CC76-46E2-91FB-5BC2A36E2B7B}"/>
          </ac:grpSpMkLst>
        </pc:grpChg>
        <pc:grpChg chg="mod">
          <ac:chgData name="Andrea Mogollon Nossa (CENIT)" userId="f6a3e592-cc27-4858-b185-ff86be206069" providerId="ADAL" clId="{7512AD08-729F-4631-AFF5-A13DAAFD1BEE}" dt="2020-07-28T20:57:47.840" v="2833" actId="1076"/>
          <ac:grpSpMkLst>
            <pc:docMk/>
            <pc:sldMk cId="1733347535" sldId="2134804349"/>
            <ac:grpSpMk id="210" creationId="{F31D1FA4-2A54-44F7-BB5E-B6B753EC0E14}"/>
          </ac:grpSpMkLst>
        </pc:grpChg>
      </pc:sldChg>
      <pc:sldChg chg="modSp mod">
        <pc:chgData name="Andrea Mogollon Nossa (CENIT)" userId="f6a3e592-cc27-4858-b185-ff86be206069" providerId="ADAL" clId="{7512AD08-729F-4631-AFF5-A13DAAFD1BEE}" dt="2020-07-28T20:54:31.244" v="2821" actId="693"/>
        <pc:sldMkLst>
          <pc:docMk/>
          <pc:sldMk cId="4149911555" sldId="2134804350"/>
        </pc:sldMkLst>
        <pc:spChg chg="mod">
          <ac:chgData name="Andrea Mogollon Nossa (CENIT)" userId="f6a3e592-cc27-4858-b185-ff86be206069" providerId="ADAL" clId="{7512AD08-729F-4631-AFF5-A13DAAFD1BEE}" dt="2020-07-28T20:54:31.244" v="2821" actId="693"/>
          <ac:spMkLst>
            <pc:docMk/>
            <pc:sldMk cId="4149911555" sldId="2134804350"/>
            <ac:spMk id="97" creationId="{99300021-C267-43BD-A0F5-B3ECE622345E}"/>
          </ac:spMkLst>
        </pc:spChg>
      </pc:sldChg>
      <pc:sldChg chg="modSp mod">
        <pc:chgData name="Andrea Mogollon Nossa (CENIT)" userId="f6a3e592-cc27-4858-b185-ff86be206069" providerId="ADAL" clId="{7512AD08-729F-4631-AFF5-A13DAAFD1BEE}" dt="2020-07-28T20:59:54.897" v="2853" actId="693"/>
        <pc:sldMkLst>
          <pc:docMk/>
          <pc:sldMk cId="2519932516" sldId="2134804351"/>
        </pc:sldMkLst>
        <pc:spChg chg="mod">
          <ac:chgData name="Andrea Mogollon Nossa (CENIT)" userId="f6a3e592-cc27-4858-b185-ff86be206069" providerId="ADAL" clId="{7512AD08-729F-4631-AFF5-A13DAAFD1BEE}" dt="2020-07-28T20:59:08.080" v="2840" actId="108"/>
          <ac:spMkLst>
            <pc:docMk/>
            <pc:sldMk cId="2519932516" sldId="2134804351"/>
            <ac:spMk id="7" creationId="{8AF3B524-5EF0-4D16-B04B-B95BDA57F430}"/>
          </ac:spMkLst>
        </pc:spChg>
        <pc:spChg chg="mod">
          <ac:chgData name="Andrea Mogollon Nossa (CENIT)" userId="f6a3e592-cc27-4858-b185-ff86be206069" providerId="ADAL" clId="{7512AD08-729F-4631-AFF5-A13DAAFD1BEE}" dt="2020-07-28T20:55:38.642" v="2825" actId="255"/>
          <ac:spMkLst>
            <pc:docMk/>
            <pc:sldMk cId="2519932516" sldId="2134804351"/>
            <ac:spMk id="8" creationId="{B5A4B02A-4AA2-46C5-BDD1-63C4860CAD01}"/>
          </ac:spMkLst>
        </pc:spChg>
        <pc:spChg chg="mod">
          <ac:chgData name="Andrea Mogollon Nossa (CENIT)" userId="f6a3e592-cc27-4858-b185-ff86be206069" providerId="ADAL" clId="{7512AD08-729F-4631-AFF5-A13DAAFD1BEE}" dt="2020-07-28T20:58:57.287" v="2837" actId="208"/>
          <ac:spMkLst>
            <pc:docMk/>
            <pc:sldMk cId="2519932516" sldId="2134804351"/>
            <ac:spMk id="10" creationId="{354C1A81-D85E-40D4-9432-F14195AA0783}"/>
          </ac:spMkLst>
        </pc:spChg>
        <pc:spChg chg="mod">
          <ac:chgData name="Andrea Mogollon Nossa (CENIT)" userId="f6a3e592-cc27-4858-b185-ff86be206069" providerId="ADAL" clId="{7512AD08-729F-4631-AFF5-A13DAAFD1BEE}" dt="2020-07-28T20:59:00.617" v="2838" actId="108"/>
          <ac:spMkLst>
            <pc:docMk/>
            <pc:sldMk cId="2519932516" sldId="2134804351"/>
            <ac:spMk id="11" creationId="{E6765BEB-6062-4FF5-991F-74E9591E7BE0}"/>
          </ac:spMkLst>
        </pc:spChg>
        <pc:spChg chg="mod">
          <ac:chgData name="Andrea Mogollon Nossa (CENIT)" userId="f6a3e592-cc27-4858-b185-ff86be206069" providerId="ADAL" clId="{7512AD08-729F-4631-AFF5-A13DAAFD1BEE}" dt="2020-07-28T20:59:03.096" v="2839" actId="108"/>
          <ac:spMkLst>
            <pc:docMk/>
            <pc:sldMk cId="2519932516" sldId="2134804351"/>
            <ac:spMk id="12" creationId="{C841B24C-61AF-41C0-8A4D-6D9D7A8B8383}"/>
          </ac:spMkLst>
        </pc:spChg>
        <pc:spChg chg="mod">
          <ac:chgData name="Andrea Mogollon Nossa (CENIT)" userId="f6a3e592-cc27-4858-b185-ff86be206069" providerId="ADAL" clId="{7512AD08-729F-4631-AFF5-A13DAAFD1BEE}" dt="2020-07-28T20:58:26.624" v="2835" actId="208"/>
          <ac:spMkLst>
            <pc:docMk/>
            <pc:sldMk cId="2519932516" sldId="2134804351"/>
            <ac:spMk id="13" creationId="{0D9D9488-940D-433C-A4EA-92B78BED58F5}"/>
          </ac:spMkLst>
        </pc:spChg>
        <pc:spChg chg="mod">
          <ac:chgData name="Andrea Mogollon Nossa (CENIT)" userId="f6a3e592-cc27-4858-b185-ff86be206069" providerId="ADAL" clId="{7512AD08-729F-4631-AFF5-A13DAAFD1BEE}" dt="2020-07-28T20:59:10.695" v="2841" actId="108"/>
          <ac:spMkLst>
            <pc:docMk/>
            <pc:sldMk cId="2519932516" sldId="2134804351"/>
            <ac:spMk id="14" creationId="{2614B80C-5E9C-4C43-9417-CE8F857DE0FE}"/>
          </ac:spMkLst>
        </pc:spChg>
        <pc:spChg chg="mod">
          <ac:chgData name="Andrea Mogollon Nossa (CENIT)" userId="f6a3e592-cc27-4858-b185-ff86be206069" providerId="ADAL" clId="{7512AD08-729F-4631-AFF5-A13DAAFD1BEE}" dt="2020-07-28T20:59:13.824" v="2842" actId="108"/>
          <ac:spMkLst>
            <pc:docMk/>
            <pc:sldMk cId="2519932516" sldId="2134804351"/>
            <ac:spMk id="15" creationId="{E4A5D75D-0A3C-49F0-B736-F7C27D60B3A3}"/>
          </ac:spMkLst>
        </pc:spChg>
        <pc:spChg chg="mod">
          <ac:chgData name="Andrea Mogollon Nossa (CENIT)" userId="f6a3e592-cc27-4858-b185-ff86be206069" providerId="ADAL" clId="{7512AD08-729F-4631-AFF5-A13DAAFD1BEE}" dt="2020-07-28T20:59:17.223" v="2843" actId="108"/>
          <ac:spMkLst>
            <pc:docMk/>
            <pc:sldMk cId="2519932516" sldId="2134804351"/>
            <ac:spMk id="16" creationId="{65995084-D3B4-451E-9E40-025A2D90EDC8}"/>
          </ac:spMkLst>
        </pc:spChg>
        <pc:spChg chg="mod">
          <ac:chgData name="Andrea Mogollon Nossa (CENIT)" userId="f6a3e592-cc27-4858-b185-ff86be206069" providerId="ADAL" clId="{7512AD08-729F-4631-AFF5-A13DAAFD1BEE}" dt="2020-07-28T20:59:19.460" v="2844" actId="108"/>
          <ac:spMkLst>
            <pc:docMk/>
            <pc:sldMk cId="2519932516" sldId="2134804351"/>
            <ac:spMk id="56" creationId="{A1361919-71D6-4D71-9DC2-E64FDAB3BEB6}"/>
          </ac:spMkLst>
        </pc:spChg>
        <pc:spChg chg="mod">
          <ac:chgData name="Andrea Mogollon Nossa (CENIT)" userId="f6a3e592-cc27-4858-b185-ff86be206069" providerId="ADAL" clId="{7512AD08-729F-4631-AFF5-A13DAAFD1BEE}" dt="2020-07-28T20:56:16.826" v="2828" actId="108"/>
          <ac:spMkLst>
            <pc:docMk/>
            <pc:sldMk cId="2519932516" sldId="2134804351"/>
            <ac:spMk id="68" creationId="{E0BD316C-FAB2-49B3-90CF-8E3FEB823472}"/>
          </ac:spMkLst>
        </pc:spChg>
        <pc:spChg chg="mod">
          <ac:chgData name="Andrea Mogollon Nossa (CENIT)" userId="f6a3e592-cc27-4858-b185-ff86be206069" providerId="ADAL" clId="{7512AD08-729F-4631-AFF5-A13DAAFD1BEE}" dt="2020-07-28T20:59:22.453" v="2845" actId="108"/>
          <ac:spMkLst>
            <pc:docMk/>
            <pc:sldMk cId="2519932516" sldId="2134804351"/>
            <ac:spMk id="72" creationId="{0271D3F6-9B51-4788-A19E-573ECB9F7EDE}"/>
          </ac:spMkLst>
        </pc:spChg>
        <pc:spChg chg="mod">
          <ac:chgData name="Andrea Mogollon Nossa (CENIT)" userId="f6a3e592-cc27-4858-b185-ff86be206069" providerId="ADAL" clId="{7512AD08-729F-4631-AFF5-A13DAAFD1BEE}" dt="2020-07-28T20:59:28.027" v="2846" actId="108"/>
          <ac:spMkLst>
            <pc:docMk/>
            <pc:sldMk cId="2519932516" sldId="2134804351"/>
            <ac:spMk id="76" creationId="{B3A8BA81-8E35-42BE-AF9A-7071C157828E}"/>
          </ac:spMkLst>
        </pc:spChg>
        <pc:spChg chg="mod">
          <ac:chgData name="Andrea Mogollon Nossa (CENIT)" userId="f6a3e592-cc27-4858-b185-ff86be206069" providerId="ADAL" clId="{7512AD08-729F-4631-AFF5-A13DAAFD1BEE}" dt="2020-07-28T20:59:30.655" v="2847" actId="108"/>
          <ac:spMkLst>
            <pc:docMk/>
            <pc:sldMk cId="2519932516" sldId="2134804351"/>
            <ac:spMk id="80" creationId="{FFBE6AE1-2056-45BA-BCF6-ED97C1554D36}"/>
          </ac:spMkLst>
        </pc:spChg>
        <pc:spChg chg="mod">
          <ac:chgData name="Andrea Mogollon Nossa (CENIT)" userId="f6a3e592-cc27-4858-b185-ff86be206069" providerId="ADAL" clId="{7512AD08-729F-4631-AFF5-A13DAAFD1BEE}" dt="2020-07-28T20:59:34.085" v="2848" actId="108"/>
          <ac:spMkLst>
            <pc:docMk/>
            <pc:sldMk cId="2519932516" sldId="2134804351"/>
            <ac:spMk id="88" creationId="{560BB30A-7A6C-4DCB-ADB4-99EE32EEA5AD}"/>
          </ac:spMkLst>
        </pc:spChg>
        <pc:spChg chg="mod">
          <ac:chgData name="Andrea Mogollon Nossa (CENIT)" userId="f6a3e592-cc27-4858-b185-ff86be206069" providerId="ADAL" clId="{7512AD08-729F-4631-AFF5-A13DAAFD1BEE}" dt="2020-07-28T20:56:25.767" v="2829" actId="108"/>
          <ac:spMkLst>
            <pc:docMk/>
            <pc:sldMk cId="2519932516" sldId="2134804351"/>
            <ac:spMk id="96" creationId="{09E6990B-CBC6-4766-92A4-C07ABAFB1D59}"/>
          </ac:spMkLst>
        </pc:spChg>
        <pc:spChg chg="mod">
          <ac:chgData name="Andrea Mogollon Nossa (CENIT)" userId="f6a3e592-cc27-4858-b185-ff86be206069" providerId="ADAL" clId="{7512AD08-729F-4631-AFF5-A13DAAFD1BEE}" dt="2020-07-28T20:59:38.508" v="2849" actId="108"/>
          <ac:spMkLst>
            <pc:docMk/>
            <pc:sldMk cId="2519932516" sldId="2134804351"/>
            <ac:spMk id="102" creationId="{357A9AB8-D778-4FF7-B653-9D3E0395B1F2}"/>
          </ac:spMkLst>
        </pc:spChg>
        <pc:spChg chg="mod">
          <ac:chgData name="Andrea Mogollon Nossa (CENIT)" userId="f6a3e592-cc27-4858-b185-ff86be206069" providerId="ADAL" clId="{7512AD08-729F-4631-AFF5-A13DAAFD1BEE}" dt="2020-07-28T20:59:40.271" v="2850" actId="108"/>
          <ac:spMkLst>
            <pc:docMk/>
            <pc:sldMk cId="2519932516" sldId="2134804351"/>
            <ac:spMk id="126" creationId="{F3345E9D-3CDC-4990-8CC7-89A023557472}"/>
          </ac:spMkLst>
        </pc:spChg>
        <pc:spChg chg="mod">
          <ac:chgData name="Andrea Mogollon Nossa (CENIT)" userId="f6a3e592-cc27-4858-b185-ff86be206069" providerId="ADAL" clId="{7512AD08-729F-4631-AFF5-A13DAAFD1BEE}" dt="2020-07-28T20:59:42.555" v="2851" actId="108"/>
          <ac:spMkLst>
            <pc:docMk/>
            <pc:sldMk cId="2519932516" sldId="2134804351"/>
            <ac:spMk id="140" creationId="{EA2D8879-FCAB-4E6C-84E9-57818C0A0FF5}"/>
          </ac:spMkLst>
        </pc:spChg>
        <pc:spChg chg="mod">
          <ac:chgData name="Andrea Mogollon Nossa (CENIT)" userId="f6a3e592-cc27-4858-b185-ff86be206069" providerId="ADAL" clId="{7512AD08-729F-4631-AFF5-A13DAAFD1BEE}" dt="2020-07-28T20:59:54.897" v="2853" actId="693"/>
          <ac:spMkLst>
            <pc:docMk/>
            <pc:sldMk cId="2519932516" sldId="2134804351"/>
            <ac:spMk id="144" creationId="{081CE15D-52C6-4E61-BAAC-9650B1662861}"/>
          </ac:spMkLst>
        </pc:spChg>
      </pc:sldChg>
      <pc:sldChg chg="del">
        <pc:chgData name="Andrea Mogollon Nossa (CENIT)" userId="f6a3e592-cc27-4858-b185-ff86be206069" providerId="ADAL" clId="{7512AD08-729F-4631-AFF5-A13DAAFD1BEE}" dt="2020-07-28T19:29:44.762" v="1557" actId="47"/>
        <pc:sldMkLst>
          <pc:docMk/>
          <pc:sldMk cId="2075344503" sldId="2134804352"/>
        </pc:sldMkLst>
      </pc:sldChg>
      <pc:sldChg chg="del">
        <pc:chgData name="Andrea Mogollon Nossa (CENIT)" userId="f6a3e592-cc27-4858-b185-ff86be206069" providerId="ADAL" clId="{7512AD08-729F-4631-AFF5-A13DAAFD1BEE}" dt="2020-07-28T21:01:29.237" v="2854" actId="47"/>
        <pc:sldMkLst>
          <pc:docMk/>
          <pc:sldMk cId="4009905532" sldId="2134804353"/>
        </pc:sldMkLst>
      </pc:sldChg>
      <pc:sldChg chg="del">
        <pc:chgData name="Andrea Mogollon Nossa (CENIT)" userId="f6a3e592-cc27-4858-b185-ff86be206069" providerId="ADAL" clId="{7512AD08-729F-4631-AFF5-A13DAAFD1BEE}" dt="2020-07-28T19:26:37.098" v="1546" actId="47"/>
        <pc:sldMkLst>
          <pc:docMk/>
          <pc:sldMk cId="797326216" sldId="2134804354"/>
        </pc:sldMkLst>
      </pc:sldChg>
      <pc:sldChg chg="addSp new mod">
        <pc:chgData name="Andrea Mogollon Nossa (CENIT)" userId="f6a3e592-cc27-4858-b185-ff86be206069" providerId="ADAL" clId="{7512AD08-729F-4631-AFF5-A13DAAFD1BEE}" dt="2020-07-28T15:10:57.612" v="1248" actId="22"/>
        <pc:sldMkLst>
          <pc:docMk/>
          <pc:sldMk cId="1132069796" sldId="2134804355"/>
        </pc:sldMkLst>
        <pc:spChg chg="add">
          <ac:chgData name="Andrea Mogollon Nossa (CENIT)" userId="f6a3e592-cc27-4858-b185-ff86be206069" providerId="ADAL" clId="{7512AD08-729F-4631-AFF5-A13DAAFD1BEE}" dt="2020-07-28T15:10:57.612" v="1248" actId="22"/>
          <ac:spMkLst>
            <pc:docMk/>
            <pc:sldMk cId="1132069796" sldId="2134804355"/>
            <ac:spMk id="5" creationId="{0628D255-AFF9-450B-9CB8-3C9C33F5960F}"/>
          </ac:spMkLst>
        </pc:spChg>
      </pc:sldChg>
    </pc:docChg>
  </pc:docChgLst>
  <pc:docChgLst>
    <pc:chgData name="Andrea Mogollon Nossa (CENIT)" userId="S::andrea.mogollon@cenit-transporte.com::f6a3e592-cc27-4858-b185-ff86be206069" providerId="AD" clId="Web-{B253ADF3-2429-90E1-EDC9-E9B9A97694F7}"/>
    <pc:docChg chg="modSld">
      <pc:chgData name="Andrea Mogollon Nossa (CENIT)" userId="S::andrea.mogollon@cenit-transporte.com::f6a3e592-cc27-4858-b185-ff86be206069" providerId="AD" clId="Web-{B253ADF3-2429-90E1-EDC9-E9B9A97694F7}" dt="2020-07-27T19:50:44.658" v="0" actId="20577"/>
      <pc:docMkLst>
        <pc:docMk/>
      </pc:docMkLst>
      <pc:sldChg chg="modSp">
        <pc:chgData name="Andrea Mogollon Nossa (CENIT)" userId="S::andrea.mogollon@cenit-transporte.com::f6a3e592-cc27-4858-b185-ff86be206069" providerId="AD" clId="Web-{B253ADF3-2429-90E1-EDC9-E9B9A97694F7}" dt="2020-07-27T19:50:44.658" v="0" actId="20577"/>
        <pc:sldMkLst>
          <pc:docMk/>
          <pc:sldMk cId="3396100439" sldId="2134804337"/>
        </pc:sldMkLst>
        <pc:spChg chg="mod">
          <ac:chgData name="Andrea Mogollon Nossa (CENIT)" userId="S::andrea.mogollon@cenit-transporte.com::f6a3e592-cc27-4858-b185-ff86be206069" providerId="AD" clId="Web-{B253ADF3-2429-90E1-EDC9-E9B9A97694F7}" dt="2020-07-27T19:50:44.658" v="0" actId="20577"/>
          <ac:spMkLst>
            <pc:docMk/>
            <pc:sldMk cId="3396100439" sldId="2134804337"/>
            <ac:spMk id="15" creationId="{62B74417-9DDC-43EE-A726-A2B51719A76E}"/>
          </ac:spMkLst>
        </pc:spChg>
      </pc:sldChg>
    </pc:docChg>
  </pc:docChgLst>
  <pc:docChgLst>
    <pc:chgData name="Mariam Daniela Tristancho Pineda (PTA SAS)" userId="a45a17f7-7950-4cb5-bfab-f5c894f959a9" providerId="ADAL" clId="{643645D5-A03F-43D9-8A33-817EA1ECC2BF}"/>
    <pc:docChg chg="undo custSel addSld delSld modSld delMainMaster">
      <pc:chgData name="Mariam Daniela Tristancho Pineda (PTA SAS)" userId="a45a17f7-7950-4cb5-bfab-f5c894f959a9" providerId="ADAL" clId="{643645D5-A03F-43D9-8A33-817EA1ECC2BF}" dt="2020-10-19T13:36:06.008" v="699" actId="14100"/>
      <pc:docMkLst>
        <pc:docMk/>
      </pc:docMkLst>
      <pc:sldChg chg="del">
        <pc:chgData name="Mariam Daniela Tristancho Pineda (PTA SAS)" userId="a45a17f7-7950-4cb5-bfab-f5c894f959a9" providerId="ADAL" clId="{643645D5-A03F-43D9-8A33-817EA1ECC2BF}" dt="2020-10-16T15:12:31.953" v="119" actId="47"/>
        <pc:sldMkLst>
          <pc:docMk/>
          <pc:sldMk cId="573704206" sldId="279"/>
        </pc:sldMkLst>
      </pc:sldChg>
      <pc:sldChg chg="del">
        <pc:chgData name="Mariam Daniela Tristancho Pineda (PTA SAS)" userId="a45a17f7-7950-4cb5-bfab-f5c894f959a9" providerId="ADAL" clId="{643645D5-A03F-43D9-8A33-817EA1ECC2BF}" dt="2020-10-16T15:07:55.076" v="74" actId="47"/>
        <pc:sldMkLst>
          <pc:docMk/>
          <pc:sldMk cId="1701384957" sldId="280"/>
        </pc:sldMkLst>
      </pc:sldChg>
      <pc:sldChg chg="del">
        <pc:chgData name="Mariam Daniela Tristancho Pineda (PTA SAS)" userId="a45a17f7-7950-4cb5-bfab-f5c894f959a9" providerId="ADAL" clId="{643645D5-A03F-43D9-8A33-817EA1ECC2BF}" dt="2020-10-16T15:12:33.276" v="120" actId="47"/>
        <pc:sldMkLst>
          <pc:docMk/>
          <pc:sldMk cId="2374507134" sldId="282"/>
        </pc:sldMkLst>
      </pc:sldChg>
      <pc:sldChg chg="del">
        <pc:chgData name="Mariam Daniela Tristancho Pineda (PTA SAS)" userId="a45a17f7-7950-4cb5-bfab-f5c894f959a9" providerId="ADAL" clId="{643645D5-A03F-43D9-8A33-817EA1ECC2BF}" dt="2020-10-16T15:12:33.505" v="121" actId="47"/>
        <pc:sldMkLst>
          <pc:docMk/>
          <pc:sldMk cId="1553431596" sldId="283"/>
        </pc:sldMkLst>
      </pc:sldChg>
      <pc:sldChg chg="del">
        <pc:chgData name="Mariam Daniela Tristancho Pineda (PTA SAS)" userId="a45a17f7-7950-4cb5-bfab-f5c894f959a9" providerId="ADAL" clId="{643645D5-A03F-43D9-8A33-817EA1ECC2BF}" dt="2020-10-16T15:12:33.679" v="122" actId="47"/>
        <pc:sldMkLst>
          <pc:docMk/>
          <pc:sldMk cId="1152085915" sldId="284"/>
        </pc:sldMkLst>
      </pc:sldChg>
      <pc:sldChg chg="del">
        <pc:chgData name="Mariam Daniela Tristancho Pineda (PTA SAS)" userId="a45a17f7-7950-4cb5-bfab-f5c894f959a9" providerId="ADAL" clId="{643645D5-A03F-43D9-8A33-817EA1ECC2BF}" dt="2020-10-16T15:12:35.071" v="124" actId="47"/>
        <pc:sldMkLst>
          <pc:docMk/>
          <pc:sldMk cId="3864960676" sldId="286"/>
        </pc:sldMkLst>
      </pc:sldChg>
      <pc:sldChg chg="modSp mod">
        <pc:chgData name="Mariam Daniela Tristancho Pineda (PTA SAS)" userId="a45a17f7-7950-4cb5-bfab-f5c894f959a9" providerId="ADAL" clId="{643645D5-A03F-43D9-8A33-817EA1ECC2BF}" dt="2020-10-16T15:09:12.151" v="85" actId="1076"/>
        <pc:sldMkLst>
          <pc:docMk/>
          <pc:sldMk cId="676461558" sldId="291"/>
        </pc:sldMkLst>
        <pc:spChg chg="mod">
          <ac:chgData name="Mariam Daniela Tristancho Pineda (PTA SAS)" userId="a45a17f7-7950-4cb5-bfab-f5c894f959a9" providerId="ADAL" clId="{643645D5-A03F-43D9-8A33-817EA1ECC2BF}" dt="2020-10-16T15:09:12.151" v="85" actId="1076"/>
          <ac:spMkLst>
            <pc:docMk/>
            <pc:sldMk cId="676461558" sldId="291"/>
            <ac:spMk id="2" creationId="{7D76A58A-375F-4061-9D4C-651C14864658}"/>
          </ac:spMkLst>
        </pc:spChg>
        <pc:spChg chg="mod">
          <ac:chgData name="Mariam Daniela Tristancho Pineda (PTA SAS)" userId="a45a17f7-7950-4cb5-bfab-f5c894f959a9" providerId="ADAL" clId="{643645D5-A03F-43D9-8A33-817EA1ECC2BF}" dt="2020-10-16T15:09:09.215" v="84" actId="1036"/>
          <ac:spMkLst>
            <pc:docMk/>
            <pc:sldMk cId="676461558" sldId="291"/>
            <ac:spMk id="76" creationId="{EEF9D3BD-0FCD-4E3B-A30D-451C7AAF6633}"/>
          </ac:spMkLst>
        </pc:spChg>
        <pc:spChg chg="mod">
          <ac:chgData name="Mariam Daniela Tristancho Pineda (PTA SAS)" userId="a45a17f7-7950-4cb5-bfab-f5c894f959a9" providerId="ADAL" clId="{643645D5-A03F-43D9-8A33-817EA1ECC2BF}" dt="2020-10-16T15:09:09.215" v="84" actId="1036"/>
          <ac:spMkLst>
            <pc:docMk/>
            <pc:sldMk cId="676461558" sldId="291"/>
            <ac:spMk id="77" creationId="{44DAAF07-704B-4AD2-9029-4FE6270429E3}"/>
          </ac:spMkLst>
        </pc:spChg>
        <pc:spChg chg="mod">
          <ac:chgData name="Mariam Daniela Tristancho Pineda (PTA SAS)" userId="a45a17f7-7950-4cb5-bfab-f5c894f959a9" providerId="ADAL" clId="{643645D5-A03F-43D9-8A33-817EA1ECC2BF}" dt="2020-10-16T15:09:09.215" v="84" actId="1036"/>
          <ac:spMkLst>
            <pc:docMk/>
            <pc:sldMk cId="676461558" sldId="291"/>
            <ac:spMk id="80" creationId="{E4642C6D-F1C3-451F-AEC6-3440A3FD291D}"/>
          </ac:spMkLst>
        </pc:spChg>
        <pc:spChg chg="mod">
          <ac:chgData name="Mariam Daniela Tristancho Pineda (PTA SAS)" userId="a45a17f7-7950-4cb5-bfab-f5c894f959a9" providerId="ADAL" clId="{643645D5-A03F-43D9-8A33-817EA1ECC2BF}" dt="2020-10-16T15:09:09.215" v="84" actId="1036"/>
          <ac:spMkLst>
            <pc:docMk/>
            <pc:sldMk cId="676461558" sldId="291"/>
            <ac:spMk id="81" creationId="{646D5B8E-AC08-4AA5-823A-4F62C3888F63}"/>
          </ac:spMkLst>
        </pc:spChg>
        <pc:spChg chg="mod">
          <ac:chgData name="Mariam Daniela Tristancho Pineda (PTA SAS)" userId="a45a17f7-7950-4cb5-bfab-f5c894f959a9" providerId="ADAL" clId="{643645D5-A03F-43D9-8A33-817EA1ECC2BF}" dt="2020-10-16T15:09:09.215" v="84" actId="1036"/>
          <ac:spMkLst>
            <pc:docMk/>
            <pc:sldMk cId="676461558" sldId="291"/>
            <ac:spMk id="82" creationId="{8E48A216-4859-4526-9CC2-DFF2DC55EDD5}"/>
          </ac:spMkLst>
        </pc:spChg>
        <pc:spChg chg="mod">
          <ac:chgData name="Mariam Daniela Tristancho Pineda (PTA SAS)" userId="a45a17f7-7950-4cb5-bfab-f5c894f959a9" providerId="ADAL" clId="{643645D5-A03F-43D9-8A33-817EA1ECC2BF}" dt="2020-10-16T15:09:09.215" v="84" actId="1036"/>
          <ac:spMkLst>
            <pc:docMk/>
            <pc:sldMk cId="676461558" sldId="291"/>
            <ac:spMk id="108" creationId="{0DFAE232-C03A-4447-AF4F-2FEEE826CF8A}"/>
          </ac:spMkLst>
        </pc:spChg>
        <pc:spChg chg="mod">
          <ac:chgData name="Mariam Daniela Tristancho Pineda (PTA SAS)" userId="a45a17f7-7950-4cb5-bfab-f5c894f959a9" providerId="ADAL" clId="{643645D5-A03F-43D9-8A33-817EA1ECC2BF}" dt="2020-10-16T15:09:09.215" v="84" actId="1036"/>
          <ac:spMkLst>
            <pc:docMk/>
            <pc:sldMk cId="676461558" sldId="291"/>
            <ac:spMk id="111" creationId="{238FD54F-35A5-4122-9015-D197608097DD}"/>
          </ac:spMkLst>
        </pc:spChg>
        <pc:spChg chg="mod">
          <ac:chgData name="Mariam Daniela Tristancho Pineda (PTA SAS)" userId="a45a17f7-7950-4cb5-bfab-f5c894f959a9" providerId="ADAL" clId="{643645D5-A03F-43D9-8A33-817EA1ECC2BF}" dt="2020-10-16T15:09:09.215" v="84" actId="1036"/>
          <ac:spMkLst>
            <pc:docMk/>
            <pc:sldMk cId="676461558" sldId="291"/>
            <ac:spMk id="112" creationId="{0DC8B8DA-3D9B-4936-81F1-CE85FFE781C2}"/>
          </ac:spMkLst>
        </pc:spChg>
        <pc:spChg chg="mod">
          <ac:chgData name="Mariam Daniela Tristancho Pineda (PTA SAS)" userId="a45a17f7-7950-4cb5-bfab-f5c894f959a9" providerId="ADAL" clId="{643645D5-A03F-43D9-8A33-817EA1ECC2BF}" dt="2020-10-16T15:09:09.215" v="84" actId="1036"/>
          <ac:spMkLst>
            <pc:docMk/>
            <pc:sldMk cId="676461558" sldId="291"/>
            <ac:spMk id="115" creationId="{DB35C4D3-61DC-4194-A530-0CD186587533}"/>
          </ac:spMkLst>
        </pc:spChg>
        <pc:spChg chg="mod">
          <ac:chgData name="Mariam Daniela Tristancho Pineda (PTA SAS)" userId="a45a17f7-7950-4cb5-bfab-f5c894f959a9" providerId="ADAL" clId="{643645D5-A03F-43D9-8A33-817EA1ECC2BF}" dt="2020-10-16T15:09:09.215" v="84" actId="1036"/>
          <ac:spMkLst>
            <pc:docMk/>
            <pc:sldMk cId="676461558" sldId="291"/>
            <ac:spMk id="118" creationId="{005BD08C-0EE8-4633-8B97-08CC29CE51B8}"/>
          </ac:spMkLst>
        </pc:spChg>
        <pc:spChg chg="mod">
          <ac:chgData name="Mariam Daniela Tristancho Pineda (PTA SAS)" userId="a45a17f7-7950-4cb5-bfab-f5c894f959a9" providerId="ADAL" clId="{643645D5-A03F-43D9-8A33-817EA1ECC2BF}" dt="2020-10-16T15:09:09.215" v="84" actId="1036"/>
          <ac:spMkLst>
            <pc:docMk/>
            <pc:sldMk cId="676461558" sldId="291"/>
            <ac:spMk id="119" creationId="{E3BEB78D-E8E1-481E-8CEB-EEC808402A59}"/>
          </ac:spMkLst>
        </pc:spChg>
        <pc:spChg chg="mod">
          <ac:chgData name="Mariam Daniela Tristancho Pineda (PTA SAS)" userId="a45a17f7-7950-4cb5-bfab-f5c894f959a9" providerId="ADAL" clId="{643645D5-A03F-43D9-8A33-817EA1ECC2BF}" dt="2020-10-16T15:09:09.215" v="84" actId="1036"/>
          <ac:spMkLst>
            <pc:docMk/>
            <pc:sldMk cId="676461558" sldId="291"/>
            <ac:spMk id="120" creationId="{D1B62530-57CE-4A21-A7E2-B81C22F47BB8}"/>
          </ac:spMkLst>
        </pc:spChg>
        <pc:spChg chg="mod">
          <ac:chgData name="Mariam Daniela Tristancho Pineda (PTA SAS)" userId="a45a17f7-7950-4cb5-bfab-f5c894f959a9" providerId="ADAL" clId="{643645D5-A03F-43D9-8A33-817EA1ECC2BF}" dt="2020-10-16T15:09:09.215" v="84" actId="1036"/>
          <ac:spMkLst>
            <pc:docMk/>
            <pc:sldMk cId="676461558" sldId="291"/>
            <ac:spMk id="121" creationId="{878445E7-B1EA-49B9-9A06-600E42D9C00D}"/>
          </ac:spMkLst>
        </pc:spChg>
        <pc:spChg chg="mod">
          <ac:chgData name="Mariam Daniela Tristancho Pineda (PTA SAS)" userId="a45a17f7-7950-4cb5-bfab-f5c894f959a9" providerId="ADAL" clId="{643645D5-A03F-43D9-8A33-817EA1ECC2BF}" dt="2020-10-16T15:09:09.215" v="84" actId="1036"/>
          <ac:spMkLst>
            <pc:docMk/>
            <pc:sldMk cId="676461558" sldId="291"/>
            <ac:spMk id="128" creationId="{ED59BBA5-78C0-4BAE-A239-BB0D192DF18D}"/>
          </ac:spMkLst>
        </pc:spChg>
        <pc:spChg chg="mod">
          <ac:chgData name="Mariam Daniela Tristancho Pineda (PTA SAS)" userId="a45a17f7-7950-4cb5-bfab-f5c894f959a9" providerId="ADAL" clId="{643645D5-A03F-43D9-8A33-817EA1ECC2BF}" dt="2020-10-16T15:09:09.215" v="84" actId="1036"/>
          <ac:spMkLst>
            <pc:docMk/>
            <pc:sldMk cId="676461558" sldId="291"/>
            <ac:spMk id="129" creationId="{38F6E427-4252-4DBA-A22D-B030B7878228}"/>
          </ac:spMkLst>
        </pc:spChg>
        <pc:spChg chg="mod">
          <ac:chgData name="Mariam Daniela Tristancho Pineda (PTA SAS)" userId="a45a17f7-7950-4cb5-bfab-f5c894f959a9" providerId="ADAL" clId="{643645D5-A03F-43D9-8A33-817EA1ECC2BF}" dt="2020-10-16T15:09:09.215" v="84" actId="1036"/>
          <ac:spMkLst>
            <pc:docMk/>
            <pc:sldMk cId="676461558" sldId="291"/>
            <ac:spMk id="131" creationId="{7BEB4D49-A38C-4972-AA35-9C77065D91C7}"/>
          </ac:spMkLst>
        </pc:spChg>
        <pc:spChg chg="mod">
          <ac:chgData name="Mariam Daniela Tristancho Pineda (PTA SAS)" userId="a45a17f7-7950-4cb5-bfab-f5c894f959a9" providerId="ADAL" clId="{643645D5-A03F-43D9-8A33-817EA1ECC2BF}" dt="2020-10-16T15:09:09.215" v="84" actId="1036"/>
          <ac:spMkLst>
            <pc:docMk/>
            <pc:sldMk cId="676461558" sldId="291"/>
            <ac:spMk id="134" creationId="{5BC2AB0D-6046-4152-AF02-7891CB54CA54}"/>
          </ac:spMkLst>
        </pc:spChg>
        <pc:spChg chg="mod">
          <ac:chgData name="Mariam Daniela Tristancho Pineda (PTA SAS)" userId="a45a17f7-7950-4cb5-bfab-f5c894f959a9" providerId="ADAL" clId="{643645D5-A03F-43D9-8A33-817EA1ECC2BF}" dt="2020-10-16T15:09:09.215" v="84" actId="1036"/>
          <ac:spMkLst>
            <pc:docMk/>
            <pc:sldMk cId="676461558" sldId="291"/>
            <ac:spMk id="135" creationId="{0972EA45-CA71-4C58-B3E3-2CE03A37733F}"/>
          </ac:spMkLst>
        </pc:spChg>
        <pc:spChg chg="mod">
          <ac:chgData name="Mariam Daniela Tristancho Pineda (PTA SAS)" userId="a45a17f7-7950-4cb5-bfab-f5c894f959a9" providerId="ADAL" clId="{643645D5-A03F-43D9-8A33-817EA1ECC2BF}" dt="2020-10-16T15:09:09.215" v="84" actId="1036"/>
          <ac:spMkLst>
            <pc:docMk/>
            <pc:sldMk cId="676461558" sldId="291"/>
            <ac:spMk id="136" creationId="{10F2F476-E3DF-44DB-93E1-67C528B845D4}"/>
          </ac:spMkLst>
        </pc:spChg>
        <pc:spChg chg="mod">
          <ac:chgData name="Mariam Daniela Tristancho Pineda (PTA SAS)" userId="a45a17f7-7950-4cb5-bfab-f5c894f959a9" providerId="ADAL" clId="{643645D5-A03F-43D9-8A33-817EA1ECC2BF}" dt="2020-10-16T15:09:09.215" v="84" actId="1036"/>
          <ac:spMkLst>
            <pc:docMk/>
            <pc:sldMk cId="676461558" sldId="291"/>
            <ac:spMk id="137" creationId="{E07EEAAE-3F46-4635-B660-163BBE708926}"/>
          </ac:spMkLst>
        </pc:spChg>
        <pc:spChg chg="mod">
          <ac:chgData name="Mariam Daniela Tristancho Pineda (PTA SAS)" userId="a45a17f7-7950-4cb5-bfab-f5c894f959a9" providerId="ADAL" clId="{643645D5-A03F-43D9-8A33-817EA1ECC2BF}" dt="2020-10-16T15:09:09.215" v="84" actId="1036"/>
          <ac:spMkLst>
            <pc:docMk/>
            <pc:sldMk cId="676461558" sldId="291"/>
            <ac:spMk id="144" creationId="{9A40AC9D-F2DE-429E-B1E7-87793BEF9411}"/>
          </ac:spMkLst>
        </pc:spChg>
        <pc:spChg chg="mod">
          <ac:chgData name="Mariam Daniela Tristancho Pineda (PTA SAS)" userId="a45a17f7-7950-4cb5-bfab-f5c894f959a9" providerId="ADAL" clId="{643645D5-A03F-43D9-8A33-817EA1ECC2BF}" dt="2020-10-16T15:09:09.215" v="84" actId="1036"/>
          <ac:spMkLst>
            <pc:docMk/>
            <pc:sldMk cId="676461558" sldId="291"/>
            <ac:spMk id="145" creationId="{CFD7A2B8-7760-4F47-9755-80C90649B2FD}"/>
          </ac:spMkLst>
        </pc:spChg>
        <pc:spChg chg="mod">
          <ac:chgData name="Mariam Daniela Tristancho Pineda (PTA SAS)" userId="a45a17f7-7950-4cb5-bfab-f5c894f959a9" providerId="ADAL" clId="{643645D5-A03F-43D9-8A33-817EA1ECC2BF}" dt="2020-10-16T15:09:09.215" v="84" actId="1036"/>
          <ac:spMkLst>
            <pc:docMk/>
            <pc:sldMk cId="676461558" sldId="291"/>
            <ac:spMk id="146" creationId="{288966CF-A2CB-4920-8B6E-870D67CE8DB4}"/>
          </ac:spMkLst>
        </pc:spChg>
        <pc:spChg chg="mod">
          <ac:chgData name="Mariam Daniela Tristancho Pineda (PTA SAS)" userId="a45a17f7-7950-4cb5-bfab-f5c894f959a9" providerId="ADAL" clId="{643645D5-A03F-43D9-8A33-817EA1ECC2BF}" dt="2020-10-16T15:09:09.215" v="84" actId="1036"/>
          <ac:spMkLst>
            <pc:docMk/>
            <pc:sldMk cId="676461558" sldId="291"/>
            <ac:spMk id="147" creationId="{7B9ED864-7CF7-4FC1-AAEB-6C50E8128BD6}"/>
          </ac:spMkLst>
        </pc:spChg>
        <pc:spChg chg="mod">
          <ac:chgData name="Mariam Daniela Tristancho Pineda (PTA SAS)" userId="a45a17f7-7950-4cb5-bfab-f5c894f959a9" providerId="ADAL" clId="{643645D5-A03F-43D9-8A33-817EA1ECC2BF}" dt="2020-10-16T15:09:09.215" v="84" actId="1036"/>
          <ac:spMkLst>
            <pc:docMk/>
            <pc:sldMk cId="676461558" sldId="291"/>
            <ac:spMk id="158" creationId="{D7DCC36E-87EB-40F0-B8DA-26802C828AF9}"/>
          </ac:spMkLst>
        </pc:spChg>
        <pc:spChg chg="mod">
          <ac:chgData name="Mariam Daniela Tristancho Pineda (PTA SAS)" userId="a45a17f7-7950-4cb5-bfab-f5c894f959a9" providerId="ADAL" clId="{643645D5-A03F-43D9-8A33-817EA1ECC2BF}" dt="2020-10-16T15:09:09.215" v="84" actId="1036"/>
          <ac:spMkLst>
            <pc:docMk/>
            <pc:sldMk cId="676461558" sldId="291"/>
            <ac:spMk id="160" creationId="{C60BD2D3-9268-46A4-A248-8754845A2B7A}"/>
          </ac:spMkLst>
        </pc:spChg>
        <pc:spChg chg="mod">
          <ac:chgData name="Mariam Daniela Tristancho Pineda (PTA SAS)" userId="a45a17f7-7950-4cb5-bfab-f5c894f959a9" providerId="ADAL" clId="{643645D5-A03F-43D9-8A33-817EA1ECC2BF}" dt="2020-10-16T15:09:09.215" v="84" actId="1036"/>
          <ac:spMkLst>
            <pc:docMk/>
            <pc:sldMk cId="676461558" sldId="291"/>
            <ac:spMk id="161" creationId="{9DEB7601-FDE6-4584-A603-436E8B612A41}"/>
          </ac:spMkLst>
        </pc:spChg>
        <pc:spChg chg="mod">
          <ac:chgData name="Mariam Daniela Tristancho Pineda (PTA SAS)" userId="a45a17f7-7950-4cb5-bfab-f5c894f959a9" providerId="ADAL" clId="{643645D5-A03F-43D9-8A33-817EA1ECC2BF}" dt="2020-10-16T15:09:09.215" v="84" actId="1036"/>
          <ac:spMkLst>
            <pc:docMk/>
            <pc:sldMk cId="676461558" sldId="291"/>
            <ac:spMk id="162" creationId="{2A62CB7D-E2D1-48FE-AA10-A873E92AE577}"/>
          </ac:spMkLst>
        </pc:spChg>
        <pc:spChg chg="mod">
          <ac:chgData name="Mariam Daniela Tristancho Pineda (PTA SAS)" userId="a45a17f7-7950-4cb5-bfab-f5c894f959a9" providerId="ADAL" clId="{643645D5-A03F-43D9-8A33-817EA1ECC2BF}" dt="2020-10-16T15:09:09.215" v="84" actId="1036"/>
          <ac:spMkLst>
            <pc:docMk/>
            <pc:sldMk cId="676461558" sldId="291"/>
            <ac:spMk id="164" creationId="{BDBFDC69-A308-49F6-B954-651C284DFA8F}"/>
          </ac:spMkLst>
        </pc:spChg>
        <pc:spChg chg="mod">
          <ac:chgData name="Mariam Daniela Tristancho Pineda (PTA SAS)" userId="a45a17f7-7950-4cb5-bfab-f5c894f959a9" providerId="ADAL" clId="{643645D5-A03F-43D9-8A33-817EA1ECC2BF}" dt="2020-10-16T15:09:09.215" v="84" actId="1036"/>
          <ac:spMkLst>
            <pc:docMk/>
            <pc:sldMk cId="676461558" sldId="291"/>
            <ac:spMk id="165" creationId="{532C5EF6-9E60-460C-8174-9AA5833C4275}"/>
          </ac:spMkLst>
        </pc:spChg>
        <pc:spChg chg="mod">
          <ac:chgData name="Mariam Daniela Tristancho Pineda (PTA SAS)" userId="a45a17f7-7950-4cb5-bfab-f5c894f959a9" providerId="ADAL" clId="{643645D5-A03F-43D9-8A33-817EA1ECC2BF}" dt="2020-10-16T15:09:09.215" v="84" actId="1036"/>
          <ac:spMkLst>
            <pc:docMk/>
            <pc:sldMk cId="676461558" sldId="291"/>
            <ac:spMk id="166" creationId="{E051AACB-533A-458D-A6AD-4EE882A51BFA}"/>
          </ac:spMkLst>
        </pc:spChg>
        <pc:spChg chg="mod">
          <ac:chgData name="Mariam Daniela Tristancho Pineda (PTA SAS)" userId="a45a17f7-7950-4cb5-bfab-f5c894f959a9" providerId="ADAL" clId="{643645D5-A03F-43D9-8A33-817EA1ECC2BF}" dt="2020-10-16T15:09:09.215" v="84" actId="1036"/>
          <ac:spMkLst>
            <pc:docMk/>
            <pc:sldMk cId="676461558" sldId="291"/>
            <ac:spMk id="167" creationId="{6110F769-958A-47EA-9391-D7D10AB9A4BC}"/>
          </ac:spMkLst>
        </pc:spChg>
        <pc:grpChg chg="mod">
          <ac:chgData name="Mariam Daniela Tristancho Pineda (PTA SAS)" userId="a45a17f7-7950-4cb5-bfab-f5c894f959a9" providerId="ADAL" clId="{643645D5-A03F-43D9-8A33-817EA1ECC2BF}" dt="2020-10-16T15:09:09.215" v="84" actId="1036"/>
          <ac:grpSpMkLst>
            <pc:docMk/>
            <pc:sldMk cId="676461558" sldId="291"/>
            <ac:grpSpMk id="87" creationId="{2048A83A-AA05-4B15-BF12-590132B0B976}"/>
          </ac:grpSpMkLst>
        </pc:grpChg>
        <pc:grpChg chg="mod">
          <ac:chgData name="Mariam Daniela Tristancho Pineda (PTA SAS)" userId="a45a17f7-7950-4cb5-bfab-f5c894f959a9" providerId="ADAL" clId="{643645D5-A03F-43D9-8A33-817EA1ECC2BF}" dt="2020-10-16T15:09:09.215" v="84" actId="1036"/>
          <ac:grpSpMkLst>
            <pc:docMk/>
            <pc:sldMk cId="676461558" sldId="291"/>
            <ac:grpSpMk id="117" creationId="{6B2613F8-F744-454D-91E2-AEE6A9F29C43}"/>
          </ac:grpSpMkLst>
        </pc:grpChg>
        <pc:grpChg chg="mod">
          <ac:chgData name="Mariam Daniela Tristancho Pineda (PTA SAS)" userId="a45a17f7-7950-4cb5-bfab-f5c894f959a9" providerId="ADAL" clId="{643645D5-A03F-43D9-8A33-817EA1ECC2BF}" dt="2020-10-16T15:09:09.215" v="84" actId="1036"/>
          <ac:grpSpMkLst>
            <pc:docMk/>
            <pc:sldMk cId="676461558" sldId="291"/>
            <ac:grpSpMk id="127" creationId="{60702B56-DECD-447B-A9E3-E75220CE6451}"/>
          </ac:grpSpMkLst>
        </pc:grpChg>
        <pc:grpChg chg="mod">
          <ac:chgData name="Mariam Daniela Tristancho Pineda (PTA SAS)" userId="a45a17f7-7950-4cb5-bfab-f5c894f959a9" providerId="ADAL" clId="{643645D5-A03F-43D9-8A33-817EA1ECC2BF}" dt="2020-10-16T15:09:09.215" v="84" actId="1036"/>
          <ac:grpSpMkLst>
            <pc:docMk/>
            <pc:sldMk cId="676461558" sldId="291"/>
            <ac:grpSpMk id="133" creationId="{230FEFAE-02E8-496A-B8AD-506B3F9F1126}"/>
          </ac:grpSpMkLst>
        </pc:grpChg>
        <pc:grpChg chg="mod">
          <ac:chgData name="Mariam Daniela Tristancho Pineda (PTA SAS)" userId="a45a17f7-7950-4cb5-bfab-f5c894f959a9" providerId="ADAL" clId="{643645D5-A03F-43D9-8A33-817EA1ECC2BF}" dt="2020-10-16T15:09:09.215" v="84" actId="1036"/>
          <ac:grpSpMkLst>
            <pc:docMk/>
            <pc:sldMk cId="676461558" sldId="291"/>
            <ac:grpSpMk id="143" creationId="{C2B0831D-672E-4270-8739-782D42787680}"/>
          </ac:grpSpMkLst>
        </pc:grpChg>
        <pc:grpChg chg="mod">
          <ac:chgData name="Mariam Daniela Tristancho Pineda (PTA SAS)" userId="a45a17f7-7950-4cb5-bfab-f5c894f959a9" providerId="ADAL" clId="{643645D5-A03F-43D9-8A33-817EA1ECC2BF}" dt="2020-10-16T15:09:09.215" v="84" actId="1036"/>
          <ac:grpSpMkLst>
            <pc:docMk/>
            <pc:sldMk cId="676461558" sldId="291"/>
            <ac:grpSpMk id="153" creationId="{C74AA7BD-0482-4430-AE80-88955BE81BD6}"/>
          </ac:grpSpMkLst>
        </pc:grpChg>
        <pc:grpChg chg="mod">
          <ac:chgData name="Mariam Daniela Tristancho Pineda (PTA SAS)" userId="a45a17f7-7950-4cb5-bfab-f5c894f959a9" providerId="ADAL" clId="{643645D5-A03F-43D9-8A33-817EA1ECC2BF}" dt="2020-10-16T15:09:09.215" v="84" actId="1036"/>
          <ac:grpSpMkLst>
            <pc:docMk/>
            <pc:sldMk cId="676461558" sldId="291"/>
            <ac:grpSpMk id="163" creationId="{4C04BC2E-3186-4C80-B37F-E5B305AAC1ED}"/>
          </ac:grpSpMkLst>
        </pc:grpChg>
        <pc:picChg chg="mod">
          <ac:chgData name="Mariam Daniela Tristancho Pineda (PTA SAS)" userId="a45a17f7-7950-4cb5-bfab-f5c894f959a9" providerId="ADAL" clId="{643645D5-A03F-43D9-8A33-817EA1ECC2BF}" dt="2020-10-16T15:09:09.215" v="84" actId="1036"/>
          <ac:picMkLst>
            <pc:docMk/>
            <pc:sldMk cId="676461558" sldId="291"/>
            <ac:picMk id="116" creationId="{5BC46F26-8961-4F34-9760-89437609076D}"/>
          </ac:picMkLst>
        </pc:picChg>
        <pc:picChg chg="mod">
          <ac:chgData name="Mariam Daniela Tristancho Pineda (PTA SAS)" userId="a45a17f7-7950-4cb5-bfab-f5c894f959a9" providerId="ADAL" clId="{643645D5-A03F-43D9-8A33-817EA1ECC2BF}" dt="2020-10-16T15:09:09.215" v="84" actId="1036"/>
          <ac:picMkLst>
            <pc:docMk/>
            <pc:sldMk cId="676461558" sldId="291"/>
            <ac:picMk id="122" creationId="{735FD6AB-4D9E-48C4-A2A4-4CB2A1261919}"/>
          </ac:picMkLst>
        </pc:picChg>
        <pc:picChg chg="mod">
          <ac:chgData name="Mariam Daniela Tristancho Pineda (PTA SAS)" userId="a45a17f7-7950-4cb5-bfab-f5c894f959a9" providerId="ADAL" clId="{643645D5-A03F-43D9-8A33-817EA1ECC2BF}" dt="2020-10-16T15:09:09.215" v="84" actId="1036"/>
          <ac:picMkLst>
            <pc:docMk/>
            <pc:sldMk cId="676461558" sldId="291"/>
            <ac:picMk id="132" creationId="{D85EFBB4-82A1-4AEB-A02E-54D3607A36BA}"/>
          </ac:picMkLst>
        </pc:picChg>
        <pc:picChg chg="mod">
          <ac:chgData name="Mariam Daniela Tristancho Pineda (PTA SAS)" userId="a45a17f7-7950-4cb5-bfab-f5c894f959a9" providerId="ADAL" clId="{643645D5-A03F-43D9-8A33-817EA1ECC2BF}" dt="2020-10-16T15:09:09.215" v="84" actId="1036"/>
          <ac:picMkLst>
            <pc:docMk/>
            <pc:sldMk cId="676461558" sldId="291"/>
            <ac:picMk id="138" creationId="{5BCB04AD-8A35-4E76-831A-BE37AB758B92}"/>
          </ac:picMkLst>
        </pc:picChg>
        <pc:picChg chg="mod">
          <ac:chgData name="Mariam Daniela Tristancho Pineda (PTA SAS)" userId="a45a17f7-7950-4cb5-bfab-f5c894f959a9" providerId="ADAL" clId="{643645D5-A03F-43D9-8A33-817EA1ECC2BF}" dt="2020-10-16T15:09:09.215" v="84" actId="1036"/>
          <ac:picMkLst>
            <pc:docMk/>
            <pc:sldMk cId="676461558" sldId="291"/>
            <ac:picMk id="148" creationId="{4B1C7764-E939-4F67-A9D8-34E249741996}"/>
          </ac:picMkLst>
        </pc:picChg>
        <pc:picChg chg="mod">
          <ac:chgData name="Mariam Daniela Tristancho Pineda (PTA SAS)" userId="a45a17f7-7950-4cb5-bfab-f5c894f959a9" providerId="ADAL" clId="{643645D5-A03F-43D9-8A33-817EA1ECC2BF}" dt="2020-10-16T15:09:09.215" v="84" actId="1036"/>
          <ac:picMkLst>
            <pc:docMk/>
            <pc:sldMk cId="676461558" sldId="291"/>
            <ac:picMk id="159" creationId="{9E8D376D-8F72-4FAA-8753-2439E745B16B}"/>
          </ac:picMkLst>
        </pc:picChg>
        <pc:picChg chg="mod">
          <ac:chgData name="Mariam Daniela Tristancho Pineda (PTA SAS)" userId="a45a17f7-7950-4cb5-bfab-f5c894f959a9" providerId="ADAL" clId="{643645D5-A03F-43D9-8A33-817EA1ECC2BF}" dt="2020-10-16T15:09:09.215" v="84" actId="1036"/>
          <ac:picMkLst>
            <pc:docMk/>
            <pc:sldMk cId="676461558" sldId="291"/>
            <ac:picMk id="168" creationId="{BFFEDC3F-5D44-459C-AB94-57B812C8143F}"/>
          </ac:picMkLst>
        </pc:picChg>
        <pc:cxnChg chg="mod">
          <ac:chgData name="Mariam Daniela Tristancho Pineda (PTA SAS)" userId="a45a17f7-7950-4cb5-bfab-f5c894f959a9" providerId="ADAL" clId="{643645D5-A03F-43D9-8A33-817EA1ECC2BF}" dt="2020-10-16T15:09:09.215" v="84" actId="1036"/>
          <ac:cxnSpMkLst>
            <pc:docMk/>
            <pc:sldMk cId="676461558" sldId="291"/>
            <ac:cxnSpMk id="109" creationId="{7434769E-8F5B-4CDA-AFEA-2FA908180F28}"/>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10" creationId="{C0926ED7-6C71-4132-9062-E0B720E03046}"/>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13" creationId="{59088CD4-BBE7-483B-9FF9-1D62F9236779}"/>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14" creationId="{945F525E-96D6-4C2C-A528-6A902709A377}"/>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23" creationId="{C7FAFEC2-6E97-4F6F-BA24-F080C2F52D9B}"/>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24" creationId="{052C1626-B7E9-4CBB-B41B-19F1C52B2489}"/>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25" creationId="{EEBFE2DA-5127-4FBD-871C-BC30BC9886B6}"/>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26" creationId="{A0159407-C1E0-42F9-96B7-52E8DE9FB54C}"/>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39" creationId="{C3E2F61F-1C4B-476B-A2BD-A0EB158221F7}"/>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40" creationId="{113CCA2C-1CA9-4102-92F6-87C454341705}"/>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41" creationId="{A84DA711-F321-4D6A-8C5F-7514C157EC7F}"/>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42" creationId="{6B8615B1-8EDC-48F5-B371-CCB9A26F6263}"/>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49" creationId="{3DD257FE-0DBC-4BDE-8E41-F0693773C024}"/>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50" creationId="{6A192D05-FA68-4C91-B411-42299285EFCC}"/>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51" creationId="{70130B1F-D0F6-464E-B312-55BB85042484}"/>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52" creationId="{C3DB8877-7BF3-4FAC-A3D2-5BA95D944800}"/>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54" creationId="{257C7050-446B-4BC0-AE56-15B1276BF84B}"/>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55" creationId="{1EDA848A-C3C5-44F2-B0B2-5B39061E32D7}"/>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56" creationId="{6D136770-E5C6-4FD4-994A-347A35303349}"/>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57" creationId="{53B5734F-88D4-4463-BC76-B0A78957F1BB}"/>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69" creationId="{EFE50E1C-6452-48D5-887E-325BDE8412DF}"/>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70" creationId="{9C6D144F-AE7D-41B8-A40D-748F60DC87E9}"/>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71" creationId="{F9A75E3E-F16F-47D3-AD78-BFC9C9348449}"/>
          </ac:cxnSpMkLst>
        </pc:cxnChg>
        <pc:cxnChg chg="mod">
          <ac:chgData name="Mariam Daniela Tristancho Pineda (PTA SAS)" userId="a45a17f7-7950-4cb5-bfab-f5c894f959a9" providerId="ADAL" clId="{643645D5-A03F-43D9-8A33-817EA1ECC2BF}" dt="2020-10-16T15:09:09.215" v="84" actId="1036"/>
          <ac:cxnSpMkLst>
            <pc:docMk/>
            <pc:sldMk cId="676461558" sldId="291"/>
            <ac:cxnSpMk id="172" creationId="{3767DA6F-DABE-4D6F-AE17-AB5D8250600B}"/>
          </ac:cxnSpMkLst>
        </pc:cxnChg>
      </pc:sldChg>
      <pc:sldChg chg="del">
        <pc:chgData name="Mariam Daniela Tristancho Pineda (PTA SAS)" userId="a45a17f7-7950-4cb5-bfab-f5c894f959a9" providerId="ADAL" clId="{643645D5-A03F-43D9-8A33-817EA1ECC2BF}" dt="2020-10-16T15:12:26.693" v="102" actId="47"/>
        <pc:sldMkLst>
          <pc:docMk/>
          <pc:sldMk cId="3906370426" sldId="3401"/>
        </pc:sldMkLst>
      </pc:sldChg>
      <pc:sldChg chg="del">
        <pc:chgData name="Mariam Daniela Tristancho Pineda (PTA SAS)" userId="a45a17f7-7950-4cb5-bfab-f5c894f959a9" providerId="ADAL" clId="{643645D5-A03F-43D9-8A33-817EA1ECC2BF}" dt="2020-10-16T15:12:28.329" v="103" actId="47"/>
        <pc:sldMkLst>
          <pc:docMk/>
          <pc:sldMk cId="3865497767" sldId="3403"/>
        </pc:sldMkLst>
      </pc:sldChg>
      <pc:sldChg chg="del">
        <pc:chgData name="Mariam Daniela Tristancho Pineda (PTA SAS)" userId="a45a17f7-7950-4cb5-bfab-f5c894f959a9" providerId="ADAL" clId="{643645D5-A03F-43D9-8A33-817EA1ECC2BF}" dt="2020-10-16T15:12:29.586" v="111" actId="47"/>
        <pc:sldMkLst>
          <pc:docMk/>
          <pc:sldMk cId="4205423605" sldId="3406"/>
        </pc:sldMkLst>
      </pc:sldChg>
      <pc:sldChg chg="del">
        <pc:chgData name="Mariam Daniela Tristancho Pineda (PTA SAS)" userId="a45a17f7-7950-4cb5-bfab-f5c894f959a9" providerId="ADAL" clId="{643645D5-A03F-43D9-8A33-817EA1ECC2BF}" dt="2020-10-16T15:12:28.912" v="108" actId="47"/>
        <pc:sldMkLst>
          <pc:docMk/>
          <pc:sldMk cId="3835901532" sldId="3408"/>
        </pc:sldMkLst>
      </pc:sldChg>
      <pc:sldChg chg="del">
        <pc:chgData name="Mariam Daniela Tristancho Pineda (PTA SAS)" userId="a45a17f7-7950-4cb5-bfab-f5c894f959a9" providerId="ADAL" clId="{643645D5-A03F-43D9-8A33-817EA1ECC2BF}" dt="2020-10-16T15:12:28.722" v="107" actId="47"/>
        <pc:sldMkLst>
          <pc:docMk/>
          <pc:sldMk cId="1194985892" sldId="3409"/>
        </pc:sldMkLst>
      </pc:sldChg>
      <pc:sldChg chg="del">
        <pc:chgData name="Mariam Daniela Tristancho Pineda (PTA SAS)" userId="a45a17f7-7950-4cb5-bfab-f5c894f959a9" providerId="ADAL" clId="{643645D5-A03F-43D9-8A33-817EA1ECC2BF}" dt="2020-10-16T15:12:28.442" v="104" actId="47"/>
        <pc:sldMkLst>
          <pc:docMk/>
          <pc:sldMk cId="1081445694" sldId="3412"/>
        </pc:sldMkLst>
      </pc:sldChg>
      <pc:sldChg chg="del">
        <pc:chgData name="Mariam Daniela Tristancho Pineda (PTA SAS)" userId="a45a17f7-7950-4cb5-bfab-f5c894f959a9" providerId="ADAL" clId="{643645D5-A03F-43D9-8A33-817EA1ECC2BF}" dt="2020-10-16T15:12:28.501" v="105" actId="47"/>
        <pc:sldMkLst>
          <pc:docMk/>
          <pc:sldMk cId="1473259662" sldId="3418"/>
        </pc:sldMkLst>
      </pc:sldChg>
      <pc:sldChg chg="del">
        <pc:chgData name="Mariam Daniela Tristancho Pineda (PTA SAS)" userId="a45a17f7-7950-4cb5-bfab-f5c894f959a9" providerId="ADAL" clId="{643645D5-A03F-43D9-8A33-817EA1ECC2BF}" dt="2020-10-16T15:12:29.639" v="112" actId="47"/>
        <pc:sldMkLst>
          <pc:docMk/>
          <pc:sldMk cId="1328674564" sldId="3422"/>
        </pc:sldMkLst>
      </pc:sldChg>
      <pc:sldChg chg="del">
        <pc:chgData name="Mariam Daniela Tristancho Pineda (PTA SAS)" userId="a45a17f7-7950-4cb5-bfab-f5c894f959a9" providerId="ADAL" clId="{643645D5-A03F-43D9-8A33-817EA1ECC2BF}" dt="2020-10-16T15:12:25.361" v="96" actId="47"/>
        <pc:sldMkLst>
          <pc:docMk/>
          <pc:sldMk cId="4200580314" sldId="3433"/>
        </pc:sldMkLst>
      </pc:sldChg>
      <pc:sldChg chg="del">
        <pc:chgData name="Mariam Daniela Tristancho Pineda (PTA SAS)" userId="a45a17f7-7950-4cb5-bfab-f5c894f959a9" providerId="ADAL" clId="{643645D5-A03F-43D9-8A33-817EA1ECC2BF}" dt="2020-10-16T15:12:26.635" v="101" actId="47"/>
        <pc:sldMkLst>
          <pc:docMk/>
          <pc:sldMk cId="3125016411" sldId="3436"/>
        </pc:sldMkLst>
      </pc:sldChg>
      <pc:sldChg chg="del">
        <pc:chgData name="Mariam Daniela Tristancho Pineda (PTA SAS)" userId="a45a17f7-7950-4cb5-bfab-f5c894f959a9" providerId="ADAL" clId="{643645D5-A03F-43D9-8A33-817EA1ECC2BF}" dt="2020-10-16T15:12:30.778" v="115" actId="47"/>
        <pc:sldMkLst>
          <pc:docMk/>
          <pc:sldMk cId="196982883" sldId="3466"/>
        </pc:sldMkLst>
      </pc:sldChg>
      <pc:sldChg chg="del">
        <pc:chgData name="Mariam Daniela Tristancho Pineda (PTA SAS)" userId="a45a17f7-7950-4cb5-bfab-f5c894f959a9" providerId="ADAL" clId="{643645D5-A03F-43D9-8A33-817EA1ECC2BF}" dt="2020-10-16T15:12:31.097" v="116" actId="47"/>
        <pc:sldMkLst>
          <pc:docMk/>
          <pc:sldMk cId="46801324" sldId="3472"/>
        </pc:sldMkLst>
      </pc:sldChg>
      <pc:sldChg chg="del">
        <pc:chgData name="Mariam Daniela Tristancho Pineda (PTA SAS)" userId="a45a17f7-7950-4cb5-bfab-f5c894f959a9" providerId="ADAL" clId="{643645D5-A03F-43D9-8A33-817EA1ECC2BF}" dt="2020-10-16T15:12:30.277" v="114" actId="47"/>
        <pc:sldMkLst>
          <pc:docMk/>
          <pc:sldMk cId="3670265490" sldId="3473"/>
        </pc:sldMkLst>
      </pc:sldChg>
      <pc:sldChg chg="modSp mod">
        <pc:chgData name="Mariam Daniela Tristancho Pineda (PTA SAS)" userId="a45a17f7-7950-4cb5-bfab-f5c894f959a9" providerId="ADAL" clId="{643645D5-A03F-43D9-8A33-817EA1ECC2BF}" dt="2020-10-16T15:07:43.893" v="71" actId="20577"/>
        <pc:sldMkLst>
          <pc:docMk/>
          <pc:sldMk cId="3639736222" sldId="2134803689"/>
        </pc:sldMkLst>
        <pc:spChg chg="mod">
          <ac:chgData name="Mariam Daniela Tristancho Pineda (PTA SAS)" userId="a45a17f7-7950-4cb5-bfab-f5c894f959a9" providerId="ADAL" clId="{643645D5-A03F-43D9-8A33-817EA1ECC2BF}" dt="2020-10-16T15:07:43.893" v="71" actId="20577"/>
          <ac:spMkLst>
            <pc:docMk/>
            <pc:sldMk cId="3639736222" sldId="2134803689"/>
            <ac:spMk id="4" creationId="{4D5F0815-E5B4-4E74-8145-A182522C6A3D}"/>
          </ac:spMkLst>
        </pc:spChg>
      </pc:sldChg>
      <pc:sldChg chg="addSp delSp modSp mod">
        <pc:chgData name="Mariam Daniela Tristancho Pineda (PTA SAS)" userId="a45a17f7-7950-4cb5-bfab-f5c894f959a9" providerId="ADAL" clId="{643645D5-A03F-43D9-8A33-817EA1ECC2BF}" dt="2020-10-16T15:33:45.112" v="380" actId="1076"/>
        <pc:sldMkLst>
          <pc:docMk/>
          <pc:sldMk cId="542338739" sldId="2134803694"/>
        </pc:sldMkLst>
        <pc:picChg chg="del">
          <ac:chgData name="Mariam Daniela Tristancho Pineda (PTA SAS)" userId="a45a17f7-7950-4cb5-bfab-f5c894f959a9" providerId="ADAL" clId="{643645D5-A03F-43D9-8A33-817EA1ECC2BF}" dt="2020-10-16T15:33:38.862" v="377" actId="478"/>
          <ac:picMkLst>
            <pc:docMk/>
            <pc:sldMk cId="542338739" sldId="2134803694"/>
            <ac:picMk id="10" creationId="{D6E10809-3AFF-4925-9A53-84B2AE2D7FF4}"/>
          </ac:picMkLst>
        </pc:picChg>
        <pc:picChg chg="add mod">
          <ac:chgData name="Mariam Daniela Tristancho Pineda (PTA SAS)" userId="a45a17f7-7950-4cb5-bfab-f5c894f959a9" providerId="ADAL" clId="{643645D5-A03F-43D9-8A33-817EA1ECC2BF}" dt="2020-10-16T15:33:45.112" v="380" actId="1076"/>
          <ac:picMkLst>
            <pc:docMk/>
            <pc:sldMk cId="542338739" sldId="2134803694"/>
            <ac:picMk id="17" creationId="{60455EE7-79C3-4714-AC41-B22D40CDE785}"/>
          </ac:picMkLst>
        </pc:picChg>
      </pc:sldChg>
      <pc:sldChg chg="modSp add">
        <pc:chgData name="Mariam Daniela Tristancho Pineda (PTA SAS)" userId="a45a17f7-7950-4cb5-bfab-f5c894f959a9" providerId="ADAL" clId="{643645D5-A03F-43D9-8A33-817EA1ECC2BF}" dt="2020-10-19T12:49:25.611" v="688" actId="1076"/>
        <pc:sldMkLst>
          <pc:docMk/>
          <pc:sldMk cId="3848763952" sldId="2134803904"/>
        </pc:sldMkLst>
        <pc:spChg chg="mod">
          <ac:chgData name="Mariam Daniela Tristancho Pineda (PTA SAS)" userId="a45a17f7-7950-4cb5-bfab-f5c894f959a9" providerId="ADAL" clId="{643645D5-A03F-43D9-8A33-817EA1ECC2BF}" dt="2020-10-19T12:49:25.611" v="688" actId="1076"/>
          <ac:spMkLst>
            <pc:docMk/>
            <pc:sldMk cId="3848763952" sldId="2134803904"/>
            <ac:spMk id="38" creationId="{F58C5913-CCA0-4E48-91A9-3C716BE31230}"/>
          </ac:spMkLst>
        </pc:spChg>
      </pc:sldChg>
      <pc:sldChg chg="del">
        <pc:chgData name="Mariam Daniela Tristancho Pineda (PTA SAS)" userId="a45a17f7-7950-4cb5-bfab-f5c894f959a9" providerId="ADAL" clId="{643645D5-A03F-43D9-8A33-817EA1ECC2BF}" dt="2020-10-16T15:12:36.102" v="127" actId="47"/>
        <pc:sldMkLst>
          <pc:docMk/>
          <pc:sldMk cId="395424355" sldId="2134804070"/>
        </pc:sldMkLst>
      </pc:sldChg>
      <pc:sldChg chg="del">
        <pc:chgData name="Mariam Daniela Tristancho Pineda (PTA SAS)" userId="a45a17f7-7950-4cb5-bfab-f5c894f959a9" providerId="ADAL" clId="{643645D5-A03F-43D9-8A33-817EA1ECC2BF}" dt="2020-10-16T15:12:35.718" v="126" actId="47"/>
        <pc:sldMkLst>
          <pc:docMk/>
          <pc:sldMk cId="446426025" sldId="2134804071"/>
        </pc:sldMkLst>
      </pc:sldChg>
      <pc:sldChg chg="del">
        <pc:chgData name="Mariam Daniela Tristancho Pineda (PTA SAS)" userId="a45a17f7-7950-4cb5-bfab-f5c894f959a9" providerId="ADAL" clId="{643645D5-A03F-43D9-8A33-817EA1ECC2BF}" dt="2020-10-16T15:12:34.791" v="123" actId="47"/>
        <pc:sldMkLst>
          <pc:docMk/>
          <pc:sldMk cId="2724062261" sldId="2134804072"/>
        </pc:sldMkLst>
      </pc:sldChg>
      <pc:sldChg chg="del">
        <pc:chgData name="Mariam Daniela Tristancho Pineda (PTA SAS)" userId="a45a17f7-7950-4cb5-bfab-f5c894f959a9" providerId="ADAL" clId="{643645D5-A03F-43D9-8A33-817EA1ECC2BF}" dt="2020-10-16T15:12:35.615" v="125" actId="47"/>
        <pc:sldMkLst>
          <pc:docMk/>
          <pc:sldMk cId="2375134941" sldId="2134804073"/>
        </pc:sldMkLst>
      </pc:sldChg>
      <pc:sldChg chg="addSp delSp modSp del mod">
        <pc:chgData name="Mariam Daniela Tristancho Pineda (PTA SAS)" userId="a45a17f7-7950-4cb5-bfab-f5c894f959a9" providerId="ADAL" clId="{643645D5-A03F-43D9-8A33-817EA1ECC2BF}" dt="2020-10-19T12:49:20.139" v="687" actId="47"/>
        <pc:sldMkLst>
          <pc:docMk/>
          <pc:sldMk cId="1031404069" sldId="2134804123"/>
        </pc:sldMkLst>
        <pc:spChg chg="add del mod">
          <ac:chgData name="Mariam Daniela Tristancho Pineda (PTA SAS)" userId="a45a17f7-7950-4cb5-bfab-f5c894f959a9" providerId="ADAL" clId="{643645D5-A03F-43D9-8A33-817EA1ECC2BF}" dt="2020-10-16T15:13:27.055" v="132"/>
          <ac:spMkLst>
            <pc:docMk/>
            <pc:sldMk cId="1031404069" sldId="2134804123"/>
            <ac:spMk id="2" creationId="{3117A075-30B3-428E-AC20-BB31EC20E59B}"/>
          </ac:spMkLst>
        </pc:spChg>
        <pc:spChg chg="add mod">
          <ac:chgData name="Mariam Daniela Tristancho Pineda (PTA SAS)" userId="a45a17f7-7950-4cb5-bfab-f5c894f959a9" providerId="ADAL" clId="{643645D5-A03F-43D9-8A33-817EA1ECC2BF}" dt="2020-10-16T15:14:35.301" v="143" actId="13926"/>
          <ac:spMkLst>
            <pc:docMk/>
            <pc:sldMk cId="1031404069" sldId="2134804123"/>
            <ac:spMk id="5" creationId="{45D94BC8-7611-4089-BB73-1299A74F1D88}"/>
          </ac:spMkLst>
        </pc:spChg>
      </pc:sldChg>
      <pc:sldChg chg="del">
        <pc:chgData name="Mariam Daniela Tristancho Pineda (PTA SAS)" userId="a45a17f7-7950-4cb5-bfab-f5c894f959a9" providerId="ADAL" clId="{643645D5-A03F-43D9-8A33-817EA1ECC2BF}" dt="2020-10-16T15:35:17.477" v="381" actId="47"/>
        <pc:sldMkLst>
          <pc:docMk/>
          <pc:sldMk cId="2538609344" sldId="2134804169"/>
        </pc:sldMkLst>
      </pc:sldChg>
      <pc:sldChg chg="del">
        <pc:chgData name="Mariam Daniela Tristancho Pineda (PTA SAS)" userId="a45a17f7-7950-4cb5-bfab-f5c894f959a9" providerId="ADAL" clId="{643645D5-A03F-43D9-8A33-817EA1ECC2BF}" dt="2020-10-16T15:12:28.946" v="109" actId="47"/>
        <pc:sldMkLst>
          <pc:docMk/>
          <pc:sldMk cId="4121589136" sldId="2134804280"/>
        </pc:sldMkLst>
      </pc:sldChg>
      <pc:sldChg chg="addSp delSp modSp add mod">
        <pc:chgData name="Mariam Daniela Tristancho Pineda (PTA SAS)" userId="a45a17f7-7950-4cb5-bfab-f5c894f959a9" providerId="ADAL" clId="{643645D5-A03F-43D9-8A33-817EA1ECC2BF}" dt="2020-10-16T15:25:53.768" v="299" actId="1076"/>
        <pc:sldMkLst>
          <pc:docMk/>
          <pc:sldMk cId="838099151" sldId="2134804292"/>
        </pc:sldMkLst>
        <pc:spChg chg="mod">
          <ac:chgData name="Mariam Daniela Tristancho Pineda (PTA SAS)" userId="a45a17f7-7950-4cb5-bfab-f5c894f959a9" providerId="ADAL" clId="{643645D5-A03F-43D9-8A33-817EA1ECC2BF}" dt="2020-10-16T15:25:33.032" v="290" actId="1076"/>
          <ac:spMkLst>
            <pc:docMk/>
            <pc:sldMk cId="838099151" sldId="2134804292"/>
            <ac:spMk id="7" creationId="{52FE2391-690B-4D13-B0BE-AD54BD4AFEAA}"/>
          </ac:spMkLst>
        </pc:spChg>
        <pc:spChg chg="add mod">
          <ac:chgData name="Mariam Daniela Tristancho Pineda (PTA SAS)" userId="a45a17f7-7950-4cb5-bfab-f5c894f959a9" providerId="ADAL" clId="{643645D5-A03F-43D9-8A33-817EA1ECC2BF}" dt="2020-10-16T15:25:53.768" v="299" actId="1076"/>
          <ac:spMkLst>
            <pc:docMk/>
            <pc:sldMk cId="838099151" sldId="2134804292"/>
            <ac:spMk id="10" creationId="{52B3D7FA-BA10-4048-AAC6-55DE52959C34}"/>
          </ac:spMkLst>
        </pc:spChg>
        <pc:spChg chg="add del mod">
          <ac:chgData name="Mariam Daniela Tristancho Pineda (PTA SAS)" userId="a45a17f7-7950-4cb5-bfab-f5c894f959a9" providerId="ADAL" clId="{643645D5-A03F-43D9-8A33-817EA1ECC2BF}" dt="2020-10-16T15:22:27.791" v="231" actId="478"/>
          <ac:spMkLst>
            <pc:docMk/>
            <pc:sldMk cId="838099151" sldId="2134804292"/>
            <ac:spMk id="14" creationId="{49DCB055-A453-4EF3-B2C0-9C42F539BD36}"/>
          </ac:spMkLst>
        </pc:spChg>
        <pc:spChg chg="add del mod">
          <ac:chgData name="Mariam Daniela Tristancho Pineda (PTA SAS)" userId="a45a17f7-7950-4cb5-bfab-f5c894f959a9" providerId="ADAL" clId="{643645D5-A03F-43D9-8A33-817EA1ECC2BF}" dt="2020-10-16T15:22:24.043" v="230" actId="478"/>
          <ac:spMkLst>
            <pc:docMk/>
            <pc:sldMk cId="838099151" sldId="2134804292"/>
            <ac:spMk id="17" creationId="{1829402C-C89A-4742-BF80-9851178A46E9}"/>
          </ac:spMkLst>
        </pc:spChg>
        <pc:spChg chg="mod">
          <ac:chgData name="Mariam Daniela Tristancho Pineda (PTA SAS)" userId="a45a17f7-7950-4cb5-bfab-f5c894f959a9" providerId="ADAL" clId="{643645D5-A03F-43D9-8A33-817EA1ECC2BF}" dt="2020-10-16T15:24:46.722" v="254" actId="14100"/>
          <ac:spMkLst>
            <pc:docMk/>
            <pc:sldMk cId="838099151" sldId="2134804292"/>
            <ac:spMk id="50" creationId="{5AEE6479-611C-4B25-9D86-68C74F4E6840}"/>
          </ac:spMkLst>
        </pc:spChg>
        <pc:spChg chg="mod">
          <ac:chgData name="Mariam Daniela Tristancho Pineda (PTA SAS)" userId="a45a17f7-7950-4cb5-bfab-f5c894f959a9" providerId="ADAL" clId="{643645D5-A03F-43D9-8A33-817EA1ECC2BF}" dt="2020-10-16T15:23:28.265" v="247" actId="1076"/>
          <ac:spMkLst>
            <pc:docMk/>
            <pc:sldMk cId="838099151" sldId="2134804292"/>
            <ac:spMk id="52" creationId="{2AD1363D-77A4-4B18-8087-0B267A4558ED}"/>
          </ac:spMkLst>
        </pc:spChg>
        <pc:spChg chg="del">
          <ac:chgData name="Mariam Daniela Tristancho Pineda (PTA SAS)" userId="a45a17f7-7950-4cb5-bfab-f5c894f959a9" providerId="ADAL" clId="{643645D5-A03F-43D9-8A33-817EA1ECC2BF}" dt="2020-10-16T15:18:58.637" v="171" actId="478"/>
          <ac:spMkLst>
            <pc:docMk/>
            <pc:sldMk cId="838099151" sldId="2134804292"/>
            <ac:spMk id="53" creationId="{F9C857D3-C5F6-4D00-8D9C-646D1DA60918}"/>
          </ac:spMkLst>
        </pc:spChg>
        <pc:spChg chg="mod">
          <ac:chgData name="Mariam Daniela Tristancho Pineda (PTA SAS)" userId="a45a17f7-7950-4cb5-bfab-f5c894f959a9" providerId="ADAL" clId="{643645D5-A03F-43D9-8A33-817EA1ECC2BF}" dt="2020-10-16T15:23:31.785" v="248" actId="1076"/>
          <ac:spMkLst>
            <pc:docMk/>
            <pc:sldMk cId="838099151" sldId="2134804292"/>
            <ac:spMk id="56" creationId="{4F0BB8E1-0E03-4A52-9BB1-7AC2ED86FFBE}"/>
          </ac:spMkLst>
        </pc:spChg>
        <pc:spChg chg="mod">
          <ac:chgData name="Mariam Daniela Tristancho Pineda (PTA SAS)" userId="a45a17f7-7950-4cb5-bfab-f5c894f959a9" providerId="ADAL" clId="{643645D5-A03F-43D9-8A33-817EA1ECC2BF}" dt="2020-10-16T15:23:34.608" v="249" actId="1076"/>
          <ac:spMkLst>
            <pc:docMk/>
            <pc:sldMk cId="838099151" sldId="2134804292"/>
            <ac:spMk id="59" creationId="{97F69600-5EC2-415F-899E-3158E1DD0E4E}"/>
          </ac:spMkLst>
        </pc:spChg>
        <pc:spChg chg="mod">
          <ac:chgData name="Mariam Daniela Tristancho Pineda (PTA SAS)" userId="a45a17f7-7950-4cb5-bfab-f5c894f959a9" providerId="ADAL" clId="{643645D5-A03F-43D9-8A33-817EA1ECC2BF}" dt="2020-10-16T15:22:51.173" v="239" actId="20577"/>
          <ac:spMkLst>
            <pc:docMk/>
            <pc:sldMk cId="838099151" sldId="2134804292"/>
            <ac:spMk id="68" creationId="{1E9FFA51-5316-41A7-8371-6FF614BF6768}"/>
          </ac:spMkLst>
        </pc:spChg>
        <pc:spChg chg="mod">
          <ac:chgData name="Mariam Daniela Tristancho Pineda (PTA SAS)" userId="a45a17f7-7950-4cb5-bfab-f5c894f959a9" providerId="ADAL" clId="{643645D5-A03F-43D9-8A33-817EA1ECC2BF}" dt="2020-10-16T15:23:17.948" v="245" actId="1036"/>
          <ac:spMkLst>
            <pc:docMk/>
            <pc:sldMk cId="838099151" sldId="2134804292"/>
            <ac:spMk id="96" creationId="{7B02AB4C-AF68-4F54-A894-07E00267D5F8}"/>
          </ac:spMkLst>
        </pc:spChg>
        <pc:spChg chg="mod">
          <ac:chgData name="Mariam Daniela Tristancho Pineda (PTA SAS)" userId="a45a17f7-7950-4cb5-bfab-f5c894f959a9" providerId="ADAL" clId="{643645D5-A03F-43D9-8A33-817EA1ECC2BF}" dt="2020-10-16T15:23:21.449" v="246" actId="14100"/>
          <ac:spMkLst>
            <pc:docMk/>
            <pc:sldMk cId="838099151" sldId="2134804292"/>
            <ac:spMk id="98" creationId="{E063C35E-5F1D-47CE-B7FD-7A60EAA52B74}"/>
          </ac:spMkLst>
        </pc:spChg>
        <pc:spChg chg="mod">
          <ac:chgData name="Mariam Daniela Tristancho Pineda (PTA SAS)" userId="a45a17f7-7950-4cb5-bfab-f5c894f959a9" providerId="ADAL" clId="{643645D5-A03F-43D9-8A33-817EA1ECC2BF}" dt="2020-10-16T15:23:46.649" v="251" actId="20577"/>
          <ac:spMkLst>
            <pc:docMk/>
            <pc:sldMk cId="838099151" sldId="2134804292"/>
            <ac:spMk id="99" creationId="{90CC82AC-D82E-4F89-AC67-093894759099}"/>
          </ac:spMkLst>
        </pc:spChg>
        <pc:spChg chg="mod">
          <ac:chgData name="Mariam Daniela Tristancho Pineda (PTA SAS)" userId="a45a17f7-7950-4cb5-bfab-f5c894f959a9" providerId="ADAL" clId="{643645D5-A03F-43D9-8A33-817EA1ECC2BF}" dt="2020-10-16T15:20:07.023" v="201" actId="20577"/>
          <ac:spMkLst>
            <pc:docMk/>
            <pc:sldMk cId="838099151" sldId="2134804292"/>
            <ac:spMk id="102" creationId="{101F3273-AA10-47F1-9872-07AD50130DF5}"/>
          </ac:spMkLst>
        </pc:spChg>
        <pc:spChg chg="mod">
          <ac:chgData name="Mariam Daniela Tristancho Pineda (PTA SAS)" userId="a45a17f7-7950-4cb5-bfab-f5c894f959a9" providerId="ADAL" clId="{643645D5-A03F-43D9-8A33-817EA1ECC2BF}" dt="2020-10-16T15:23:17.948" v="245" actId="1036"/>
          <ac:spMkLst>
            <pc:docMk/>
            <pc:sldMk cId="838099151" sldId="2134804292"/>
            <ac:spMk id="118" creationId="{64EFC33F-DCB8-4E12-BB79-FF971CD49817}"/>
          </ac:spMkLst>
        </pc:spChg>
        <pc:spChg chg="mod">
          <ac:chgData name="Mariam Daniela Tristancho Pineda (PTA SAS)" userId="a45a17f7-7950-4cb5-bfab-f5c894f959a9" providerId="ADAL" clId="{643645D5-A03F-43D9-8A33-817EA1ECC2BF}" dt="2020-10-16T15:23:17.948" v="245" actId="1036"/>
          <ac:spMkLst>
            <pc:docMk/>
            <pc:sldMk cId="838099151" sldId="2134804292"/>
            <ac:spMk id="119" creationId="{40F388FF-A98F-46DD-AEF0-8BF6E1D359D0}"/>
          </ac:spMkLst>
        </pc:spChg>
        <pc:spChg chg="mod">
          <ac:chgData name="Mariam Daniela Tristancho Pineda (PTA SAS)" userId="a45a17f7-7950-4cb5-bfab-f5c894f959a9" providerId="ADAL" clId="{643645D5-A03F-43D9-8A33-817EA1ECC2BF}" dt="2020-10-16T15:23:17.948" v="245" actId="1036"/>
          <ac:spMkLst>
            <pc:docMk/>
            <pc:sldMk cId="838099151" sldId="2134804292"/>
            <ac:spMk id="120" creationId="{C7385631-F46B-4467-A200-320CE070B85F}"/>
          </ac:spMkLst>
        </pc:spChg>
      </pc:sldChg>
      <pc:sldChg chg="addSp delSp modSp add mod">
        <pc:chgData name="Mariam Daniela Tristancho Pineda (PTA SAS)" userId="a45a17f7-7950-4cb5-bfab-f5c894f959a9" providerId="ADAL" clId="{643645D5-A03F-43D9-8A33-817EA1ECC2BF}" dt="2020-10-16T15:27:43.224" v="359" actId="1076"/>
        <pc:sldMkLst>
          <pc:docMk/>
          <pc:sldMk cId="1822149763" sldId="2134804293"/>
        </pc:sldMkLst>
        <pc:spChg chg="add mod">
          <ac:chgData name="Mariam Daniela Tristancho Pineda (PTA SAS)" userId="a45a17f7-7950-4cb5-bfab-f5c894f959a9" providerId="ADAL" clId="{643645D5-A03F-43D9-8A33-817EA1ECC2BF}" dt="2020-10-16T15:27:39.233" v="358" actId="255"/>
          <ac:spMkLst>
            <pc:docMk/>
            <pc:sldMk cId="1822149763" sldId="2134804293"/>
            <ac:spMk id="3" creationId="{B2CC9CCD-C9DB-42E7-A6F6-250ECEA52ED5}"/>
          </ac:spMkLst>
        </pc:spChg>
        <pc:spChg chg="del">
          <ac:chgData name="Mariam Daniela Tristancho Pineda (PTA SAS)" userId="a45a17f7-7950-4cb5-bfab-f5c894f959a9" providerId="ADAL" clId="{643645D5-A03F-43D9-8A33-817EA1ECC2BF}" dt="2020-10-16T15:26:29.488" v="313" actId="478"/>
          <ac:spMkLst>
            <pc:docMk/>
            <pc:sldMk cId="1822149763" sldId="2134804293"/>
            <ac:spMk id="4" creationId="{C47780CB-210E-480D-AF15-355BDC7F6E93}"/>
          </ac:spMkLst>
        </pc:spChg>
        <pc:spChg chg="mod">
          <ac:chgData name="Mariam Daniela Tristancho Pineda (PTA SAS)" userId="a45a17f7-7950-4cb5-bfab-f5c894f959a9" providerId="ADAL" clId="{643645D5-A03F-43D9-8A33-817EA1ECC2BF}" dt="2020-10-16T15:27:43.224" v="359" actId="1076"/>
          <ac:spMkLst>
            <pc:docMk/>
            <pc:sldMk cId="1822149763" sldId="2134804293"/>
            <ac:spMk id="5" creationId="{60144380-CBE4-4263-86E5-F4A7E5CEC0BB}"/>
          </ac:spMkLst>
        </pc:spChg>
        <pc:spChg chg="mod">
          <ac:chgData name="Mariam Daniela Tristancho Pineda (PTA SAS)" userId="a45a17f7-7950-4cb5-bfab-f5c894f959a9" providerId="ADAL" clId="{643645D5-A03F-43D9-8A33-817EA1ECC2BF}" dt="2020-10-16T15:27:03.055" v="350" actId="403"/>
          <ac:spMkLst>
            <pc:docMk/>
            <pc:sldMk cId="1822149763" sldId="2134804293"/>
            <ac:spMk id="6" creationId="{935E60B3-FFBE-4EF9-967C-09104A4E6C2E}"/>
          </ac:spMkLst>
        </pc:spChg>
        <pc:spChg chg="mod">
          <ac:chgData name="Mariam Daniela Tristancho Pineda (PTA SAS)" userId="a45a17f7-7950-4cb5-bfab-f5c894f959a9" providerId="ADAL" clId="{643645D5-A03F-43D9-8A33-817EA1ECC2BF}" dt="2020-10-16T15:26:58.536" v="349" actId="403"/>
          <ac:spMkLst>
            <pc:docMk/>
            <pc:sldMk cId="1822149763" sldId="2134804293"/>
            <ac:spMk id="7" creationId="{49F21896-A687-4F29-8499-091C5F1FE377}"/>
          </ac:spMkLst>
        </pc:spChg>
        <pc:spChg chg="mod">
          <ac:chgData name="Mariam Daniela Tristancho Pineda (PTA SAS)" userId="a45a17f7-7950-4cb5-bfab-f5c894f959a9" providerId="ADAL" clId="{643645D5-A03F-43D9-8A33-817EA1ECC2BF}" dt="2020-10-16T15:27:03.055" v="350" actId="403"/>
          <ac:spMkLst>
            <pc:docMk/>
            <pc:sldMk cId="1822149763" sldId="2134804293"/>
            <ac:spMk id="8" creationId="{81A81C5F-F714-4D52-A962-FC37F5FDCEB1}"/>
          </ac:spMkLst>
        </pc:spChg>
        <pc:spChg chg="mod">
          <ac:chgData name="Mariam Daniela Tristancho Pineda (PTA SAS)" userId="a45a17f7-7950-4cb5-bfab-f5c894f959a9" providerId="ADAL" clId="{643645D5-A03F-43D9-8A33-817EA1ECC2BF}" dt="2020-10-16T15:26:58.536" v="349" actId="403"/>
          <ac:spMkLst>
            <pc:docMk/>
            <pc:sldMk cId="1822149763" sldId="2134804293"/>
            <ac:spMk id="9" creationId="{584AA256-4158-427B-9200-1F1C0296A486}"/>
          </ac:spMkLst>
        </pc:spChg>
        <pc:spChg chg="mod">
          <ac:chgData name="Mariam Daniela Tristancho Pineda (PTA SAS)" userId="a45a17f7-7950-4cb5-bfab-f5c894f959a9" providerId="ADAL" clId="{643645D5-A03F-43D9-8A33-817EA1ECC2BF}" dt="2020-10-16T15:27:03.055" v="350" actId="403"/>
          <ac:spMkLst>
            <pc:docMk/>
            <pc:sldMk cId="1822149763" sldId="2134804293"/>
            <ac:spMk id="10" creationId="{4EF69960-2302-4C37-B17A-2E116254781D}"/>
          </ac:spMkLst>
        </pc:spChg>
        <pc:spChg chg="mod">
          <ac:chgData name="Mariam Daniela Tristancho Pineda (PTA SAS)" userId="a45a17f7-7950-4cb5-bfab-f5c894f959a9" providerId="ADAL" clId="{643645D5-A03F-43D9-8A33-817EA1ECC2BF}" dt="2020-10-16T15:26:58.536" v="349" actId="403"/>
          <ac:spMkLst>
            <pc:docMk/>
            <pc:sldMk cId="1822149763" sldId="2134804293"/>
            <ac:spMk id="11" creationId="{BE3FDB33-82DE-49B7-85B7-9476B27F9C30}"/>
          </ac:spMkLst>
        </pc:spChg>
        <pc:spChg chg="mod">
          <ac:chgData name="Mariam Daniela Tristancho Pineda (PTA SAS)" userId="a45a17f7-7950-4cb5-bfab-f5c894f959a9" providerId="ADAL" clId="{643645D5-A03F-43D9-8A33-817EA1ECC2BF}" dt="2020-10-16T15:27:12.192" v="352" actId="1076"/>
          <ac:spMkLst>
            <pc:docMk/>
            <pc:sldMk cId="1822149763" sldId="2134804293"/>
            <ac:spMk id="18" creationId="{B5FA47DF-667C-4E6C-9D12-E5E5CEA490D8}"/>
          </ac:spMkLst>
        </pc:spChg>
        <pc:picChg chg="mod">
          <ac:chgData name="Mariam Daniela Tristancho Pineda (PTA SAS)" userId="a45a17f7-7950-4cb5-bfab-f5c894f959a9" providerId="ADAL" clId="{643645D5-A03F-43D9-8A33-817EA1ECC2BF}" dt="2020-10-16T15:27:19.658" v="353" actId="14100"/>
          <ac:picMkLst>
            <pc:docMk/>
            <pc:sldMk cId="1822149763" sldId="2134804293"/>
            <ac:picMk id="19" creationId="{5D90D1B2-2CBD-4FED-8155-3C080DC03FC0}"/>
          </ac:picMkLst>
        </pc:picChg>
        <pc:picChg chg="mod">
          <ac:chgData name="Mariam Daniela Tristancho Pineda (PTA SAS)" userId="a45a17f7-7950-4cb5-bfab-f5c894f959a9" providerId="ADAL" clId="{643645D5-A03F-43D9-8A33-817EA1ECC2BF}" dt="2020-10-16T15:27:08.950" v="351" actId="1076"/>
          <ac:picMkLst>
            <pc:docMk/>
            <pc:sldMk cId="1822149763" sldId="2134804293"/>
            <ac:picMk id="21" creationId="{802D394E-E061-44FF-8816-DDC7B1B331B1}"/>
          </ac:picMkLst>
        </pc:picChg>
      </pc:sldChg>
      <pc:sldChg chg="add del">
        <pc:chgData name="Mariam Daniela Tristancho Pineda (PTA SAS)" userId="a45a17f7-7950-4cb5-bfab-f5c894f959a9" providerId="ADAL" clId="{643645D5-A03F-43D9-8A33-817EA1ECC2BF}" dt="2020-10-16T15:25:37.495" v="291" actId="47"/>
        <pc:sldMkLst>
          <pc:docMk/>
          <pc:sldMk cId="2857089145" sldId="2134804311"/>
        </pc:sldMkLst>
      </pc:sldChg>
      <pc:sldChg chg="addSp delSp modSp add mod">
        <pc:chgData name="Mariam Daniela Tristancho Pineda (PTA SAS)" userId="a45a17f7-7950-4cb5-bfab-f5c894f959a9" providerId="ADAL" clId="{643645D5-A03F-43D9-8A33-817EA1ECC2BF}" dt="2020-10-16T15:29:10.021" v="375" actId="207"/>
        <pc:sldMkLst>
          <pc:docMk/>
          <pc:sldMk cId="2442052892" sldId="2134804385"/>
        </pc:sldMkLst>
        <pc:spChg chg="add del mod">
          <ac:chgData name="Mariam Daniela Tristancho Pineda (PTA SAS)" userId="a45a17f7-7950-4cb5-bfab-f5c894f959a9" providerId="ADAL" clId="{643645D5-A03F-43D9-8A33-817EA1ECC2BF}" dt="2020-10-16T15:29:01.715" v="372" actId="478"/>
          <ac:spMkLst>
            <pc:docMk/>
            <pc:sldMk cId="2442052892" sldId="2134804385"/>
            <ac:spMk id="2" creationId="{74501559-3F2D-4F46-AC3E-42C908DFB7E1}"/>
          </ac:spMkLst>
        </pc:spChg>
        <pc:spChg chg="mod">
          <ac:chgData name="Mariam Daniela Tristancho Pineda (PTA SAS)" userId="a45a17f7-7950-4cb5-bfab-f5c894f959a9" providerId="ADAL" clId="{643645D5-A03F-43D9-8A33-817EA1ECC2BF}" dt="2020-10-16T15:16:30.978" v="165" actId="1076"/>
          <ac:spMkLst>
            <pc:docMk/>
            <pc:sldMk cId="2442052892" sldId="2134804385"/>
            <ac:spMk id="3" creationId="{F68A17DE-3ACC-4C72-8ED3-CE0F518FDBA1}"/>
          </ac:spMkLst>
        </pc:spChg>
        <pc:spChg chg="add mod">
          <ac:chgData name="Mariam Daniela Tristancho Pineda (PTA SAS)" userId="a45a17f7-7950-4cb5-bfab-f5c894f959a9" providerId="ADAL" clId="{643645D5-A03F-43D9-8A33-817EA1ECC2BF}" dt="2020-10-16T15:29:10.021" v="375" actId="207"/>
          <ac:spMkLst>
            <pc:docMk/>
            <pc:sldMk cId="2442052892" sldId="2134804385"/>
            <ac:spMk id="4" creationId="{4C93CE0B-EF45-478B-8DCA-C1E8740F7EF0}"/>
          </ac:spMkLst>
        </pc:spChg>
        <pc:picChg chg="mod">
          <ac:chgData name="Mariam Daniela Tristancho Pineda (PTA SAS)" userId="a45a17f7-7950-4cb5-bfab-f5c894f959a9" providerId="ADAL" clId="{643645D5-A03F-43D9-8A33-817EA1ECC2BF}" dt="2020-10-16T15:16:18.973" v="163" actId="1076"/>
          <ac:picMkLst>
            <pc:docMk/>
            <pc:sldMk cId="2442052892" sldId="2134804385"/>
            <ac:picMk id="11" creationId="{10789741-94CF-4122-8E3F-04D78FB6211E}"/>
          </ac:picMkLst>
        </pc:picChg>
        <pc:picChg chg="mod">
          <ac:chgData name="Mariam Daniela Tristancho Pineda (PTA SAS)" userId="a45a17f7-7950-4cb5-bfab-f5c894f959a9" providerId="ADAL" clId="{643645D5-A03F-43D9-8A33-817EA1ECC2BF}" dt="2020-10-16T15:27:58.316" v="370" actId="1036"/>
          <ac:picMkLst>
            <pc:docMk/>
            <pc:sldMk cId="2442052892" sldId="2134804385"/>
            <ac:picMk id="16" creationId="{0F43BEF8-56CE-4D0A-A3BC-3AD0FCE19BFF}"/>
          </ac:picMkLst>
        </pc:picChg>
        <pc:picChg chg="mod">
          <ac:chgData name="Mariam Daniela Tristancho Pineda (PTA SAS)" userId="a45a17f7-7950-4cb5-bfab-f5c894f959a9" providerId="ADAL" clId="{643645D5-A03F-43D9-8A33-817EA1ECC2BF}" dt="2020-10-16T15:27:58.316" v="370" actId="1036"/>
          <ac:picMkLst>
            <pc:docMk/>
            <pc:sldMk cId="2442052892" sldId="2134804385"/>
            <ac:picMk id="21" creationId="{926A4ABC-B403-41BD-B93A-8D5B4A44D5E9}"/>
          </ac:picMkLst>
        </pc:picChg>
        <pc:picChg chg="mod">
          <ac:chgData name="Mariam Daniela Tristancho Pineda (PTA SAS)" userId="a45a17f7-7950-4cb5-bfab-f5c894f959a9" providerId="ADAL" clId="{643645D5-A03F-43D9-8A33-817EA1ECC2BF}" dt="2020-10-16T15:16:15.748" v="162" actId="1076"/>
          <ac:picMkLst>
            <pc:docMk/>
            <pc:sldMk cId="2442052892" sldId="2134804385"/>
            <ac:picMk id="24" creationId="{52FFAAE8-1A98-4ABC-A0BB-5701A658FC9C}"/>
          </ac:picMkLst>
        </pc:picChg>
        <pc:cxnChg chg="mod">
          <ac:chgData name="Mariam Daniela Tristancho Pineda (PTA SAS)" userId="a45a17f7-7950-4cb5-bfab-f5c894f959a9" providerId="ADAL" clId="{643645D5-A03F-43D9-8A33-817EA1ECC2BF}" dt="2020-10-16T15:15:58.413" v="158" actId="1036"/>
          <ac:cxnSpMkLst>
            <pc:docMk/>
            <pc:sldMk cId="2442052892" sldId="2134804385"/>
            <ac:cxnSpMk id="9" creationId="{96370D2B-2C99-47FB-977A-1BACABA0448E}"/>
          </ac:cxnSpMkLst>
        </pc:cxnChg>
        <pc:cxnChg chg="mod">
          <ac:chgData name="Mariam Daniela Tristancho Pineda (PTA SAS)" userId="a45a17f7-7950-4cb5-bfab-f5c894f959a9" providerId="ADAL" clId="{643645D5-A03F-43D9-8A33-817EA1ECC2BF}" dt="2020-10-16T15:15:58.413" v="158" actId="1036"/>
          <ac:cxnSpMkLst>
            <pc:docMk/>
            <pc:sldMk cId="2442052892" sldId="2134804385"/>
            <ac:cxnSpMk id="17" creationId="{A57EE03D-AD0E-42FF-8004-ACF44D511717}"/>
          </ac:cxnSpMkLst>
        </pc:cxnChg>
      </pc:sldChg>
      <pc:sldChg chg="del">
        <pc:chgData name="Mariam Daniela Tristancho Pineda (PTA SAS)" userId="a45a17f7-7950-4cb5-bfab-f5c894f959a9" providerId="ADAL" clId="{643645D5-A03F-43D9-8A33-817EA1ECC2BF}" dt="2020-10-16T15:15:51.466" v="144" actId="47"/>
        <pc:sldMkLst>
          <pc:docMk/>
          <pc:sldMk cId="3371544068" sldId="2134804419"/>
        </pc:sldMkLst>
      </pc:sldChg>
      <pc:sldChg chg="addSp delSp modSp mod">
        <pc:chgData name="Mariam Daniela Tristancho Pineda (PTA SAS)" userId="a45a17f7-7950-4cb5-bfab-f5c894f959a9" providerId="ADAL" clId="{643645D5-A03F-43D9-8A33-817EA1ECC2BF}" dt="2020-10-16T15:10:04.726" v="89" actId="14100"/>
        <pc:sldMkLst>
          <pc:docMk/>
          <pc:sldMk cId="1824368250" sldId="2134804430"/>
        </pc:sldMkLst>
        <pc:picChg chg="add mod">
          <ac:chgData name="Mariam Daniela Tristancho Pineda (PTA SAS)" userId="a45a17f7-7950-4cb5-bfab-f5c894f959a9" providerId="ADAL" clId="{643645D5-A03F-43D9-8A33-817EA1ECC2BF}" dt="2020-10-16T15:10:04.726" v="89" actId="14100"/>
          <ac:picMkLst>
            <pc:docMk/>
            <pc:sldMk cId="1824368250" sldId="2134804430"/>
            <ac:picMk id="3" creationId="{4E0DC0D8-EE90-46CF-B1EB-A222BC48C74F}"/>
          </ac:picMkLst>
        </pc:picChg>
        <pc:picChg chg="del">
          <ac:chgData name="Mariam Daniela Tristancho Pineda (PTA SAS)" userId="a45a17f7-7950-4cb5-bfab-f5c894f959a9" providerId="ADAL" clId="{643645D5-A03F-43D9-8A33-817EA1ECC2BF}" dt="2020-10-16T15:09:59.877" v="87" actId="478"/>
          <ac:picMkLst>
            <pc:docMk/>
            <pc:sldMk cId="1824368250" sldId="2134804430"/>
            <ac:picMk id="8" creationId="{692A4DBB-E488-4121-B0BE-564D6FD786EC}"/>
          </ac:picMkLst>
        </pc:picChg>
      </pc:sldChg>
      <pc:sldChg chg="modSp add del mod">
        <pc:chgData name="Mariam Daniela Tristancho Pineda (PTA SAS)" userId="a45a17f7-7950-4cb5-bfab-f5c894f959a9" providerId="ADAL" clId="{643645D5-A03F-43D9-8A33-817EA1ECC2BF}" dt="2020-10-16T15:27:44.785" v="360" actId="47"/>
        <pc:sldMkLst>
          <pc:docMk/>
          <pc:sldMk cId="3277803813" sldId="2134804432"/>
        </pc:sldMkLst>
        <pc:spChg chg="mod">
          <ac:chgData name="Mariam Daniela Tristancho Pineda (PTA SAS)" userId="a45a17f7-7950-4cb5-bfab-f5c894f959a9" providerId="ADAL" clId="{643645D5-A03F-43D9-8A33-817EA1ECC2BF}" dt="2020-10-16T15:26:00.382" v="309" actId="20577"/>
          <ac:spMkLst>
            <pc:docMk/>
            <pc:sldMk cId="3277803813" sldId="2134804432"/>
            <ac:spMk id="23" creationId="{572E8F32-09B5-4BDC-BD13-0C6674C402CF}"/>
          </ac:spMkLst>
        </pc:spChg>
      </pc:sldChg>
      <pc:sldChg chg="addSp delSp mod">
        <pc:chgData name="Mariam Daniela Tristancho Pineda (PTA SAS)" userId="a45a17f7-7950-4cb5-bfab-f5c894f959a9" providerId="ADAL" clId="{643645D5-A03F-43D9-8A33-817EA1ECC2BF}" dt="2020-10-16T15:11:33.506" v="91" actId="22"/>
        <pc:sldMkLst>
          <pc:docMk/>
          <pc:sldMk cId="1658945044" sldId="2134804433"/>
        </pc:sldMkLst>
        <pc:picChg chg="add">
          <ac:chgData name="Mariam Daniela Tristancho Pineda (PTA SAS)" userId="a45a17f7-7950-4cb5-bfab-f5c894f959a9" providerId="ADAL" clId="{643645D5-A03F-43D9-8A33-817EA1ECC2BF}" dt="2020-10-16T15:11:33.506" v="91" actId="22"/>
          <ac:picMkLst>
            <pc:docMk/>
            <pc:sldMk cId="1658945044" sldId="2134804433"/>
            <ac:picMk id="3" creationId="{82DBCC50-9677-4C0F-8F91-CE8AF2C2076F}"/>
          </ac:picMkLst>
        </pc:picChg>
        <pc:picChg chg="del">
          <ac:chgData name="Mariam Daniela Tristancho Pineda (PTA SAS)" userId="a45a17f7-7950-4cb5-bfab-f5c894f959a9" providerId="ADAL" clId="{643645D5-A03F-43D9-8A33-817EA1ECC2BF}" dt="2020-10-16T15:11:32.891" v="90" actId="478"/>
          <ac:picMkLst>
            <pc:docMk/>
            <pc:sldMk cId="1658945044" sldId="2134804433"/>
            <ac:picMk id="4" creationId="{058B1686-9675-42BF-B579-6B5C03342D21}"/>
          </ac:picMkLst>
        </pc:picChg>
      </pc:sldChg>
      <pc:sldChg chg="addSp delSp modSp mod">
        <pc:chgData name="Mariam Daniela Tristancho Pineda (PTA SAS)" userId="a45a17f7-7950-4cb5-bfab-f5c894f959a9" providerId="ADAL" clId="{643645D5-A03F-43D9-8A33-817EA1ECC2BF}" dt="2020-10-16T15:12:13.485" v="95" actId="14100"/>
        <pc:sldMkLst>
          <pc:docMk/>
          <pc:sldMk cId="3766831251" sldId="2134804434"/>
        </pc:sldMkLst>
        <pc:picChg chg="add mod modCrop">
          <ac:chgData name="Mariam Daniela Tristancho Pineda (PTA SAS)" userId="a45a17f7-7950-4cb5-bfab-f5c894f959a9" providerId="ADAL" clId="{643645D5-A03F-43D9-8A33-817EA1ECC2BF}" dt="2020-10-16T15:12:13.485" v="95" actId="14100"/>
          <ac:picMkLst>
            <pc:docMk/>
            <pc:sldMk cId="3766831251" sldId="2134804434"/>
            <ac:picMk id="3" creationId="{301F4E9D-AF80-407A-857F-32DDC94021EF}"/>
          </ac:picMkLst>
        </pc:picChg>
        <pc:picChg chg="del">
          <ac:chgData name="Mariam Daniela Tristancho Pineda (PTA SAS)" userId="a45a17f7-7950-4cb5-bfab-f5c894f959a9" providerId="ADAL" clId="{643645D5-A03F-43D9-8A33-817EA1ECC2BF}" dt="2020-10-16T15:11:37.344" v="92" actId="478"/>
          <ac:picMkLst>
            <pc:docMk/>
            <pc:sldMk cId="3766831251" sldId="2134804434"/>
            <ac:picMk id="4" creationId="{D83E5857-92EB-41F1-A695-84928D9D7926}"/>
          </ac:picMkLst>
        </pc:picChg>
      </pc:sldChg>
      <pc:sldChg chg="addSp delSp modSp mod delAnim modAnim">
        <pc:chgData name="Mariam Daniela Tristancho Pineda (PTA SAS)" userId="a45a17f7-7950-4cb5-bfab-f5c894f959a9" providerId="ADAL" clId="{643645D5-A03F-43D9-8A33-817EA1ECC2BF}" dt="2020-10-16T19:03:54.469" v="685"/>
        <pc:sldMkLst>
          <pc:docMk/>
          <pc:sldMk cId="459037398" sldId="2134804438"/>
        </pc:sldMkLst>
        <pc:picChg chg="del">
          <ac:chgData name="Mariam Daniela Tristancho Pineda (PTA SAS)" userId="a45a17f7-7950-4cb5-bfab-f5c894f959a9" providerId="ADAL" clId="{643645D5-A03F-43D9-8A33-817EA1ECC2BF}" dt="2020-10-16T19:03:46.501" v="684" actId="478"/>
          <ac:picMkLst>
            <pc:docMk/>
            <pc:sldMk cId="459037398" sldId="2134804438"/>
            <ac:picMk id="3" creationId="{DB083840-BD0B-4E5D-B9C8-3535B3AAB685}"/>
          </ac:picMkLst>
        </pc:picChg>
        <pc:picChg chg="add mod">
          <ac:chgData name="Mariam Daniela Tristancho Pineda (PTA SAS)" userId="a45a17f7-7950-4cb5-bfab-f5c894f959a9" providerId="ADAL" clId="{643645D5-A03F-43D9-8A33-817EA1ECC2BF}" dt="2020-10-16T19:03:54.469" v="685"/>
          <ac:picMkLst>
            <pc:docMk/>
            <pc:sldMk cId="459037398" sldId="2134804438"/>
            <ac:picMk id="4" creationId="{70371C8E-53B3-426B-95BC-2A4DC84527D9}"/>
          </ac:picMkLst>
        </pc:picChg>
      </pc:sldChg>
      <pc:sldChg chg="addSp modSp mod">
        <pc:chgData name="Mariam Daniela Tristancho Pineda (PTA SAS)" userId="a45a17f7-7950-4cb5-bfab-f5c894f959a9" providerId="ADAL" clId="{643645D5-A03F-43D9-8A33-817EA1ECC2BF}" dt="2020-10-16T15:40:05.976" v="683" actId="1076"/>
        <pc:sldMkLst>
          <pc:docMk/>
          <pc:sldMk cId="3539712875" sldId="2134804439"/>
        </pc:sldMkLst>
        <pc:spChg chg="add mod">
          <ac:chgData name="Mariam Daniela Tristancho Pineda (PTA SAS)" userId="a45a17f7-7950-4cb5-bfab-f5c894f959a9" providerId="ADAL" clId="{643645D5-A03F-43D9-8A33-817EA1ECC2BF}" dt="2020-10-16T15:37:19.091" v="678" actId="20577"/>
          <ac:spMkLst>
            <pc:docMk/>
            <pc:sldMk cId="3539712875" sldId="2134804439"/>
            <ac:spMk id="3" creationId="{00670338-F389-4E18-AB5A-894D7F0665BB}"/>
          </ac:spMkLst>
        </pc:spChg>
        <pc:spChg chg="mod">
          <ac:chgData name="Mariam Daniela Tristancho Pineda (PTA SAS)" userId="a45a17f7-7950-4cb5-bfab-f5c894f959a9" providerId="ADAL" clId="{643645D5-A03F-43D9-8A33-817EA1ECC2BF}" dt="2020-10-16T15:37:11.031" v="672" actId="1076"/>
          <ac:spMkLst>
            <pc:docMk/>
            <pc:sldMk cId="3539712875" sldId="2134804439"/>
            <ac:spMk id="4" creationId="{CAAFEDC1-4B58-4913-A2A5-D711039A33B5}"/>
          </ac:spMkLst>
        </pc:spChg>
        <pc:spChg chg="mod">
          <ac:chgData name="Mariam Daniela Tristancho Pineda (PTA SAS)" userId="a45a17f7-7950-4cb5-bfab-f5c894f959a9" providerId="ADAL" clId="{643645D5-A03F-43D9-8A33-817EA1ECC2BF}" dt="2020-10-16T15:37:15.480" v="677" actId="1035"/>
          <ac:spMkLst>
            <pc:docMk/>
            <pc:sldMk cId="3539712875" sldId="2134804439"/>
            <ac:spMk id="6" creationId="{58799CC0-6873-4D0B-983C-048852038A37}"/>
          </ac:spMkLst>
        </pc:spChg>
        <pc:spChg chg="mod">
          <ac:chgData name="Mariam Daniela Tristancho Pineda (PTA SAS)" userId="a45a17f7-7950-4cb5-bfab-f5c894f959a9" providerId="ADAL" clId="{643645D5-A03F-43D9-8A33-817EA1ECC2BF}" dt="2020-10-16T15:37:15.480" v="677" actId="1035"/>
          <ac:spMkLst>
            <pc:docMk/>
            <pc:sldMk cId="3539712875" sldId="2134804439"/>
            <ac:spMk id="8" creationId="{6265FC2E-2616-458D-8F45-C7281CBBB60B}"/>
          </ac:spMkLst>
        </pc:spChg>
        <pc:spChg chg="mod">
          <ac:chgData name="Mariam Daniela Tristancho Pineda (PTA SAS)" userId="a45a17f7-7950-4cb5-bfab-f5c894f959a9" providerId="ADAL" clId="{643645D5-A03F-43D9-8A33-817EA1ECC2BF}" dt="2020-10-16T15:37:15.480" v="677" actId="1035"/>
          <ac:spMkLst>
            <pc:docMk/>
            <pc:sldMk cId="3539712875" sldId="2134804439"/>
            <ac:spMk id="10" creationId="{9E8D26C4-10B6-4A63-81EA-2EC8E1697D7A}"/>
          </ac:spMkLst>
        </pc:spChg>
        <pc:picChg chg="add mod">
          <ac:chgData name="Mariam Daniela Tristancho Pineda (PTA SAS)" userId="a45a17f7-7950-4cb5-bfab-f5c894f959a9" providerId="ADAL" clId="{643645D5-A03F-43D9-8A33-817EA1ECC2BF}" dt="2020-10-16T15:40:05.976" v="683" actId="1076"/>
          <ac:picMkLst>
            <pc:docMk/>
            <pc:sldMk cId="3539712875" sldId="2134804439"/>
            <ac:picMk id="7" creationId="{6C1F68B0-0CBD-4E2B-A2F0-2ECF985E3767}"/>
          </ac:picMkLst>
        </pc:picChg>
        <pc:picChg chg="mod">
          <ac:chgData name="Mariam Daniela Tristancho Pineda (PTA SAS)" userId="a45a17f7-7950-4cb5-bfab-f5c894f959a9" providerId="ADAL" clId="{643645D5-A03F-43D9-8A33-817EA1ECC2BF}" dt="2020-10-16T15:37:15.480" v="677" actId="1035"/>
          <ac:picMkLst>
            <pc:docMk/>
            <pc:sldMk cId="3539712875" sldId="2134804439"/>
            <ac:picMk id="12" creationId="{CF63326B-3540-4D2D-BAC8-E76D4EDF8B62}"/>
          </ac:picMkLst>
        </pc:picChg>
        <pc:picChg chg="mod">
          <ac:chgData name="Mariam Daniela Tristancho Pineda (PTA SAS)" userId="a45a17f7-7950-4cb5-bfab-f5c894f959a9" providerId="ADAL" clId="{643645D5-A03F-43D9-8A33-817EA1ECC2BF}" dt="2020-10-16T15:37:15.480" v="677" actId="1035"/>
          <ac:picMkLst>
            <pc:docMk/>
            <pc:sldMk cId="3539712875" sldId="2134804439"/>
            <ac:picMk id="14" creationId="{4B2B16C1-B03A-447A-B036-46010E4CBFC2}"/>
          </ac:picMkLst>
        </pc:picChg>
        <pc:picChg chg="mod">
          <ac:chgData name="Mariam Daniela Tristancho Pineda (PTA SAS)" userId="a45a17f7-7950-4cb5-bfab-f5c894f959a9" providerId="ADAL" clId="{643645D5-A03F-43D9-8A33-817EA1ECC2BF}" dt="2020-10-16T15:37:15.480" v="677" actId="1035"/>
          <ac:picMkLst>
            <pc:docMk/>
            <pc:sldMk cId="3539712875" sldId="2134804439"/>
            <ac:picMk id="16" creationId="{5A9EC01C-8F83-427F-91E3-7B8D3399493E}"/>
          </ac:picMkLst>
        </pc:picChg>
      </pc:sldChg>
      <pc:sldChg chg="addSp modSp new mod">
        <pc:chgData name="Mariam Daniela Tristancho Pineda (PTA SAS)" userId="a45a17f7-7950-4cb5-bfab-f5c894f959a9" providerId="ADAL" clId="{643645D5-A03F-43D9-8A33-817EA1ECC2BF}" dt="2020-10-19T13:36:06.008" v="699" actId="14100"/>
        <pc:sldMkLst>
          <pc:docMk/>
          <pc:sldMk cId="1052353845" sldId="2134804440"/>
        </pc:sldMkLst>
        <pc:picChg chg="add mod modCrop">
          <ac:chgData name="Mariam Daniela Tristancho Pineda (PTA SAS)" userId="a45a17f7-7950-4cb5-bfab-f5c894f959a9" providerId="ADAL" clId="{643645D5-A03F-43D9-8A33-817EA1ECC2BF}" dt="2020-10-19T13:36:06.008" v="699" actId="14100"/>
          <ac:picMkLst>
            <pc:docMk/>
            <pc:sldMk cId="1052353845" sldId="2134804440"/>
            <ac:picMk id="3" creationId="{01635120-EA93-4C06-A497-18CC51F07731}"/>
          </ac:picMkLst>
        </pc:picChg>
      </pc:sldChg>
      <pc:sldChg chg="del">
        <pc:chgData name="Mariam Daniela Tristancho Pineda (PTA SAS)" userId="a45a17f7-7950-4cb5-bfab-f5c894f959a9" providerId="ADAL" clId="{643645D5-A03F-43D9-8A33-817EA1ECC2BF}" dt="2020-10-16T15:07:48.607" v="73" actId="47"/>
        <pc:sldMkLst>
          <pc:docMk/>
          <pc:sldMk cId="1999149945" sldId="2134804441"/>
        </pc:sldMkLst>
      </pc:sldChg>
      <pc:sldChg chg="del">
        <pc:chgData name="Mariam Daniela Tristancho Pineda (PTA SAS)" userId="a45a17f7-7950-4cb5-bfab-f5c894f959a9" providerId="ADAL" clId="{643645D5-A03F-43D9-8A33-817EA1ECC2BF}" dt="2020-10-16T15:08:00.109" v="75" actId="47"/>
        <pc:sldMkLst>
          <pc:docMk/>
          <pc:sldMk cId="2555619992" sldId="2134804442"/>
        </pc:sldMkLst>
      </pc:sldChg>
      <pc:sldChg chg="del">
        <pc:chgData name="Mariam Daniela Tristancho Pineda (PTA SAS)" userId="a45a17f7-7950-4cb5-bfab-f5c894f959a9" providerId="ADAL" clId="{643645D5-A03F-43D9-8A33-817EA1ECC2BF}" dt="2020-10-16T15:07:47.675" v="72" actId="47"/>
        <pc:sldMkLst>
          <pc:docMk/>
          <pc:sldMk cId="1812532839" sldId="2134804443"/>
        </pc:sldMkLst>
      </pc:sldChg>
      <pc:sldChg chg="del">
        <pc:chgData name="Mariam Daniela Tristancho Pineda (PTA SAS)" userId="a45a17f7-7950-4cb5-bfab-f5c894f959a9" providerId="ADAL" clId="{643645D5-A03F-43D9-8A33-817EA1ECC2BF}" dt="2020-10-16T15:12:25.680" v="97" actId="47"/>
        <pc:sldMkLst>
          <pc:docMk/>
          <pc:sldMk cId="3167452426" sldId="2134804444"/>
        </pc:sldMkLst>
      </pc:sldChg>
      <pc:sldChg chg="del">
        <pc:chgData name="Mariam Daniela Tristancho Pineda (PTA SAS)" userId="a45a17f7-7950-4cb5-bfab-f5c894f959a9" providerId="ADAL" clId="{643645D5-A03F-43D9-8A33-817EA1ECC2BF}" dt="2020-10-16T15:12:31.517" v="118" actId="47"/>
        <pc:sldMkLst>
          <pc:docMk/>
          <pc:sldMk cId="2831142137" sldId="2134804449"/>
        </pc:sldMkLst>
      </pc:sldChg>
      <pc:sldChg chg="del">
        <pc:chgData name="Mariam Daniela Tristancho Pineda (PTA SAS)" userId="a45a17f7-7950-4cb5-bfab-f5c894f959a9" providerId="ADAL" clId="{643645D5-A03F-43D9-8A33-817EA1ECC2BF}" dt="2020-10-16T15:12:29.807" v="113" actId="47"/>
        <pc:sldMkLst>
          <pc:docMk/>
          <pc:sldMk cId="772567127" sldId="2134804450"/>
        </pc:sldMkLst>
      </pc:sldChg>
      <pc:sldChg chg="del">
        <pc:chgData name="Mariam Daniela Tristancho Pineda (PTA SAS)" userId="a45a17f7-7950-4cb5-bfab-f5c894f959a9" providerId="ADAL" clId="{643645D5-A03F-43D9-8A33-817EA1ECC2BF}" dt="2020-10-16T15:12:28.567" v="106" actId="47"/>
        <pc:sldMkLst>
          <pc:docMk/>
          <pc:sldMk cId="1113101480" sldId="2134804452"/>
        </pc:sldMkLst>
      </pc:sldChg>
      <pc:sldChg chg="del">
        <pc:chgData name="Mariam Daniela Tristancho Pineda (PTA SAS)" userId="a45a17f7-7950-4cb5-bfab-f5c894f959a9" providerId="ADAL" clId="{643645D5-A03F-43D9-8A33-817EA1ECC2BF}" dt="2020-10-16T15:12:29.135" v="110" actId="47"/>
        <pc:sldMkLst>
          <pc:docMk/>
          <pc:sldMk cId="3817545952" sldId="2134804454"/>
        </pc:sldMkLst>
      </pc:sldChg>
      <pc:sldChg chg="del">
        <pc:chgData name="Mariam Daniela Tristancho Pineda (PTA SAS)" userId="a45a17f7-7950-4cb5-bfab-f5c894f959a9" providerId="ADAL" clId="{643645D5-A03F-43D9-8A33-817EA1ECC2BF}" dt="2020-10-16T15:12:26.146" v="98" actId="47"/>
        <pc:sldMkLst>
          <pc:docMk/>
          <pc:sldMk cId="1361857845" sldId="2134804455"/>
        </pc:sldMkLst>
      </pc:sldChg>
      <pc:sldChg chg="del">
        <pc:chgData name="Mariam Daniela Tristancho Pineda (PTA SAS)" userId="a45a17f7-7950-4cb5-bfab-f5c894f959a9" providerId="ADAL" clId="{643645D5-A03F-43D9-8A33-817EA1ECC2BF}" dt="2020-10-16T15:12:36.717" v="128" actId="47"/>
        <pc:sldMkLst>
          <pc:docMk/>
          <pc:sldMk cId="2714661680" sldId="2134804456"/>
        </pc:sldMkLst>
      </pc:sldChg>
      <pc:sldChg chg="del">
        <pc:chgData name="Mariam Daniela Tristancho Pineda (PTA SAS)" userId="a45a17f7-7950-4cb5-bfab-f5c894f959a9" providerId="ADAL" clId="{643645D5-A03F-43D9-8A33-817EA1ECC2BF}" dt="2020-10-16T15:12:26.552" v="100" actId="47"/>
        <pc:sldMkLst>
          <pc:docMk/>
          <pc:sldMk cId="745438417" sldId="2134804458"/>
        </pc:sldMkLst>
      </pc:sldChg>
      <pc:sldChg chg="del">
        <pc:chgData name="Mariam Daniela Tristancho Pineda (PTA SAS)" userId="a45a17f7-7950-4cb5-bfab-f5c894f959a9" providerId="ADAL" clId="{643645D5-A03F-43D9-8A33-817EA1ECC2BF}" dt="2020-10-16T15:12:26.349" v="99" actId="47"/>
        <pc:sldMkLst>
          <pc:docMk/>
          <pc:sldMk cId="1778061897" sldId="2134804459"/>
        </pc:sldMkLst>
      </pc:sldChg>
      <pc:sldChg chg="del">
        <pc:chgData name="Mariam Daniela Tristancho Pineda (PTA SAS)" userId="a45a17f7-7950-4cb5-bfab-f5c894f959a9" providerId="ADAL" clId="{643645D5-A03F-43D9-8A33-817EA1ECC2BF}" dt="2020-10-16T15:12:31.236" v="117" actId="47"/>
        <pc:sldMkLst>
          <pc:docMk/>
          <pc:sldMk cId="4094647489" sldId="2134804460"/>
        </pc:sldMkLst>
      </pc:sldChg>
      <pc:sldMasterChg chg="delSldLayout">
        <pc:chgData name="Mariam Daniela Tristancho Pineda (PTA SAS)" userId="a45a17f7-7950-4cb5-bfab-f5c894f959a9" providerId="ADAL" clId="{643645D5-A03F-43D9-8A33-817EA1ECC2BF}" dt="2020-10-19T12:49:20.139" v="687" actId="47"/>
        <pc:sldMasterMkLst>
          <pc:docMk/>
          <pc:sldMasterMk cId="2612954595" sldId="2147483660"/>
        </pc:sldMasterMkLst>
        <pc:sldLayoutChg chg="del">
          <pc:chgData name="Mariam Daniela Tristancho Pineda (PTA SAS)" userId="a45a17f7-7950-4cb5-bfab-f5c894f959a9" providerId="ADAL" clId="{643645D5-A03F-43D9-8A33-817EA1ECC2BF}" dt="2020-10-16T15:12:26.635" v="101" actId="47"/>
          <pc:sldLayoutMkLst>
            <pc:docMk/>
            <pc:sldMasterMk cId="2612954595" sldId="2147483660"/>
            <pc:sldLayoutMk cId="1751716336" sldId="2147483671"/>
          </pc:sldLayoutMkLst>
        </pc:sldLayoutChg>
        <pc:sldLayoutChg chg="del">
          <pc:chgData name="Mariam Daniela Tristancho Pineda (PTA SAS)" userId="a45a17f7-7950-4cb5-bfab-f5c894f959a9" providerId="ADAL" clId="{643645D5-A03F-43D9-8A33-817EA1ECC2BF}" dt="2020-10-16T15:12:31.097" v="116" actId="47"/>
          <pc:sldLayoutMkLst>
            <pc:docMk/>
            <pc:sldMasterMk cId="2612954595" sldId="2147483660"/>
            <pc:sldLayoutMk cId="3099215004" sldId="2147483673"/>
          </pc:sldLayoutMkLst>
        </pc:sldLayoutChg>
        <pc:sldLayoutChg chg="del">
          <pc:chgData name="Mariam Daniela Tristancho Pineda (PTA SAS)" userId="a45a17f7-7950-4cb5-bfab-f5c894f959a9" providerId="ADAL" clId="{643645D5-A03F-43D9-8A33-817EA1ECC2BF}" dt="2020-10-19T12:49:20.139" v="687" actId="47"/>
          <pc:sldLayoutMkLst>
            <pc:docMk/>
            <pc:sldMasterMk cId="2612954595" sldId="2147483660"/>
            <pc:sldLayoutMk cId="523107326" sldId="2147483674"/>
          </pc:sldLayoutMkLst>
        </pc:sldLayoutChg>
      </pc:sldMasterChg>
      <pc:sldMasterChg chg="del delSldLayout">
        <pc:chgData name="Mariam Daniela Tristancho Pineda (PTA SAS)" userId="a45a17f7-7950-4cb5-bfab-f5c894f959a9" providerId="ADAL" clId="{643645D5-A03F-43D9-8A33-817EA1ECC2BF}" dt="2020-10-16T15:12:31.236" v="117" actId="47"/>
        <pc:sldMasterMkLst>
          <pc:docMk/>
          <pc:sldMasterMk cId="3062671002" sldId="2147483675"/>
        </pc:sldMasterMkLst>
        <pc:sldLayoutChg chg="del">
          <pc:chgData name="Mariam Daniela Tristancho Pineda (PTA SAS)" userId="a45a17f7-7950-4cb5-bfab-f5c894f959a9" providerId="ADAL" clId="{643645D5-A03F-43D9-8A33-817EA1ECC2BF}" dt="2020-10-16T15:12:31.236" v="117" actId="47"/>
          <pc:sldLayoutMkLst>
            <pc:docMk/>
            <pc:sldMasterMk cId="3062671002" sldId="2147483675"/>
            <pc:sldLayoutMk cId="3637963775" sldId="2147483676"/>
          </pc:sldLayoutMkLst>
        </pc:sldLayoutChg>
        <pc:sldLayoutChg chg="del">
          <pc:chgData name="Mariam Daniela Tristancho Pineda (PTA SAS)" userId="a45a17f7-7950-4cb5-bfab-f5c894f959a9" providerId="ADAL" clId="{643645D5-A03F-43D9-8A33-817EA1ECC2BF}" dt="2020-10-16T15:12:31.236" v="117" actId="47"/>
          <pc:sldLayoutMkLst>
            <pc:docMk/>
            <pc:sldMasterMk cId="3062671002" sldId="2147483675"/>
            <pc:sldLayoutMk cId="400368891" sldId="2147483677"/>
          </pc:sldLayoutMkLst>
        </pc:sldLayoutChg>
        <pc:sldLayoutChg chg="del">
          <pc:chgData name="Mariam Daniela Tristancho Pineda (PTA SAS)" userId="a45a17f7-7950-4cb5-bfab-f5c894f959a9" providerId="ADAL" clId="{643645D5-A03F-43D9-8A33-817EA1ECC2BF}" dt="2020-10-16T15:12:31.236" v="117" actId="47"/>
          <pc:sldLayoutMkLst>
            <pc:docMk/>
            <pc:sldMasterMk cId="3062671002" sldId="2147483675"/>
            <pc:sldLayoutMk cId="3432290871" sldId="2147483678"/>
          </pc:sldLayoutMkLst>
        </pc:sldLayoutChg>
        <pc:sldLayoutChg chg="del">
          <pc:chgData name="Mariam Daniela Tristancho Pineda (PTA SAS)" userId="a45a17f7-7950-4cb5-bfab-f5c894f959a9" providerId="ADAL" clId="{643645D5-A03F-43D9-8A33-817EA1ECC2BF}" dt="2020-10-16T15:12:31.236" v="117" actId="47"/>
          <pc:sldLayoutMkLst>
            <pc:docMk/>
            <pc:sldMasterMk cId="3062671002" sldId="2147483675"/>
            <pc:sldLayoutMk cId="4248238582" sldId="2147483679"/>
          </pc:sldLayoutMkLst>
        </pc:sldLayoutChg>
        <pc:sldLayoutChg chg="del">
          <pc:chgData name="Mariam Daniela Tristancho Pineda (PTA SAS)" userId="a45a17f7-7950-4cb5-bfab-f5c894f959a9" providerId="ADAL" clId="{643645D5-A03F-43D9-8A33-817EA1ECC2BF}" dt="2020-10-16T15:12:31.236" v="117" actId="47"/>
          <pc:sldLayoutMkLst>
            <pc:docMk/>
            <pc:sldMasterMk cId="3062671002" sldId="2147483675"/>
            <pc:sldLayoutMk cId="1885968030" sldId="2147483680"/>
          </pc:sldLayoutMkLst>
        </pc:sldLayoutChg>
        <pc:sldLayoutChg chg="del">
          <pc:chgData name="Mariam Daniela Tristancho Pineda (PTA SAS)" userId="a45a17f7-7950-4cb5-bfab-f5c894f959a9" providerId="ADAL" clId="{643645D5-A03F-43D9-8A33-817EA1ECC2BF}" dt="2020-10-16T15:12:31.236" v="117" actId="47"/>
          <pc:sldLayoutMkLst>
            <pc:docMk/>
            <pc:sldMasterMk cId="3062671002" sldId="2147483675"/>
            <pc:sldLayoutMk cId="1216261104" sldId="2147483681"/>
          </pc:sldLayoutMkLst>
        </pc:sldLayoutChg>
        <pc:sldLayoutChg chg="del">
          <pc:chgData name="Mariam Daniela Tristancho Pineda (PTA SAS)" userId="a45a17f7-7950-4cb5-bfab-f5c894f959a9" providerId="ADAL" clId="{643645D5-A03F-43D9-8A33-817EA1ECC2BF}" dt="2020-10-16T15:12:31.236" v="117" actId="47"/>
          <pc:sldLayoutMkLst>
            <pc:docMk/>
            <pc:sldMasterMk cId="3062671002" sldId="2147483675"/>
            <pc:sldLayoutMk cId="989966143" sldId="2147483682"/>
          </pc:sldLayoutMkLst>
        </pc:sldLayoutChg>
        <pc:sldLayoutChg chg="del">
          <pc:chgData name="Mariam Daniela Tristancho Pineda (PTA SAS)" userId="a45a17f7-7950-4cb5-bfab-f5c894f959a9" providerId="ADAL" clId="{643645D5-A03F-43D9-8A33-817EA1ECC2BF}" dt="2020-10-16T15:12:31.236" v="117" actId="47"/>
          <pc:sldLayoutMkLst>
            <pc:docMk/>
            <pc:sldMasterMk cId="3062671002" sldId="2147483675"/>
            <pc:sldLayoutMk cId="3308906140" sldId="2147483683"/>
          </pc:sldLayoutMkLst>
        </pc:sldLayoutChg>
        <pc:sldLayoutChg chg="del">
          <pc:chgData name="Mariam Daniela Tristancho Pineda (PTA SAS)" userId="a45a17f7-7950-4cb5-bfab-f5c894f959a9" providerId="ADAL" clId="{643645D5-A03F-43D9-8A33-817EA1ECC2BF}" dt="2020-10-16T15:12:31.236" v="117" actId="47"/>
          <pc:sldLayoutMkLst>
            <pc:docMk/>
            <pc:sldMasterMk cId="3062671002" sldId="2147483675"/>
            <pc:sldLayoutMk cId="3982173839" sldId="2147483684"/>
          </pc:sldLayoutMkLst>
        </pc:sldLayoutChg>
        <pc:sldLayoutChg chg="del">
          <pc:chgData name="Mariam Daniela Tristancho Pineda (PTA SAS)" userId="a45a17f7-7950-4cb5-bfab-f5c894f959a9" providerId="ADAL" clId="{643645D5-A03F-43D9-8A33-817EA1ECC2BF}" dt="2020-10-16T15:12:31.236" v="117" actId="47"/>
          <pc:sldLayoutMkLst>
            <pc:docMk/>
            <pc:sldMasterMk cId="3062671002" sldId="2147483675"/>
            <pc:sldLayoutMk cId="1841891082" sldId="2147483685"/>
          </pc:sldLayoutMkLst>
        </pc:sldLayoutChg>
        <pc:sldLayoutChg chg="del">
          <pc:chgData name="Mariam Daniela Tristancho Pineda (PTA SAS)" userId="a45a17f7-7950-4cb5-bfab-f5c894f959a9" providerId="ADAL" clId="{643645D5-A03F-43D9-8A33-817EA1ECC2BF}" dt="2020-10-16T15:12:31.236" v="117" actId="47"/>
          <pc:sldLayoutMkLst>
            <pc:docMk/>
            <pc:sldMasterMk cId="3062671002" sldId="2147483675"/>
            <pc:sldLayoutMk cId="2996807275" sldId="2147483686"/>
          </pc:sldLayoutMkLst>
        </pc:sldLayoutChg>
        <pc:sldLayoutChg chg="del">
          <pc:chgData name="Mariam Daniela Tristancho Pineda (PTA SAS)" userId="a45a17f7-7950-4cb5-bfab-f5c894f959a9" providerId="ADAL" clId="{643645D5-A03F-43D9-8A33-817EA1ECC2BF}" dt="2020-10-16T15:12:31.236" v="117" actId="47"/>
          <pc:sldLayoutMkLst>
            <pc:docMk/>
            <pc:sldMasterMk cId="3062671002" sldId="2147483675"/>
            <pc:sldLayoutMk cId="1418381375" sldId="2147483687"/>
          </pc:sldLayoutMkLst>
        </pc:sldLayoutChg>
      </pc:sldMasterChg>
    </pc:docChg>
  </pc:docChgLst>
  <pc:docChgLst>
    <pc:chgData name="Mariam Daniela Tristancho Pineda (PTA SAS)" userId="a45a17f7-7950-4cb5-bfab-f5c894f959a9" providerId="ADAL" clId="{BA430735-FC7B-48BC-BBBE-407AFEC573E8}"/>
    <pc:docChg chg="undo custSel addSld delSld modSld sldOrd">
      <pc:chgData name="Mariam Daniela Tristancho Pineda (PTA SAS)" userId="a45a17f7-7950-4cb5-bfab-f5c894f959a9" providerId="ADAL" clId="{BA430735-FC7B-48BC-BBBE-407AFEC573E8}" dt="2020-11-11T14:51:40.918" v="627" actId="1035"/>
      <pc:docMkLst>
        <pc:docMk/>
      </pc:docMkLst>
      <pc:sldChg chg="modSp mod">
        <pc:chgData name="Mariam Daniela Tristancho Pineda (PTA SAS)" userId="a45a17f7-7950-4cb5-bfab-f5c894f959a9" providerId="ADAL" clId="{BA430735-FC7B-48BC-BBBE-407AFEC573E8}" dt="2020-11-04T19:43:23.348" v="59" actId="122"/>
        <pc:sldMkLst>
          <pc:docMk/>
          <pc:sldMk cId="4038727560" sldId="2134804223"/>
        </pc:sldMkLst>
        <pc:spChg chg="mod">
          <ac:chgData name="Mariam Daniela Tristancho Pineda (PTA SAS)" userId="a45a17f7-7950-4cb5-bfab-f5c894f959a9" providerId="ADAL" clId="{BA430735-FC7B-48BC-BBBE-407AFEC573E8}" dt="2020-11-04T19:43:23.348" v="59" actId="122"/>
          <ac:spMkLst>
            <pc:docMk/>
            <pc:sldMk cId="4038727560" sldId="2134804223"/>
            <ac:spMk id="2" creationId="{6449DAA9-B626-4D62-A7A1-9AC401449A13}"/>
          </ac:spMkLst>
        </pc:spChg>
      </pc:sldChg>
      <pc:sldChg chg="del">
        <pc:chgData name="Mariam Daniela Tristancho Pineda (PTA SAS)" userId="a45a17f7-7950-4cb5-bfab-f5c894f959a9" providerId="ADAL" clId="{BA430735-FC7B-48BC-BBBE-407AFEC573E8}" dt="2020-11-04T19:48:10.147" v="431" actId="47"/>
        <pc:sldMkLst>
          <pc:docMk/>
          <pc:sldMk cId="237599856" sldId="2134804323"/>
        </pc:sldMkLst>
      </pc:sldChg>
      <pc:sldChg chg="addSp delSp modSp add mod">
        <pc:chgData name="Mariam Daniela Tristancho Pineda (PTA SAS)" userId="a45a17f7-7950-4cb5-bfab-f5c894f959a9" providerId="ADAL" clId="{BA430735-FC7B-48BC-BBBE-407AFEC573E8}" dt="2020-11-04T19:51:59.265" v="587" actId="1076"/>
        <pc:sldMkLst>
          <pc:docMk/>
          <pc:sldMk cId="1966204827" sldId="2134804324"/>
        </pc:sldMkLst>
        <pc:spChg chg="add mod">
          <ac:chgData name="Mariam Daniela Tristancho Pineda (PTA SAS)" userId="a45a17f7-7950-4cb5-bfab-f5c894f959a9" providerId="ADAL" clId="{BA430735-FC7B-48BC-BBBE-407AFEC573E8}" dt="2020-11-04T19:51:59.265" v="587" actId="1076"/>
          <ac:spMkLst>
            <pc:docMk/>
            <pc:sldMk cId="1966204827" sldId="2134804324"/>
            <ac:spMk id="3" creationId="{A601CB2A-16D4-4875-9428-EE9FB5180955}"/>
          </ac:spMkLst>
        </pc:spChg>
        <pc:spChg chg="del mod">
          <ac:chgData name="Mariam Daniela Tristancho Pineda (PTA SAS)" userId="a45a17f7-7950-4cb5-bfab-f5c894f959a9" providerId="ADAL" clId="{BA430735-FC7B-48BC-BBBE-407AFEC573E8}" dt="2020-11-04T19:51:29.091" v="582" actId="478"/>
          <ac:spMkLst>
            <pc:docMk/>
            <pc:sldMk cId="1966204827" sldId="2134804324"/>
            <ac:spMk id="4" creationId="{C47780CB-210E-480D-AF15-355BDC7F6E93}"/>
          </ac:spMkLst>
        </pc:spChg>
      </pc:sldChg>
      <pc:sldChg chg="del">
        <pc:chgData name="Mariam Daniela Tristancho Pineda (PTA SAS)" userId="a45a17f7-7950-4cb5-bfab-f5c894f959a9" providerId="ADAL" clId="{BA430735-FC7B-48BC-BBBE-407AFEC573E8}" dt="2020-11-04T19:52:02.489" v="588" actId="47"/>
        <pc:sldMkLst>
          <pc:docMk/>
          <pc:sldMk cId="3093954666" sldId="2134804327"/>
        </pc:sldMkLst>
      </pc:sldChg>
      <pc:sldChg chg="addSp delSp modSp add mod">
        <pc:chgData name="Mariam Daniela Tristancho Pineda (PTA SAS)" userId="a45a17f7-7950-4cb5-bfab-f5c894f959a9" providerId="ADAL" clId="{BA430735-FC7B-48BC-BBBE-407AFEC573E8}" dt="2020-11-04T19:46:08.902" v="141" actId="20577"/>
        <pc:sldMkLst>
          <pc:docMk/>
          <pc:sldMk cId="1068210842" sldId="2134804367"/>
        </pc:sldMkLst>
        <pc:spChg chg="del">
          <ac:chgData name="Mariam Daniela Tristancho Pineda (PTA SAS)" userId="a45a17f7-7950-4cb5-bfab-f5c894f959a9" providerId="ADAL" clId="{BA430735-FC7B-48BC-BBBE-407AFEC573E8}" dt="2020-11-04T19:46:04.085" v="118" actId="478"/>
          <ac:spMkLst>
            <pc:docMk/>
            <pc:sldMk cId="1068210842" sldId="2134804367"/>
            <ac:spMk id="3" creationId="{2C61363C-262F-41AE-A6BA-0D81CE5F5CA5}"/>
          </ac:spMkLst>
        </pc:spChg>
        <pc:spChg chg="add mod">
          <ac:chgData name="Mariam Daniela Tristancho Pineda (PTA SAS)" userId="a45a17f7-7950-4cb5-bfab-f5c894f959a9" providerId="ADAL" clId="{BA430735-FC7B-48BC-BBBE-407AFEC573E8}" dt="2020-11-04T19:46:08.902" v="141" actId="20577"/>
          <ac:spMkLst>
            <pc:docMk/>
            <pc:sldMk cId="1068210842" sldId="2134804367"/>
            <ac:spMk id="5" creationId="{B3A6CED5-36CB-4973-8B44-FFAAB5E34F97}"/>
          </ac:spMkLst>
        </pc:spChg>
      </pc:sldChg>
      <pc:sldChg chg="addSp delSp modSp add mod">
        <pc:chgData name="Mariam Daniela Tristancho Pineda (PTA SAS)" userId="a45a17f7-7950-4cb5-bfab-f5c894f959a9" providerId="ADAL" clId="{BA430735-FC7B-48BC-BBBE-407AFEC573E8}" dt="2020-11-04T19:46:41.731" v="203" actId="1036"/>
        <pc:sldMkLst>
          <pc:docMk/>
          <pc:sldMk cId="587350936" sldId="2134804368"/>
        </pc:sldMkLst>
        <pc:spChg chg="add mod">
          <ac:chgData name="Mariam Daniela Tristancho Pineda (PTA SAS)" userId="a45a17f7-7950-4cb5-bfab-f5c894f959a9" providerId="ADAL" clId="{BA430735-FC7B-48BC-BBBE-407AFEC573E8}" dt="2020-11-04T19:46:41.731" v="203" actId="1036"/>
          <ac:spMkLst>
            <pc:docMk/>
            <pc:sldMk cId="587350936" sldId="2134804368"/>
            <ac:spMk id="22" creationId="{A7CD4928-13AF-414D-A56C-3AFE097F5740}"/>
          </ac:spMkLst>
        </pc:spChg>
        <pc:spChg chg="add del mod">
          <ac:chgData name="Mariam Daniela Tristancho Pineda (PTA SAS)" userId="a45a17f7-7950-4cb5-bfab-f5c894f959a9" providerId="ADAL" clId="{BA430735-FC7B-48BC-BBBE-407AFEC573E8}" dt="2020-11-04T19:46:19.339" v="145" actId="478"/>
          <ac:spMkLst>
            <pc:docMk/>
            <pc:sldMk cId="587350936" sldId="2134804368"/>
            <ac:spMk id="135" creationId="{C1823568-A421-4254-9106-BAEB76F16B72}"/>
          </ac:spMkLst>
        </pc:spChg>
      </pc:sldChg>
      <pc:sldChg chg="addSp delSp modSp add mod">
        <pc:chgData name="Mariam Daniela Tristancho Pineda (PTA SAS)" userId="a45a17f7-7950-4cb5-bfab-f5c894f959a9" providerId="ADAL" clId="{BA430735-FC7B-48BC-BBBE-407AFEC573E8}" dt="2020-11-04T19:46:48.698" v="215" actId="20577"/>
        <pc:sldMkLst>
          <pc:docMk/>
          <pc:sldMk cId="2963898244" sldId="2134804369"/>
        </pc:sldMkLst>
        <pc:spChg chg="add mod">
          <ac:chgData name="Mariam Daniela Tristancho Pineda (PTA SAS)" userId="a45a17f7-7950-4cb5-bfab-f5c894f959a9" providerId="ADAL" clId="{BA430735-FC7B-48BC-BBBE-407AFEC573E8}" dt="2020-11-04T19:46:48.698" v="215" actId="20577"/>
          <ac:spMkLst>
            <pc:docMk/>
            <pc:sldMk cId="2963898244" sldId="2134804369"/>
            <ac:spMk id="12" creationId="{325DDD76-1CC1-4621-A8EE-5AECFFA46573}"/>
          </ac:spMkLst>
        </pc:spChg>
        <pc:spChg chg="del">
          <ac:chgData name="Mariam Daniela Tristancho Pineda (PTA SAS)" userId="a45a17f7-7950-4cb5-bfab-f5c894f959a9" providerId="ADAL" clId="{BA430735-FC7B-48BC-BBBE-407AFEC573E8}" dt="2020-11-04T19:46:45.328" v="204" actId="478"/>
          <ac:spMkLst>
            <pc:docMk/>
            <pc:sldMk cId="2963898244" sldId="2134804369"/>
            <ac:spMk id="135" creationId="{C1823568-A421-4254-9106-BAEB76F16B72}"/>
          </ac:spMkLst>
        </pc:spChg>
      </pc:sldChg>
      <pc:sldChg chg="addSp delSp modSp add mod">
        <pc:chgData name="Mariam Daniela Tristancho Pineda (PTA SAS)" userId="a45a17f7-7950-4cb5-bfab-f5c894f959a9" providerId="ADAL" clId="{BA430735-FC7B-48BC-BBBE-407AFEC573E8}" dt="2020-11-04T19:47:08.270" v="250" actId="20577"/>
        <pc:sldMkLst>
          <pc:docMk/>
          <pc:sldMk cId="3226895650" sldId="2134804370"/>
        </pc:sldMkLst>
        <pc:spChg chg="add mod">
          <ac:chgData name="Mariam Daniela Tristancho Pineda (PTA SAS)" userId="a45a17f7-7950-4cb5-bfab-f5c894f959a9" providerId="ADAL" clId="{BA430735-FC7B-48BC-BBBE-407AFEC573E8}" dt="2020-11-04T19:47:08.270" v="250" actId="20577"/>
          <ac:spMkLst>
            <pc:docMk/>
            <pc:sldMk cId="3226895650" sldId="2134804370"/>
            <ac:spMk id="8" creationId="{EA3059C1-B6C1-4E5C-8CC9-EDEEF72F21E1}"/>
          </ac:spMkLst>
        </pc:spChg>
        <pc:spChg chg="del">
          <ac:chgData name="Mariam Daniela Tristancho Pineda (PTA SAS)" userId="a45a17f7-7950-4cb5-bfab-f5c894f959a9" providerId="ADAL" clId="{BA430735-FC7B-48BC-BBBE-407AFEC573E8}" dt="2020-11-04T19:46:53.625" v="216" actId="478"/>
          <ac:spMkLst>
            <pc:docMk/>
            <pc:sldMk cId="3226895650" sldId="2134804370"/>
            <ac:spMk id="135" creationId="{C1823568-A421-4254-9106-BAEB76F16B72}"/>
          </ac:spMkLst>
        </pc:spChg>
      </pc:sldChg>
      <pc:sldChg chg="addSp delSp modSp add mod">
        <pc:chgData name="Mariam Daniela Tristancho Pineda (PTA SAS)" userId="a45a17f7-7950-4cb5-bfab-f5c894f959a9" providerId="ADAL" clId="{BA430735-FC7B-48BC-BBBE-407AFEC573E8}" dt="2020-11-04T19:47:15.739" v="254" actId="20577"/>
        <pc:sldMkLst>
          <pc:docMk/>
          <pc:sldMk cId="219746583" sldId="2134804371"/>
        </pc:sldMkLst>
        <pc:spChg chg="add mod">
          <ac:chgData name="Mariam Daniela Tristancho Pineda (PTA SAS)" userId="a45a17f7-7950-4cb5-bfab-f5c894f959a9" providerId="ADAL" clId="{BA430735-FC7B-48BC-BBBE-407AFEC573E8}" dt="2020-11-04T19:47:15.739" v="254" actId="20577"/>
          <ac:spMkLst>
            <pc:docMk/>
            <pc:sldMk cId="219746583" sldId="2134804371"/>
            <ac:spMk id="3" creationId="{A73B688E-9E51-4527-8AA4-8245BC47EA8E}"/>
          </ac:spMkLst>
        </pc:spChg>
        <pc:spChg chg="del">
          <ac:chgData name="Mariam Daniela Tristancho Pineda (PTA SAS)" userId="a45a17f7-7950-4cb5-bfab-f5c894f959a9" providerId="ADAL" clId="{BA430735-FC7B-48BC-BBBE-407AFEC573E8}" dt="2020-11-04T19:47:13.670" v="251" actId="478"/>
          <ac:spMkLst>
            <pc:docMk/>
            <pc:sldMk cId="219746583" sldId="2134804371"/>
            <ac:spMk id="135" creationId="{C1823568-A421-4254-9106-BAEB76F16B72}"/>
          </ac:spMkLst>
        </pc:spChg>
      </pc:sldChg>
      <pc:sldChg chg="addSp delSp modSp add mod">
        <pc:chgData name="Mariam Daniela Tristancho Pineda (PTA SAS)" userId="a45a17f7-7950-4cb5-bfab-f5c894f959a9" providerId="ADAL" clId="{BA430735-FC7B-48BC-BBBE-407AFEC573E8}" dt="2020-11-04T19:47:20.378" v="258" actId="20577"/>
        <pc:sldMkLst>
          <pc:docMk/>
          <pc:sldMk cId="1530950705" sldId="2134804372"/>
        </pc:sldMkLst>
        <pc:spChg chg="add mod">
          <ac:chgData name="Mariam Daniela Tristancho Pineda (PTA SAS)" userId="a45a17f7-7950-4cb5-bfab-f5c894f959a9" providerId="ADAL" clId="{BA430735-FC7B-48BC-BBBE-407AFEC573E8}" dt="2020-11-04T19:47:20.378" v="258" actId="20577"/>
          <ac:spMkLst>
            <pc:docMk/>
            <pc:sldMk cId="1530950705" sldId="2134804372"/>
            <ac:spMk id="10" creationId="{78D0AB5F-CECF-4339-97C0-374B91772D1D}"/>
          </ac:spMkLst>
        </pc:spChg>
        <pc:spChg chg="del">
          <ac:chgData name="Mariam Daniela Tristancho Pineda (PTA SAS)" userId="a45a17f7-7950-4cb5-bfab-f5c894f959a9" providerId="ADAL" clId="{BA430735-FC7B-48BC-BBBE-407AFEC573E8}" dt="2020-11-04T19:47:18.347" v="255" actId="478"/>
          <ac:spMkLst>
            <pc:docMk/>
            <pc:sldMk cId="1530950705" sldId="2134804372"/>
            <ac:spMk id="135" creationId="{C1823568-A421-4254-9106-BAEB76F16B72}"/>
          </ac:spMkLst>
        </pc:spChg>
      </pc:sldChg>
      <pc:sldChg chg="addSp delSp modSp add mod">
        <pc:chgData name="Mariam Daniela Tristancho Pineda (PTA SAS)" userId="a45a17f7-7950-4cb5-bfab-f5c894f959a9" providerId="ADAL" clId="{BA430735-FC7B-48BC-BBBE-407AFEC573E8}" dt="2020-11-11T14:51:40.918" v="627" actId="1035"/>
        <pc:sldMkLst>
          <pc:docMk/>
          <pc:sldMk cId="1024743334" sldId="2134804373"/>
        </pc:sldMkLst>
        <pc:spChg chg="add del">
          <ac:chgData name="Mariam Daniela Tristancho Pineda (PTA SAS)" userId="a45a17f7-7950-4cb5-bfab-f5c894f959a9" providerId="ADAL" clId="{BA430735-FC7B-48BC-BBBE-407AFEC573E8}" dt="2020-11-04T19:47:25.916" v="261" actId="22"/>
          <ac:spMkLst>
            <pc:docMk/>
            <pc:sldMk cId="1024743334" sldId="2134804373"/>
            <ac:spMk id="6" creationId="{99C98957-297A-4DF1-A309-D9735A4D7188}"/>
          </ac:spMkLst>
        </pc:spChg>
        <pc:spChg chg="add mod">
          <ac:chgData name="Mariam Daniela Tristancho Pineda (PTA SAS)" userId="a45a17f7-7950-4cb5-bfab-f5c894f959a9" providerId="ADAL" clId="{BA430735-FC7B-48BC-BBBE-407AFEC573E8}" dt="2020-11-04T19:47:39.429" v="322" actId="1036"/>
          <ac:spMkLst>
            <pc:docMk/>
            <pc:sldMk cId="1024743334" sldId="2134804373"/>
            <ac:spMk id="21" creationId="{D1D44DF2-26E2-4094-BD32-D63F556B592A}"/>
          </ac:spMkLst>
        </pc:spChg>
        <pc:spChg chg="mod">
          <ac:chgData name="Mariam Daniela Tristancho Pineda (PTA SAS)" userId="a45a17f7-7950-4cb5-bfab-f5c894f959a9" providerId="ADAL" clId="{BA430735-FC7B-48BC-BBBE-407AFEC573E8}" dt="2020-11-11T14:51:40.918" v="627" actId="1035"/>
          <ac:spMkLst>
            <pc:docMk/>
            <pc:sldMk cId="1024743334" sldId="2134804373"/>
            <ac:spMk id="30" creationId="{CFBA608E-CF10-480F-B96F-34AD47DF9437}"/>
          </ac:spMkLst>
        </pc:spChg>
        <pc:spChg chg="del mod">
          <ac:chgData name="Mariam Daniela Tristancho Pineda (PTA SAS)" userId="a45a17f7-7950-4cb5-bfab-f5c894f959a9" providerId="ADAL" clId="{BA430735-FC7B-48BC-BBBE-407AFEC573E8}" dt="2020-11-04T19:47:26.913" v="262" actId="478"/>
          <ac:spMkLst>
            <pc:docMk/>
            <pc:sldMk cId="1024743334" sldId="2134804373"/>
            <ac:spMk id="135" creationId="{C1823568-A421-4254-9106-BAEB76F16B72}"/>
          </ac:spMkLst>
        </pc:spChg>
      </pc:sldChg>
      <pc:sldChg chg="addSp delSp modSp add mod">
        <pc:chgData name="Mariam Daniela Tristancho Pineda (PTA SAS)" userId="a45a17f7-7950-4cb5-bfab-f5c894f959a9" providerId="ADAL" clId="{BA430735-FC7B-48BC-BBBE-407AFEC573E8}" dt="2020-11-04T19:47:51.746" v="369" actId="1036"/>
        <pc:sldMkLst>
          <pc:docMk/>
          <pc:sldMk cId="2751538595" sldId="2134804374"/>
        </pc:sldMkLst>
        <pc:spChg chg="add mod">
          <ac:chgData name="Mariam Daniela Tristancho Pineda (PTA SAS)" userId="a45a17f7-7950-4cb5-bfab-f5c894f959a9" providerId="ADAL" clId="{BA430735-FC7B-48BC-BBBE-407AFEC573E8}" dt="2020-11-04T19:47:51.746" v="369" actId="1036"/>
          <ac:spMkLst>
            <pc:docMk/>
            <pc:sldMk cId="2751538595" sldId="2134804374"/>
            <ac:spMk id="6" creationId="{F14D384A-F52A-49DF-9BFF-A9F25CE4B1FE}"/>
          </ac:spMkLst>
        </pc:spChg>
        <pc:spChg chg="del">
          <ac:chgData name="Mariam Daniela Tristancho Pineda (PTA SAS)" userId="a45a17f7-7950-4cb5-bfab-f5c894f959a9" providerId="ADAL" clId="{BA430735-FC7B-48BC-BBBE-407AFEC573E8}" dt="2020-11-04T19:47:42.480" v="323" actId="478"/>
          <ac:spMkLst>
            <pc:docMk/>
            <pc:sldMk cId="2751538595" sldId="2134804374"/>
            <ac:spMk id="135" creationId="{C1823568-A421-4254-9106-BAEB76F16B72}"/>
          </ac:spMkLst>
        </pc:spChg>
      </pc:sldChg>
      <pc:sldChg chg="addSp delSp modSp add mod">
        <pc:chgData name="Mariam Daniela Tristancho Pineda (PTA SAS)" userId="a45a17f7-7950-4cb5-bfab-f5c894f959a9" providerId="ADAL" clId="{BA430735-FC7B-48BC-BBBE-407AFEC573E8}" dt="2020-11-04T19:48:07.186" v="430" actId="1036"/>
        <pc:sldMkLst>
          <pc:docMk/>
          <pc:sldMk cId="488218476" sldId="2134804375"/>
        </pc:sldMkLst>
        <pc:spChg chg="add mod">
          <ac:chgData name="Mariam Daniela Tristancho Pineda (PTA SAS)" userId="a45a17f7-7950-4cb5-bfab-f5c894f959a9" providerId="ADAL" clId="{BA430735-FC7B-48BC-BBBE-407AFEC573E8}" dt="2020-11-04T19:48:07.186" v="430" actId="1036"/>
          <ac:spMkLst>
            <pc:docMk/>
            <pc:sldMk cId="488218476" sldId="2134804375"/>
            <ac:spMk id="3" creationId="{16EE1C89-A5F1-44C6-B444-E94E9A917961}"/>
          </ac:spMkLst>
        </pc:spChg>
        <pc:spChg chg="del">
          <ac:chgData name="Mariam Daniela Tristancho Pineda (PTA SAS)" userId="a45a17f7-7950-4cb5-bfab-f5c894f959a9" providerId="ADAL" clId="{BA430735-FC7B-48BC-BBBE-407AFEC573E8}" dt="2020-11-04T19:47:55.190" v="370" actId="478"/>
          <ac:spMkLst>
            <pc:docMk/>
            <pc:sldMk cId="488218476" sldId="2134804375"/>
            <ac:spMk id="135" creationId="{C1823568-A421-4254-9106-BAEB76F16B72}"/>
          </ac:spMkLst>
        </pc:spChg>
      </pc:sldChg>
      <pc:sldChg chg="addSp delSp modSp add mod">
        <pc:chgData name="Mariam Daniela Tristancho Pineda (PTA SAS)" userId="a45a17f7-7950-4cb5-bfab-f5c894f959a9" providerId="ADAL" clId="{BA430735-FC7B-48BC-BBBE-407AFEC573E8}" dt="2020-11-04T19:50:42.174" v="553" actId="478"/>
        <pc:sldMkLst>
          <pc:docMk/>
          <pc:sldMk cId="1339714279" sldId="2134804376"/>
        </pc:sldMkLst>
        <pc:spChg chg="add mod">
          <ac:chgData name="Mariam Daniela Tristancho Pineda (PTA SAS)" userId="a45a17f7-7950-4cb5-bfab-f5c894f959a9" providerId="ADAL" clId="{BA430735-FC7B-48BC-BBBE-407AFEC573E8}" dt="2020-11-04T19:50:40.868" v="552"/>
          <ac:spMkLst>
            <pc:docMk/>
            <pc:sldMk cId="1339714279" sldId="2134804376"/>
            <ac:spMk id="3" creationId="{6306E97D-9178-4C1E-887A-40CA511CDC75}"/>
          </ac:spMkLst>
        </pc:spChg>
        <pc:spChg chg="del mod">
          <ac:chgData name="Mariam Daniela Tristancho Pineda (PTA SAS)" userId="a45a17f7-7950-4cb5-bfab-f5c894f959a9" providerId="ADAL" clId="{BA430735-FC7B-48BC-BBBE-407AFEC573E8}" dt="2020-11-04T19:50:42.174" v="553" actId="478"/>
          <ac:spMkLst>
            <pc:docMk/>
            <pc:sldMk cId="1339714279" sldId="2134804376"/>
            <ac:spMk id="135" creationId="{C1823568-A421-4254-9106-BAEB76F16B72}"/>
          </ac:spMkLst>
        </pc:spChg>
      </pc:sldChg>
      <pc:sldChg chg="addSp delSp modSp add mod">
        <pc:chgData name="Mariam Daniela Tristancho Pineda (PTA SAS)" userId="a45a17f7-7950-4cb5-bfab-f5c894f959a9" providerId="ADAL" clId="{BA430735-FC7B-48BC-BBBE-407AFEC573E8}" dt="2020-11-04T19:50:53.629" v="576" actId="20577"/>
        <pc:sldMkLst>
          <pc:docMk/>
          <pc:sldMk cId="2618602895" sldId="2134804377"/>
        </pc:sldMkLst>
        <pc:spChg chg="add mod">
          <ac:chgData name="Mariam Daniela Tristancho Pineda (PTA SAS)" userId="a45a17f7-7950-4cb5-bfab-f5c894f959a9" providerId="ADAL" clId="{BA430735-FC7B-48BC-BBBE-407AFEC573E8}" dt="2020-11-04T19:50:53.629" v="576" actId="20577"/>
          <ac:spMkLst>
            <pc:docMk/>
            <pc:sldMk cId="2618602895" sldId="2134804377"/>
            <ac:spMk id="6" creationId="{7C943894-8B3F-4C9C-90C9-0618D09492B3}"/>
          </ac:spMkLst>
        </pc:spChg>
        <pc:spChg chg="del">
          <ac:chgData name="Mariam Daniela Tristancho Pineda (PTA SAS)" userId="a45a17f7-7950-4cb5-bfab-f5c894f959a9" providerId="ADAL" clId="{BA430735-FC7B-48BC-BBBE-407AFEC573E8}" dt="2020-11-04T19:50:48.310" v="554" actId="478"/>
          <ac:spMkLst>
            <pc:docMk/>
            <pc:sldMk cId="2618602895" sldId="2134804377"/>
            <ac:spMk id="135" creationId="{C1823568-A421-4254-9106-BAEB76F16B72}"/>
          </ac:spMkLst>
        </pc:spChg>
      </pc:sldChg>
      <pc:sldChg chg="addSp delSp modSp mod">
        <pc:chgData name="Mariam Daniela Tristancho Pineda (PTA SAS)" userId="a45a17f7-7950-4cb5-bfab-f5c894f959a9" providerId="ADAL" clId="{BA430735-FC7B-48BC-BBBE-407AFEC573E8}" dt="2020-11-04T19:44:58.210" v="115" actId="1076"/>
        <pc:sldMkLst>
          <pc:docMk/>
          <pc:sldMk cId="2933354058" sldId="2134804420"/>
        </pc:sldMkLst>
        <pc:spChg chg="mod">
          <ac:chgData name="Mariam Daniela Tristancho Pineda (PTA SAS)" userId="a45a17f7-7950-4cb5-bfab-f5c894f959a9" providerId="ADAL" clId="{BA430735-FC7B-48BC-BBBE-407AFEC573E8}" dt="2020-11-04T19:44:58.210" v="115" actId="1076"/>
          <ac:spMkLst>
            <pc:docMk/>
            <pc:sldMk cId="2933354058" sldId="2134804420"/>
            <ac:spMk id="3" creationId="{F68A17DE-3ACC-4C72-8ED3-CE0F518FDBA1}"/>
          </ac:spMkLst>
        </pc:spChg>
        <pc:grpChg chg="del">
          <ac:chgData name="Mariam Daniela Tristancho Pineda (PTA SAS)" userId="a45a17f7-7950-4cb5-bfab-f5c894f959a9" providerId="ADAL" clId="{BA430735-FC7B-48BC-BBBE-407AFEC573E8}" dt="2020-11-04T19:44:15.546" v="62" actId="478"/>
          <ac:grpSpMkLst>
            <pc:docMk/>
            <pc:sldMk cId="2933354058" sldId="2134804420"/>
            <ac:grpSpMk id="7" creationId="{9561A99D-981A-45F8-BF44-297EF77932A4}"/>
          </ac:grpSpMkLst>
        </pc:grpChg>
        <pc:picChg chg="add mod">
          <ac:chgData name="Mariam Daniela Tristancho Pineda (PTA SAS)" userId="a45a17f7-7950-4cb5-bfab-f5c894f959a9" providerId="ADAL" clId="{BA430735-FC7B-48BC-BBBE-407AFEC573E8}" dt="2020-11-04T19:44:22.131" v="67" actId="1076"/>
          <ac:picMkLst>
            <pc:docMk/>
            <pc:sldMk cId="2933354058" sldId="2134804420"/>
            <ac:picMk id="5" creationId="{F6C4CE82-123C-4E5C-B05C-23528AABB29B}"/>
          </ac:picMkLst>
        </pc:picChg>
        <pc:picChg chg="add mod">
          <ac:chgData name="Mariam Daniela Tristancho Pineda (PTA SAS)" userId="a45a17f7-7950-4cb5-bfab-f5c894f959a9" providerId="ADAL" clId="{BA430735-FC7B-48BC-BBBE-407AFEC573E8}" dt="2020-11-04T19:44:46.779" v="73" actId="1076"/>
          <ac:picMkLst>
            <pc:docMk/>
            <pc:sldMk cId="2933354058" sldId="2134804420"/>
            <ac:picMk id="10" creationId="{D2AD4E5D-72B5-4B8A-AD20-6213DD7A37D1}"/>
          </ac:picMkLst>
        </pc:picChg>
        <pc:picChg chg="del">
          <ac:chgData name="Mariam Daniela Tristancho Pineda (PTA SAS)" userId="a45a17f7-7950-4cb5-bfab-f5c894f959a9" providerId="ADAL" clId="{BA430735-FC7B-48BC-BBBE-407AFEC573E8}" dt="2020-11-04T19:44:23.202" v="68" actId="478"/>
          <ac:picMkLst>
            <pc:docMk/>
            <pc:sldMk cId="2933354058" sldId="2134804420"/>
            <ac:picMk id="11" creationId="{D8D134CE-C2B7-4094-AC4E-EDB61A4F404A}"/>
          </ac:picMkLst>
        </pc:picChg>
      </pc:sldChg>
      <pc:sldChg chg="addSp mod">
        <pc:chgData name="Mariam Daniela Tristancho Pineda (PTA SAS)" userId="a45a17f7-7950-4cb5-bfab-f5c894f959a9" providerId="ADAL" clId="{BA430735-FC7B-48BC-BBBE-407AFEC573E8}" dt="2020-11-11T14:19:20.533" v="623" actId="22"/>
        <pc:sldMkLst>
          <pc:docMk/>
          <pc:sldMk cId="3956612652" sldId="2134804435"/>
        </pc:sldMkLst>
        <pc:spChg chg="add">
          <ac:chgData name="Mariam Daniela Tristancho Pineda (PTA SAS)" userId="a45a17f7-7950-4cb5-bfab-f5c894f959a9" providerId="ADAL" clId="{BA430735-FC7B-48BC-BBBE-407AFEC573E8}" dt="2020-11-11T14:19:20.533" v="623" actId="22"/>
          <ac:spMkLst>
            <pc:docMk/>
            <pc:sldMk cId="3956612652" sldId="2134804435"/>
            <ac:spMk id="2" creationId="{4C047322-E3F3-4E49-97EB-CE1C080D5821}"/>
          </ac:spMkLst>
        </pc:spChg>
      </pc:sldChg>
      <pc:sldChg chg="addSp delSp modSp mod">
        <pc:chgData name="Mariam Daniela Tristancho Pineda (PTA SAS)" userId="a45a17f7-7950-4cb5-bfab-f5c894f959a9" providerId="ADAL" clId="{BA430735-FC7B-48BC-BBBE-407AFEC573E8}" dt="2020-11-04T19:53:14.356" v="622" actId="14100"/>
        <pc:sldMkLst>
          <pc:docMk/>
          <pc:sldMk cId="1052353845" sldId="2134804440"/>
        </pc:sldMkLst>
        <pc:picChg chg="del">
          <ac:chgData name="Mariam Daniela Tristancho Pineda (PTA SAS)" userId="a45a17f7-7950-4cb5-bfab-f5c894f959a9" providerId="ADAL" clId="{BA430735-FC7B-48BC-BBBE-407AFEC573E8}" dt="2020-11-04T19:52:35.200" v="589" actId="478"/>
          <ac:picMkLst>
            <pc:docMk/>
            <pc:sldMk cId="1052353845" sldId="2134804440"/>
            <ac:picMk id="3" creationId="{01635120-EA93-4C06-A497-18CC51F07731}"/>
          </ac:picMkLst>
        </pc:picChg>
        <pc:picChg chg="add mod modCrop">
          <ac:chgData name="Mariam Daniela Tristancho Pineda (PTA SAS)" userId="a45a17f7-7950-4cb5-bfab-f5c894f959a9" providerId="ADAL" clId="{BA430735-FC7B-48BC-BBBE-407AFEC573E8}" dt="2020-11-04T19:53:14.356" v="622" actId="14100"/>
          <ac:picMkLst>
            <pc:docMk/>
            <pc:sldMk cId="1052353845" sldId="2134804440"/>
            <ac:picMk id="4" creationId="{576DB5E4-BFCE-496A-83D6-EAE11A2D0EFA}"/>
          </ac:picMkLst>
        </pc:picChg>
      </pc:sldChg>
      <pc:sldChg chg="modSp mod">
        <pc:chgData name="Mariam Daniela Tristancho Pineda (PTA SAS)" userId="a45a17f7-7950-4cb5-bfab-f5c894f959a9" providerId="ADAL" clId="{BA430735-FC7B-48BC-BBBE-407AFEC573E8}" dt="2020-11-04T19:43:02.135" v="41" actId="20577"/>
        <pc:sldMkLst>
          <pc:docMk/>
          <pc:sldMk cId="3431552256" sldId="2134804442"/>
        </pc:sldMkLst>
        <pc:spChg chg="mod">
          <ac:chgData name="Mariam Daniela Tristancho Pineda (PTA SAS)" userId="a45a17f7-7950-4cb5-bfab-f5c894f959a9" providerId="ADAL" clId="{BA430735-FC7B-48BC-BBBE-407AFEC573E8}" dt="2020-11-04T19:43:02.135" v="41" actId="20577"/>
          <ac:spMkLst>
            <pc:docMk/>
            <pc:sldMk cId="3431552256" sldId="2134804442"/>
            <ac:spMk id="4" creationId="{4D5F0815-E5B4-4E74-8145-A182522C6A3D}"/>
          </ac:spMkLst>
        </pc:spChg>
      </pc:sldChg>
      <pc:sldChg chg="modSp add mod ord">
        <pc:chgData name="Mariam Daniela Tristancho Pineda (PTA SAS)" userId="a45a17f7-7950-4cb5-bfab-f5c894f959a9" providerId="ADAL" clId="{BA430735-FC7B-48BC-BBBE-407AFEC573E8}" dt="2020-11-04T19:43:24.782" v="61"/>
        <pc:sldMkLst>
          <pc:docMk/>
          <pc:sldMk cId="816231440" sldId="2134804444"/>
        </pc:sldMkLst>
        <pc:spChg chg="mod">
          <ac:chgData name="Mariam Daniela Tristancho Pineda (PTA SAS)" userId="a45a17f7-7950-4cb5-bfab-f5c894f959a9" providerId="ADAL" clId="{BA430735-FC7B-48BC-BBBE-407AFEC573E8}" dt="2020-11-04T19:43:17.456" v="52" actId="122"/>
          <ac:spMkLst>
            <pc:docMk/>
            <pc:sldMk cId="816231440" sldId="2134804444"/>
            <ac:spMk id="2" creationId="{6449DAA9-B626-4D62-A7A1-9AC401449A13}"/>
          </ac:spMkLst>
        </pc:spChg>
      </pc:sldChg>
      <pc:sldChg chg="addSp delSp modSp add mod">
        <pc:chgData name="Mariam Daniela Tristancho Pineda (PTA SAS)" userId="a45a17f7-7950-4cb5-bfab-f5c894f959a9" providerId="ADAL" clId="{BA430735-FC7B-48BC-BBBE-407AFEC573E8}" dt="2020-11-04T19:49:01.559" v="502" actId="20577"/>
        <pc:sldMkLst>
          <pc:docMk/>
          <pc:sldMk cId="2125313141" sldId="2134804445"/>
        </pc:sldMkLst>
        <pc:spChg chg="del">
          <ac:chgData name="Mariam Daniela Tristancho Pineda (PTA SAS)" userId="a45a17f7-7950-4cb5-bfab-f5c894f959a9" providerId="ADAL" clId="{BA430735-FC7B-48BC-BBBE-407AFEC573E8}" dt="2020-11-04T19:48:49.215" v="433" actId="478"/>
          <ac:spMkLst>
            <pc:docMk/>
            <pc:sldMk cId="2125313141" sldId="2134804445"/>
            <ac:spMk id="3" creationId="{2C61363C-262F-41AE-A6BA-0D81CE5F5CA5}"/>
          </ac:spMkLst>
        </pc:spChg>
        <pc:spChg chg="add mod">
          <ac:chgData name="Mariam Daniela Tristancho Pineda (PTA SAS)" userId="a45a17f7-7950-4cb5-bfab-f5c894f959a9" providerId="ADAL" clId="{BA430735-FC7B-48BC-BBBE-407AFEC573E8}" dt="2020-11-04T19:49:01.559" v="502" actId="20577"/>
          <ac:spMkLst>
            <pc:docMk/>
            <pc:sldMk cId="2125313141" sldId="2134804445"/>
            <ac:spMk id="5" creationId="{B50F2DA5-FD4A-4502-A7A4-1B4B43A8233B}"/>
          </ac:spMkLst>
        </pc:spChg>
      </pc:sldChg>
      <pc:sldChg chg="addSp delSp modSp add mod">
        <pc:chgData name="Mariam Daniela Tristancho Pineda (PTA SAS)" userId="a45a17f7-7950-4cb5-bfab-f5c894f959a9" providerId="ADAL" clId="{BA430735-FC7B-48BC-BBBE-407AFEC573E8}" dt="2020-11-04T19:49:34.244" v="531" actId="108"/>
        <pc:sldMkLst>
          <pc:docMk/>
          <pc:sldMk cId="3567309089" sldId="2134804446"/>
        </pc:sldMkLst>
        <pc:spChg chg="add mod">
          <ac:chgData name="Mariam Daniela Tristancho Pineda (PTA SAS)" userId="a45a17f7-7950-4cb5-bfab-f5c894f959a9" providerId="ADAL" clId="{BA430735-FC7B-48BC-BBBE-407AFEC573E8}" dt="2020-11-04T19:49:34.244" v="531" actId="108"/>
          <ac:spMkLst>
            <pc:docMk/>
            <pc:sldMk cId="3567309089" sldId="2134804446"/>
            <ac:spMk id="6" creationId="{28A4F05F-C639-403E-9C14-CFCFD0996889}"/>
          </ac:spMkLst>
        </pc:spChg>
        <pc:spChg chg="del">
          <ac:chgData name="Mariam Daniela Tristancho Pineda (PTA SAS)" userId="a45a17f7-7950-4cb5-bfab-f5c894f959a9" providerId="ADAL" clId="{BA430735-FC7B-48BC-BBBE-407AFEC573E8}" dt="2020-11-04T19:49:20.601" v="524" actId="478"/>
          <ac:spMkLst>
            <pc:docMk/>
            <pc:sldMk cId="3567309089" sldId="2134804446"/>
            <ac:spMk id="135" creationId="{C1823568-A421-4254-9106-BAEB76F16B72}"/>
          </ac:spMkLst>
        </pc:spChg>
      </pc:sldChg>
      <pc:sldChg chg="addSp delSp modSp add mod">
        <pc:chgData name="Mariam Daniela Tristancho Pineda (PTA SAS)" userId="a45a17f7-7950-4cb5-bfab-f5c894f959a9" providerId="ADAL" clId="{BA430735-FC7B-48BC-BBBE-407AFEC573E8}" dt="2020-11-04T19:49:49.115" v="536" actId="1076"/>
        <pc:sldMkLst>
          <pc:docMk/>
          <pc:sldMk cId="4177058149" sldId="2134804447"/>
        </pc:sldMkLst>
        <pc:spChg chg="del mod">
          <ac:chgData name="Mariam Daniela Tristancho Pineda (PTA SAS)" userId="a45a17f7-7950-4cb5-bfab-f5c894f959a9" providerId="ADAL" clId="{BA430735-FC7B-48BC-BBBE-407AFEC573E8}" dt="2020-11-04T19:49:47.397" v="535" actId="478"/>
          <ac:spMkLst>
            <pc:docMk/>
            <pc:sldMk cId="4177058149" sldId="2134804447"/>
            <ac:spMk id="7" creationId="{8CF5E1F2-DE3A-454A-B9F1-26024D42A1F2}"/>
          </ac:spMkLst>
        </pc:spChg>
        <pc:spChg chg="add mod">
          <ac:chgData name="Mariam Daniela Tristancho Pineda (PTA SAS)" userId="a45a17f7-7950-4cb5-bfab-f5c894f959a9" providerId="ADAL" clId="{BA430735-FC7B-48BC-BBBE-407AFEC573E8}" dt="2020-11-04T19:49:49.115" v="536" actId="1076"/>
          <ac:spMkLst>
            <pc:docMk/>
            <pc:sldMk cId="4177058149" sldId="2134804447"/>
            <ac:spMk id="8" creationId="{4CD543E3-8FC2-435E-B6A1-4DA9C810237C}"/>
          </ac:spMkLst>
        </pc:spChg>
      </pc:sldChg>
      <pc:sldChg chg="addSp delSp modSp add mod">
        <pc:chgData name="Mariam Daniela Tristancho Pineda (PTA SAS)" userId="a45a17f7-7950-4cb5-bfab-f5c894f959a9" providerId="ADAL" clId="{BA430735-FC7B-48BC-BBBE-407AFEC573E8}" dt="2020-11-04T19:50:12.103" v="544"/>
        <pc:sldMkLst>
          <pc:docMk/>
          <pc:sldMk cId="2325760257" sldId="2134804448"/>
        </pc:sldMkLst>
        <pc:spChg chg="add mod">
          <ac:chgData name="Mariam Daniela Tristancho Pineda (PTA SAS)" userId="a45a17f7-7950-4cb5-bfab-f5c894f959a9" providerId="ADAL" clId="{BA430735-FC7B-48BC-BBBE-407AFEC573E8}" dt="2020-11-04T19:50:12.103" v="544"/>
          <ac:spMkLst>
            <pc:docMk/>
            <pc:sldMk cId="2325760257" sldId="2134804448"/>
            <ac:spMk id="6" creationId="{F921F928-02DC-4B65-9035-BB47DEBE4D8D}"/>
          </ac:spMkLst>
        </pc:spChg>
        <pc:spChg chg="del mod">
          <ac:chgData name="Mariam Daniela Tristancho Pineda (PTA SAS)" userId="a45a17f7-7950-4cb5-bfab-f5c894f959a9" providerId="ADAL" clId="{BA430735-FC7B-48BC-BBBE-407AFEC573E8}" dt="2020-11-04T19:50:09.156" v="543" actId="478"/>
          <ac:spMkLst>
            <pc:docMk/>
            <pc:sldMk cId="2325760257" sldId="2134804448"/>
            <ac:spMk id="135" creationId="{C1823568-A421-4254-9106-BAEB76F16B72}"/>
          </ac:spMkLst>
        </pc:spChg>
      </pc:sldChg>
      <pc:sldChg chg="addSp delSp modSp add mod">
        <pc:chgData name="Mariam Daniela Tristancho Pineda (PTA SAS)" userId="a45a17f7-7950-4cb5-bfab-f5c894f959a9" providerId="ADAL" clId="{BA430735-FC7B-48BC-BBBE-407AFEC573E8}" dt="2020-11-04T19:50:28.026" v="549" actId="478"/>
        <pc:sldMkLst>
          <pc:docMk/>
          <pc:sldMk cId="1465479345" sldId="2134804449"/>
        </pc:sldMkLst>
        <pc:spChg chg="add mod">
          <ac:chgData name="Mariam Daniela Tristancho Pineda (PTA SAS)" userId="a45a17f7-7950-4cb5-bfab-f5c894f959a9" providerId="ADAL" clId="{BA430735-FC7B-48BC-BBBE-407AFEC573E8}" dt="2020-11-04T19:50:26.610" v="548" actId="1076"/>
          <ac:spMkLst>
            <pc:docMk/>
            <pc:sldMk cId="1465479345" sldId="2134804449"/>
            <ac:spMk id="19" creationId="{23C88E5F-79E8-49B5-98B3-244B47C73D29}"/>
          </ac:spMkLst>
        </pc:spChg>
        <pc:spChg chg="del mod">
          <ac:chgData name="Mariam Daniela Tristancho Pineda (PTA SAS)" userId="a45a17f7-7950-4cb5-bfab-f5c894f959a9" providerId="ADAL" clId="{BA430735-FC7B-48BC-BBBE-407AFEC573E8}" dt="2020-11-04T19:50:28.026" v="549" actId="478"/>
          <ac:spMkLst>
            <pc:docMk/>
            <pc:sldMk cId="1465479345" sldId="2134804449"/>
            <ac:spMk id="135" creationId="{C1823568-A421-4254-9106-BAEB76F16B72}"/>
          </ac:spMkLst>
        </pc:spChg>
      </pc:sldChg>
    </pc:docChg>
  </pc:docChgLst>
  <pc:docChgLst>
    <pc:chgData name="Yuly Andrea Castaneda Ramirez (CENIT)" userId="S::yuly.castaneda@cenit-transporte.com::9d6b9224-b289-47c8-b6d4-3bf138101243" providerId="AD" clId="Web-{273310E5-473D-9836-DDDD-E3CFF223FA4B}"/>
    <pc:docChg chg="modSld">
      <pc:chgData name="Yuly Andrea Castaneda Ramirez (CENIT)" userId="S::yuly.castaneda@cenit-transporte.com::9d6b9224-b289-47c8-b6d4-3bf138101243" providerId="AD" clId="Web-{273310E5-473D-9836-DDDD-E3CFF223FA4B}" dt="2020-06-16T23:08:45.604" v="31"/>
      <pc:docMkLst>
        <pc:docMk/>
      </pc:docMkLst>
      <pc:sldChg chg="addSp delSp modSp">
        <pc:chgData name="Yuly Andrea Castaneda Ramirez (CENIT)" userId="S::yuly.castaneda@cenit-transporte.com::9d6b9224-b289-47c8-b6d4-3bf138101243" providerId="AD" clId="Web-{273310E5-473D-9836-DDDD-E3CFF223FA4B}" dt="2020-06-16T23:08:45.604" v="31"/>
        <pc:sldMkLst>
          <pc:docMk/>
          <pc:sldMk cId="838099151" sldId="2134804292"/>
        </pc:sldMkLst>
        <pc:spChg chg="add del mod">
          <ac:chgData name="Yuly Andrea Castaneda Ramirez (CENIT)" userId="S::yuly.castaneda@cenit-transporte.com::9d6b9224-b289-47c8-b6d4-3bf138101243" providerId="AD" clId="Web-{273310E5-473D-9836-DDDD-E3CFF223FA4B}" dt="2020-06-16T23:05:19.868" v="9"/>
          <ac:spMkLst>
            <pc:docMk/>
            <pc:sldMk cId="838099151" sldId="2134804292"/>
            <ac:spMk id="11" creationId="{FE8F7237-62A5-4691-816B-12FFB472711F}"/>
          </ac:spMkLst>
        </pc:spChg>
        <pc:spChg chg="add del mod">
          <ac:chgData name="Yuly Andrea Castaneda Ramirez (CENIT)" userId="S::yuly.castaneda@cenit-transporte.com::9d6b9224-b289-47c8-b6d4-3bf138101243" providerId="AD" clId="Web-{273310E5-473D-9836-DDDD-E3CFF223FA4B}" dt="2020-06-16T23:04:37.993" v="6"/>
          <ac:spMkLst>
            <pc:docMk/>
            <pc:sldMk cId="838099151" sldId="2134804292"/>
            <ac:spMk id="12" creationId="{3C650C94-3134-4818-9079-FC1D4126E996}"/>
          </ac:spMkLst>
        </pc:spChg>
        <pc:spChg chg="add mod">
          <ac:chgData name="Yuly Andrea Castaneda Ramirez (CENIT)" userId="S::yuly.castaneda@cenit-transporte.com::9d6b9224-b289-47c8-b6d4-3bf138101243" providerId="AD" clId="Web-{273310E5-473D-9836-DDDD-E3CFF223FA4B}" dt="2020-06-16T23:07:55.510" v="29" actId="20577"/>
          <ac:spMkLst>
            <pc:docMk/>
            <pc:sldMk cId="838099151" sldId="2134804292"/>
            <ac:spMk id="13" creationId="{D1CF4700-4906-4F29-B146-BA40E72EA40A}"/>
          </ac:spMkLst>
        </pc:spChg>
        <pc:spChg chg="add">
          <ac:chgData name="Yuly Andrea Castaneda Ramirez (CENIT)" userId="S::yuly.castaneda@cenit-transporte.com::9d6b9224-b289-47c8-b6d4-3bf138101243" providerId="AD" clId="Web-{273310E5-473D-9836-DDDD-E3CFF223FA4B}" dt="2020-06-16T23:08:31.636" v="30"/>
          <ac:spMkLst>
            <pc:docMk/>
            <pc:sldMk cId="838099151" sldId="2134804292"/>
            <ac:spMk id="71" creationId="{A69B7E9C-1301-476B-9B8D-50B1CA3CB77F}"/>
          </ac:spMkLst>
        </pc:spChg>
        <pc:spChg chg="add">
          <ac:chgData name="Yuly Andrea Castaneda Ramirez (CENIT)" userId="S::yuly.castaneda@cenit-transporte.com::9d6b9224-b289-47c8-b6d4-3bf138101243" providerId="AD" clId="Web-{273310E5-473D-9836-DDDD-E3CFF223FA4B}" dt="2020-06-16T23:08:45.604" v="31"/>
          <ac:spMkLst>
            <pc:docMk/>
            <pc:sldMk cId="838099151" sldId="2134804292"/>
            <ac:spMk id="72" creationId="{622D38D3-D447-4679-8F81-A3EC3CD4CFF6}"/>
          </ac:spMkLst>
        </pc:spChg>
        <pc:spChg chg="mod">
          <ac:chgData name="Yuly Andrea Castaneda Ramirez (CENIT)" userId="S::yuly.castaneda@cenit-transporte.com::9d6b9224-b289-47c8-b6d4-3bf138101243" providerId="AD" clId="Web-{273310E5-473D-9836-DDDD-E3CFF223FA4B}" dt="2020-06-16T23:06:49.463" v="23"/>
          <ac:spMkLst>
            <pc:docMk/>
            <pc:sldMk cId="838099151" sldId="2134804292"/>
            <ac:spMk id="137" creationId="{F2F1441C-82E3-4978-ADB4-2E81AB714A12}"/>
          </ac:spMkLst>
        </pc:spChg>
      </pc:sldChg>
    </pc:docChg>
  </pc:docChgLst>
  <pc:docChgLst>
    <pc:chgData name="Usuario invitado" userId="S::urn:spo:anon#b933a1cd6c262c2ea2de06dff5719170cc032ca5efad2f99714f796601fe0170::" providerId="AD" clId="Web-{8C6BFE43-C6C3-82F0-2C98-6053FF4C8C59}"/>
    <pc:docChg chg="modSld">
      <pc:chgData name="Usuario invitado" userId="S::urn:spo:anon#b933a1cd6c262c2ea2de06dff5719170cc032ca5efad2f99714f796601fe0170::" providerId="AD" clId="Web-{8C6BFE43-C6C3-82F0-2C98-6053FF4C8C59}" dt="2020-07-30T21:38:50.240" v="607"/>
      <pc:docMkLst>
        <pc:docMk/>
      </pc:docMkLst>
      <pc:sldChg chg="addSp modSp">
        <pc:chgData name="Usuario invitado" userId="S::urn:spo:anon#b933a1cd6c262c2ea2de06dff5719170cc032ca5efad2f99714f796601fe0170::" providerId="AD" clId="Web-{8C6BFE43-C6C3-82F0-2C98-6053FF4C8C59}" dt="2020-07-30T21:38:50.240" v="607"/>
        <pc:sldMkLst>
          <pc:docMk/>
          <pc:sldMk cId="2197550008" sldId="2134804299"/>
        </pc:sldMkLst>
        <pc:spChg chg="add mod">
          <ac:chgData name="Usuario invitado" userId="S::urn:spo:anon#b933a1cd6c262c2ea2de06dff5719170cc032ca5efad2f99714f796601fe0170::" providerId="AD" clId="Web-{8C6BFE43-C6C3-82F0-2C98-6053FF4C8C59}" dt="2020-07-30T21:38:50.240" v="607"/>
          <ac:spMkLst>
            <pc:docMk/>
            <pc:sldMk cId="2197550008" sldId="2134804299"/>
            <ac:spMk id="7" creationId="{35EEDC51-46F2-4DF0-9497-D8595E605F8C}"/>
          </ac:spMkLst>
        </pc:spChg>
      </pc:sldChg>
      <pc:sldChg chg="modSp">
        <pc:chgData name="Usuario invitado" userId="S::urn:spo:anon#b933a1cd6c262c2ea2de06dff5719170cc032ca5efad2f99714f796601fe0170::" providerId="AD" clId="Web-{8C6BFE43-C6C3-82F0-2C98-6053FF4C8C59}" dt="2020-07-30T21:29:14.694" v="0" actId="20577"/>
        <pc:sldMkLst>
          <pc:docMk/>
          <pc:sldMk cId="2351433242" sldId="2134804322"/>
        </pc:sldMkLst>
        <pc:spChg chg="mod">
          <ac:chgData name="Usuario invitado" userId="S::urn:spo:anon#b933a1cd6c262c2ea2de06dff5719170cc032ca5efad2f99714f796601fe0170::" providerId="AD" clId="Web-{8C6BFE43-C6C3-82F0-2C98-6053FF4C8C59}" dt="2020-07-30T21:29:14.694" v="0" actId="20577"/>
          <ac:spMkLst>
            <pc:docMk/>
            <pc:sldMk cId="2351433242" sldId="2134804322"/>
            <ac:spMk id="2" creationId="{6431BBCF-96E5-45A7-B7E5-D44090D06329}"/>
          </ac:spMkLst>
        </pc:spChg>
      </pc:sldChg>
      <pc:sldChg chg="addSp modSp">
        <pc:chgData name="Usuario invitado" userId="S::urn:spo:anon#b933a1cd6c262c2ea2de06dff5719170cc032ca5efad2f99714f796601fe0170::" providerId="AD" clId="Web-{8C6BFE43-C6C3-82F0-2C98-6053FF4C8C59}" dt="2020-07-30T21:31:17.713" v="298"/>
        <pc:sldMkLst>
          <pc:docMk/>
          <pc:sldMk cId="240968699" sldId="2134804330"/>
        </pc:sldMkLst>
        <pc:spChg chg="add mod">
          <ac:chgData name="Usuario invitado" userId="S::urn:spo:anon#b933a1cd6c262c2ea2de06dff5719170cc032ca5efad2f99714f796601fe0170::" providerId="AD" clId="Web-{8C6BFE43-C6C3-82F0-2C98-6053FF4C8C59}" dt="2020-07-30T21:31:17.713" v="298"/>
          <ac:spMkLst>
            <pc:docMk/>
            <pc:sldMk cId="240968699" sldId="2134804330"/>
            <ac:spMk id="6" creationId="{B29880F2-B7E7-4F8E-A212-3649A13E5172}"/>
          </ac:spMkLst>
        </pc:spChg>
      </pc:sldChg>
      <pc:sldChg chg="addSp modSp">
        <pc:chgData name="Usuario invitado" userId="S::urn:spo:anon#b933a1cd6c262c2ea2de06dff5719170cc032ca5efad2f99714f796601fe0170::" providerId="AD" clId="Web-{8C6BFE43-C6C3-82F0-2C98-6053FF4C8C59}" dt="2020-07-30T21:32:14.995" v="306" actId="20577"/>
        <pc:sldMkLst>
          <pc:docMk/>
          <pc:sldMk cId="827790441" sldId="2134804336"/>
        </pc:sldMkLst>
        <pc:spChg chg="add mod">
          <ac:chgData name="Usuario invitado" userId="S::urn:spo:anon#b933a1cd6c262c2ea2de06dff5719170cc032ca5efad2f99714f796601fe0170::" providerId="AD" clId="Web-{8C6BFE43-C6C3-82F0-2C98-6053FF4C8C59}" dt="2020-07-30T21:32:14.995" v="306" actId="20577"/>
          <ac:spMkLst>
            <pc:docMk/>
            <pc:sldMk cId="827790441" sldId="2134804336"/>
            <ac:spMk id="12" creationId="{F33F254F-6A36-4417-A405-3B7784957C92}"/>
          </ac:spMkLst>
        </pc:spChg>
      </pc:sldChg>
    </pc:docChg>
  </pc:docChgLst>
  <pc:docChgLst>
    <pc:chgData name="Yuly Andrea Castaneda Ramirez" userId="9d6b9224-b289-47c8-b6d4-3bf138101243" providerId="ADAL" clId="{84B1D3F8-5115-4260-9009-9A4CA94A61D8}"/>
    <pc:docChg chg="sldOrd">
      <pc:chgData name="Yuly Andrea Castaneda Ramirez" userId="9d6b9224-b289-47c8-b6d4-3bf138101243" providerId="ADAL" clId="{84B1D3F8-5115-4260-9009-9A4CA94A61D8}" dt="2020-10-14T14:45:42.416" v="0" actId="20578"/>
      <pc:docMkLst>
        <pc:docMk/>
      </pc:docMkLst>
      <pc:sldChg chg="ord">
        <pc:chgData name="Yuly Andrea Castaneda Ramirez" userId="9d6b9224-b289-47c8-b6d4-3bf138101243" providerId="ADAL" clId="{84B1D3F8-5115-4260-9009-9A4CA94A61D8}" dt="2020-10-14T14:45:42.416" v="0" actId="20578"/>
        <pc:sldMkLst>
          <pc:docMk/>
          <pc:sldMk cId="2695251238" sldId="2134803693"/>
        </pc:sldMkLst>
      </pc:sldChg>
    </pc:docChg>
  </pc:docChgLst>
  <pc:docChgLst>
    <pc:chgData name="Andrea Mogollon Nossa (CENIT)" userId="S::andrea.mogollon@cenit-transporte.com::f6a3e592-cc27-4858-b185-ff86be206069" providerId="AD" clId="Web-{FDDB2075-5042-C163-EABE-A5942F2A696C}"/>
    <pc:docChg chg="modSld">
      <pc:chgData name="Andrea Mogollon Nossa (CENIT)" userId="S::andrea.mogollon@cenit-transporte.com::f6a3e592-cc27-4858-b185-ff86be206069" providerId="AD" clId="Web-{FDDB2075-5042-C163-EABE-A5942F2A696C}" dt="2020-06-23T15:52:17.695" v="1" actId="20577"/>
      <pc:docMkLst>
        <pc:docMk/>
      </pc:docMkLst>
      <pc:sldChg chg="modSp">
        <pc:chgData name="Andrea Mogollon Nossa (CENIT)" userId="S::andrea.mogollon@cenit-transporte.com::f6a3e592-cc27-4858-b185-ff86be206069" providerId="AD" clId="Web-{FDDB2075-5042-C163-EABE-A5942F2A696C}" dt="2020-06-23T15:52:17.695" v="1" actId="20577"/>
        <pc:sldMkLst>
          <pc:docMk/>
          <pc:sldMk cId="838099151" sldId="2134804292"/>
        </pc:sldMkLst>
        <pc:spChg chg="mod">
          <ac:chgData name="Andrea Mogollon Nossa (CENIT)" userId="S::andrea.mogollon@cenit-transporte.com::f6a3e592-cc27-4858-b185-ff86be206069" providerId="AD" clId="Web-{FDDB2075-5042-C163-EABE-A5942F2A696C}" dt="2020-06-23T15:52:17.695" v="1" actId="20577"/>
          <ac:spMkLst>
            <pc:docMk/>
            <pc:sldMk cId="838099151" sldId="2134804292"/>
            <ac:spMk id="103" creationId="{BDBCDC72-F935-45A4-AE31-C045019965AF}"/>
          </ac:spMkLst>
        </pc:spChg>
      </pc:sldChg>
    </pc:docChg>
  </pc:docChgLst>
  <pc:docChgLst>
    <pc:chgData name="Andrea Mogollon Nossa (CENIT)" userId="S::andrea.mogollon@cenit-transporte.com::f6a3e592-cc27-4858-b185-ff86be206069" providerId="AD" clId="Web-{B4ECD4BA-4E63-9DE1-2EB1-C99A1C16983A}"/>
    <pc:docChg chg="modSld">
      <pc:chgData name="Andrea Mogollon Nossa (CENIT)" userId="S::andrea.mogollon@cenit-transporte.com::f6a3e592-cc27-4858-b185-ff86be206069" providerId="AD" clId="Web-{B4ECD4BA-4E63-9DE1-2EB1-C99A1C16983A}" dt="2020-06-16T15:31:32.221" v="81" actId="20577"/>
      <pc:docMkLst>
        <pc:docMk/>
      </pc:docMkLst>
      <pc:sldChg chg="delSp">
        <pc:chgData name="Andrea Mogollon Nossa (CENIT)" userId="S::andrea.mogollon@cenit-transporte.com::f6a3e592-cc27-4858-b185-ff86be206069" providerId="AD" clId="Web-{B4ECD4BA-4E63-9DE1-2EB1-C99A1C16983A}" dt="2020-06-16T15:29:18.907" v="0"/>
        <pc:sldMkLst>
          <pc:docMk/>
          <pc:sldMk cId="692789810" sldId="2134804140"/>
        </pc:sldMkLst>
        <pc:spChg chg="del">
          <ac:chgData name="Andrea Mogollon Nossa (CENIT)" userId="S::andrea.mogollon@cenit-transporte.com::f6a3e592-cc27-4858-b185-ff86be206069" providerId="AD" clId="Web-{B4ECD4BA-4E63-9DE1-2EB1-C99A1C16983A}" dt="2020-06-16T15:29:18.907" v="0"/>
          <ac:spMkLst>
            <pc:docMk/>
            <pc:sldMk cId="692789810" sldId="2134804140"/>
            <ac:spMk id="4" creationId="{F1D6036A-41E0-4F3D-A5EF-2DB3D43D4BE6}"/>
          </ac:spMkLst>
        </pc:spChg>
      </pc:sldChg>
      <pc:sldChg chg="modSp">
        <pc:chgData name="Andrea Mogollon Nossa (CENIT)" userId="S::andrea.mogollon@cenit-transporte.com::f6a3e592-cc27-4858-b185-ff86be206069" providerId="AD" clId="Web-{B4ECD4BA-4E63-9DE1-2EB1-C99A1C16983A}" dt="2020-06-16T15:31:31.612" v="79" actId="20577"/>
        <pc:sldMkLst>
          <pc:docMk/>
          <pc:sldMk cId="1753765174" sldId="2134804296"/>
        </pc:sldMkLst>
        <pc:spChg chg="mod">
          <ac:chgData name="Andrea Mogollon Nossa (CENIT)" userId="S::andrea.mogollon@cenit-transporte.com::f6a3e592-cc27-4858-b185-ff86be206069" providerId="AD" clId="Web-{B4ECD4BA-4E63-9DE1-2EB1-C99A1C16983A}" dt="2020-06-16T15:31:31.612" v="79" actId="20577"/>
          <ac:spMkLst>
            <pc:docMk/>
            <pc:sldMk cId="1753765174" sldId="2134804296"/>
            <ac:spMk id="18" creationId="{3E32D7EF-4106-4A2F-AC29-5FC50317D487}"/>
          </ac:spMkLst>
        </pc:spChg>
      </pc:sldChg>
    </pc:docChg>
  </pc:docChgLst>
  <pc:docChgLst>
    <pc:chgData name="Usuario invitado" userId="S::urn:spo:anon#9958016e3e12af99a6c120d01775a042b81b7ac779b248bfa4c093fcc2a1c362::" providerId="AD" clId="Web-{7DE524C8-4B2A-7FD6-5343-3930B228641C}"/>
    <pc:docChg chg="delSld modSld">
      <pc:chgData name="Usuario invitado" userId="S::urn:spo:anon#9958016e3e12af99a6c120d01775a042b81b7ac779b248bfa4c093fcc2a1c362::" providerId="AD" clId="Web-{7DE524C8-4B2A-7FD6-5343-3930B228641C}" dt="2020-06-17T17:20:33.683" v="58" actId="1076"/>
      <pc:docMkLst>
        <pc:docMk/>
      </pc:docMkLst>
      <pc:sldChg chg="del">
        <pc:chgData name="Usuario invitado" userId="S::urn:spo:anon#9958016e3e12af99a6c120d01775a042b81b7ac779b248bfa4c093fcc2a1c362::" providerId="AD" clId="Web-{7DE524C8-4B2A-7FD6-5343-3930B228641C}" dt="2020-06-17T17:16:02.774" v="0"/>
        <pc:sldMkLst>
          <pc:docMk/>
          <pc:sldMk cId="161167782" sldId="2134804298"/>
        </pc:sldMkLst>
      </pc:sldChg>
      <pc:sldChg chg="addSp modSp">
        <pc:chgData name="Usuario invitado" userId="S::urn:spo:anon#9958016e3e12af99a6c120d01775a042b81b7ac779b248bfa4c093fcc2a1c362::" providerId="AD" clId="Web-{7DE524C8-4B2A-7FD6-5343-3930B228641C}" dt="2020-06-17T17:20:33.683" v="58" actId="1076"/>
        <pc:sldMkLst>
          <pc:docMk/>
          <pc:sldMk cId="888575759" sldId="2134804310"/>
        </pc:sldMkLst>
        <pc:spChg chg="mod">
          <ac:chgData name="Usuario invitado" userId="S::urn:spo:anon#9958016e3e12af99a6c120d01775a042b81b7ac779b248bfa4c093fcc2a1c362::" providerId="AD" clId="Web-{7DE524C8-4B2A-7FD6-5343-3930B228641C}" dt="2020-06-17T17:19:27.042" v="25" actId="20577"/>
          <ac:spMkLst>
            <pc:docMk/>
            <pc:sldMk cId="888575759" sldId="2134804310"/>
            <ac:spMk id="4" creationId="{8D7CE29D-5B5D-422A-AFD4-3542EF5AECE6}"/>
          </ac:spMkLst>
        </pc:spChg>
        <pc:spChg chg="mod">
          <ac:chgData name="Usuario invitado" userId="S::urn:spo:anon#9958016e3e12af99a6c120d01775a042b81b7ac779b248bfa4c093fcc2a1c362::" providerId="AD" clId="Web-{7DE524C8-4B2A-7FD6-5343-3930B228641C}" dt="2020-06-17T17:18:35.088" v="15"/>
          <ac:spMkLst>
            <pc:docMk/>
            <pc:sldMk cId="888575759" sldId="2134804310"/>
            <ac:spMk id="7" creationId="{DC709DF1-9EE3-450C-A671-EC5F06474CAB}"/>
          </ac:spMkLst>
        </pc:spChg>
        <pc:spChg chg="mod">
          <ac:chgData name="Usuario invitado" userId="S::urn:spo:anon#9958016e3e12af99a6c120d01775a042b81b7ac779b248bfa4c093fcc2a1c362::" providerId="AD" clId="Web-{7DE524C8-4B2A-7FD6-5343-3930B228641C}" dt="2020-06-17T17:18:40.823" v="16"/>
          <ac:spMkLst>
            <pc:docMk/>
            <pc:sldMk cId="888575759" sldId="2134804310"/>
            <ac:spMk id="8" creationId="{C2EE283C-164E-417D-8857-BF9E92B02925}"/>
          </ac:spMkLst>
        </pc:spChg>
        <pc:spChg chg="mod">
          <ac:chgData name="Usuario invitado" userId="S::urn:spo:anon#9958016e3e12af99a6c120d01775a042b81b7ac779b248bfa4c093fcc2a1c362::" providerId="AD" clId="Web-{7DE524C8-4B2A-7FD6-5343-3930B228641C}" dt="2020-06-17T17:18:48.760" v="18" actId="1076"/>
          <ac:spMkLst>
            <pc:docMk/>
            <pc:sldMk cId="888575759" sldId="2134804310"/>
            <ac:spMk id="9" creationId="{A806DCDE-C774-4055-BB52-13335B10124B}"/>
          </ac:spMkLst>
        </pc:spChg>
        <pc:spChg chg="mod">
          <ac:chgData name="Usuario invitado" userId="S::urn:spo:anon#9958016e3e12af99a6c120d01775a042b81b7ac779b248bfa4c093fcc2a1c362::" providerId="AD" clId="Web-{7DE524C8-4B2A-7FD6-5343-3930B228641C}" dt="2020-06-17T17:18:55.354" v="20" actId="14100"/>
          <ac:spMkLst>
            <pc:docMk/>
            <pc:sldMk cId="888575759" sldId="2134804310"/>
            <ac:spMk id="10" creationId="{668DF9D7-8A87-44BC-AC4E-32CC9DDD1A56}"/>
          </ac:spMkLst>
        </pc:spChg>
        <pc:spChg chg="mod">
          <ac:chgData name="Usuario invitado" userId="S::urn:spo:anon#9958016e3e12af99a6c120d01775a042b81b7ac779b248bfa4c093fcc2a1c362::" providerId="AD" clId="Web-{7DE524C8-4B2A-7FD6-5343-3930B228641C}" dt="2020-06-17T17:18:28.994" v="14" actId="1076"/>
          <ac:spMkLst>
            <pc:docMk/>
            <pc:sldMk cId="888575759" sldId="2134804310"/>
            <ac:spMk id="17" creationId="{C833C0BC-65B6-4CFB-BE40-4A75511923B2}"/>
          </ac:spMkLst>
        </pc:spChg>
        <pc:spChg chg="mod">
          <ac:chgData name="Usuario invitado" userId="S::urn:spo:anon#9958016e3e12af99a6c120d01775a042b81b7ac779b248bfa4c093fcc2a1c362::" providerId="AD" clId="Web-{7DE524C8-4B2A-7FD6-5343-3930B228641C}" dt="2020-06-17T17:18:11.228" v="11"/>
          <ac:spMkLst>
            <pc:docMk/>
            <pc:sldMk cId="888575759" sldId="2134804310"/>
            <ac:spMk id="18" creationId="{5AB1AAF5-3757-46E8-BE65-D942897A3BA1}"/>
          </ac:spMkLst>
        </pc:spChg>
        <pc:spChg chg="mod">
          <ac:chgData name="Usuario invitado" userId="S::urn:spo:anon#9958016e3e12af99a6c120d01775a042b81b7ac779b248bfa4c093fcc2a1c362::" providerId="AD" clId="Web-{7DE524C8-4B2A-7FD6-5343-3930B228641C}" dt="2020-06-17T17:18:17.275" v="12"/>
          <ac:spMkLst>
            <pc:docMk/>
            <pc:sldMk cId="888575759" sldId="2134804310"/>
            <ac:spMk id="19" creationId="{74CF077A-13B3-44D7-B551-99041FE15671}"/>
          </ac:spMkLst>
        </pc:spChg>
        <pc:spChg chg="mod">
          <ac:chgData name="Usuario invitado" userId="S::urn:spo:anon#9958016e3e12af99a6c120d01775a042b81b7ac779b248bfa4c093fcc2a1c362::" providerId="AD" clId="Web-{7DE524C8-4B2A-7FD6-5343-3930B228641C}" dt="2020-06-17T17:18:22.650" v="13"/>
          <ac:spMkLst>
            <pc:docMk/>
            <pc:sldMk cId="888575759" sldId="2134804310"/>
            <ac:spMk id="20" creationId="{B4625FB5-093C-4C01-8984-C4A9CCAF8D84}"/>
          </ac:spMkLst>
        </pc:spChg>
        <pc:spChg chg="add mod">
          <ac:chgData name="Usuario invitado" userId="S::urn:spo:anon#9958016e3e12af99a6c120d01775a042b81b7ac779b248bfa4c093fcc2a1c362::" providerId="AD" clId="Web-{7DE524C8-4B2A-7FD6-5343-3930B228641C}" dt="2020-06-17T17:20:33.683" v="58" actId="1076"/>
          <ac:spMkLst>
            <pc:docMk/>
            <pc:sldMk cId="888575759" sldId="2134804310"/>
            <ac:spMk id="171" creationId="{C6CEC047-8BDC-4D5F-B351-53BC9E694CED}"/>
          </ac:spMkLst>
        </pc:spChg>
        <pc:grpChg chg="mod">
          <ac:chgData name="Usuario invitado" userId="S::urn:spo:anon#9958016e3e12af99a6c120d01775a042b81b7ac779b248bfa4c093fcc2a1c362::" providerId="AD" clId="Web-{7DE524C8-4B2A-7FD6-5343-3930B228641C}" dt="2020-06-17T17:17:22.103" v="2" actId="1076"/>
          <ac:grpSpMkLst>
            <pc:docMk/>
            <pc:sldMk cId="888575759" sldId="2134804310"/>
            <ac:grpSpMk id="5" creationId="{B8B3F25F-5EEF-49B5-AF43-A778A4A44B6A}"/>
          </ac:grpSpMkLst>
        </pc:grpChg>
        <pc:grpChg chg="mod">
          <ac:chgData name="Usuario invitado" userId="S::urn:spo:anon#9958016e3e12af99a6c120d01775a042b81b7ac779b248bfa4c093fcc2a1c362::" providerId="AD" clId="Web-{7DE524C8-4B2A-7FD6-5343-3930B228641C}" dt="2020-06-17T17:19:01.026" v="21" actId="1076"/>
          <ac:grpSpMkLst>
            <pc:docMk/>
            <pc:sldMk cId="888575759" sldId="2134804310"/>
            <ac:grpSpMk id="15" creationId="{41EBE1F9-8288-4A08-BEED-96A4EBB42235}"/>
          </ac:grpSpMkLst>
        </pc:grpChg>
      </pc:sldChg>
    </pc:docChg>
  </pc:docChgLst>
  <pc:docChgLst>
    <pc:chgData name="Andrea Mogollon Nossa (CENIT)" userId="f6a3e592-cc27-4858-b185-ff86be206069" providerId="ADAL" clId="{099665BA-7E22-4362-91DC-4DB78D16BAF9}"/>
    <pc:docChg chg="modSld sldOrd">
      <pc:chgData name="Andrea Mogollon Nossa (CENIT)" userId="f6a3e592-cc27-4858-b185-ff86be206069" providerId="ADAL" clId="{099665BA-7E22-4362-91DC-4DB78D16BAF9}" dt="2020-12-23T17:02:59.111" v="14" actId="1076"/>
      <pc:docMkLst>
        <pc:docMk/>
      </pc:docMkLst>
      <pc:sldChg chg="ord">
        <pc:chgData name="Andrea Mogollon Nossa (CENIT)" userId="f6a3e592-cc27-4858-b185-ff86be206069" providerId="ADAL" clId="{099665BA-7E22-4362-91DC-4DB78D16BAF9}" dt="2020-12-11T17:09:01.578" v="1"/>
        <pc:sldMkLst>
          <pc:docMk/>
          <pc:sldMk cId="2933354058" sldId="2134804420"/>
        </pc:sldMkLst>
      </pc:sldChg>
      <pc:sldChg chg="mod modShow">
        <pc:chgData name="Andrea Mogollon Nossa (CENIT)" userId="f6a3e592-cc27-4858-b185-ff86be206069" providerId="ADAL" clId="{099665BA-7E22-4362-91DC-4DB78D16BAF9}" dt="2020-12-11T17:16:36.426" v="2" actId="729"/>
        <pc:sldMkLst>
          <pc:docMk/>
          <pc:sldMk cId="1658945044" sldId="2134804433"/>
        </pc:sldMkLst>
      </pc:sldChg>
      <pc:sldChg chg="modSp mod">
        <pc:chgData name="Andrea Mogollon Nossa (CENIT)" userId="f6a3e592-cc27-4858-b185-ff86be206069" providerId="ADAL" clId="{099665BA-7E22-4362-91DC-4DB78D16BAF9}" dt="2020-12-11T17:16:48.460" v="13" actId="6549"/>
        <pc:sldMkLst>
          <pc:docMk/>
          <pc:sldMk cId="3431552256" sldId="2134804442"/>
        </pc:sldMkLst>
        <pc:spChg chg="mod">
          <ac:chgData name="Andrea Mogollon Nossa (CENIT)" userId="f6a3e592-cc27-4858-b185-ff86be206069" providerId="ADAL" clId="{099665BA-7E22-4362-91DC-4DB78D16BAF9}" dt="2020-12-11T17:16:48.460" v="13" actId="6549"/>
          <ac:spMkLst>
            <pc:docMk/>
            <pc:sldMk cId="3431552256" sldId="2134804442"/>
            <ac:spMk id="4" creationId="{4D5F0815-E5B4-4E74-8145-A182522C6A3D}"/>
          </ac:spMkLst>
        </pc:spChg>
      </pc:sldChg>
      <pc:sldChg chg="modSp mod">
        <pc:chgData name="Andrea Mogollon Nossa (CENIT)" userId="f6a3e592-cc27-4858-b185-ff86be206069" providerId="ADAL" clId="{099665BA-7E22-4362-91DC-4DB78D16BAF9}" dt="2020-12-23T17:02:59.111" v="14" actId="1076"/>
        <pc:sldMkLst>
          <pc:docMk/>
          <pc:sldMk cId="2325760257" sldId="2134804448"/>
        </pc:sldMkLst>
        <pc:spChg chg="mod">
          <ac:chgData name="Andrea Mogollon Nossa (CENIT)" userId="f6a3e592-cc27-4858-b185-ff86be206069" providerId="ADAL" clId="{099665BA-7E22-4362-91DC-4DB78D16BAF9}" dt="2020-12-23T17:02:59.111" v="14" actId="1076"/>
          <ac:spMkLst>
            <pc:docMk/>
            <pc:sldMk cId="2325760257" sldId="2134804448"/>
            <ac:spMk id="84" creationId="{293DBAF3-3942-4C58-8A63-D4484E215E20}"/>
          </ac:spMkLst>
        </pc:spChg>
      </pc:sldChg>
    </pc:docChg>
  </pc:docChgLst>
  <pc:docChgLst>
    <pc:chgData name="Yuly Andrea Castaneda Ramirez (CENIT)" userId="S::yuly.castaneda@cenit-transporte.com::9d6b9224-b289-47c8-b6d4-3bf138101243" providerId="AD" clId="Web-{09AAA5FA-EAD4-E4C8-ECAC-59E57DE1C687}"/>
    <pc:docChg chg="modSld">
      <pc:chgData name="Yuly Andrea Castaneda Ramirez (CENIT)" userId="S::yuly.castaneda@cenit-transporte.com::9d6b9224-b289-47c8-b6d4-3bf138101243" providerId="AD" clId="Web-{09AAA5FA-EAD4-E4C8-ECAC-59E57DE1C687}" dt="2020-07-31T14:35:41.495" v="9" actId="1076"/>
      <pc:docMkLst>
        <pc:docMk/>
      </pc:docMkLst>
      <pc:sldChg chg="modSp">
        <pc:chgData name="Yuly Andrea Castaneda Ramirez (CENIT)" userId="S::yuly.castaneda@cenit-transporte.com::9d6b9224-b289-47c8-b6d4-3bf138101243" providerId="AD" clId="Web-{09AAA5FA-EAD4-E4C8-ECAC-59E57DE1C687}" dt="2020-07-31T14:35:28.979" v="7" actId="1076"/>
        <pc:sldMkLst>
          <pc:docMk/>
          <pc:sldMk cId="1108072925" sldId="2134804343"/>
        </pc:sldMkLst>
        <pc:spChg chg="mod">
          <ac:chgData name="Yuly Andrea Castaneda Ramirez (CENIT)" userId="S::yuly.castaneda@cenit-transporte.com::9d6b9224-b289-47c8-b6d4-3bf138101243" providerId="AD" clId="Web-{09AAA5FA-EAD4-E4C8-ECAC-59E57DE1C687}" dt="2020-07-31T14:35:02.852" v="1" actId="1076"/>
          <ac:spMkLst>
            <pc:docMk/>
            <pc:sldMk cId="1108072925" sldId="2134804343"/>
            <ac:spMk id="114" creationId="{34834366-0759-4E89-9A3A-288B6DA6C8C5}"/>
          </ac:spMkLst>
        </pc:spChg>
        <pc:spChg chg="mod">
          <ac:chgData name="Yuly Andrea Castaneda Ramirez (CENIT)" userId="S::yuly.castaneda@cenit-transporte.com::9d6b9224-b289-47c8-b6d4-3bf138101243" providerId="AD" clId="Web-{09AAA5FA-EAD4-E4C8-ECAC-59E57DE1C687}" dt="2020-07-31T14:35:07.852" v="2" actId="1076"/>
          <ac:spMkLst>
            <pc:docMk/>
            <pc:sldMk cId="1108072925" sldId="2134804343"/>
            <ac:spMk id="117" creationId="{7F6BC1DB-4E40-4A47-850A-79B462E1AE26}"/>
          </ac:spMkLst>
        </pc:spChg>
        <pc:spChg chg="mod">
          <ac:chgData name="Yuly Andrea Castaneda Ramirez (CENIT)" userId="S::yuly.castaneda@cenit-transporte.com::9d6b9224-b289-47c8-b6d4-3bf138101243" providerId="AD" clId="Web-{09AAA5FA-EAD4-E4C8-ECAC-59E57DE1C687}" dt="2020-07-31T14:35:13.056" v="3" actId="1076"/>
          <ac:spMkLst>
            <pc:docMk/>
            <pc:sldMk cId="1108072925" sldId="2134804343"/>
            <ac:spMk id="120" creationId="{E73BF53D-5C4E-4100-BC6B-1DFC8B8FC737}"/>
          </ac:spMkLst>
        </pc:spChg>
        <pc:spChg chg="mod">
          <ac:chgData name="Yuly Andrea Castaneda Ramirez (CENIT)" userId="S::yuly.castaneda@cenit-transporte.com::9d6b9224-b289-47c8-b6d4-3bf138101243" providerId="AD" clId="Web-{09AAA5FA-EAD4-E4C8-ECAC-59E57DE1C687}" dt="2020-07-31T14:35:18.759" v="5" actId="1076"/>
          <ac:spMkLst>
            <pc:docMk/>
            <pc:sldMk cId="1108072925" sldId="2134804343"/>
            <ac:spMk id="123" creationId="{AF32E794-4F50-4939-826B-17544165148C}"/>
          </ac:spMkLst>
        </pc:spChg>
        <pc:spChg chg="mod">
          <ac:chgData name="Yuly Andrea Castaneda Ramirez (CENIT)" userId="S::yuly.castaneda@cenit-transporte.com::9d6b9224-b289-47c8-b6d4-3bf138101243" providerId="AD" clId="Web-{09AAA5FA-EAD4-E4C8-ECAC-59E57DE1C687}" dt="2020-07-31T14:35:23.838" v="6" actId="1076"/>
          <ac:spMkLst>
            <pc:docMk/>
            <pc:sldMk cId="1108072925" sldId="2134804343"/>
            <ac:spMk id="126" creationId="{8F1ADAC7-4725-4A8E-8E01-07F422E0CE8D}"/>
          </ac:spMkLst>
        </pc:spChg>
        <pc:spChg chg="mod">
          <ac:chgData name="Yuly Andrea Castaneda Ramirez (CENIT)" userId="S::yuly.castaneda@cenit-transporte.com::9d6b9224-b289-47c8-b6d4-3bf138101243" providerId="AD" clId="Web-{09AAA5FA-EAD4-E4C8-ECAC-59E57DE1C687}" dt="2020-07-31T14:35:28.979" v="7" actId="1076"/>
          <ac:spMkLst>
            <pc:docMk/>
            <pc:sldMk cId="1108072925" sldId="2134804343"/>
            <ac:spMk id="129" creationId="{547FDFA9-DFAE-49C9-8DB6-12CF8AF865B2}"/>
          </ac:spMkLst>
        </pc:spChg>
        <pc:spChg chg="mod">
          <ac:chgData name="Yuly Andrea Castaneda Ramirez (CENIT)" userId="S::yuly.castaneda@cenit-transporte.com::9d6b9224-b289-47c8-b6d4-3bf138101243" providerId="AD" clId="Web-{09AAA5FA-EAD4-E4C8-ECAC-59E57DE1C687}" dt="2020-07-31T14:34:57.180" v="0" actId="1076"/>
          <ac:spMkLst>
            <pc:docMk/>
            <pc:sldMk cId="1108072925" sldId="2134804343"/>
            <ac:spMk id="134" creationId="{9DA84409-E78D-4C09-BD7D-3213865A7325}"/>
          </ac:spMkLst>
        </pc:spChg>
      </pc:sldChg>
      <pc:sldChg chg="modSp">
        <pc:chgData name="Yuly Andrea Castaneda Ramirez (CENIT)" userId="S::yuly.castaneda@cenit-transporte.com::9d6b9224-b289-47c8-b6d4-3bf138101243" providerId="AD" clId="Web-{09AAA5FA-EAD4-E4C8-ECAC-59E57DE1C687}" dt="2020-07-31T14:35:41.495" v="9" actId="1076"/>
        <pc:sldMkLst>
          <pc:docMk/>
          <pc:sldMk cId="1734415321" sldId="2134804344"/>
        </pc:sldMkLst>
        <pc:spChg chg="mod">
          <ac:chgData name="Yuly Andrea Castaneda Ramirez (CENIT)" userId="S::yuly.castaneda@cenit-transporte.com::9d6b9224-b289-47c8-b6d4-3bf138101243" providerId="AD" clId="Web-{09AAA5FA-EAD4-E4C8-ECAC-59E57DE1C687}" dt="2020-07-31T14:35:41.495" v="9" actId="1076"/>
          <ac:spMkLst>
            <pc:docMk/>
            <pc:sldMk cId="1734415321" sldId="2134804344"/>
            <ac:spMk id="80" creationId="{E193066D-B18A-4EF1-AF0B-EF5BC81EBB54}"/>
          </ac:spMkLst>
        </pc:spChg>
        <pc:spChg chg="mod">
          <ac:chgData name="Yuly Andrea Castaneda Ramirez (CENIT)" userId="S::yuly.castaneda@cenit-transporte.com::9d6b9224-b289-47c8-b6d4-3bf138101243" providerId="AD" clId="Web-{09AAA5FA-EAD4-E4C8-ECAC-59E57DE1C687}" dt="2020-07-31T14:35:36.510" v="8" actId="1076"/>
          <ac:spMkLst>
            <pc:docMk/>
            <pc:sldMk cId="1734415321" sldId="2134804344"/>
            <ac:spMk id="94" creationId="{0010AD8B-A5B4-4F43-81B9-230ED3132988}"/>
          </ac:spMkLst>
        </pc:spChg>
      </pc:sldChg>
    </pc:docChg>
  </pc:docChgLst>
  <pc:docChgLst>
    <pc:chgData name="Andrea" userId="f6a3e592-cc27-4858-b185-ff86be206069" providerId="ADAL" clId="{3C8E150F-F68C-4D5E-9C1A-E8DFC63A437B}"/>
    <pc:docChg chg="custSel modSld">
      <pc:chgData name="Andrea" userId="f6a3e592-cc27-4858-b185-ff86be206069" providerId="ADAL" clId="{3C8E150F-F68C-4D5E-9C1A-E8DFC63A437B}" dt="2020-07-31T21:04:38.159" v="188" actId="20577"/>
      <pc:docMkLst>
        <pc:docMk/>
      </pc:docMkLst>
      <pc:sldChg chg="addSp delSp modSp mod">
        <pc:chgData name="Andrea" userId="f6a3e592-cc27-4858-b185-ff86be206069" providerId="ADAL" clId="{3C8E150F-F68C-4D5E-9C1A-E8DFC63A437B}" dt="2020-07-31T16:47:18.496" v="77" actId="1076"/>
        <pc:sldMkLst>
          <pc:docMk/>
          <pc:sldMk cId="1202002608" sldId="2134804331"/>
        </pc:sldMkLst>
        <pc:spChg chg="mod">
          <ac:chgData name="Andrea" userId="f6a3e592-cc27-4858-b185-ff86be206069" providerId="ADAL" clId="{3C8E150F-F68C-4D5E-9C1A-E8DFC63A437B}" dt="2020-07-31T16:40:53.276" v="11" actId="14100"/>
          <ac:spMkLst>
            <pc:docMk/>
            <pc:sldMk cId="1202002608" sldId="2134804331"/>
            <ac:spMk id="11" creationId="{184C2B9E-D3B9-49BD-8620-C63A684282DB}"/>
          </ac:spMkLst>
        </pc:spChg>
        <pc:spChg chg="mod ord">
          <ac:chgData name="Andrea" userId="f6a3e592-cc27-4858-b185-ff86be206069" providerId="ADAL" clId="{3C8E150F-F68C-4D5E-9C1A-E8DFC63A437B}" dt="2020-07-31T16:41:29.762" v="23" actId="166"/>
          <ac:spMkLst>
            <pc:docMk/>
            <pc:sldMk cId="1202002608" sldId="2134804331"/>
            <ac:spMk id="12" creationId="{F086245E-F097-433F-A318-EB11B03FA403}"/>
          </ac:spMkLst>
        </pc:spChg>
        <pc:spChg chg="mod">
          <ac:chgData name="Andrea" userId="f6a3e592-cc27-4858-b185-ff86be206069" providerId="ADAL" clId="{3C8E150F-F68C-4D5E-9C1A-E8DFC63A437B}" dt="2020-07-31T16:47:18.496" v="77" actId="1076"/>
          <ac:spMkLst>
            <pc:docMk/>
            <pc:sldMk cId="1202002608" sldId="2134804331"/>
            <ac:spMk id="13" creationId="{E8B1E094-076B-4000-891E-A113B6CF33CD}"/>
          </ac:spMkLst>
        </pc:spChg>
        <pc:spChg chg="mod">
          <ac:chgData name="Andrea" userId="f6a3e592-cc27-4858-b185-ff86be206069" providerId="ADAL" clId="{3C8E150F-F68C-4D5E-9C1A-E8DFC63A437B}" dt="2020-07-31T16:39:56.004" v="1" actId="14100"/>
          <ac:spMkLst>
            <pc:docMk/>
            <pc:sldMk cId="1202002608" sldId="2134804331"/>
            <ac:spMk id="36" creationId="{7BF75727-F2D8-4B3A-8084-69B15B6BF24E}"/>
          </ac:spMkLst>
        </pc:spChg>
        <pc:spChg chg="mod">
          <ac:chgData name="Andrea" userId="f6a3e592-cc27-4858-b185-ff86be206069" providerId="ADAL" clId="{3C8E150F-F68C-4D5E-9C1A-E8DFC63A437B}" dt="2020-07-31T16:47:18.496" v="77" actId="1076"/>
          <ac:spMkLst>
            <pc:docMk/>
            <pc:sldMk cId="1202002608" sldId="2134804331"/>
            <ac:spMk id="38" creationId="{13852665-B2E4-439B-9954-9CB9C58718D8}"/>
          </ac:spMkLst>
        </pc:spChg>
        <pc:spChg chg="add del mod">
          <ac:chgData name="Andrea" userId="f6a3e592-cc27-4858-b185-ff86be206069" providerId="ADAL" clId="{3C8E150F-F68C-4D5E-9C1A-E8DFC63A437B}" dt="2020-07-31T16:41:19.445" v="21"/>
          <ac:spMkLst>
            <pc:docMk/>
            <pc:sldMk cId="1202002608" sldId="2134804331"/>
            <ac:spMk id="60" creationId="{D7B16AB1-CE8C-4C49-871A-3E21BD65309D}"/>
          </ac:spMkLst>
        </pc:spChg>
        <pc:spChg chg="add mod">
          <ac:chgData name="Andrea" userId="f6a3e592-cc27-4858-b185-ff86be206069" providerId="ADAL" clId="{3C8E150F-F68C-4D5E-9C1A-E8DFC63A437B}" dt="2020-07-31T16:41:22.507" v="22" actId="122"/>
          <ac:spMkLst>
            <pc:docMk/>
            <pc:sldMk cId="1202002608" sldId="2134804331"/>
            <ac:spMk id="61" creationId="{DFB05C47-7807-4E7F-BBA2-FF6B4DE8E9F7}"/>
          </ac:spMkLst>
        </pc:spChg>
        <pc:spChg chg="add mod">
          <ac:chgData name="Andrea" userId="f6a3e592-cc27-4858-b185-ff86be206069" providerId="ADAL" clId="{3C8E150F-F68C-4D5E-9C1A-E8DFC63A437B}" dt="2020-07-31T16:41:36.011" v="25" actId="1076"/>
          <ac:spMkLst>
            <pc:docMk/>
            <pc:sldMk cId="1202002608" sldId="2134804331"/>
            <ac:spMk id="64" creationId="{2184AF9E-CE99-4046-9C2A-D7E748E9BE11}"/>
          </ac:spMkLst>
        </pc:spChg>
      </pc:sldChg>
      <pc:sldChg chg="modSp mod">
        <pc:chgData name="Andrea" userId="f6a3e592-cc27-4858-b185-ff86be206069" providerId="ADAL" clId="{3C8E150F-F68C-4D5E-9C1A-E8DFC63A437B}" dt="2020-07-31T21:04:38.159" v="188" actId="20577"/>
        <pc:sldMkLst>
          <pc:docMk/>
          <pc:sldMk cId="1108072925" sldId="2134804343"/>
        </pc:sldMkLst>
        <pc:spChg chg="mod">
          <ac:chgData name="Andrea" userId="f6a3e592-cc27-4858-b185-ff86be206069" providerId="ADAL" clId="{3C8E150F-F68C-4D5E-9C1A-E8DFC63A437B}" dt="2020-07-31T21:04:38.159" v="188" actId="20577"/>
          <ac:spMkLst>
            <pc:docMk/>
            <pc:sldMk cId="1108072925" sldId="2134804343"/>
            <ac:spMk id="69" creationId="{88B127F6-0C7D-4DA3-92C5-BCE40D1560F3}"/>
          </ac:spMkLst>
        </pc:spChg>
        <pc:spChg chg="mod">
          <ac:chgData name="Andrea" userId="f6a3e592-cc27-4858-b185-ff86be206069" providerId="ADAL" clId="{3C8E150F-F68C-4D5E-9C1A-E8DFC63A437B}" dt="2020-07-31T21:04:05.444" v="172" actId="20577"/>
          <ac:spMkLst>
            <pc:docMk/>
            <pc:sldMk cId="1108072925" sldId="2134804343"/>
            <ac:spMk id="114" creationId="{34834366-0759-4E89-9A3A-288B6DA6C8C5}"/>
          </ac:spMkLst>
        </pc:spChg>
        <pc:spChg chg="mod">
          <ac:chgData name="Andrea" userId="f6a3e592-cc27-4858-b185-ff86be206069" providerId="ADAL" clId="{3C8E150F-F68C-4D5E-9C1A-E8DFC63A437B}" dt="2020-07-31T21:04:07.684" v="174" actId="20577"/>
          <ac:spMkLst>
            <pc:docMk/>
            <pc:sldMk cId="1108072925" sldId="2134804343"/>
            <ac:spMk id="117" creationId="{7F6BC1DB-4E40-4A47-850A-79B462E1AE26}"/>
          </ac:spMkLst>
        </pc:spChg>
        <pc:spChg chg="mod">
          <ac:chgData name="Andrea" userId="f6a3e592-cc27-4858-b185-ff86be206069" providerId="ADAL" clId="{3C8E150F-F68C-4D5E-9C1A-E8DFC63A437B}" dt="2020-07-31T21:04:10.365" v="176" actId="20577"/>
          <ac:spMkLst>
            <pc:docMk/>
            <pc:sldMk cId="1108072925" sldId="2134804343"/>
            <ac:spMk id="120" creationId="{E73BF53D-5C4E-4100-BC6B-1DFC8B8FC737}"/>
          </ac:spMkLst>
        </pc:spChg>
        <pc:spChg chg="mod">
          <ac:chgData name="Andrea" userId="f6a3e592-cc27-4858-b185-ff86be206069" providerId="ADAL" clId="{3C8E150F-F68C-4D5E-9C1A-E8DFC63A437B}" dt="2020-07-31T21:04:12.522" v="178" actId="20577"/>
          <ac:spMkLst>
            <pc:docMk/>
            <pc:sldMk cId="1108072925" sldId="2134804343"/>
            <ac:spMk id="123" creationId="{AF32E794-4F50-4939-826B-17544165148C}"/>
          </ac:spMkLst>
        </pc:spChg>
        <pc:spChg chg="mod">
          <ac:chgData name="Andrea" userId="f6a3e592-cc27-4858-b185-ff86be206069" providerId="ADAL" clId="{3C8E150F-F68C-4D5E-9C1A-E8DFC63A437B}" dt="2020-07-31T21:04:14.630" v="180" actId="20577"/>
          <ac:spMkLst>
            <pc:docMk/>
            <pc:sldMk cId="1108072925" sldId="2134804343"/>
            <ac:spMk id="126" creationId="{8F1ADAC7-4725-4A8E-8E01-07F422E0CE8D}"/>
          </ac:spMkLst>
        </pc:spChg>
        <pc:spChg chg="mod">
          <ac:chgData name="Andrea" userId="f6a3e592-cc27-4858-b185-ff86be206069" providerId="ADAL" clId="{3C8E150F-F68C-4D5E-9C1A-E8DFC63A437B}" dt="2020-07-31T21:04:17.436" v="182" actId="20577"/>
          <ac:spMkLst>
            <pc:docMk/>
            <pc:sldMk cId="1108072925" sldId="2134804343"/>
            <ac:spMk id="129" creationId="{547FDFA9-DFAE-49C9-8DB6-12CF8AF865B2}"/>
          </ac:spMkLst>
        </pc:spChg>
        <pc:spChg chg="mod">
          <ac:chgData name="Andrea" userId="f6a3e592-cc27-4858-b185-ff86be206069" providerId="ADAL" clId="{3C8E150F-F68C-4D5E-9C1A-E8DFC63A437B}" dt="2020-07-31T21:04:03.446" v="170" actId="20577"/>
          <ac:spMkLst>
            <pc:docMk/>
            <pc:sldMk cId="1108072925" sldId="2134804343"/>
            <ac:spMk id="134" creationId="{9DA84409-E78D-4C09-BD7D-3213865A7325}"/>
          </ac:spMkLst>
        </pc:spChg>
      </pc:sldChg>
      <pc:sldChg chg="addSp delSp modSp mod">
        <pc:chgData name="Andrea" userId="f6a3e592-cc27-4858-b185-ff86be206069" providerId="ADAL" clId="{3C8E150F-F68C-4D5E-9C1A-E8DFC63A437B}" dt="2020-07-31T21:03:59.062" v="168" actId="1076"/>
        <pc:sldMkLst>
          <pc:docMk/>
          <pc:sldMk cId="1734415321" sldId="2134804344"/>
        </pc:sldMkLst>
        <pc:spChg chg="mod">
          <ac:chgData name="Andrea" userId="f6a3e592-cc27-4858-b185-ff86be206069" providerId="ADAL" clId="{3C8E150F-F68C-4D5E-9C1A-E8DFC63A437B}" dt="2020-07-31T21:01:04.560" v="146" actId="255"/>
          <ac:spMkLst>
            <pc:docMk/>
            <pc:sldMk cId="1734415321" sldId="2134804344"/>
            <ac:spMk id="11" creationId="{772CA61D-742C-45F0-BAFA-0F3B90176E98}"/>
          </ac:spMkLst>
        </pc:spChg>
        <pc:spChg chg="mod">
          <ac:chgData name="Andrea" userId="f6a3e592-cc27-4858-b185-ff86be206069" providerId="ADAL" clId="{3C8E150F-F68C-4D5E-9C1A-E8DFC63A437B}" dt="2020-07-31T20:53:26.779" v="81" actId="1076"/>
          <ac:spMkLst>
            <pc:docMk/>
            <pc:sldMk cId="1734415321" sldId="2134804344"/>
            <ac:spMk id="29" creationId="{46F67329-EAA2-4B09-AD5B-91FE70391A81}"/>
          </ac:spMkLst>
        </pc:spChg>
        <pc:spChg chg="mod">
          <ac:chgData name="Andrea" userId="f6a3e592-cc27-4858-b185-ff86be206069" providerId="ADAL" clId="{3C8E150F-F68C-4D5E-9C1A-E8DFC63A437B}" dt="2020-07-31T21:01:04.560" v="146" actId="255"/>
          <ac:spMkLst>
            <pc:docMk/>
            <pc:sldMk cId="1734415321" sldId="2134804344"/>
            <ac:spMk id="30" creationId="{5BF08848-45AE-451C-A99D-7322CF796742}"/>
          </ac:spMkLst>
        </pc:spChg>
        <pc:spChg chg="mod">
          <ac:chgData name="Andrea" userId="f6a3e592-cc27-4858-b185-ff86be206069" providerId="ADAL" clId="{3C8E150F-F68C-4D5E-9C1A-E8DFC63A437B}" dt="2020-07-31T21:01:04.560" v="146" actId="255"/>
          <ac:spMkLst>
            <pc:docMk/>
            <pc:sldMk cId="1734415321" sldId="2134804344"/>
            <ac:spMk id="36" creationId="{80930BAD-CC8E-47DD-9473-5B8864A2680A}"/>
          </ac:spMkLst>
        </pc:spChg>
        <pc:spChg chg="mod">
          <ac:chgData name="Andrea" userId="f6a3e592-cc27-4858-b185-ff86be206069" providerId="ADAL" clId="{3C8E150F-F68C-4D5E-9C1A-E8DFC63A437B}" dt="2020-07-31T21:01:04.560" v="146" actId="255"/>
          <ac:spMkLst>
            <pc:docMk/>
            <pc:sldMk cId="1734415321" sldId="2134804344"/>
            <ac:spMk id="41" creationId="{A6323A01-8860-4B1B-BDAF-6B75ABC06BEC}"/>
          </ac:spMkLst>
        </pc:spChg>
        <pc:spChg chg="mod">
          <ac:chgData name="Andrea" userId="f6a3e592-cc27-4858-b185-ff86be206069" providerId="ADAL" clId="{3C8E150F-F68C-4D5E-9C1A-E8DFC63A437B}" dt="2020-07-31T21:01:04.560" v="146" actId="255"/>
          <ac:spMkLst>
            <pc:docMk/>
            <pc:sldMk cId="1734415321" sldId="2134804344"/>
            <ac:spMk id="42" creationId="{4101169F-B3FD-425D-90F0-D9CCBE1BF3D2}"/>
          </ac:spMkLst>
        </pc:spChg>
        <pc:spChg chg="mod">
          <ac:chgData name="Andrea" userId="f6a3e592-cc27-4858-b185-ff86be206069" providerId="ADAL" clId="{3C8E150F-F68C-4D5E-9C1A-E8DFC63A437B}" dt="2020-07-31T20:54:38.836" v="89" actId="20577"/>
          <ac:spMkLst>
            <pc:docMk/>
            <pc:sldMk cId="1734415321" sldId="2134804344"/>
            <ac:spMk id="43" creationId="{34452114-CA9E-44D1-9755-DF275F1BF2A9}"/>
          </ac:spMkLst>
        </pc:spChg>
        <pc:spChg chg="mod">
          <ac:chgData name="Andrea" userId="f6a3e592-cc27-4858-b185-ff86be206069" providerId="ADAL" clId="{3C8E150F-F68C-4D5E-9C1A-E8DFC63A437B}" dt="2020-07-31T21:00:31.064" v="139" actId="1076"/>
          <ac:spMkLst>
            <pc:docMk/>
            <pc:sldMk cId="1734415321" sldId="2134804344"/>
            <ac:spMk id="45" creationId="{476FBBD3-1877-4B8E-A2BA-965C36FBD73D}"/>
          </ac:spMkLst>
        </pc:spChg>
        <pc:spChg chg="mod">
          <ac:chgData name="Andrea" userId="f6a3e592-cc27-4858-b185-ff86be206069" providerId="ADAL" clId="{3C8E150F-F68C-4D5E-9C1A-E8DFC63A437B}" dt="2020-07-31T20:56:43.873" v="111" actId="1076"/>
          <ac:spMkLst>
            <pc:docMk/>
            <pc:sldMk cId="1734415321" sldId="2134804344"/>
            <ac:spMk id="48" creationId="{F926AC88-2103-4B74-A485-8F98AF37FABE}"/>
          </ac:spMkLst>
        </pc:spChg>
        <pc:spChg chg="mod">
          <ac:chgData name="Andrea" userId="f6a3e592-cc27-4858-b185-ff86be206069" providerId="ADAL" clId="{3C8E150F-F68C-4D5E-9C1A-E8DFC63A437B}" dt="2020-07-31T20:53:48.127" v="87" actId="1076"/>
          <ac:spMkLst>
            <pc:docMk/>
            <pc:sldMk cId="1734415321" sldId="2134804344"/>
            <ac:spMk id="53" creationId="{436F7F2A-D56C-4686-B82F-7A2F944056CC}"/>
          </ac:spMkLst>
        </pc:spChg>
        <pc:spChg chg="mod">
          <ac:chgData name="Andrea" userId="f6a3e592-cc27-4858-b185-ff86be206069" providerId="ADAL" clId="{3C8E150F-F68C-4D5E-9C1A-E8DFC63A437B}" dt="2020-07-31T21:01:04.560" v="146" actId="255"/>
          <ac:spMkLst>
            <pc:docMk/>
            <pc:sldMk cId="1734415321" sldId="2134804344"/>
            <ac:spMk id="55" creationId="{1546B975-3205-4120-A98D-4F899F2673F9}"/>
          </ac:spMkLst>
        </pc:spChg>
        <pc:spChg chg="mod">
          <ac:chgData name="Andrea" userId="f6a3e592-cc27-4858-b185-ff86be206069" providerId="ADAL" clId="{3C8E150F-F68C-4D5E-9C1A-E8DFC63A437B}" dt="2020-07-31T20:56:30.462" v="105" actId="1076"/>
          <ac:spMkLst>
            <pc:docMk/>
            <pc:sldMk cId="1734415321" sldId="2134804344"/>
            <ac:spMk id="56" creationId="{82D32ECE-5CE8-4D30-8F1A-35940B0E5DDC}"/>
          </ac:spMkLst>
        </pc:spChg>
        <pc:spChg chg="mod">
          <ac:chgData name="Andrea" userId="f6a3e592-cc27-4858-b185-ff86be206069" providerId="ADAL" clId="{3C8E150F-F68C-4D5E-9C1A-E8DFC63A437B}" dt="2020-07-31T21:01:04.560" v="146" actId="255"/>
          <ac:spMkLst>
            <pc:docMk/>
            <pc:sldMk cId="1734415321" sldId="2134804344"/>
            <ac:spMk id="57" creationId="{CFA918CB-0C7A-44FC-87D2-055F0DB1CDD9}"/>
          </ac:spMkLst>
        </pc:spChg>
        <pc:spChg chg="mod">
          <ac:chgData name="Andrea" userId="f6a3e592-cc27-4858-b185-ff86be206069" providerId="ADAL" clId="{3C8E150F-F68C-4D5E-9C1A-E8DFC63A437B}" dt="2020-07-31T21:01:19.940" v="149" actId="14100"/>
          <ac:spMkLst>
            <pc:docMk/>
            <pc:sldMk cId="1734415321" sldId="2134804344"/>
            <ac:spMk id="59" creationId="{B329FB9A-BB66-4CA1-9AB8-4B6B45E56072}"/>
          </ac:spMkLst>
        </pc:spChg>
        <pc:spChg chg="mod">
          <ac:chgData name="Andrea" userId="f6a3e592-cc27-4858-b185-ff86be206069" providerId="ADAL" clId="{3C8E150F-F68C-4D5E-9C1A-E8DFC63A437B}" dt="2020-07-31T21:01:30.900" v="151" actId="1076"/>
          <ac:spMkLst>
            <pc:docMk/>
            <pc:sldMk cId="1734415321" sldId="2134804344"/>
            <ac:spMk id="60" creationId="{FC98CCA7-DE6B-4116-84B8-A8982F08BE33}"/>
          </ac:spMkLst>
        </pc:spChg>
        <pc:spChg chg="mod">
          <ac:chgData name="Andrea" userId="f6a3e592-cc27-4858-b185-ff86be206069" providerId="ADAL" clId="{3C8E150F-F68C-4D5E-9C1A-E8DFC63A437B}" dt="2020-07-31T21:01:41.657" v="154" actId="1076"/>
          <ac:spMkLst>
            <pc:docMk/>
            <pc:sldMk cId="1734415321" sldId="2134804344"/>
            <ac:spMk id="65" creationId="{E9C72F17-5D8F-41F6-8661-3E5DE2A9E040}"/>
          </ac:spMkLst>
        </pc:spChg>
        <pc:spChg chg="mod">
          <ac:chgData name="Andrea" userId="f6a3e592-cc27-4858-b185-ff86be206069" providerId="ADAL" clId="{3C8E150F-F68C-4D5E-9C1A-E8DFC63A437B}" dt="2020-07-31T21:02:09.959" v="158" actId="1076"/>
          <ac:spMkLst>
            <pc:docMk/>
            <pc:sldMk cId="1734415321" sldId="2134804344"/>
            <ac:spMk id="66" creationId="{DB75697E-BD6D-4004-8F4B-2171046FC128}"/>
          </ac:spMkLst>
        </pc:spChg>
        <pc:spChg chg="mod">
          <ac:chgData name="Andrea" userId="f6a3e592-cc27-4858-b185-ff86be206069" providerId="ADAL" clId="{3C8E150F-F68C-4D5E-9C1A-E8DFC63A437B}" dt="2020-07-31T21:02:07.943" v="157" actId="1076"/>
          <ac:spMkLst>
            <pc:docMk/>
            <pc:sldMk cId="1734415321" sldId="2134804344"/>
            <ac:spMk id="69" creationId="{42876D3F-F05B-4B3C-9DCB-629A3FE41134}"/>
          </ac:spMkLst>
        </pc:spChg>
        <pc:spChg chg="mod">
          <ac:chgData name="Andrea" userId="f6a3e592-cc27-4858-b185-ff86be206069" providerId="ADAL" clId="{3C8E150F-F68C-4D5E-9C1A-E8DFC63A437B}" dt="2020-07-31T21:02:06.288" v="156" actId="1076"/>
          <ac:spMkLst>
            <pc:docMk/>
            <pc:sldMk cId="1734415321" sldId="2134804344"/>
            <ac:spMk id="70" creationId="{F9D75CA7-6C16-4058-92CF-BCCF9664CBC8}"/>
          </ac:spMkLst>
        </pc:spChg>
        <pc:spChg chg="mod">
          <ac:chgData name="Andrea" userId="f6a3e592-cc27-4858-b185-ff86be206069" providerId="ADAL" clId="{3C8E150F-F68C-4D5E-9C1A-E8DFC63A437B}" dt="2020-07-31T21:02:04.648" v="155" actId="1076"/>
          <ac:spMkLst>
            <pc:docMk/>
            <pc:sldMk cId="1734415321" sldId="2134804344"/>
            <ac:spMk id="71" creationId="{63CA118B-4517-4A8E-85F9-65AF0995F5E4}"/>
          </ac:spMkLst>
        </pc:spChg>
        <pc:spChg chg="mod">
          <ac:chgData name="Andrea" userId="f6a3e592-cc27-4858-b185-ff86be206069" providerId="ADAL" clId="{3C8E150F-F68C-4D5E-9C1A-E8DFC63A437B}" dt="2020-07-31T21:01:04.560" v="146" actId="255"/>
          <ac:spMkLst>
            <pc:docMk/>
            <pc:sldMk cId="1734415321" sldId="2134804344"/>
            <ac:spMk id="72" creationId="{F0A9C2F1-1FA1-4C6D-980F-C42B048458E9}"/>
          </ac:spMkLst>
        </pc:spChg>
        <pc:spChg chg="mod">
          <ac:chgData name="Andrea" userId="f6a3e592-cc27-4858-b185-ff86be206069" providerId="ADAL" clId="{3C8E150F-F68C-4D5E-9C1A-E8DFC63A437B}" dt="2020-07-31T20:59:29.505" v="124" actId="1076"/>
          <ac:spMkLst>
            <pc:docMk/>
            <pc:sldMk cId="1734415321" sldId="2134804344"/>
            <ac:spMk id="73" creationId="{504B0AB9-46DB-479D-A0DE-430E1C84357C}"/>
          </ac:spMkLst>
        </pc:spChg>
        <pc:spChg chg="del">
          <ac:chgData name="Andrea" userId="f6a3e592-cc27-4858-b185-ff86be206069" providerId="ADAL" clId="{3C8E150F-F68C-4D5E-9C1A-E8DFC63A437B}" dt="2020-07-31T20:52:57.270" v="78" actId="478"/>
          <ac:spMkLst>
            <pc:docMk/>
            <pc:sldMk cId="1734415321" sldId="2134804344"/>
            <ac:spMk id="75" creationId="{4C690042-2141-41E0-801C-740270A72EAA}"/>
          </ac:spMkLst>
        </pc:spChg>
        <pc:spChg chg="del">
          <ac:chgData name="Andrea" userId="f6a3e592-cc27-4858-b185-ff86be206069" providerId="ADAL" clId="{3C8E150F-F68C-4D5E-9C1A-E8DFC63A437B}" dt="2020-07-31T20:52:57.270" v="78" actId="478"/>
          <ac:spMkLst>
            <pc:docMk/>
            <pc:sldMk cId="1734415321" sldId="2134804344"/>
            <ac:spMk id="76" creationId="{0E53751B-1475-4A4B-BBEC-13FCD3CB2F50}"/>
          </ac:spMkLst>
        </pc:spChg>
        <pc:spChg chg="del">
          <ac:chgData name="Andrea" userId="f6a3e592-cc27-4858-b185-ff86be206069" providerId="ADAL" clId="{3C8E150F-F68C-4D5E-9C1A-E8DFC63A437B}" dt="2020-07-31T20:52:57.270" v="78" actId="478"/>
          <ac:spMkLst>
            <pc:docMk/>
            <pc:sldMk cId="1734415321" sldId="2134804344"/>
            <ac:spMk id="77" creationId="{75EB08EE-75FC-41CF-8DE8-8BEA1325A366}"/>
          </ac:spMkLst>
        </pc:spChg>
        <pc:spChg chg="mod">
          <ac:chgData name="Andrea" userId="f6a3e592-cc27-4858-b185-ff86be206069" providerId="ADAL" clId="{3C8E150F-F68C-4D5E-9C1A-E8DFC63A437B}" dt="2020-07-31T20:59:48.395" v="133" actId="1076"/>
          <ac:spMkLst>
            <pc:docMk/>
            <pc:sldMk cId="1734415321" sldId="2134804344"/>
            <ac:spMk id="80" creationId="{E193066D-B18A-4EF1-AF0B-EF5BC81EBB54}"/>
          </ac:spMkLst>
        </pc:spChg>
        <pc:spChg chg="mod">
          <ac:chgData name="Andrea" userId="f6a3e592-cc27-4858-b185-ff86be206069" providerId="ADAL" clId="{3C8E150F-F68C-4D5E-9C1A-E8DFC63A437B}" dt="2020-07-31T20:54:40.996" v="91" actId="6549"/>
          <ac:spMkLst>
            <pc:docMk/>
            <pc:sldMk cId="1734415321" sldId="2134804344"/>
            <ac:spMk id="81" creationId="{9EAEECC0-C607-4346-A4F1-115AAD4C7633}"/>
          </ac:spMkLst>
        </pc:spChg>
        <pc:spChg chg="mod">
          <ac:chgData name="Andrea" userId="f6a3e592-cc27-4858-b185-ff86be206069" providerId="ADAL" clId="{3C8E150F-F68C-4D5E-9C1A-E8DFC63A437B}" dt="2020-07-31T20:56:35.758" v="107" actId="20577"/>
          <ac:spMkLst>
            <pc:docMk/>
            <pc:sldMk cId="1734415321" sldId="2134804344"/>
            <ac:spMk id="82" creationId="{AE9FA5CC-5AF8-4A39-808A-A55759A10785}"/>
          </ac:spMkLst>
        </pc:spChg>
        <pc:spChg chg="mod">
          <ac:chgData name="Andrea" userId="f6a3e592-cc27-4858-b185-ff86be206069" providerId="ADAL" clId="{3C8E150F-F68C-4D5E-9C1A-E8DFC63A437B}" dt="2020-07-31T20:56:37.660" v="109" actId="20577"/>
          <ac:spMkLst>
            <pc:docMk/>
            <pc:sldMk cId="1734415321" sldId="2134804344"/>
            <ac:spMk id="83" creationId="{697AE0C9-8E3D-47A0-B88B-51F62D5E5F80}"/>
          </ac:spMkLst>
        </pc:spChg>
        <pc:spChg chg="add mod">
          <ac:chgData name="Andrea" userId="f6a3e592-cc27-4858-b185-ff86be206069" providerId="ADAL" clId="{3C8E150F-F68C-4D5E-9C1A-E8DFC63A437B}" dt="2020-07-31T21:03:59.062" v="168" actId="1076"/>
          <ac:spMkLst>
            <pc:docMk/>
            <pc:sldMk cId="1734415321" sldId="2134804344"/>
            <ac:spMk id="84" creationId="{5D8DC9FC-C278-4D64-8755-3FB5BC7C5DA2}"/>
          </ac:spMkLst>
        </pc:spChg>
        <pc:spChg chg="mod">
          <ac:chgData name="Andrea" userId="f6a3e592-cc27-4858-b185-ff86be206069" providerId="ADAL" clId="{3C8E150F-F68C-4D5E-9C1A-E8DFC63A437B}" dt="2020-07-31T21:03:38.416" v="163" actId="20577"/>
          <ac:spMkLst>
            <pc:docMk/>
            <pc:sldMk cId="1734415321" sldId="2134804344"/>
            <ac:spMk id="85" creationId="{0AEECF97-B04A-4741-8EAF-E1C19707EC79}"/>
          </ac:spMkLst>
        </pc:spChg>
        <pc:spChg chg="mod">
          <ac:chgData name="Andrea" userId="f6a3e592-cc27-4858-b185-ff86be206069" providerId="ADAL" clId="{3C8E150F-F68C-4D5E-9C1A-E8DFC63A437B}" dt="2020-07-31T20:58:38.761" v="117" actId="20577"/>
          <ac:spMkLst>
            <pc:docMk/>
            <pc:sldMk cId="1734415321" sldId="2134804344"/>
            <ac:spMk id="94" creationId="{0010AD8B-A5B4-4F43-81B9-230ED3132988}"/>
          </ac:spMkLst>
        </pc:spChg>
        <pc:spChg chg="mod">
          <ac:chgData name="Andrea" userId="f6a3e592-cc27-4858-b185-ff86be206069" providerId="ADAL" clId="{3C8E150F-F68C-4D5E-9C1A-E8DFC63A437B}" dt="2020-07-31T21:01:04.560" v="146" actId="255"/>
          <ac:spMkLst>
            <pc:docMk/>
            <pc:sldMk cId="1734415321" sldId="2134804344"/>
            <ac:spMk id="97" creationId="{99300021-C267-43BD-A0F5-B3ECE622345E}"/>
          </ac:spMkLst>
        </pc:spChg>
        <pc:spChg chg="mod">
          <ac:chgData name="Andrea" userId="f6a3e592-cc27-4858-b185-ff86be206069" providerId="ADAL" clId="{3C8E150F-F68C-4D5E-9C1A-E8DFC63A437B}" dt="2020-07-31T20:59:11.919" v="121" actId="1076"/>
          <ac:spMkLst>
            <pc:docMk/>
            <pc:sldMk cId="1734415321" sldId="2134804344"/>
            <ac:spMk id="98" creationId="{11F602EB-6CFD-4843-A675-A9D9AB24E0FE}"/>
          </ac:spMkLst>
        </pc:spChg>
        <pc:spChg chg="mod ord">
          <ac:chgData name="Andrea" userId="f6a3e592-cc27-4858-b185-ff86be206069" providerId="ADAL" clId="{3C8E150F-F68C-4D5E-9C1A-E8DFC63A437B}" dt="2020-07-31T21:00:51.422" v="145" actId="1076"/>
          <ac:spMkLst>
            <pc:docMk/>
            <pc:sldMk cId="1734415321" sldId="2134804344"/>
            <ac:spMk id="99" creationId="{3F37526A-888E-4B3B-9EF1-1D4F51094B16}"/>
          </ac:spMkLst>
        </pc:spChg>
        <pc:spChg chg="mod">
          <ac:chgData name="Andrea" userId="f6a3e592-cc27-4858-b185-ff86be206069" providerId="ADAL" clId="{3C8E150F-F68C-4D5E-9C1A-E8DFC63A437B}" dt="2020-07-31T21:00:44.751" v="143" actId="1076"/>
          <ac:spMkLst>
            <pc:docMk/>
            <pc:sldMk cId="1734415321" sldId="2134804344"/>
            <ac:spMk id="108" creationId="{3D010BAD-F539-4116-8687-AD686D4C2E0F}"/>
          </ac:spMkLst>
        </pc:spChg>
        <pc:spChg chg="mod">
          <ac:chgData name="Andrea" userId="f6a3e592-cc27-4858-b185-ff86be206069" providerId="ADAL" clId="{3C8E150F-F68C-4D5E-9C1A-E8DFC63A437B}" dt="2020-07-31T21:00:07.017" v="136" actId="1076"/>
          <ac:spMkLst>
            <pc:docMk/>
            <pc:sldMk cId="1734415321" sldId="2134804344"/>
            <ac:spMk id="109" creationId="{BB252E27-19CB-42F0-A5CE-473B62340627}"/>
          </ac:spMkLst>
        </pc:spChg>
        <pc:grpChg chg="mod">
          <ac:chgData name="Andrea" userId="f6a3e592-cc27-4858-b185-ff86be206069" providerId="ADAL" clId="{3C8E150F-F68C-4D5E-9C1A-E8DFC63A437B}" dt="2020-07-31T20:59:43.740" v="129" actId="1076"/>
          <ac:grpSpMkLst>
            <pc:docMk/>
            <pc:sldMk cId="1734415321" sldId="2134804344"/>
            <ac:grpSpMk id="78" creationId="{12A3AACD-5508-4F4A-9036-A17C038CD4B5}"/>
          </ac:grpSpMkLst>
        </pc:grpChg>
        <pc:grpChg chg="mod">
          <ac:chgData name="Andrea" userId="f6a3e592-cc27-4858-b185-ff86be206069" providerId="ADAL" clId="{3C8E150F-F68C-4D5E-9C1A-E8DFC63A437B}" dt="2020-07-31T20:59:17.677" v="122" actId="1076"/>
          <ac:grpSpMkLst>
            <pc:docMk/>
            <pc:sldMk cId="1734415321" sldId="2134804344"/>
            <ac:grpSpMk id="88" creationId="{F7EF4CD1-C03D-4025-9F1B-068CA3577EE5}"/>
          </ac:grpSpMkLst>
        </pc:grpChg>
        <pc:grpChg chg="mod">
          <ac:chgData name="Andrea" userId="f6a3e592-cc27-4858-b185-ff86be206069" providerId="ADAL" clId="{3C8E150F-F68C-4D5E-9C1A-E8DFC63A437B}" dt="2020-07-31T21:00:47.318" v="144" actId="1076"/>
          <ac:grpSpMkLst>
            <pc:docMk/>
            <pc:sldMk cId="1734415321" sldId="2134804344"/>
            <ac:grpSpMk id="107" creationId="{E3576795-9E27-4D88-8404-00A3C7526AF7}"/>
          </ac:grpSpMkLst>
        </pc:grpChg>
      </pc:sldChg>
    </pc:docChg>
  </pc:docChgLst>
  <pc:docChgLst>
    <pc:chgData name="Andrea Mogollon Nossa (CENIT)" userId="S::andrea.mogollon@cenit-transporte.com::f6a3e592-cc27-4858-b185-ff86be206069" providerId="AD" clId="Web-{DECF69E3-C88B-37E3-40EC-0C89F36BF0B6}"/>
    <pc:docChg chg="modSld">
      <pc:chgData name="Andrea Mogollon Nossa (CENIT)" userId="S::andrea.mogollon@cenit-transporte.com::f6a3e592-cc27-4858-b185-ff86be206069" providerId="AD" clId="Web-{DECF69E3-C88B-37E3-40EC-0C89F36BF0B6}" dt="2020-12-23T16:55:44.441" v="1" actId="1076"/>
      <pc:docMkLst>
        <pc:docMk/>
      </pc:docMkLst>
      <pc:sldChg chg="modSp">
        <pc:chgData name="Andrea Mogollon Nossa (CENIT)" userId="S::andrea.mogollon@cenit-transporte.com::f6a3e592-cc27-4858-b185-ff86be206069" providerId="AD" clId="Web-{DECF69E3-C88B-37E3-40EC-0C89F36BF0B6}" dt="2020-12-23T16:55:44.441" v="1" actId="1076"/>
        <pc:sldMkLst>
          <pc:docMk/>
          <pc:sldMk cId="587350936" sldId="2134804368"/>
        </pc:sldMkLst>
        <pc:spChg chg="mod">
          <ac:chgData name="Andrea Mogollon Nossa (CENIT)" userId="S::andrea.mogollon@cenit-transporte.com::f6a3e592-cc27-4858-b185-ff86be206069" providerId="AD" clId="Web-{DECF69E3-C88B-37E3-40EC-0C89F36BF0B6}" dt="2020-12-23T16:55:44.441" v="1" actId="1076"/>
          <ac:spMkLst>
            <pc:docMk/>
            <pc:sldMk cId="587350936" sldId="2134804368"/>
            <ac:spMk id="22" creationId="{A7CD4928-13AF-414D-A56C-3AFE097F574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C1D8E0A-50F9-4536-AF11-F6B3102A7F78}" type="doc">
      <dgm:prSet loTypeId="urn:microsoft.com/office/officeart/2005/8/layout/venn3" loCatId="relationship" qsTypeId="urn:microsoft.com/office/officeart/2005/8/quickstyle/simple1" qsCatId="simple" csTypeId="urn:microsoft.com/office/officeart/2005/8/colors/accent1_2" csCatId="accent1" phldr="1"/>
      <dgm:spPr/>
      <dgm:t>
        <a:bodyPr/>
        <a:lstStyle/>
        <a:p>
          <a:endParaRPr lang="es-CO"/>
        </a:p>
      </dgm:t>
    </dgm:pt>
    <dgm:pt modelId="{B0B34F3F-F67B-4DCD-9242-07A1A4D58261}">
      <dgm:prSet phldrT="[Texto]" custT="1"/>
      <dgm:spPr/>
      <dgm:t>
        <a:bodyPr/>
        <a:lstStyle/>
        <a:p>
          <a:r>
            <a:rPr lang="es-ES" sz="1400"/>
            <a:t>Gestión Contable</a:t>
          </a:r>
          <a:endParaRPr lang="es-CO" sz="1400"/>
        </a:p>
      </dgm:t>
    </dgm:pt>
    <dgm:pt modelId="{DBB89F0E-4031-464A-B6FD-6E95AB75A24A}" type="parTrans" cxnId="{CF386508-88B9-4058-9162-C788868E46BE}">
      <dgm:prSet/>
      <dgm:spPr/>
      <dgm:t>
        <a:bodyPr/>
        <a:lstStyle/>
        <a:p>
          <a:endParaRPr lang="es-CO"/>
        </a:p>
      </dgm:t>
    </dgm:pt>
    <dgm:pt modelId="{8796EB28-9DDE-4FA6-BDCD-30C1B59586F9}" type="sibTrans" cxnId="{CF386508-88B9-4058-9162-C788868E46BE}">
      <dgm:prSet/>
      <dgm:spPr/>
      <dgm:t>
        <a:bodyPr/>
        <a:lstStyle/>
        <a:p>
          <a:endParaRPr lang="es-CO"/>
        </a:p>
      </dgm:t>
    </dgm:pt>
    <dgm:pt modelId="{26599C2A-D6C2-457E-AF6D-38B71647B619}">
      <dgm:prSet phldrT="[Texto]" custT="1"/>
      <dgm:spPr/>
      <dgm:t>
        <a:bodyPr/>
        <a:lstStyle/>
        <a:p>
          <a:r>
            <a:rPr lang="es-ES" sz="1400"/>
            <a:t>Gestión Tributaria</a:t>
          </a:r>
          <a:endParaRPr lang="es-CO" sz="1400"/>
        </a:p>
      </dgm:t>
    </dgm:pt>
    <dgm:pt modelId="{FDB1DDF8-3143-4A9B-AEF0-75C1565ED6EA}" type="parTrans" cxnId="{756E2DEE-8A31-4D9E-82B4-72B035E2F952}">
      <dgm:prSet/>
      <dgm:spPr/>
      <dgm:t>
        <a:bodyPr/>
        <a:lstStyle/>
        <a:p>
          <a:endParaRPr lang="es-CO"/>
        </a:p>
      </dgm:t>
    </dgm:pt>
    <dgm:pt modelId="{203939ED-2355-470D-9D8E-90F6456CD589}" type="sibTrans" cxnId="{756E2DEE-8A31-4D9E-82B4-72B035E2F952}">
      <dgm:prSet/>
      <dgm:spPr/>
      <dgm:t>
        <a:bodyPr/>
        <a:lstStyle/>
        <a:p>
          <a:endParaRPr lang="es-CO"/>
        </a:p>
      </dgm:t>
    </dgm:pt>
    <dgm:pt modelId="{3EC11E80-C5F0-4919-AE5A-462F5D365283}">
      <dgm:prSet phldrT="[Texto]" custT="1"/>
      <dgm:spPr/>
      <dgm:t>
        <a:bodyPr/>
        <a:lstStyle/>
        <a:p>
          <a:r>
            <a:rPr lang="es-ES" sz="1400"/>
            <a:t>Operaciones de Tesorería</a:t>
          </a:r>
          <a:endParaRPr lang="es-CO" sz="1400"/>
        </a:p>
      </dgm:t>
    </dgm:pt>
    <dgm:pt modelId="{82FF285F-E6DD-4FB6-A871-512986ADFEAD}" type="parTrans" cxnId="{15F1302A-F428-4492-A17A-E179795F6065}">
      <dgm:prSet/>
      <dgm:spPr/>
      <dgm:t>
        <a:bodyPr/>
        <a:lstStyle/>
        <a:p>
          <a:endParaRPr lang="es-CO"/>
        </a:p>
      </dgm:t>
    </dgm:pt>
    <dgm:pt modelId="{7AD4FF79-189F-43AC-9FEE-910138C758FE}" type="sibTrans" cxnId="{15F1302A-F428-4492-A17A-E179795F6065}">
      <dgm:prSet/>
      <dgm:spPr/>
      <dgm:t>
        <a:bodyPr/>
        <a:lstStyle/>
        <a:p>
          <a:endParaRPr lang="es-CO"/>
        </a:p>
      </dgm:t>
    </dgm:pt>
    <dgm:pt modelId="{517D9801-A847-4074-8A72-D5EE37404F4C}">
      <dgm:prSet phldrT="[Texto]" custT="1"/>
      <dgm:spPr/>
      <dgm:t>
        <a:bodyPr/>
        <a:lstStyle/>
        <a:p>
          <a:r>
            <a:rPr lang="es-ES" sz="1400"/>
            <a:t>Administración de Recursos Financieros y Liquidez</a:t>
          </a:r>
          <a:endParaRPr lang="es-CO" sz="1400"/>
        </a:p>
      </dgm:t>
    </dgm:pt>
    <dgm:pt modelId="{3974F504-DBF2-4643-8D3B-9692BF605D5D}" type="parTrans" cxnId="{3F72AEAF-4409-430E-A10B-87AC3B51BDEA}">
      <dgm:prSet/>
      <dgm:spPr/>
      <dgm:t>
        <a:bodyPr/>
        <a:lstStyle/>
        <a:p>
          <a:endParaRPr lang="es-CO"/>
        </a:p>
      </dgm:t>
    </dgm:pt>
    <dgm:pt modelId="{7AAAF8A2-F503-4569-AC84-AAA8048AC2DF}" type="sibTrans" cxnId="{3F72AEAF-4409-430E-A10B-87AC3B51BDEA}">
      <dgm:prSet/>
      <dgm:spPr/>
      <dgm:t>
        <a:bodyPr/>
        <a:lstStyle/>
        <a:p>
          <a:endParaRPr lang="es-CO"/>
        </a:p>
      </dgm:t>
    </dgm:pt>
    <dgm:pt modelId="{4C4E5A35-2D91-4D2B-BEB2-AF0F0EA3BE46}">
      <dgm:prSet phldrT="[Texto]" custT="1"/>
      <dgm:spPr/>
      <dgm:t>
        <a:bodyPr/>
        <a:lstStyle/>
        <a:p>
          <a:r>
            <a:rPr lang="es-ES" sz="1400"/>
            <a:t>Consolidación y Aseguramiento de Reportes Financieros</a:t>
          </a:r>
          <a:endParaRPr lang="es-CO" sz="1400"/>
        </a:p>
      </dgm:t>
    </dgm:pt>
    <dgm:pt modelId="{FE40C2D4-AB85-42BE-895A-2109DCDE9F29}" type="parTrans" cxnId="{967329AA-40EE-4457-8512-BF2634C3207F}">
      <dgm:prSet/>
      <dgm:spPr/>
      <dgm:t>
        <a:bodyPr/>
        <a:lstStyle/>
        <a:p>
          <a:endParaRPr lang="es-CO"/>
        </a:p>
      </dgm:t>
    </dgm:pt>
    <dgm:pt modelId="{C5592835-A702-4963-84CE-863F6434CFC2}" type="sibTrans" cxnId="{967329AA-40EE-4457-8512-BF2634C3207F}">
      <dgm:prSet/>
      <dgm:spPr/>
      <dgm:t>
        <a:bodyPr/>
        <a:lstStyle/>
        <a:p>
          <a:endParaRPr lang="es-CO"/>
        </a:p>
      </dgm:t>
    </dgm:pt>
    <dgm:pt modelId="{D430A9D8-8548-4245-BC79-EAD8B27DD80D}">
      <dgm:prSet phldrT="[Texto]" custT="1"/>
      <dgm:spPr/>
      <dgm:t>
        <a:bodyPr/>
        <a:lstStyle/>
        <a:p>
          <a:r>
            <a:rPr lang="es-ES" sz="1400"/>
            <a:t>Gestión de Retención y Transferencia del Riesgo</a:t>
          </a:r>
          <a:endParaRPr lang="es-CO" sz="1400"/>
        </a:p>
      </dgm:t>
    </dgm:pt>
    <dgm:pt modelId="{80056253-D89B-49D2-8574-4A1B6CC78BC4}" type="parTrans" cxnId="{9C47215E-85DD-4397-9991-E33A96E5E703}">
      <dgm:prSet/>
      <dgm:spPr/>
      <dgm:t>
        <a:bodyPr/>
        <a:lstStyle/>
        <a:p>
          <a:endParaRPr lang="es-CO"/>
        </a:p>
      </dgm:t>
    </dgm:pt>
    <dgm:pt modelId="{70C133D4-B6F4-4473-A68E-AB560272FD31}" type="sibTrans" cxnId="{9C47215E-85DD-4397-9991-E33A96E5E703}">
      <dgm:prSet/>
      <dgm:spPr/>
      <dgm:t>
        <a:bodyPr/>
        <a:lstStyle/>
        <a:p>
          <a:endParaRPr lang="es-CO"/>
        </a:p>
      </dgm:t>
    </dgm:pt>
    <dgm:pt modelId="{7D7FD7D6-33CD-4430-B0A7-80D38EFA0B40}" type="pres">
      <dgm:prSet presAssocID="{6C1D8E0A-50F9-4536-AF11-F6B3102A7F78}" presName="Name0" presStyleCnt="0">
        <dgm:presLayoutVars>
          <dgm:dir/>
          <dgm:resizeHandles val="exact"/>
        </dgm:presLayoutVars>
      </dgm:prSet>
      <dgm:spPr/>
    </dgm:pt>
    <dgm:pt modelId="{F5239C02-8009-4DCD-9E58-15EA14669034}" type="pres">
      <dgm:prSet presAssocID="{B0B34F3F-F67B-4DCD-9242-07A1A4D58261}" presName="Name5" presStyleLbl="vennNode1" presStyleIdx="0" presStyleCnt="6">
        <dgm:presLayoutVars>
          <dgm:bulletEnabled val="1"/>
        </dgm:presLayoutVars>
      </dgm:prSet>
      <dgm:spPr/>
    </dgm:pt>
    <dgm:pt modelId="{074B8551-0A12-41BA-9C6C-8A5479040E43}" type="pres">
      <dgm:prSet presAssocID="{8796EB28-9DDE-4FA6-BDCD-30C1B59586F9}" presName="space" presStyleCnt="0"/>
      <dgm:spPr/>
    </dgm:pt>
    <dgm:pt modelId="{4F376559-0DB4-4F9C-B1E9-F8965B2369AD}" type="pres">
      <dgm:prSet presAssocID="{26599C2A-D6C2-457E-AF6D-38B71647B619}" presName="Name5" presStyleLbl="vennNode1" presStyleIdx="1" presStyleCnt="6">
        <dgm:presLayoutVars>
          <dgm:bulletEnabled val="1"/>
        </dgm:presLayoutVars>
      </dgm:prSet>
      <dgm:spPr/>
    </dgm:pt>
    <dgm:pt modelId="{100C4806-2516-4F6A-80A5-D562E0133CE6}" type="pres">
      <dgm:prSet presAssocID="{203939ED-2355-470D-9D8E-90F6456CD589}" presName="space" presStyleCnt="0"/>
      <dgm:spPr/>
    </dgm:pt>
    <dgm:pt modelId="{EFDEE142-A888-4B48-9F01-112BA06D939A}" type="pres">
      <dgm:prSet presAssocID="{3EC11E80-C5F0-4919-AE5A-462F5D365283}" presName="Name5" presStyleLbl="vennNode1" presStyleIdx="2" presStyleCnt="6">
        <dgm:presLayoutVars>
          <dgm:bulletEnabled val="1"/>
        </dgm:presLayoutVars>
      </dgm:prSet>
      <dgm:spPr/>
    </dgm:pt>
    <dgm:pt modelId="{B1655FD7-B8B2-4A97-8801-2525AE7AEA23}" type="pres">
      <dgm:prSet presAssocID="{7AD4FF79-189F-43AC-9FEE-910138C758FE}" presName="space" presStyleCnt="0"/>
      <dgm:spPr/>
    </dgm:pt>
    <dgm:pt modelId="{CE5C0E3D-B1C2-4027-AFA7-5949EF54AF93}" type="pres">
      <dgm:prSet presAssocID="{517D9801-A847-4074-8A72-D5EE37404F4C}" presName="Name5" presStyleLbl="vennNode1" presStyleIdx="3" presStyleCnt="6">
        <dgm:presLayoutVars>
          <dgm:bulletEnabled val="1"/>
        </dgm:presLayoutVars>
      </dgm:prSet>
      <dgm:spPr/>
    </dgm:pt>
    <dgm:pt modelId="{A4056A66-2588-4D52-AAB0-C653BAE77D52}" type="pres">
      <dgm:prSet presAssocID="{7AAAF8A2-F503-4569-AC84-AAA8048AC2DF}" presName="space" presStyleCnt="0"/>
      <dgm:spPr/>
    </dgm:pt>
    <dgm:pt modelId="{BC7967D4-2D11-400B-9593-A9EDD2E1BB40}" type="pres">
      <dgm:prSet presAssocID="{4C4E5A35-2D91-4D2B-BEB2-AF0F0EA3BE46}" presName="Name5" presStyleLbl="vennNode1" presStyleIdx="4" presStyleCnt="6">
        <dgm:presLayoutVars>
          <dgm:bulletEnabled val="1"/>
        </dgm:presLayoutVars>
      </dgm:prSet>
      <dgm:spPr/>
    </dgm:pt>
    <dgm:pt modelId="{3C5BA8BE-D8E0-4E3E-8998-1851D54908B3}" type="pres">
      <dgm:prSet presAssocID="{C5592835-A702-4963-84CE-863F6434CFC2}" presName="space" presStyleCnt="0"/>
      <dgm:spPr/>
    </dgm:pt>
    <dgm:pt modelId="{9022F95B-3E7E-4EAA-AE04-D3432EB0C9E9}" type="pres">
      <dgm:prSet presAssocID="{D430A9D8-8548-4245-BC79-EAD8B27DD80D}" presName="Name5" presStyleLbl="vennNode1" presStyleIdx="5" presStyleCnt="6">
        <dgm:presLayoutVars>
          <dgm:bulletEnabled val="1"/>
        </dgm:presLayoutVars>
      </dgm:prSet>
      <dgm:spPr/>
    </dgm:pt>
  </dgm:ptLst>
  <dgm:cxnLst>
    <dgm:cxn modelId="{CF386508-88B9-4058-9162-C788868E46BE}" srcId="{6C1D8E0A-50F9-4536-AF11-F6B3102A7F78}" destId="{B0B34F3F-F67B-4DCD-9242-07A1A4D58261}" srcOrd="0" destOrd="0" parTransId="{DBB89F0E-4031-464A-B6FD-6E95AB75A24A}" sibTransId="{8796EB28-9DDE-4FA6-BDCD-30C1B59586F9}"/>
    <dgm:cxn modelId="{15F1302A-F428-4492-A17A-E179795F6065}" srcId="{6C1D8E0A-50F9-4536-AF11-F6B3102A7F78}" destId="{3EC11E80-C5F0-4919-AE5A-462F5D365283}" srcOrd="2" destOrd="0" parTransId="{82FF285F-E6DD-4FB6-A871-512986ADFEAD}" sibTransId="{7AD4FF79-189F-43AC-9FEE-910138C758FE}"/>
    <dgm:cxn modelId="{7A06C431-E9D9-4730-9A11-EEAEF9673A3F}" type="presOf" srcId="{26599C2A-D6C2-457E-AF6D-38B71647B619}" destId="{4F376559-0DB4-4F9C-B1E9-F8965B2369AD}" srcOrd="0" destOrd="0" presId="urn:microsoft.com/office/officeart/2005/8/layout/venn3"/>
    <dgm:cxn modelId="{9C47215E-85DD-4397-9991-E33A96E5E703}" srcId="{6C1D8E0A-50F9-4536-AF11-F6B3102A7F78}" destId="{D430A9D8-8548-4245-BC79-EAD8B27DD80D}" srcOrd="5" destOrd="0" parTransId="{80056253-D89B-49D2-8574-4A1B6CC78BC4}" sibTransId="{70C133D4-B6F4-4473-A68E-AB560272FD31}"/>
    <dgm:cxn modelId="{86866A88-ACDB-4E51-B670-3ADF8A8EF411}" type="presOf" srcId="{3EC11E80-C5F0-4919-AE5A-462F5D365283}" destId="{EFDEE142-A888-4B48-9F01-112BA06D939A}" srcOrd="0" destOrd="0" presId="urn:microsoft.com/office/officeart/2005/8/layout/venn3"/>
    <dgm:cxn modelId="{967329AA-40EE-4457-8512-BF2634C3207F}" srcId="{6C1D8E0A-50F9-4536-AF11-F6B3102A7F78}" destId="{4C4E5A35-2D91-4D2B-BEB2-AF0F0EA3BE46}" srcOrd="4" destOrd="0" parTransId="{FE40C2D4-AB85-42BE-895A-2109DCDE9F29}" sibTransId="{C5592835-A702-4963-84CE-863F6434CFC2}"/>
    <dgm:cxn modelId="{720139AC-D6C8-4583-8589-F9054E5D0F17}" type="presOf" srcId="{D430A9D8-8548-4245-BC79-EAD8B27DD80D}" destId="{9022F95B-3E7E-4EAA-AE04-D3432EB0C9E9}" srcOrd="0" destOrd="0" presId="urn:microsoft.com/office/officeart/2005/8/layout/venn3"/>
    <dgm:cxn modelId="{3F72AEAF-4409-430E-A10B-87AC3B51BDEA}" srcId="{6C1D8E0A-50F9-4536-AF11-F6B3102A7F78}" destId="{517D9801-A847-4074-8A72-D5EE37404F4C}" srcOrd="3" destOrd="0" parTransId="{3974F504-DBF2-4643-8D3B-9692BF605D5D}" sibTransId="{7AAAF8A2-F503-4569-AC84-AAA8048AC2DF}"/>
    <dgm:cxn modelId="{F94D92D8-32AC-4AE1-A736-404E3A7B5300}" type="presOf" srcId="{4C4E5A35-2D91-4D2B-BEB2-AF0F0EA3BE46}" destId="{BC7967D4-2D11-400B-9593-A9EDD2E1BB40}" srcOrd="0" destOrd="0" presId="urn:microsoft.com/office/officeart/2005/8/layout/venn3"/>
    <dgm:cxn modelId="{756E2DEE-8A31-4D9E-82B4-72B035E2F952}" srcId="{6C1D8E0A-50F9-4536-AF11-F6B3102A7F78}" destId="{26599C2A-D6C2-457E-AF6D-38B71647B619}" srcOrd="1" destOrd="0" parTransId="{FDB1DDF8-3143-4A9B-AEF0-75C1565ED6EA}" sibTransId="{203939ED-2355-470D-9D8E-90F6456CD589}"/>
    <dgm:cxn modelId="{F3F7F8EE-1E5D-4D45-959C-E9A3631985DA}" type="presOf" srcId="{517D9801-A847-4074-8A72-D5EE37404F4C}" destId="{CE5C0E3D-B1C2-4027-AFA7-5949EF54AF93}" srcOrd="0" destOrd="0" presId="urn:microsoft.com/office/officeart/2005/8/layout/venn3"/>
    <dgm:cxn modelId="{64E606F6-070B-45F2-991A-6FF70628A062}" type="presOf" srcId="{B0B34F3F-F67B-4DCD-9242-07A1A4D58261}" destId="{F5239C02-8009-4DCD-9E58-15EA14669034}" srcOrd="0" destOrd="0" presId="urn:microsoft.com/office/officeart/2005/8/layout/venn3"/>
    <dgm:cxn modelId="{1F5A99FF-20C1-4014-A84E-F154B1EF0D38}" type="presOf" srcId="{6C1D8E0A-50F9-4536-AF11-F6B3102A7F78}" destId="{7D7FD7D6-33CD-4430-B0A7-80D38EFA0B40}" srcOrd="0" destOrd="0" presId="urn:microsoft.com/office/officeart/2005/8/layout/venn3"/>
    <dgm:cxn modelId="{CE5324FA-5B9F-487F-851A-67C1C8615044}" type="presParOf" srcId="{7D7FD7D6-33CD-4430-B0A7-80D38EFA0B40}" destId="{F5239C02-8009-4DCD-9E58-15EA14669034}" srcOrd="0" destOrd="0" presId="urn:microsoft.com/office/officeart/2005/8/layout/venn3"/>
    <dgm:cxn modelId="{BA609AB3-9C7A-4D1C-AFBC-DA10FEDEE040}" type="presParOf" srcId="{7D7FD7D6-33CD-4430-B0A7-80D38EFA0B40}" destId="{074B8551-0A12-41BA-9C6C-8A5479040E43}" srcOrd="1" destOrd="0" presId="urn:microsoft.com/office/officeart/2005/8/layout/venn3"/>
    <dgm:cxn modelId="{87717A51-617F-43E4-B32D-281932379A17}" type="presParOf" srcId="{7D7FD7D6-33CD-4430-B0A7-80D38EFA0B40}" destId="{4F376559-0DB4-4F9C-B1E9-F8965B2369AD}" srcOrd="2" destOrd="0" presId="urn:microsoft.com/office/officeart/2005/8/layout/venn3"/>
    <dgm:cxn modelId="{A182E7D0-ED9F-4DEB-85B3-C791CB24D768}" type="presParOf" srcId="{7D7FD7D6-33CD-4430-B0A7-80D38EFA0B40}" destId="{100C4806-2516-4F6A-80A5-D562E0133CE6}" srcOrd="3" destOrd="0" presId="urn:microsoft.com/office/officeart/2005/8/layout/venn3"/>
    <dgm:cxn modelId="{337688B9-90BF-452E-99C6-2868CCC674A6}" type="presParOf" srcId="{7D7FD7D6-33CD-4430-B0A7-80D38EFA0B40}" destId="{EFDEE142-A888-4B48-9F01-112BA06D939A}" srcOrd="4" destOrd="0" presId="urn:microsoft.com/office/officeart/2005/8/layout/venn3"/>
    <dgm:cxn modelId="{15CD515B-A186-40B3-ADC1-FAD61DD77406}" type="presParOf" srcId="{7D7FD7D6-33CD-4430-B0A7-80D38EFA0B40}" destId="{B1655FD7-B8B2-4A97-8801-2525AE7AEA23}" srcOrd="5" destOrd="0" presId="urn:microsoft.com/office/officeart/2005/8/layout/venn3"/>
    <dgm:cxn modelId="{BD25889D-60A1-4FA9-953B-677AA25E1019}" type="presParOf" srcId="{7D7FD7D6-33CD-4430-B0A7-80D38EFA0B40}" destId="{CE5C0E3D-B1C2-4027-AFA7-5949EF54AF93}" srcOrd="6" destOrd="0" presId="urn:microsoft.com/office/officeart/2005/8/layout/venn3"/>
    <dgm:cxn modelId="{4FAE985D-F869-49C2-863A-78061169624F}" type="presParOf" srcId="{7D7FD7D6-33CD-4430-B0A7-80D38EFA0B40}" destId="{A4056A66-2588-4D52-AAB0-C653BAE77D52}" srcOrd="7" destOrd="0" presId="urn:microsoft.com/office/officeart/2005/8/layout/venn3"/>
    <dgm:cxn modelId="{B417E03D-4503-47A6-9F91-4AD8A9A82E04}" type="presParOf" srcId="{7D7FD7D6-33CD-4430-B0A7-80D38EFA0B40}" destId="{BC7967D4-2D11-400B-9593-A9EDD2E1BB40}" srcOrd="8" destOrd="0" presId="urn:microsoft.com/office/officeart/2005/8/layout/venn3"/>
    <dgm:cxn modelId="{2A9C93EE-25C2-4849-B3F0-E41DC4757062}" type="presParOf" srcId="{7D7FD7D6-33CD-4430-B0A7-80D38EFA0B40}" destId="{3C5BA8BE-D8E0-4E3E-8998-1851D54908B3}" srcOrd="9" destOrd="0" presId="urn:microsoft.com/office/officeart/2005/8/layout/venn3"/>
    <dgm:cxn modelId="{BF2EAD81-BCCF-4A06-9B62-B79F46A24F98}" type="presParOf" srcId="{7D7FD7D6-33CD-4430-B0A7-80D38EFA0B40}" destId="{9022F95B-3E7E-4EAA-AE04-D3432EB0C9E9}" srcOrd="10" destOrd="0" presId="urn:microsoft.com/office/officeart/2005/8/layout/ven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C1D8E0A-50F9-4536-AF11-F6B3102A7F78}" type="doc">
      <dgm:prSet loTypeId="urn:microsoft.com/office/officeart/2005/8/layout/venn3" loCatId="relationship" qsTypeId="urn:microsoft.com/office/officeart/2005/8/quickstyle/simple1" qsCatId="simple" csTypeId="urn:microsoft.com/office/officeart/2005/8/colors/accent1_2" csCatId="accent1" phldr="1"/>
      <dgm:spPr/>
      <dgm:t>
        <a:bodyPr/>
        <a:lstStyle/>
        <a:p>
          <a:endParaRPr lang="es-CO"/>
        </a:p>
      </dgm:t>
    </dgm:pt>
    <dgm:pt modelId="{B0B34F3F-F67B-4DCD-9242-07A1A4D58261}">
      <dgm:prSet phldrT="[Texto]"/>
      <dgm:spPr/>
      <dgm:t>
        <a:bodyPr/>
        <a:lstStyle/>
        <a:p>
          <a:r>
            <a:rPr lang="es-ES"/>
            <a:t>Planeación e Implementación de la Estrategia </a:t>
          </a:r>
          <a:endParaRPr lang="es-CO"/>
        </a:p>
      </dgm:t>
    </dgm:pt>
    <dgm:pt modelId="{DBB89F0E-4031-464A-B6FD-6E95AB75A24A}" type="parTrans" cxnId="{CF386508-88B9-4058-9162-C788868E46BE}">
      <dgm:prSet/>
      <dgm:spPr/>
      <dgm:t>
        <a:bodyPr/>
        <a:lstStyle/>
        <a:p>
          <a:endParaRPr lang="es-CO"/>
        </a:p>
      </dgm:t>
    </dgm:pt>
    <dgm:pt modelId="{8796EB28-9DDE-4FA6-BDCD-30C1B59586F9}" type="sibTrans" cxnId="{CF386508-88B9-4058-9162-C788868E46BE}">
      <dgm:prSet/>
      <dgm:spPr/>
      <dgm:t>
        <a:bodyPr/>
        <a:lstStyle/>
        <a:p>
          <a:endParaRPr lang="es-CO"/>
        </a:p>
      </dgm:t>
    </dgm:pt>
    <dgm:pt modelId="{26599C2A-D6C2-457E-AF6D-38B71647B619}">
      <dgm:prSet phldrT="[Texto]"/>
      <dgm:spPr/>
      <dgm:t>
        <a:bodyPr/>
        <a:lstStyle/>
        <a:p>
          <a:r>
            <a:rPr lang="es-ES"/>
            <a:t>Nuevos Negocios, Adquisiciones y Fusiones</a:t>
          </a:r>
          <a:endParaRPr lang="es-CO"/>
        </a:p>
      </dgm:t>
    </dgm:pt>
    <dgm:pt modelId="{FDB1DDF8-3143-4A9B-AEF0-75C1565ED6EA}" type="parTrans" cxnId="{756E2DEE-8A31-4D9E-82B4-72B035E2F952}">
      <dgm:prSet/>
      <dgm:spPr/>
      <dgm:t>
        <a:bodyPr/>
        <a:lstStyle/>
        <a:p>
          <a:endParaRPr lang="es-CO"/>
        </a:p>
      </dgm:t>
    </dgm:pt>
    <dgm:pt modelId="{203939ED-2355-470D-9D8E-90F6456CD589}" type="sibTrans" cxnId="{756E2DEE-8A31-4D9E-82B4-72B035E2F952}">
      <dgm:prSet/>
      <dgm:spPr/>
      <dgm:t>
        <a:bodyPr/>
        <a:lstStyle/>
        <a:p>
          <a:endParaRPr lang="es-CO"/>
        </a:p>
      </dgm:t>
    </dgm:pt>
    <dgm:pt modelId="{3EC11E80-C5F0-4919-AE5A-462F5D365283}">
      <dgm:prSet phldrT="[Texto]"/>
      <dgm:spPr/>
      <dgm:t>
        <a:bodyPr/>
        <a:lstStyle/>
        <a:p>
          <a:r>
            <a:rPr lang="es-ES"/>
            <a:t>Gestión Regulatoria y Aseguramiento de Tarifas </a:t>
          </a:r>
          <a:endParaRPr lang="es-CO"/>
        </a:p>
      </dgm:t>
    </dgm:pt>
    <dgm:pt modelId="{82FF285F-E6DD-4FB6-A871-512986ADFEAD}" type="parTrans" cxnId="{15F1302A-F428-4492-A17A-E179795F6065}">
      <dgm:prSet/>
      <dgm:spPr/>
      <dgm:t>
        <a:bodyPr/>
        <a:lstStyle/>
        <a:p>
          <a:endParaRPr lang="es-CO"/>
        </a:p>
      </dgm:t>
    </dgm:pt>
    <dgm:pt modelId="{7AD4FF79-189F-43AC-9FEE-910138C758FE}" type="sibTrans" cxnId="{15F1302A-F428-4492-A17A-E179795F6065}">
      <dgm:prSet/>
      <dgm:spPr/>
      <dgm:t>
        <a:bodyPr/>
        <a:lstStyle/>
        <a:p>
          <a:endParaRPr lang="es-CO"/>
        </a:p>
      </dgm:t>
    </dgm:pt>
    <dgm:pt modelId="{517D9801-A847-4074-8A72-D5EE37404F4C}">
      <dgm:prSet phldrT="[Texto]"/>
      <dgm:spPr/>
      <dgm:t>
        <a:bodyPr/>
        <a:lstStyle/>
        <a:p>
          <a:r>
            <a:rPr lang="es-CO"/>
            <a:t>Gestión Integral de Portafolio</a:t>
          </a:r>
        </a:p>
      </dgm:t>
    </dgm:pt>
    <dgm:pt modelId="{3974F504-DBF2-4643-8D3B-9692BF605D5D}" type="parTrans" cxnId="{3F72AEAF-4409-430E-A10B-87AC3B51BDEA}">
      <dgm:prSet/>
      <dgm:spPr/>
      <dgm:t>
        <a:bodyPr/>
        <a:lstStyle/>
        <a:p>
          <a:endParaRPr lang="es-CO"/>
        </a:p>
      </dgm:t>
    </dgm:pt>
    <dgm:pt modelId="{7AAAF8A2-F503-4569-AC84-AAA8048AC2DF}" type="sibTrans" cxnId="{3F72AEAF-4409-430E-A10B-87AC3B51BDEA}">
      <dgm:prSet/>
      <dgm:spPr/>
      <dgm:t>
        <a:bodyPr/>
        <a:lstStyle/>
        <a:p>
          <a:endParaRPr lang="es-CO"/>
        </a:p>
      </dgm:t>
    </dgm:pt>
    <dgm:pt modelId="{4C4E5A35-2D91-4D2B-BEB2-AF0F0EA3BE46}">
      <dgm:prSet phldrT="[Texto]"/>
      <dgm:spPr/>
      <dgm:t>
        <a:bodyPr/>
        <a:lstStyle/>
        <a:p>
          <a:r>
            <a:rPr lang="es-CO"/>
            <a:t>Planeación Financiera y Presupuesto</a:t>
          </a:r>
        </a:p>
      </dgm:t>
    </dgm:pt>
    <dgm:pt modelId="{FE40C2D4-AB85-42BE-895A-2109DCDE9F29}" type="parTrans" cxnId="{967329AA-40EE-4457-8512-BF2634C3207F}">
      <dgm:prSet/>
      <dgm:spPr/>
      <dgm:t>
        <a:bodyPr/>
        <a:lstStyle/>
        <a:p>
          <a:endParaRPr lang="es-CO"/>
        </a:p>
      </dgm:t>
    </dgm:pt>
    <dgm:pt modelId="{C5592835-A702-4963-84CE-863F6434CFC2}" type="sibTrans" cxnId="{967329AA-40EE-4457-8512-BF2634C3207F}">
      <dgm:prSet/>
      <dgm:spPr/>
      <dgm:t>
        <a:bodyPr/>
        <a:lstStyle/>
        <a:p>
          <a:endParaRPr lang="es-CO"/>
        </a:p>
      </dgm:t>
    </dgm:pt>
    <dgm:pt modelId="{D430A9D8-8548-4245-BC79-EAD8B27DD80D}">
      <dgm:prSet phldrT="[Texto]"/>
      <dgm:spPr/>
      <dgm:t>
        <a:bodyPr/>
        <a:lstStyle/>
        <a:p>
          <a:r>
            <a:rPr lang="es-CO"/>
            <a:t>Desempeño Empresarial </a:t>
          </a:r>
        </a:p>
      </dgm:t>
    </dgm:pt>
    <dgm:pt modelId="{80056253-D89B-49D2-8574-4A1B6CC78BC4}" type="parTrans" cxnId="{9C47215E-85DD-4397-9991-E33A96E5E703}">
      <dgm:prSet/>
      <dgm:spPr/>
      <dgm:t>
        <a:bodyPr/>
        <a:lstStyle/>
        <a:p>
          <a:endParaRPr lang="es-CO"/>
        </a:p>
      </dgm:t>
    </dgm:pt>
    <dgm:pt modelId="{70C133D4-B6F4-4473-A68E-AB560272FD31}" type="sibTrans" cxnId="{9C47215E-85DD-4397-9991-E33A96E5E703}">
      <dgm:prSet/>
      <dgm:spPr/>
      <dgm:t>
        <a:bodyPr/>
        <a:lstStyle/>
        <a:p>
          <a:endParaRPr lang="es-CO"/>
        </a:p>
      </dgm:t>
    </dgm:pt>
    <dgm:pt modelId="{7D7FD7D6-33CD-4430-B0A7-80D38EFA0B40}" type="pres">
      <dgm:prSet presAssocID="{6C1D8E0A-50F9-4536-AF11-F6B3102A7F78}" presName="Name0" presStyleCnt="0">
        <dgm:presLayoutVars>
          <dgm:dir/>
          <dgm:resizeHandles val="exact"/>
        </dgm:presLayoutVars>
      </dgm:prSet>
      <dgm:spPr/>
    </dgm:pt>
    <dgm:pt modelId="{F5239C02-8009-4DCD-9E58-15EA14669034}" type="pres">
      <dgm:prSet presAssocID="{B0B34F3F-F67B-4DCD-9242-07A1A4D58261}" presName="Name5" presStyleLbl="vennNode1" presStyleIdx="0" presStyleCnt="6">
        <dgm:presLayoutVars>
          <dgm:bulletEnabled val="1"/>
        </dgm:presLayoutVars>
      </dgm:prSet>
      <dgm:spPr/>
    </dgm:pt>
    <dgm:pt modelId="{074B8551-0A12-41BA-9C6C-8A5479040E43}" type="pres">
      <dgm:prSet presAssocID="{8796EB28-9DDE-4FA6-BDCD-30C1B59586F9}" presName="space" presStyleCnt="0"/>
      <dgm:spPr/>
    </dgm:pt>
    <dgm:pt modelId="{4F376559-0DB4-4F9C-B1E9-F8965B2369AD}" type="pres">
      <dgm:prSet presAssocID="{26599C2A-D6C2-457E-AF6D-38B71647B619}" presName="Name5" presStyleLbl="vennNode1" presStyleIdx="1" presStyleCnt="6">
        <dgm:presLayoutVars>
          <dgm:bulletEnabled val="1"/>
        </dgm:presLayoutVars>
      </dgm:prSet>
      <dgm:spPr/>
    </dgm:pt>
    <dgm:pt modelId="{100C4806-2516-4F6A-80A5-D562E0133CE6}" type="pres">
      <dgm:prSet presAssocID="{203939ED-2355-470D-9D8E-90F6456CD589}" presName="space" presStyleCnt="0"/>
      <dgm:spPr/>
    </dgm:pt>
    <dgm:pt modelId="{EFDEE142-A888-4B48-9F01-112BA06D939A}" type="pres">
      <dgm:prSet presAssocID="{3EC11E80-C5F0-4919-AE5A-462F5D365283}" presName="Name5" presStyleLbl="vennNode1" presStyleIdx="2" presStyleCnt="6">
        <dgm:presLayoutVars>
          <dgm:bulletEnabled val="1"/>
        </dgm:presLayoutVars>
      </dgm:prSet>
      <dgm:spPr/>
    </dgm:pt>
    <dgm:pt modelId="{B1655FD7-B8B2-4A97-8801-2525AE7AEA23}" type="pres">
      <dgm:prSet presAssocID="{7AD4FF79-189F-43AC-9FEE-910138C758FE}" presName="space" presStyleCnt="0"/>
      <dgm:spPr/>
    </dgm:pt>
    <dgm:pt modelId="{CE5C0E3D-B1C2-4027-AFA7-5949EF54AF93}" type="pres">
      <dgm:prSet presAssocID="{517D9801-A847-4074-8A72-D5EE37404F4C}" presName="Name5" presStyleLbl="vennNode1" presStyleIdx="3" presStyleCnt="6">
        <dgm:presLayoutVars>
          <dgm:bulletEnabled val="1"/>
        </dgm:presLayoutVars>
      </dgm:prSet>
      <dgm:spPr/>
    </dgm:pt>
    <dgm:pt modelId="{A4056A66-2588-4D52-AAB0-C653BAE77D52}" type="pres">
      <dgm:prSet presAssocID="{7AAAF8A2-F503-4569-AC84-AAA8048AC2DF}" presName="space" presStyleCnt="0"/>
      <dgm:spPr/>
    </dgm:pt>
    <dgm:pt modelId="{BC7967D4-2D11-400B-9593-A9EDD2E1BB40}" type="pres">
      <dgm:prSet presAssocID="{4C4E5A35-2D91-4D2B-BEB2-AF0F0EA3BE46}" presName="Name5" presStyleLbl="vennNode1" presStyleIdx="4" presStyleCnt="6">
        <dgm:presLayoutVars>
          <dgm:bulletEnabled val="1"/>
        </dgm:presLayoutVars>
      </dgm:prSet>
      <dgm:spPr/>
    </dgm:pt>
    <dgm:pt modelId="{3C5BA8BE-D8E0-4E3E-8998-1851D54908B3}" type="pres">
      <dgm:prSet presAssocID="{C5592835-A702-4963-84CE-863F6434CFC2}" presName="space" presStyleCnt="0"/>
      <dgm:spPr/>
    </dgm:pt>
    <dgm:pt modelId="{9022F95B-3E7E-4EAA-AE04-D3432EB0C9E9}" type="pres">
      <dgm:prSet presAssocID="{D430A9D8-8548-4245-BC79-EAD8B27DD80D}" presName="Name5" presStyleLbl="vennNode1" presStyleIdx="5" presStyleCnt="6">
        <dgm:presLayoutVars>
          <dgm:bulletEnabled val="1"/>
        </dgm:presLayoutVars>
      </dgm:prSet>
      <dgm:spPr/>
    </dgm:pt>
  </dgm:ptLst>
  <dgm:cxnLst>
    <dgm:cxn modelId="{CF386508-88B9-4058-9162-C788868E46BE}" srcId="{6C1D8E0A-50F9-4536-AF11-F6B3102A7F78}" destId="{B0B34F3F-F67B-4DCD-9242-07A1A4D58261}" srcOrd="0" destOrd="0" parTransId="{DBB89F0E-4031-464A-B6FD-6E95AB75A24A}" sibTransId="{8796EB28-9DDE-4FA6-BDCD-30C1B59586F9}"/>
    <dgm:cxn modelId="{15F1302A-F428-4492-A17A-E179795F6065}" srcId="{6C1D8E0A-50F9-4536-AF11-F6B3102A7F78}" destId="{3EC11E80-C5F0-4919-AE5A-462F5D365283}" srcOrd="2" destOrd="0" parTransId="{82FF285F-E6DD-4FB6-A871-512986ADFEAD}" sibTransId="{7AD4FF79-189F-43AC-9FEE-910138C758FE}"/>
    <dgm:cxn modelId="{7A06C431-E9D9-4730-9A11-EEAEF9673A3F}" type="presOf" srcId="{26599C2A-D6C2-457E-AF6D-38B71647B619}" destId="{4F376559-0DB4-4F9C-B1E9-F8965B2369AD}" srcOrd="0" destOrd="0" presId="urn:microsoft.com/office/officeart/2005/8/layout/venn3"/>
    <dgm:cxn modelId="{9C47215E-85DD-4397-9991-E33A96E5E703}" srcId="{6C1D8E0A-50F9-4536-AF11-F6B3102A7F78}" destId="{D430A9D8-8548-4245-BC79-EAD8B27DD80D}" srcOrd="5" destOrd="0" parTransId="{80056253-D89B-49D2-8574-4A1B6CC78BC4}" sibTransId="{70C133D4-B6F4-4473-A68E-AB560272FD31}"/>
    <dgm:cxn modelId="{86866A88-ACDB-4E51-B670-3ADF8A8EF411}" type="presOf" srcId="{3EC11E80-C5F0-4919-AE5A-462F5D365283}" destId="{EFDEE142-A888-4B48-9F01-112BA06D939A}" srcOrd="0" destOrd="0" presId="urn:microsoft.com/office/officeart/2005/8/layout/venn3"/>
    <dgm:cxn modelId="{967329AA-40EE-4457-8512-BF2634C3207F}" srcId="{6C1D8E0A-50F9-4536-AF11-F6B3102A7F78}" destId="{4C4E5A35-2D91-4D2B-BEB2-AF0F0EA3BE46}" srcOrd="4" destOrd="0" parTransId="{FE40C2D4-AB85-42BE-895A-2109DCDE9F29}" sibTransId="{C5592835-A702-4963-84CE-863F6434CFC2}"/>
    <dgm:cxn modelId="{720139AC-D6C8-4583-8589-F9054E5D0F17}" type="presOf" srcId="{D430A9D8-8548-4245-BC79-EAD8B27DD80D}" destId="{9022F95B-3E7E-4EAA-AE04-D3432EB0C9E9}" srcOrd="0" destOrd="0" presId="urn:microsoft.com/office/officeart/2005/8/layout/venn3"/>
    <dgm:cxn modelId="{3F72AEAF-4409-430E-A10B-87AC3B51BDEA}" srcId="{6C1D8E0A-50F9-4536-AF11-F6B3102A7F78}" destId="{517D9801-A847-4074-8A72-D5EE37404F4C}" srcOrd="3" destOrd="0" parTransId="{3974F504-DBF2-4643-8D3B-9692BF605D5D}" sibTransId="{7AAAF8A2-F503-4569-AC84-AAA8048AC2DF}"/>
    <dgm:cxn modelId="{F94D92D8-32AC-4AE1-A736-404E3A7B5300}" type="presOf" srcId="{4C4E5A35-2D91-4D2B-BEB2-AF0F0EA3BE46}" destId="{BC7967D4-2D11-400B-9593-A9EDD2E1BB40}" srcOrd="0" destOrd="0" presId="urn:microsoft.com/office/officeart/2005/8/layout/venn3"/>
    <dgm:cxn modelId="{756E2DEE-8A31-4D9E-82B4-72B035E2F952}" srcId="{6C1D8E0A-50F9-4536-AF11-F6B3102A7F78}" destId="{26599C2A-D6C2-457E-AF6D-38B71647B619}" srcOrd="1" destOrd="0" parTransId="{FDB1DDF8-3143-4A9B-AEF0-75C1565ED6EA}" sibTransId="{203939ED-2355-470D-9D8E-90F6456CD589}"/>
    <dgm:cxn modelId="{F3F7F8EE-1E5D-4D45-959C-E9A3631985DA}" type="presOf" srcId="{517D9801-A847-4074-8A72-D5EE37404F4C}" destId="{CE5C0E3D-B1C2-4027-AFA7-5949EF54AF93}" srcOrd="0" destOrd="0" presId="urn:microsoft.com/office/officeart/2005/8/layout/venn3"/>
    <dgm:cxn modelId="{64E606F6-070B-45F2-991A-6FF70628A062}" type="presOf" srcId="{B0B34F3F-F67B-4DCD-9242-07A1A4D58261}" destId="{F5239C02-8009-4DCD-9E58-15EA14669034}" srcOrd="0" destOrd="0" presId="urn:microsoft.com/office/officeart/2005/8/layout/venn3"/>
    <dgm:cxn modelId="{1F5A99FF-20C1-4014-A84E-F154B1EF0D38}" type="presOf" srcId="{6C1D8E0A-50F9-4536-AF11-F6B3102A7F78}" destId="{7D7FD7D6-33CD-4430-B0A7-80D38EFA0B40}" srcOrd="0" destOrd="0" presId="urn:microsoft.com/office/officeart/2005/8/layout/venn3"/>
    <dgm:cxn modelId="{CE5324FA-5B9F-487F-851A-67C1C8615044}" type="presParOf" srcId="{7D7FD7D6-33CD-4430-B0A7-80D38EFA0B40}" destId="{F5239C02-8009-4DCD-9E58-15EA14669034}" srcOrd="0" destOrd="0" presId="urn:microsoft.com/office/officeart/2005/8/layout/venn3"/>
    <dgm:cxn modelId="{BA609AB3-9C7A-4D1C-AFBC-DA10FEDEE040}" type="presParOf" srcId="{7D7FD7D6-33CD-4430-B0A7-80D38EFA0B40}" destId="{074B8551-0A12-41BA-9C6C-8A5479040E43}" srcOrd="1" destOrd="0" presId="urn:microsoft.com/office/officeart/2005/8/layout/venn3"/>
    <dgm:cxn modelId="{87717A51-617F-43E4-B32D-281932379A17}" type="presParOf" srcId="{7D7FD7D6-33CD-4430-B0A7-80D38EFA0B40}" destId="{4F376559-0DB4-4F9C-B1E9-F8965B2369AD}" srcOrd="2" destOrd="0" presId="urn:microsoft.com/office/officeart/2005/8/layout/venn3"/>
    <dgm:cxn modelId="{A182E7D0-ED9F-4DEB-85B3-C791CB24D768}" type="presParOf" srcId="{7D7FD7D6-33CD-4430-B0A7-80D38EFA0B40}" destId="{100C4806-2516-4F6A-80A5-D562E0133CE6}" srcOrd="3" destOrd="0" presId="urn:microsoft.com/office/officeart/2005/8/layout/venn3"/>
    <dgm:cxn modelId="{337688B9-90BF-452E-99C6-2868CCC674A6}" type="presParOf" srcId="{7D7FD7D6-33CD-4430-B0A7-80D38EFA0B40}" destId="{EFDEE142-A888-4B48-9F01-112BA06D939A}" srcOrd="4" destOrd="0" presId="urn:microsoft.com/office/officeart/2005/8/layout/venn3"/>
    <dgm:cxn modelId="{15CD515B-A186-40B3-ADC1-FAD61DD77406}" type="presParOf" srcId="{7D7FD7D6-33CD-4430-B0A7-80D38EFA0B40}" destId="{B1655FD7-B8B2-4A97-8801-2525AE7AEA23}" srcOrd="5" destOrd="0" presId="urn:microsoft.com/office/officeart/2005/8/layout/venn3"/>
    <dgm:cxn modelId="{BD25889D-60A1-4FA9-953B-677AA25E1019}" type="presParOf" srcId="{7D7FD7D6-33CD-4430-B0A7-80D38EFA0B40}" destId="{CE5C0E3D-B1C2-4027-AFA7-5949EF54AF93}" srcOrd="6" destOrd="0" presId="urn:microsoft.com/office/officeart/2005/8/layout/venn3"/>
    <dgm:cxn modelId="{4FAE985D-F869-49C2-863A-78061169624F}" type="presParOf" srcId="{7D7FD7D6-33CD-4430-B0A7-80D38EFA0B40}" destId="{A4056A66-2588-4D52-AAB0-C653BAE77D52}" srcOrd="7" destOrd="0" presId="urn:microsoft.com/office/officeart/2005/8/layout/venn3"/>
    <dgm:cxn modelId="{B417E03D-4503-47A6-9F91-4AD8A9A82E04}" type="presParOf" srcId="{7D7FD7D6-33CD-4430-B0A7-80D38EFA0B40}" destId="{BC7967D4-2D11-400B-9593-A9EDD2E1BB40}" srcOrd="8" destOrd="0" presId="urn:microsoft.com/office/officeart/2005/8/layout/venn3"/>
    <dgm:cxn modelId="{2A9C93EE-25C2-4849-B3F0-E41DC4757062}" type="presParOf" srcId="{7D7FD7D6-33CD-4430-B0A7-80D38EFA0B40}" destId="{3C5BA8BE-D8E0-4E3E-8998-1851D54908B3}" srcOrd="9" destOrd="0" presId="urn:microsoft.com/office/officeart/2005/8/layout/venn3"/>
    <dgm:cxn modelId="{BF2EAD81-BCCF-4A06-9B62-B79F46A24F98}" type="presParOf" srcId="{7D7FD7D6-33CD-4430-B0A7-80D38EFA0B40}" destId="{9022F95B-3E7E-4EAA-AE04-D3432EB0C9E9}" srcOrd="10" destOrd="0" presId="urn:microsoft.com/office/officeart/2005/8/layout/ven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239C02-8009-4DCD-9E58-15EA14669034}">
      <dsp:nvSpPr>
        <dsp:cNvPr id="0" name=""/>
        <dsp:cNvSpPr/>
      </dsp:nvSpPr>
      <dsp:spPr>
        <a:xfrm>
          <a:off x="1346" y="1606816"/>
          <a:ext cx="2205034" cy="2205034"/>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1350" tIns="17780" rIns="121350" bIns="17780" numCol="1" spcCol="1270" anchor="ctr" anchorCtr="0">
          <a:noAutofit/>
        </a:bodyPr>
        <a:lstStyle/>
        <a:p>
          <a:pPr marL="0" lvl="0" indent="0" algn="ctr" defTabSz="622300">
            <a:lnSpc>
              <a:spcPct val="90000"/>
            </a:lnSpc>
            <a:spcBef>
              <a:spcPct val="0"/>
            </a:spcBef>
            <a:spcAft>
              <a:spcPct val="35000"/>
            </a:spcAft>
            <a:buNone/>
          </a:pPr>
          <a:r>
            <a:rPr lang="es-ES" sz="1400" kern="1200"/>
            <a:t>Gestión Contable</a:t>
          </a:r>
          <a:endParaRPr lang="es-CO" sz="1400" kern="1200"/>
        </a:p>
      </dsp:txBody>
      <dsp:txXfrm>
        <a:off x="324266" y="1929736"/>
        <a:ext cx="1559194" cy="1559194"/>
      </dsp:txXfrm>
    </dsp:sp>
    <dsp:sp modelId="{4F376559-0DB4-4F9C-B1E9-F8965B2369AD}">
      <dsp:nvSpPr>
        <dsp:cNvPr id="0" name=""/>
        <dsp:cNvSpPr/>
      </dsp:nvSpPr>
      <dsp:spPr>
        <a:xfrm>
          <a:off x="1765373" y="1606816"/>
          <a:ext cx="2205034" cy="2205034"/>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1350" tIns="17780" rIns="121350" bIns="17780" numCol="1" spcCol="1270" anchor="ctr" anchorCtr="0">
          <a:noAutofit/>
        </a:bodyPr>
        <a:lstStyle/>
        <a:p>
          <a:pPr marL="0" lvl="0" indent="0" algn="ctr" defTabSz="622300">
            <a:lnSpc>
              <a:spcPct val="90000"/>
            </a:lnSpc>
            <a:spcBef>
              <a:spcPct val="0"/>
            </a:spcBef>
            <a:spcAft>
              <a:spcPct val="35000"/>
            </a:spcAft>
            <a:buNone/>
          </a:pPr>
          <a:r>
            <a:rPr lang="es-ES" sz="1400" kern="1200"/>
            <a:t>Gestión Tributaria</a:t>
          </a:r>
          <a:endParaRPr lang="es-CO" sz="1400" kern="1200"/>
        </a:p>
      </dsp:txBody>
      <dsp:txXfrm>
        <a:off x="2088293" y="1929736"/>
        <a:ext cx="1559194" cy="1559194"/>
      </dsp:txXfrm>
    </dsp:sp>
    <dsp:sp modelId="{EFDEE142-A888-4B48-9F01-112BA06D939A}">
      <dsp:nvSpPr>
        <dsp:cNvPr id="0" name=""/>
        <dsp:cNvSpPr/>
      </dsp:nvSpPr>
      <dsp:spPr>
        <a:xfrm>
          <a:off x="3529401" y="1606816"/>
          <a:ext cx="2205034" cy="2205034"/>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1350" tIns="17780" rIns="121350" bIns="17780" numCol="1" spcCol="1270" anchor="ctr" anchorCtr="0">
          <a:noAutofit/>
        </a:bodyPr>
        <a:lstStyle/>
        <a:p>
          <a:pPr marL="0" lvl="0" indent="0" algn="ctr" defTabSz="622300">
            <a:lnSpc>
              <a:spcPct val="90000"/>
            </a:lnSpc>
            <a:spcBef>
              <a:spcPct val="0"/>
            </a:spcBef>
            <a:spcAft>
              <a:spcPct val="35000"/>
            </a:spcAft>
            <a:buNone/>
          </a:pPr>
          <a:r>
            <a:rPr lang="es-ES" sz="1400" kern="1200"/>
            <a:t>Operaciones de Tesorería</a:t>
          </a:r>
          <a:endParaRPr lang="es-CO" sz="1400" kern="1200"/>
        </a:p>
      </dsp:txBody>
      <dsp:txXfrm>
        <a:off x="3852321" y="1929736"/>
        <a:ext cx="1559194" cy="1559194"/>
      </dsp:txXfrm>
    </dsp:sp>
    <dsp:sp modelId="{CE5C0E3D-B1C2-4027-AFA7-5949EF54AF93}">
      <dsp:nvSpPr>
        <dsp:cNvPr id="0" name=""/>
        <dsp:cNvSpPr/>
      </dsp:nvSpPr>
      <dsp:spPr>
        <a:xfrm>
          <a:off x="5293429" y="1606816"/>
          <a:ext cx="2205034" cy="2205034"/>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1350" tIns="17780" rIns="121350" bIns="17780" numCol="1" spcCol="1270" anchor="ctr" anchorCtr="0">
          <a:noAutofit/>
        </a:bodyPr>
        <a:lstStyle/>
        <a:p>
          <a:pPr marL="0" lvl="0" indent="0" algn="ctr" defTabSz="622300">
            <a:lnSpc>
              <a:spcPct val="90000"/>
            </a:lnSpc>
            <a:spcBef>
              <a:spcPct val="0"/>
            </a:spcBef>
            <a:spcAft>
              <a:spcPct val="35000"/>
            </a:spcAft>
            <a:buNone/>
          </a:pPr>
          <a:r>
            <a:rPr lang="es-ES" sz="1400" kern="1200"/>
            <a:t>Administración de Recursos Financieros y Liquidez</a:t>
          </a:r>
          <a:endParaRPr lang="es-CO" sz="1400" kern="1200"/>
        </a:p>
      </dsp:txBody>
      <dsp:txXfrm>
        <a:off x="5616349" y="1929736"/>
        <a:ext cx="1559194" cy="1559194"/>
      </dsp:txXfrm>
    </dsp:sp>
    <dsp:sp modelId="{BC7967D4-2D11-400B-9593-A9EDD2E1BB40}">
      <dsp:nvSpPr>
        <dsp:cNvPr id="0" name=""/>
        <dsp:cNvSpPr/>
      </dsp:nvSpPr>
      <dsp:spPr>
        <a:xfrm>
          <a:off x="7057456" y="1606816"/>
          <a:ext cx="2205034" cy="2205034"/>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1350" tIns="17780" rIns="121350" bIns="17780" numCol="1" spcCol="1270" anchor="ctr" anchorCtr="0">
          <a:noAutofit/>
        </a:bodyPr>
        <a:lstStyle/>
        <a:p>
          <a:pPr marL="0" lvl="0" indent="0" algn="ctr" defTabSz="622300">
            <a:lnSpc>
              <a:spcPct val="90000"/>
            </a:lnSpc>
            <a:spcBef>
              <a:spcPct val="0"/>
            </a:spcBef>
            <a:spcAft>
              <a:spcPct val="35000"/>
            </a:spcAft>
            <a:buNone/>
          </a:pPr>
          <a:r>
            <a:rPr lang="es-ES" sz="1400" kern="1200"/>
            <a:t>Consolidación y Aseguramiento de Reportes Financieros</a:t>
          </a:r>
          <a:endParaRPr lang="es-CO" sz="1400" kern="1200"/>
        </a:p>
      </dsp:txBody>
      <dsp:txXfrm>
        <a:off x="7380376" y="1929736"/>
        <a:ext cx="1559194" cy="1559194"/>
      </dsp:txXfrm>
    </dsp:sp>
    <dsp:sp modelId="{9022F95B-3E7E-4EAA-AE04-D3432EB0C9E9}">
      <dsp:nvSpPr>
        <dsp:cNvPr id="0" name=""/>
        <dsp:cNvSpPr/>
      </dsp:nvSpPr>
      <dsp:spPr>
        <a:xfrm>
          <a:off x="8821484" y="1606816"/>
          <a:ext cx="2205034" cy="2205034"/>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1350" tIns="17780" rIns="121350" bIns="17780" numCol="1" spcCol="1270" anchor="ctr" anchorCtr="0">
          <a:noAutofit/>
        </a:bodyPr>
        <a:lstStyle/>
        <a:p>
          <a:pPr marL="0" lvl="0" indent="0" algn="ctr" defTabSz="622300">
            <a:lnSpc>
              <a:spcPct val="90000"/>
            </a:lnSpc>
            <a:spcBef>
              <a:spcPct val="0"/>
            </a:spcBef>
            <a:spcAft>
              <a:spcPct val="35000"/>
            </a:spcAft>
            <a:buNone/>
          </a:pPr>
          <a:r>
            <a:rPr lang="es-ES" sz="1400" kern="1200"/>
            <a:t>Gestión de Retención y Transferencia del Riesgo</a:t>
          </a:r>
          <a:endParaRPr lang="es-CO" sz="1400" kern="1200"/>
        </a:p>
      </dsp:txBody>
      <dsp:txXfrm>
        <a:off x="9144404" y="1929736"/>
        <a:ext cx="1559194" cy="15591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239C02-8009-4DCD-9E58-15EA14669034}">
      <dsp:nvSpPr>
        <dsp:cNvPr id="0" name=""/>
        <dsp:cNvSpPr/>
      </dsp:nvSpPr>
      <dsp:spPr>
        <a:xfrm>
          <a:off x="1346" y="1606816"/>
          <a:ext cx="2205034" cy="2205034"/>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1350" tIns="17780" rIns="121350" bIns="17780" numCol="1" spcCol="1270" anchor="ctr" anchorCtr="0">
          <a:noAutofit/>
        </a:bodyPr>
        <a:lstStyle/>
        <a:p>
          <a:pPr marL="0" lvl="0" indent="0" algn="ctr" defTabSz="622300">
            <a:lnSpc>
              <a:spcPct val="90000"/>
            </a:lnSpc>
            <a:spcBef>
              <a:spcPct val="0"/>
            </a:spcBef>
            <a:spcAft>
              <a:spcPct val="35000"/>
            </a:spcAft>
            <a:buNone/>
          </a:pPr>
          <a:r>
            <a:rPr lang="es-ES" sz="1400" kern="1200"/>
            <a:t>Planeación e Implementación de la Estrategia </a:t>
          </a:r>
          <a:endParaRPr lang="es-CO" sz="1400" kern="1200"/>
        </a:p>
      </dsp:txBody>
      <dsp:txXfrm>
        <a:off x="324266" y="1929736"/>
        <a:ext cx="1559194" cy="1559194"/>
      </dsp:txXfrm>
    </dsp:sp>
    <dsp:sp modelId="{4F376559-0DB4-4F9C-B1E9-F8965B2369AD}">
      <dsp:nvSpPr>
        <dsp:cNvPr id="0" name=""/>
        <dsp:cNvSpPr/>
      </dsp:nvSpPr>
      <dsp:spPr>
        <a:xfrm>
          <a:off x="1765373" y="1606816"/>
          <a:ext cx="2205034" cy="2205034"/>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1350" tIns="17780" rIns="121350" bIns="17780" numCol="1" spcCol="1270" anchor="ctr" anchorCtr="0">
          <a:noAutofit/>
        </a:bodyPr>
        <a:lstStyle/>
        <a:p>
          <a:pPr marL="0" lvl="0" indent="0" algn="ctr" defTabSz="622300">
            <a:lnSpc>
              <a:spcPct val="90000"/>
            </a:lnSpc>
            <a:spcBef>
              <a:spcPct val="0"/>
            </a:spcBef>
            <a:spcAft>
              <a:spcPct val="35000"/>
            </a:spcAft>
            <a:buNone/>
          </a:pPr>
          <a:r>
            <a:rPr lang="es-ES" sz="1400" kern="1200"/>
            <a:t>Nuevos Negocios, Adquisiciones y Fusiones</a:t>
          </a:r>
          <a:endParaRPr lang="es-CO" sz="1400" kern="1200"/>
        </a:p>
      </dsp:txBody>
      <dsp:txXfrm>
        <a:off x="2088293" y="1929736"/>
        <a:ext cx="1559194" cy="1559194"/>
      </dsp:txXfrm>
    </dsp:sp>
    <dsp:sp modelId="{EFDEE142-A888-4B48-9F01-112BA06D939A}">
      <dsp:nvSpPr>
        <dsp:cNvPr id="0" name=""/>
        <dsp:cNvSpPr/>
      </dsp:nvSpPr>
      <dsp:spPr>
        <a:xfrm>
          <a:off x="3529401" y="1606816"/>
          <a:ext cx="2205034" cy="2205034"/>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1350" tIns="17780" rIns="121350" bIns="17780" numCol="1" spcCol="1270" anchor="ctr" anchorCtr="0">
          <a:noAutofit/>
        </a:bodyPr>
        <a:lstStyle/>
        <a:p>
          <a:pPr marL="0" lvl="0" indent="0" algn="ctr" defTabSz="622300">
            <a:lnSpc>
              <a:spcPct val="90000"/>
            </a:lnSpc>
            <a:spcBef>
              <a:spcPct val="0"/>
            </a:spcBef>
            <a:spcAft>
              <a:spcPct val="35000"/>
            </a:spcAft>
            <a:buNone/>
          </a:pPr>
          <a:r>
            <a:rPr lang="es-ES" sz="1400" kern="1200"/>
            <a:t>Gestión Regulatoria y Aseguramiento de Tarifas </a:t>
          </a:r>
          <a:endParaRPr lang="es-CO" sz="1400" kern="1200"/>
        </a:p>
      </dsp:txBody>
      <dsp:txXfrm>
        <a:off x="3852321" y="1929736"/>
        <a:ext cx="1559194" cy="1559194"/>
      </dsp:txXfrm>
    </dsp:sp>
    <dsp:sp modelId="{CE5C0E3D-B1C2-4027-AFA7-5949EF54AF93}">
      <dsp:nvSpPr>
        <dsp:cNvPr id="0" name=""/>
        <dsp:cNvSpPr/>
      </dsp:nvSpPr>
      <dsp:spPr>
        <a:xfrm>
          <a:off x="5293429" y="1606816"/>
          <a:ext cx="2205034" cy="2205034"/>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1350" tIns="17780" rIns="121350" bIns="17780" numCol="1" spcCol="1270" anchor="ctr" anchorCtr="0">
          <a:noAutofit/>
        </a:bodyPr>
        <a:lstStyle/>
        <a:p>
          <a:pPr marL="0" lvl="0" indent="0" algn="ctr" defTabSz="622300">
            <a:lnSpc>
              <a:spcPct val="90000"/>
            </a:lnSpc>
            <a:spcBef>
              <a:spcPct val="0"/>
            </a:spcBef>
            <a:spcAft>
              <a:spcPct val="35000"/>
            </a:spcAft>
            <a:buNone/>
          </a:pPr>
          <a:r>
            <a:rPr lang="es-CO" sz="1400" kern="1200"/>
            <a:t>Gestión Integral de Portafolio</a:t>
          </a:r>
        </a:p>
      </dsp:txBody>
      <dsp:txXfrm>
        <a:off x="5616349" y="1929736"/>
        <a:ext cx="1559194" cy="1559194"/>
      </dsp:txXfrm>
    </dsp:sp>
    <dsp:sp modelId="{BC7967D4-2D11-400B-9593-A9EDD2E1BB40}">
      <dsp:nvSpPr>
        <dsp:cNvPr id="0" name=""/>
        <dsp:cNvSpPr/>
      </dsp:nvSpPr>
      <dsp:spPr>
        <a:xfrm>
          <a:off x="7057456" y="1606816"/>
          <a:ext cx="2205034" cy="2205034"/>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1350" tIns="17780" rIns="121350" bIns="17780" numCol="1" spcCol="1270" anchor="ctr" anchorCtr="0">
          <a:noAutofit/>
        </a:bodyPr>
        <a:lstStyle/>
        <a:p>
          <a:pPr marL="0" lvl="0" indent="0" algn="ctr" defTabSz="622300">
            <a:lnSpc>
              <a:spcPct val="90000"/>
            </a:lnSpc>
            <a:spcBef>
              <a:spcPct val="0"/>
            </a:spcBef>
            <a:spcAft>
              <a:spcPct val="35000"/>
            </a:spcAft>
            <a:buNone/>
          </a:pPr>
          <a:r>
            <a:rPr lang="es-CO" sz="1400" kern="1200"/>
            <a:t>Planeación Financiera y Presupuesto</a:t>
          </a:r>
        </a:p>
      </dsp:txBody>
      <dsp:txXfrm>
        <a:off x="7380376" y="1929736"/>
        <a:ext cx="1559194" cy="1559194"/>
      </dsp:txXfrm>
    </dsp:sp>
    <dsp:sp modelId="{9022F95B-3E7E-4EAA-AE04-D3432EB0C9E9}">
      <dsp:nvSpPr>
        <dsp:cNvPr id="0" name=""/>
        <dsp:cNvSpPr/>
      </dsp:nvSpPr>
      <dsp:spPr>
        <a:xfrm>
          <a:off x="8821484" y="1606816"/>
          <a:ext cx="2205034" cy="2205034"/>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1350" tIns="17780" rIns="121350" bIns="17780" numCol="1" spcCol="1270" anchor="ctr" anchorCtr="0">
          <a:noAutofit/>
        </a:bodyPr>
        <a:lstStyle/>
        <a:p>
          <a:pPr marL="0" lvl="0" indent="0" algn="ctr" defTabSz="622300">
            <a:lnSpc>
              <a:spcPct val="90000"/>
            </a:lnSpc>
            <a:spcBef>
              <a:spcPct val="0"/>
            </a:spcBef>
            <a:spcAft>
              <a:spcPct val="35000"/>
            </a:spcAft>
            <a:buNone/>
          </a:pPr>
          <a:r>
            <a:rPr lang="es-CO" sz="1400" kern="1200"/>
            <a:t>Desempeño Empresarial </a:t>
          </a:r>
        </a:p>
      </dsp:txBody>
      <dsp:txXfrm>
        <a:off x="9144404" y="1929736"/>
        <a:ext cx="1559194" cy="1559194"/>
      </dsp:txXfrm>
    </dsp:sp>
  </dsp:spTree>
</dsp:drawing>
</file>

<file path=ppt/diagrams/layout1.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s-CO"/>
          </a:p>
        </p:txBody>
      </p:sp>
      <p:sp>
        <p:nvSpPr>
          <p:cNvPr id="3" name="Marcador de fecha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8F12B216-019E-4036-8562-57EF95F31BD5}" type="datetimeFigureOut">
              <a:rPr lang="es-CO" smtClean="0"/>
              <a:t>7/02/2021</a:t>
            </a:fld>
            <a:endParaRPr lang="es-CO"/>
          </a:p>
        </p:txBody>
      </p:sp>
      <p:sp>
        <p:nvSpPr>
          <p:cNvPr id="4" name="Marcador de imagen de diapositiva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s-CO"/>
          </a:p>
        </p:txBody>
      </p:sp>
      <p:sp>
        <p:nvSpPr>
          <p:cNvPr id="5" name="Marcador de notas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Marcador de pie de página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s-CO"/>
          </a:p>
        </p:txBody>
      </p:sp>
      <p:sp>
        <p:nvSpPr>
          <p:cNvPr id="7" name="Marcador de número de diapositiva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A1982204-AC2A-435A-8E03-13AC72C75B63}" type="slidenum">
              <a:rPr lang="es-CO" smtClean="0"/>
              <a:t>‹Nº›</a:t>
            </a:fld>
            <a:endParaRPr lang="es-CO"/>
          </a:p>
        </p:txBody>
      </p:sp>
    </p:spTree>
    <p:extLst>
      <p:ext uri="{BB962C8B-B14F-4D97-AF65-F5344CB8AC3E}">
        <p14:creationId xmlns:p14="http://schemas.microsoft.com/office/powerpoint/2010/main" val="41831488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52132AF8-1D01-D044-82F4-18027017BC9E}" type="slidenum">
              <a:rPr lang="es-ES_tradnl" smtClean="0"/>
              <a:t>11</a:t>
            </a:fld>
            <a:endParaRPr lang="es-ES_tradnl"/>
          </a:p>
        </p:txBody>
      </p:sp>
    </p:spTree>
    <p:extLst>
      <p:ext uri="{BB962C8B-B14F-4D97-AF65-F5344CB8AC3E}">
        <p14:creationId xmlns:p14="http://schemas.microsoft.com/office/powerpoint/2010/main" val="27094279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A1982204-AC2A-435A-8E03-13AC72C75B63}" type="slidenum">
              <a:rPr lang="es-CO" smtClean="0"/>
              <a:t>32</a:t>
            </a:fld>
            <a:endParaRPr lang="es-CO"/>
          </a:p>
        </p:txBody>
      </p:sp>
    </p:spTree>
    <p:extLst>
      <p:ext uri="{BB962C8B-B14F-4D97-AF65-F5344CB8AC3E}">
        <p14:creationId xmlns:p14="http://schemas.microsoft.com/office/powerpoint/2010/main" val="11385520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A1982204-AC2A-435A-8E03-13AC72C75B63}" type="slidenum">
              <a:rPr lang="es-CO" smtClean="0"/>
              <a:t>33</a:t>
            </a:fld>
            <a:endParaRPr lang="es-CO"/>
          </a:p>
        </p:txBody>
      </p:sp>
    </p:spTree>
    <p:extLst>
      <p:ext uri="{BB962C8B-B14F-4D97-AF65-F5344CB8AC3E}">
        <p14:creationId xmlns:p14="http://schemas.microsoft.com/office/powerpoint/2010/main" val="42184114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A1982204-AC2A-435A-8E03-13AC72C75B63}" type="slidenum">
              <a:rPr lang="es-CO" smtClean="0"/>
              <a:t>34</a:t>
            </a:fld>
            <a:endParaRPr lang="es-CO"/>
          </a:p>
        </p:txBody>
      </p:sp>
    </p:spTree>
    <p:extLst>
      <p:ext uri="{BB962C8B-B14F-4D97-AF65-F5344CB8AC3E}">
        <p14:creationId xmlns:p14="http://schemas.microsoft.com/office/powerpoint/2010/main" val="13939076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A1982204-AC2A-435A-8E03-13AC72C75B63}" type="slidenum">
              <a:rPr lang="es-CO" smtClean="0"/>
              <a:t>35</a:t>
            </a:fld>
            <a:endParaRPr lang="es-CO"/>
          </a:p>
        </p:txBody>
      </p:sp>
    </p:spTree>
    <p:extLst>
      <p:ext uri="{BB962C8B-B14F-4D97-AF65-F5344CB8AC3E}">
        <p14:creationId xmlns:p14="http://schemas.microsoft.com/office/powerpoint/2010/main" val="27073108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A1982204-AC2A-435A-8E03-13AC72C75B63}" type="slidenum">
              <a:rPr lang="es-CO" smtClean="0"/>
              <a:t>36</a:t>
            </a:fld>
            <a:endParaRPr lang="es-CO"/>
          </a:p>
        </p:txBody>
      </p:sp>
    </p:spTree>
    <p:extLst>
      <p:ext uri="{BB962C8B-B14F-4D97-AF65-F5344CB8AC3E}">
        <p14:creationId xmlns:p14="http://schemas.microsoft.com/office/powerpoint/2010/main" val="39088217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A1982204-AC2A-435A-8E03-13AC72C75B63}" type="slidenum">
              <a:rPr lang="es-CO" smtClean="0"/>
              <a:t>37</a:t>
            </a:fld>
            <a:endParaRPr lang="es-CO"/>
          </a:p>
        </p:txBody>
      </p:sp>
    </p:spTree>
    <p:extLst>
      <p:ext uri="{BB962C8B-B14F-4D97-AF65-F5344CB8AC3E}">
        <p14:creationId xmlns:p14="http://schemas.microsoft.com/office/powerpoint/2010/main" val="38206781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A1982204-AC2A-435A-8E03-13AC72C75B63}" type="slidenum">
              <a:rPr lang="es-CO" smtClean="0"/>
              <a:t>40</a:t>
            </a:fld>
            <a:endParaRPr lang="es-CO"/>
          </a:p>
        </p:txBody>
      </p:sp>
    </p:spTree>
    <p:extLst>
      <p:ext uri="{BB962C8B-B14F-4D97-AF65-F5344CB8AC3E}">
        <p14:creationId xmlns:p14="http://schemas.microsoft.com/office/powerpoint/2010/main" val="11111249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A1982204-AC2A-435A-8E03-13AC72C75B63}" type="slidenum">
              <a:rPr lang="es-CO" smtClean="0"/>
              <a:t>23</a:t>
            </a:fld>
            <a:endParaRPr lang="es-CO"/>
          </a:p>
        </p:txBody>
      </p:sp>
    </p:spTree>
    <p:extLst>
      <p:ext uri="{BB962C8B-B14F-4D97-AF65-F5344CB8AC3E}">
        <p14:creationId xmlns:p14="http://schemas.microsoft.com/office/powerpoint/2010/main" val="1023829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A1982204-AC2A-435A-8E03-13AC72C75B63}" type="slidenum">
              <a:rPr lang="es-CO" smtClean="0"/>
              <a:t>24</a:t>
            </a:fld>
            <a:endParaRPr lang="es-CO"/>
          </a:p>
        </p:txBody>
      </p:sp>
    </p:spTree>
    <p:extLst>
      <p:ext uri="{BB962C8B-B14F-4D97-AF65-F5344CB8AC3E}">
        <p14:creationId xmlns:p14="http://schemas.microsoft.com/office/powerpoint/2010/main" val="8733643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A1982204-AC2A-435A-8E03-13AC72C75B63}" type="slidenum">
              <a:rPr lang="es-CO" smtClean="0"/>
              <a:t>25</a:t>
            </a:fld>
            <a:endParaRPr lang="es-CO"/>
          </a:p>
        </p:txBody>
      </p:sp>
    </p:spTree>
    <p:extLst>
      <p:ext uri="{BB962C8B-B14F-4D97-AF65-F5344CB8AC3E}">
        <p14:creationId xmlns:p14="http://schemas.microsoft.com/office/powerpoint/2010/main" val="25953352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A1982204-AC2A-435A-8E03-13AC72C75B63}" type="slidenum">
              <a:rPr lang="es-CO" smtClean="0"/>
              <a:t>26</a:t>
            </a:fld>
            <a:endParaRPr lang="es-CO"/>
          </a:p>
        </p:txBody>
      </p:sp>
    </p:spTree>
    <p:extLst>
      <p:ext uri="{BB962C8B-B14F-4D97-AF65-F5344CB8AC3E}">
        <p14:creationId xmlns:p14="http://schemas.microsoft.com/office/powerpoint/2010/main" val="23066397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A1982204-AC2A-435A-8E03-13AC72C75B63}" type="slidenum">
              <a:rPr lang="es-CO" smtClean="0"/>
              <a:t>27</a:t>
            </a:fld>
            <a:endParaRPr lang="es-CO"/>
          </a:p>
        </p:txBody>
      </p:sp>
    </p:spTree>
    <p:extLst>
      <p:ext uri="{BB962C8B-B14F-4D97-AF65-F5344CB8AC3E}">
        <p14:creationId xmlns:p14="http://schemas.microsoft.com/office/powerpoint/2010/main" val="33021632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A1982204-AC2A-435A-8E03-13AC72C75B63}" type="slidenum">
              <a:rPr lang="es-CO" smtClean="0"/>
              <a:t>28</a:t>
            </a:fld>
            <a:endParaRPr lang="es-CO"/>
          </a:p>
        </p:txBody>
      </p:sp>
    </p:spTree>
    <p:extLst>
      <p:ext uri="{BB962C8B-B14F-4D97-AF65-F5344CB8AC3E}">
        <p14:creationId xmlns:p14="http://schemas.microsoft.com/office/powerpoint/2010/main" val="14936236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A1982204-AC2A-435A-8E03-13AC72C75B63}" type="slidenum">
              <a:rPr lang="es-CO" smtClean="0"/>
              <a:t>29</a:t>
            </a:fld>
            <a:endParaRPr lang="es-CO"/>
          </a:p>
        </p:txBody>
      </p:sp>
    </p:spTree>
    <p:extLst>
      <p:ext uri="{BB962C8B-B14F-4D97-AF65-F5344CB8AC3E}">
        <p14:creationId xmlns:p14="http://schemas.microsoft.com/office/powerpoint/2010/main" val="2869745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5"/>
          </p:nvPr>
        </p:nvSpPr>
        <p:spPr/>
        <p:txBody>
          <a:bodyPr/>
          <a:lstStyle/>
          <a:p>
            <a:fld id="{A1982204-AC2A-435A-8E03-13AC72C75B63}" type="slidenum">
              <a:rPr lang="es-CO" smtClean="0"/>
              <a:t>30</a:t>
            </a:fld>
            <a:endParaRPr lang="es-CO"/>
          </a:p>
        </p:txBody>
      </p:sp>
    </p:spTree>
    <p:extLst>
      <p:ext uri="{BB962C8B-B14F-4D97-AF65-F5344CB8AC3E}">
        <p14:creationId xmlns:p14="http://schemas.microsoft.com/office/powerpoint/2010/main" val="114436000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oleObject" Target="../embeddings/oleObject2.bin"/><Relationship Id="rId7"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emf"/><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oleObject" Target="../embeddings/oleObject5.bin"/><Relationship Id="rId4" Type="http://schemas.openxmlformats.org/officeDocument/2006/relationships/image" Target="../media/image3.emf"/><Relationship Id="rId9" Type="http://schemas.openxmlformats.org/officeDocument/2006/relationships/oleObject" Target="../embeddings/oleObject4.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hemeOverride" Target="../theme/themeOverride1.xml"/><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28.xml"/></Relationships>
</file>

<file path=ppt/slideLayouts/_rels/slideLayout2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31.xml"/><Relationship Id="rId7" Type="http://schemas.openxmlformats.org/officeDocument/2006/relationships/image" Target="../media/image11.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0.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4.xml"/><Relationship Id="rId1" Type="http://schemas.openxmlformats.org/officeDocument/2006/relationships/tags" Target="../tags/tag5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54.xml"/><Relationship Id="rId7" Type="http://schemas.openxmlformats.org/officeDocument/2006/relationships/image" Target="../media/image11.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0.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8.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2.emf"/><Relationship Id="rId5" Type="http://schemas.openxmlformats.org/officeDocument/2006/relationships/oleObject" Target="../embeddings/oleObject14.bin"/><Relationship Id="rId4"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79.xml"/><Relationship Id="rId7" Type="http://schemas.openxmlformats.org/officeDocument/2006/relationships/image" Target="../media/image11.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0.emf"/><Relationship Id="rId5" Type="http://schemas.openxmlformats.org/officeDocument/2006/relationships/oleObject" Target="../embeddings/oleObject15.bin"/><Relationship Id="rId4"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12.emf"/><Relationship Id="rId4" Type="http://schemas.openxmlformats.org/officeDocument/2006/relationships/oleObject" Target="../embeddings/oleObject1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3.jpeg"/><Relationship Id="rId5" Type="http://schemas.openxmlformats.org/officeDocument/2006/relationships/image" Target="../media/image12.emf"/><Relationship Id="rId4" Type="http://schemas.openxmlformats.org/officeDocument/2006/relationships/oleObject" Target="../embeddings/oleObject1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19.bin"/></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6.xml"/><Relationship Id="rId1" Type="http://schemas.openxmlformats.org/officeDocument/2006/relationships/tags" Target="../tags/tag103.xml"/></Relationships>
</file>

<file path=ppt/slideLayouts/_rels/slideLayout3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06.xml"/><Relationship Id="rId7" Type="http://schemas.openxmlformats.org/officeDocument/2006/relationships/image" Target="../media/image11.pn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0.emf"/><Relationship Id="rId5" Type="http://schemas.openxmlformats.org/officeDocument/2006/relationships/oleObject" Target="../embeddings/oleObject20.bin"/><Relationship Id="rId4"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22.bin"/></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8.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12.emf"/><Relationship Id="rId5" Type="http://schemas.openxmlformats.org/officeDocument/2006/relationships/oleObject" Target="../embeddings/oleObject23.bin"/><Relationship Id="rId4"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31.xml"/><Relationship Id="rId7" Type="http://schemas.openxmlformats.org/officeDocument/2006/relationships/image" Target="../media/image11.png"/><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image" Target="../media/image10.emf"/><Relationship Id="rId5" Type="http://schemas.openxmlformats.org/officeDocument/2006/relationships/oleObject" Target="../embeddings/oleObject24.bin"/><Relationship Id="rId4"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12.emf"/><Relationship Id="rId4" Type="http://schemas.openxmlformats.org/officeDocument/2006/relationships/oleObject" Target="../embeddings/oleObject25.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3.jpeg"/><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Porta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Diapositiva de think-cell" r:id="rId3" imgW="353" imgH="353" progId="TCLayout.ActiveDocument.1">
                  <p:embed/>
                </p:oleObj>
              </mc:Choice>
              <mc:Fallback>
                <p:oleObj name="Diapositiva de think-cell" r:id="rId3" imgW="353" imgH="353" progId="TCLayout.ActiveDocument.1">
                  <p:embed/>
                  <p:pic>
                    <p:nvPicPr>
                      <p:cNvPr id="3" name="Object 2" hidden="1"/>
                      <p:cNvPicPr/>
                      <p:nvPr/>
                    </p:nvPicPr>
                    <p:blipFill>
                      <a:blip r:embed="rId4"/>
                      <a:stretch>
                        <a:fillRect/>
                      </a:stretch>
                    </p:blipFill>
                    <p:spPr>
                      <a:xfrm>
                        <a:off x="2162" y="1623"/>
                        <a:ext cx="2159" cy="1619"/>
                      </a:xfrm>
                      <a:prstGeom prst="rect">
                        <a:avLst/>
                      </a:prstGeom>
                    </p:spPr>
                  </p:pic>
                </p:oleObj>
              </mc:Fallback>
            </mc:AlternateContent>
          </a:graphicData>
        </a:graphic>
      </p:graphicFrame>
      <p:sp>
        <p:nvSpPr>
          <p:cNvPr id="54" name="Rectangle 53"/>
          <p:cNvSpPr/>
          <p:nvPr/>
        </p:nvSpPr>
        <p:spPr>
          <a:xfrm flipH="1">
            <a:off x="1" y="2285784"/>
            <a:ext cx="12198481" cy="4573836"/>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378">
              <a:solidFill>
                <a:srgbClr val="000000"/>
              </a:solidFill>
            </a:endParaRPr>
          </a:p>
        </p:txBody>
      </p:sp>
      <p:pic>
        <p:nvPicPr>
          <p:cNvPr id="18468" name="Picture 36" descr="http://inteligenciapetrolera.com.co/inicio/wp-content/uploads/2015/05/oleoductos-Colombia.jpg"/>
          <p:cNvPicPr>
            <a:picLocks noChangeAspect="1" noChangeArrowheads="1"/>
          </p:cNvPicPr>
          <p:nvPr/>
        </p:nvPicPr>
        <p:blipFill rotWithShape="1">
          <a:blip r:embed="rId5"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2" y="0"/>
            <a:ext cx="12198479" cy="2285784"/>
          </a:xfrm>
          <a:prstGeom prst="rect">
            <a:avLst/>
          </a:prstGeom>
          <a:noFill/>
          <a:extLst>
            <a:ext uri="{909E8E84-426E-40DD-AFC4-6F175D3DCCD1}">
              <a14:hiddenFill xmlns:a14="http://schemas.microsoft.com/office/drawing/2010/main">
                <a:solidFill>
                  <a:srgbClr val="FFFFFF"/>
                </a:solidFill>
              </a14:hiddenFill>
            </a:ext>
          </a:extLst>
        </p:spPr>
      </p:pic>
      <p:sp>
        <p:nvSpPr>
          <p:cNvPr id="35" name="TitleTopPlaceholder"/>
          <p:cNvSpPr>
            <a:spLocks noChangeArrowheads="1"/>
          </p:cNvSpPr>
          <p:nvPr/>
        </p:nvSpPr>
        <p:spPr bwMode="auto">
          <a:xfrm>
            <a:off x="1" y="1944"/>
            <a:ext cx="12198480" cy="2283840"/>
          </a:xfrm>
          <a:prstGeom prst="rect">
            <a:avLst/>
          </a:prstGeom>
          <a:solidFill>
            <a:schemeClr val="accent1">
              <a:alpha val="70000"/>
            </a:schemeClr>
          </a:solidFill>
          <a:ln w="9525">
            <a:noFill/>
            <a:miter lim="800000"/>
            <a:headEnd/>
            <a:tailEnd/>
          </a:ln>
          <a:effectLst/>
        </p:spPr>
        <p:txBody>
          <a:bodyPr wrap="none" anchor="ctr"/>
          <a:lstStyle/>
          <a:p>
            <a:endParaRPr lang="es-ES_tradnl" sz="1378">
              <a:solidFill>
                <a:srgbClr val="000000"/>
              </a:solidFill>
              <a:latin typeface="Arial"/>
            </a:endParaRPr>
          </a:p>
        </p:txBody>
      </p:sp>
      <p:pic>
        <p:nvPicPr>
          <p:cNvPr id="18" name="TitleBottomBarBW" hidden="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760081" y="6574547"/>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hasCustomPrompt="1"/>
          </p:nvPr>
        </p:nvSpPr>
        <p:spPr>
          <a:xfrm>
            <a:off x="3598214" y="2808900"/>
            <a:ext cx="7973759" cy="369332"/>
          </a:xfrm>
          <a:prstGeom prst="rect">
            <a:avLst/>
          </a:prstGeom>
        </p:spPr>
        <p:txBody>
          <a:bodyPr/>
          <a:lstStyle>
            <a:lvl1pPr>
              <a:defRPr sz="2400" b="0">
                <a:solidFill>
                  <a:schemeClr val="bg2"/>
                </a:solidFill>
              </a:defRPr>
            </a:lvl1pPr>
          </a:lstStyle>
          <a:p>
            <a:pPr lvl="0"/>
            <a:r>
              <a:rPr lang="es-ES_tradnl" noProof="0"/>
              <a:t>Título de la Presentación (Arial, 24, Blanco)</a:t>
            </a:r>
          </a:p>
        </p:txBody>
      </p:sp>
      <p:sp>
        <p:nvSpPr>
          <p:cNvPr id="13315" name="Rectangle 1027"/>
          <p:cNvSpPr>
            <a:spLocks noGrp="1" noChangeArrowheads="1"/>
          </p:cNvSpPr>
          <p:nvPr>
            <p:ph type="subTitle" idx="1" hasCustomPrompt="1"/>
          </p:nvPr>
        </p:nvSpPr>
        <p:spPr>
          <a:xfrm>
            <a:off x="3598213" y="3883792"/>
            <a:ext cx="7973759" cy="338554"/>
          </a:xfrm>
          <a:prstGeom prst="rect">
            <a:avLst/>
          </a:prstGeom>
        </p:spPr>
        <p:txBody>
          <a:bodyPr wrap="square">
            <a:spAutoFit/>
          </a:bodyPr>
          <a:lstStyle>
            <a:lvl1pPr>
              <a:defRPr sz="1600">
                <a:solidFill>
                  <a:schemeClr val="accent1"/>
                </a:solidFill>
              </a:defRPr>
            </a:lvl1pPr>
          </a:lstStyle>
          <a:p>
            <a:pPr lvl="0"/>
            <a:r>
              <a:rPr lang="es-ES_tradnl" noProof="0"/>
              <a:t>Fecha de la presentación (DD de mes de AÑO) (Arial, 16, Azul Claro)</a:t>
            </a:r>
          </a:p>
        </p:txBody>
      </p:sp>
      <p:sp>
        <p:nvSpPr>
          <p:cNvPr id="4" name="Working Draft Text" hidden="1"/>
          <p:cNvSpPr txBox="1">
            <a:spLocks noChangeArrowheads="1"/>
          </p:cNvSpPr>
          <p:nvPr/>
        </p:nvSpPr>
        <p:spPr bwMode="auto">
          <a:xfrm>
            <a:off x="516593" y="372730"/>
            <a:ext cx="763029" cy="106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s-ES_tradnl" sz="689" b="1" err="1">
                <a:solidFill>
                  <a:srgbClr val="DCEBF4">
                    <a:lumMod val="25000"/>
                  </a:srgbClr>
                </a:solidFill>
              </a:rPr>
              <a:t>WORKING</a:t>
            </a:r>
            <a:r>
              <a:rPr lang="es-ES_tradnl" sz="689" b="1">
                <a:solidFill>
                  <a:srgbClr val="DCEBF4">
                    <a:lumMod val="25000"/>
                  </a:srgbClr>
                </a:solidFill>
              </a:rPr>
              <a:t> </a:t>
            </a:r>
            <a:r>
              <a:rPr lang="es-ES_tradnl" sz="689" b="1" err="1">
                <a:solidFill>
                  <a:srgbClr val="DCEBF4">
                    <a:lumMod val="25000"/>
                  </a:srgbClr>
                </a:solidFill>
              </a:rPr>
              <a:t>DRAFT</a:t>
            </a:r>
            <a:endParaRPr lang="es-ES_tradnl" sz="689" b="1">
              <a:solidFill>
                <a:srgbClr val="DCEBF4">
                  <a:lumMod val="25000"/>
                </a:srgbClr>
              </a:solidFill>
            </a:endParaRPr>
          </a:p>
        </p:txBody>
      </p:sp>
      <p:sp>
        <p:nvSpPr>
          <p:cNvPr id="6" name="Working Draft" hidden="1"/>
          <p:cNvSpPr txBox="1">
            <a:spLocks noChangeArrowheads="1"/>
          </p:cNvSpPr>
          <p:nvPr/>
        </p:nvSpPr>
        <p:spPr bwMode="auto">
          <a:xfrm>
            <a:off x="516591" y="531465"/>
            <a:ext cx="2447786" cy="106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89">
                <a:solidFill>
                  <a:srgbClr val="DCEBF4">
                    <a:lumMod val="25000"/>
                  </a:srgbClr>
                </a:solidFill>
              </a:rPr>
              <a:t>Last Modified 31/10/2016 3:14 p. m. SA Pacific Standard Time</a:t>
            </a:r>
            <a:endParaRPr lang="es-ES_tradnl" sz="689">
              <a:solidFill>
                <a:srgbClr val="DCEBF4">
                  <a:lumMod val="25000"/>
                </a:srgbClr>
              </a:solidFill>
            </a:endParaRPr>
          </a:p>
        </p:txBody>
      </p:sp>
      <p:sp>
        <p:nvSpPr>
          <p:cNvPr id="7" name="Printed" hidden="1"/>
          <p:cNvSpPr txBox="1">
            <a:spLocks noChangeArrowheads="1"/>
          </p:cNvSpPr>
          <p:nvPr/>
        </p:nvSpPr>
        <p:spPr bwMode="auto">
          <a:xfrm>
            <a:off x="516592" y="691820"/>
            <a:ext cx="280526" cy="106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s-ES_tradnl" sz="689" err="1">
                <a:solidFill>
                  <a:srgbClr val="DCEBF4">
                    <a:lumMod val="25000"/>
                  </a:srgbClr>
                </a:solidFill>
              </a:rPr>
              <a:t>Printed</a:t>
            </a:r>
            <a:endParaRPr lang="es-ES_tradnl" sz="689">
              <a:solidFill>
                <a:srgbClr val="DCEBF4">
                  <a:lumMod val="25000"/>
                </a:srgbClr>
              </a:solidFill>
            </a:endParaRPr>
          </a:p>
        </p:txBody>
      </p:sp>
      <p:grpSp>
        <p:nvGrpSpPr>
          <p:cNvPr id="37" name="Title Elements"/>
          <p:cNvGrpSpPr/>
          <p:nvPr/>
        </p:nvGrpSpPr>
        <p:grpSpPr>
          <a:xfrm>
            <a:off x="0" y="1"/>
            <a:ext cx="12187683" cy="6859620"/>
            <a:chOff x="0" y="0"/>
            <a:chExt cx="8958264" cy="6723063"/>
          </a:xfrm>
        </p:grpSpPr>
        <p:sp>
          <p:nvSpPr>
            <p:cNvPr id="38" name="Document type" hidden="1"/>
            <p:cNvSpPr txBox="1">
              <a:spLocks noChangeArrowheads="1"/>
            </p:cNvSpPr>
            <p:nvPr/>
          </p:nvSpPr>
          <p:spPr bwMode="auto">
            <a:xfrm>
              <a:off x="2640013" y="5446901"/>
              <a:ext cx="4935538" cy="161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s-ES_tradnl" sz="1071" err="1">
                  <a:solidFill>
                    <a:srgbClr val="DCEBF4"/>
                  </a:solidFill>
                  <a:latin typeface="Arial"/>
                </a:rPr>
                <a:t>Document</a:t>
              </a:r>
              <a:r>
                <a:rPr lang="es-ES_tradnl" sz="1071">
                  <a:solidFill>
                    <a:srgbClr val="DCEBF4"/>
                  </a:solidFill>
                  <a:latin typeface="Arial"/>
                </a:rPr>
                <a:t> </a:t>
              </a:r>
              <a:r>
                <a:rPr lang="es-ES_tradnl" sz="1071" err="1">
                  <a:solidFill>
                    <a:srgbClr val="DCEBF4"/>
                  </a:solidFill>
                  <a:latin typeface="Arial"/>
                </a:rPr>
                <a:t>type</a:t>
              </a:r>
              <a:endParaRPr lang="es-ES_tradnl" sz="1071">
                <a:solidFill>
                  <a:srgbClr val="DCEBF4"/>
                </a:solidFill>
                <a:latin typeface="Arial"/>
              </a:endParaRPr>
            </a:p>
          </p:txBody>
        </p:sp>
        <p:sp>
          <p:nvSpPr>
            <p:cNvPr id="39" name="Date" hidden="1"/>
            <p:cNvSpPr txBox="1">
              <a:spLocks noChangeArrowheads="1"/>
            </p:cNvSpPr>
            <p:nvPr/>
          </p:nvSpPr>
          <p:spPr bwMode="auto">
            <a:xfrm>
              <a:off x="2640013" y="5660798"/>
              <a:ext cx="4935538" cy="161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s-ES_tradnl" sz="1071">
                  <a:solidFill>
                    <a:srgbClr val="DCEBF4"/>
                  </a:solidFill>
                  <a:latin typeface="Arial"/>
                </a:rPr>
                <a:t>Date</a:t>
              </a:r>
            </a:p>
          </p:txBody>
        </p:sp>
        <p:sp>
          <p:nvSpPr>
            <p:cNvPr id="40" name="Disclaimer" hidden="1"/>
            <p:cNvSpPr>
              <a:spLocks noChangeArrowheads="1"/>
            </p:cNvSpPr>
            <p:nvPr/>
          </p:nvSpPr>
          <p:spPr bwMode="auto">
            <a:xfrm>
              <a:off x="2640013" y="6143140"/>
              <a:ext cx="5121275"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615902" eaLnBrk="0" hangingPunct="0"/>
              <a:r>
                <a:rPr lang="es-ES_tradnl" sz="612" err="1">
                  <a:solidFill>
                    <a:srgbClr val="DCEBF4"/>
                  </a:solidFill>
                  <a:latin typeface="Arial"/>
                </a:rPr>
                <a:t>CONFIDENTIAL</a:t>
              </a:r>
              <a:r>
                <a:rPr lang="es-ES_tradnl" sz="612">
                  <a:solidFill>
                    <a:srgbClr val="DCEBF4"/>
                  </a:solidFill>
                  <a:latin typeface="Arial"/>
                </a:rPr>
                <a:t> AND </a:t>
              </a:r>
              <a:r>
                <a:rPr lang="es-ES_tradnl" sz="612" err="1">
                  <a:solidFill>
                    <a:srgbClr val="DCEBF4"/>
                  </a:solidFill>
                  <a:latin typeface="Arial"/>
                </a:rPr>
                <a:t>PROPRIETARY</a:t>
              </a:r>
              <a:endParaRPr lang="es-ES_tradnl" sz="612">
                <a:solidFill>
                  <a:srgbClr val="DCEBF4"/>
                </a:solidFill>
                <a:latin typeface="Arial"/>
              </a:endParaRPr>
            </a:p>
            <a:p>
              <a:pPr defTabSz="615902" eaLnBrk="0" hangingPunct="0"/>
              <a:r>
                <a:rPr lang="es-ES_tradnl" sz="612" err="1">
                  <a:solidFill>
                    <a:srgbClr val="DCEBF4"/>
                  </a:solidFill>
                  <a:latin typeface="Arial"/>
                </a:rPr>
                <a:t>Any</a:t>
              </a:r>
              <a:r>
                <a:rPr lang="es-ES_tradnl" sz="612">
                  <a:solidFill>
                    <a:srgbClr val="DCEBF4"/>
                  </a:solidFill>
                  <a:latin typeface="Arial"/>
                </a:rPr>
                <a:t> use of </a:t>
              </a:r>
              <a:r>
                <a:rPr lang="es-ES_tradnl" sz="612" err="1">
                  <a:solidFill>
                    <a:srgbClr val="DCEBF4"/>
                  </a:solidFill>
                  <a:latin typeface="Arial"/>
                </a:rPr>
                <a:t>this</a:t>
              </a:r>
              <a:r>
                <a:rPr lang="es-ES_tradnl" sz="612">
                  <a:solidFill>
                    <a:srgbClr val="DCEBF4"/>
                  </a:solidFill>
                  <a:latin typeface="Arial"/>
                </a:rPr>
                <a:t> material </a:t>
              </a:r>
              <a:r>
                <a:rPr lang="es-ES_tradnl" sz="612" err="1">
                  <a:solidFill>
                    <a:srgbClr val="DCEBF4"/>
                  </a:solidFill>
                  <a:latin typeface="Arial"/>
                </a:rPr>
                <a:t>without</a:t>
              </a:r>
              <a:r>
                <a:rPr lang="es-ES_tradnl" sz="612">
                  <a:solidFill>
                    <a:srgbClr val="DCEBF4"/>
                  </a:solidFill>
                  <a:latin typeface="Arial"/>
                </a:rPr>
                <a:t> </a:t>
              </a:r>
              <a:r>
                <a:rPr lang="es-ES_tradnl" sz="612" err="1">
                  <a:solidFill>
                    <a:srgbClr val="DCEBF4"/>
                  </a:solidFill>
                  <a:latin typeface="Arial"/>
                </a:rPr>
                <a:t>specific</a:t>
              </a:r>
              <a:r>
                <a:rPr lang="es-ES_tradnl" sz="612">
                  <a:solidFill>
                    <a:srgbClr val="DCEBF4"/>
                  </a:solidFill>
                  <a:latin typeface="Arial"/>
                </a:rPr>
                <a:t> </a:t>
              </a:r>
              <a:r>
                <a:rPr lang="es-ES_tradnl" sz="612" err="1">
                  <a:solidFill>
                    <a:srgbClr val="DCEBF4"/>
                  </a:solidFill>
                  <a:latin typeface="Arial"/>
                </a:rPr>
                <a:t>permission</a:t>
              </a:r>
              <a:r>
                <a:rPr lang="es-ES_tradnl" sz="612">
                  <a:solidFill>
                    <a:srgbClr val="DCEBF4"/>
                  </a:solidFill>
                  <a:latin typeface="Arial"/>
                </a:rPr>
                <a:t> of McKinsey &amp; Company </a:t>
              </a:r>
              <a:r>
                <a:rPr lang="es-ES_tradnl" sz="612" err="1">
                  <a:solidFill>
                    <a:srgbClr val="DCEBF4"/>
                  </a:solidFill>
                  <a:latin typeface="Arial"/>
                </a:rPr>
                <a:t>is</a:t>
              </a:r>
              <a:r>
                <a:rPr lang="es-ES_tradnl" sz="612">
                  <a:solidFill>
                    <a:srgbClr val="DCEBF4"/>
                  </a:solidFill>
                  <a:latin typeface="Arial"/>
                </a:rPr>
                <a:t> </a:t>
              </a:r>
              <a:r>
                <a:rPr lang="es-ES_tradnl" sz="612" err="1">
                  <a:solidFill>
                    <a:srgbClr val="DCEBF4"/>
                  </a:solidFill>
                  <a:latin typeface="Arial"/>
                </a:rPr>
                <a:t>strictly</a:t>
              </a:r>
              <a:r>
                <a:rPr lang="es-ES_tradnl" sz="612">
                  <a:solidFill>
                    <a:srgbClr val="DCEBF4"/>
                  </a:solidFill>
                  <a:latin typeface="Arial"/>
                </a:rPr>
                <a:t> </a:t>
              </a:r>
              <a:r>
                <a:rPr lang="es-ES_tradnl" sz="612" err="1">
                  <a:solidFill>
                    <a:srgbClr val="DCEBF4"/>
                  </a:solidFill>
                  <a:latin typeface="Arial"/>
                </a:rPr>
                <a:t>prohibited</a:t>
              </a:r>
              <a:endParaRPr lang="es-ES_tradnl" sz="612">
                <a:solidFill>
                  <a:srgbClr val="DCEBF4"/>
                </a:solidFill>
                <a:latin typeface="Arial"/>
              </a:endParaRPr>
            </a:p>
          </p:txBody>
        </p:sp>
        <p:sp>
          <p:nvSpPr>
            <p:cNvPr id="41"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_tradnl" sz="1378">
                <a:solidFill>
                  <a:srgbClr val="000000"/>
                </a:solidFill>
                <a:latin typeface="Arial"/>
              </a:endParaRPr>
            </a:p>
          </p:txBody>
        </p:sp>
        <p:sp>
          <p:nvSpPr>
            <p:cNvPr id="42"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_tradnl" sz="1378">
                <a:solidFill>
                  <a:srgbClr val="000000"/>
                </a:solidFill>
                <a:latin typeface="Arial"/>
              </a:endParaRPr>
            </a:p>
          </p:txBody>
        </p:sp>
        <p:sp>
          <p:nvSpPr>
            <p:cNvPr id="43" name="Rectangle 42"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378">
                <a:solidFill>
                  <a:srgbClr val="000000"/>
                </a:solidFill>
              </a:endParaRPr>
            </a:p>
          </p:txBody>
        </p:sp>
      </p:grpSp>
      <p:sp>
        <p:nvSpPr>
          <p:cNvPr id="19" name="Rectangle 87"/>
          <p:cNvSpPr>
            <a:spLocks noChangeArrowheads="1"/>
          </p:cNvSpPr>
          <p:nvPr/>
        </p:nvSpPr>
        <p:spPr bwMode="auto">
          <a:xfrm rot="16200000">
            <a:off x="2183495" y="3877869"/>
            <a:ext cx="1230716" cy="371949"/>
          </a:xfrm>
          <a:prstGeom prst="rect">
            <a:avLst/>
          </a:prstGeom>
          <a:solidFill>
            <a:schemeClr val="tx2">
              <a:lumMod val="60000"/>
              <a:lumOff val="40000"/>
              <a:alpha val="17000"/>
            </a:schemeClr>
          </a:solidFill>
          <a:ln>
            <a:noFill/>
          </a:ln>
        </p:spPr>
        <p:txBody>
          <a:bodyPr vert="horz" wrap="square" lIns="69973" tIns="34987" rIns="69973" bIns="34987" numCol="1" anchor="t" anchorCtr="0" compatLnSpc="1">
            <a:prstTxWarp prst="textNoShape">
              <a:avLst/>
            </a:prstTxWarp>
          </a:bodyPr>
          <a:lstStyle/>
          <a:p>
            <a:endParaRPr lang="es-ES_tradnl" sz="1378">
              <a:solidFill>
                <a:srgbClr val="000000"/>
              </a:solidFill>
            </a:endParaRPr>
          </a:p>
        </p:txBody>
      </p:sp>
      <p:sp>
        <p:nvSpPr>
          <p:cNvPr id="20" name="Freeform 88"/>
          <p:cNvSpPr>
            <a:spLocks noEditPoints="1"/>
          </p:cNvSpPr>
          <p:nvPr/>
        </p:nvSpPr>
        <p:spPr bwMode="auto">
          <a:xfrm rot="16200000">
            <a:off x="323275" y="2551008"/>
            <a:ext cx="608837" cy="774465"/>
          </a:xfrm>
          <a:custGeom>
            <a:avLst/>
            <a:gdLst>
              <a:gd name="T0" fmla="*/ 176 w 201"/>
              <a:gd name="T1" fmla="*/ 16 h 192"/>
              <a:gd name="T2" fmla="*/ 97 w 201"/>
              <a:gd name="T3" fmla="*/ 16 h 192"/>
              <a:gd name="T4" fmla="*/ 17 w 201"/>
              <a:gd name="T5" fmla="*/ 92 h 192"/>
              <a:gd name="T6" fmla="*/ 17 w 201"/>
              <a:gd name="T7" fmla="*/ 167 h 192"/>
              <a:gd name="T8" fmla="*/ 0 w 201"/>
              <a:gd name="T9" fmla="*/ 167 h 192"/>
              <a:gd name="T10" fmla="*/ 0 w 201"/>
              <a:gd name="T11" fmla="*/ 192 h 192"/>
              <a:gd name="T12" fmla="*/ 134 w 201"/>
              <a:gd name="T13" fmla="*/ 192 h 192"/>
              <a:gd name="T14" fmla="*/ 134 w 201"/>
              <a:gd name="T15" fmla="*/ 167 h 192"/>
              <a:gd name="T16" fmla="*/ 117 w 201"/>
              <a:gd name="T17" fmla="*/ 167 h 192"/>
              <a:gd name="T18" fmla="*/ 117 w 201"/>
              <a:gd name="T19" fmla="*/ 136 h 192"/>
              <a:gd name="T20" fmla="*/ 142 w 201"/>
              <a:gd name="T21" fmla="*/ 108 h 192"/>
              <a:gd name="T22" fmla="*/ 176 w 201"/>
              <a:gd name="T23" fmla="*/ 108 h 192"/>
              <a:gd name="T24" fmla="*/ 176 w 201"/>
              <a:gd name="T25" fmla="*/ 125 h 192"/>
              <a:gd name="T26" fmla="*/ 201 w 201"/>
              <a:gd name="T27" fmla="*/ 125 h 192"/>
              <a:gd name="T28" fmla="*/ 201 w 201"/>
              <a:gd name="T29" fmla="*/ 0 h 192"/>
              <a:gd name="T30" fmla="*/ 176 w 201"/>
              <a:gd name="T31" fmla="*/ 0 h 192"/>
              <a:gd name="T32" fmla="*/ 176 w 201"/>
              <a:gd name="T33" fmla="*/ 16 h 192"/>
              <a:gd name="T34" fmla="*/ 176 w 201"/>
              <a:gd name="T35" fmla="*/ 16 h 192"/>
              <a:gd name="T36" fmla="*/ 176 w 201"/>
              <a:gd name="T37" fmla="*/ 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1" h="192">
                <a:moveTo>
                  <a:pt x="176" y="16"/>
                </a:moveTo>
                <a:cubicBezTo>
                  <a:pt x="97" y="16"/>
                  <a:pt x="97" y="16"/>
                  <a:pt x="97" y="16"/>
                </a:cubicBezTo>
                <a:cubicBezTo>
                  <a:pt x="17" y="16"/>
                  <a:pt x="17" y="92"/>
                  <a:pt x="17" y="92"/>
                </a:cubicBezTo>
                <a:cubicBezTo>
                  <a:pt x="17" y="167"/>
                  <a:pt x="17" y="167"/>
                  <a:pt x="17" y="167"/>
                </a:cubicBezTo>
                <a:cubicBezTo>
                  <a:pt x="0" y="167"/>
                  <a:pt x="0" y="167"/>
                  <a:pt x="0" y="167"/>
                </a:cubicBezTo>
                <a:cubicBezTo>
                  <a:pt x="0" y="192"/>
                  <a:pt x="0" y="192"/>
                  <a:pt x="0" y="192"/>
                </a:cubicBezTo>
                <a:cubicBezTo>
                  <a:pt x="134" y="192"/>
                  <a:pt x="134" y="192"/>
                  <a:pt x="134" y="192"/>
                </a:cubicBezTo>
                <a:cubicBezTo>
                  <a:pt x="134" y="167"/>
                  <a:pt x="134" y="167"/>
                  <a:pt x="134" y="167"/>
                </a:cubicBezTo>
                <a:cubicBezTo>
                  <a:pt x="117" y="167"/>
                  <a:pt x="117" y="167"/>
                  <a:pt x="117" y="167"/>
                </a:cubicBezTo>
                <a:cubicBezTo>
                  <a:pt x="117" y="136"/>
                  <a:pt x="117" y="136"/>
                  <a:pt x="117" y="136"/>
                </a:cubicBezTo>
                <a:cubicBezTo>
                  <a:pt x="117" y="136"/>
                  <a:pt x="115" y="108"/>
                  <a:pt x="142" y="108"/>
                </a:cubicBezTo>
                <a:cubicBezTo>
                  <a:pt x="176" y="108"/>
                  <a:pt x="176" y="108"/>
                  <a:pt x="176" y="108"/>
                </a:cubicBezTo>
                <a:cubicBezTo>
                  <a:pt x="176" y="125"/>
                  <a:pt x="176" y="125"/>
                  <a:pt x="176" y="125"/>
                </a:cubicBezTo>
                <a:cubicBezTo>
                  <a:pt x="201" y="125"/>
                  <a:pt x="201" y="125"/>
                  <a:pt x="201" y="125"/>
                </a:cubicBezTo>
                <a:cubicBezTo>
                  <a:pt x="201" y="0"/>
                  <a:pt x="201" y="0"/>
                  <a:pt x="201" y="0"/>
                </a:cubicBezTo>
                <a:cubicBezTo>
                  <a:pt x="176" y="0"/>
                  <a:pt x="176" y="0"/>
                  <a:pt x="176" y="0"/>
                </a:cubicBezTo>
                <a:lnTo>
                  <a:pt x="176" y="16"/>
                </a:lnTo>
                <a:close/>
                <a:moveTo>
                  <a:pt x="176" y="16"/>
                </a:moveTo>
                <a:cubicBezTo>
                  <a:pt x="176" y="16"/>
                  <a:pt x="176" y="16"/>
                  <a:pt x="176" y="16"/>
                </a:cubicBezTo>
              </a:path>
            </a:pathLst>
          </a:custGeom>
          <a:solidFill>
            <a:schemeClr val="tx2">
              <a:lumMod val="60000"/>
              <a:lumOff val="40000"/>
              <a:alpha val="17000"/>
            </a:schemeClr>
          </a:solidFill>
          <a:ln>
            <a:noFill/>
          </a:ln>
        </p:spPr>
        <p:txBody>
          <a:bodyPr vert="horz" wrap="square" lIns="69973" tIns="34987" rIns="69973" bIns="34987" numCol="1" anchor="t" anchorCtr="0" compatLnSpc="1">
            <a:prstTxWarp prst="textNoShape">
              <a:avLst/>
            </a:prstTxWarp>
          </a:bodyPr>
          <a:lstStyle/>
          <a:p>
            <a:endParaRPr lang="es-ES_tradnl" sz="1378">
              <a:solidFill>
                <a:srgbClr val="000000"/>
              </a:solidFill>
            </a:endParaRPr>
          </a:p>
        </p:txBody>
      </p:sp>
      <p:sp>
        <p:nvSpPr>
          <p:cNvPr id="45" name="Rectangle 86"/>
          <p:cNvSpPr>
            <a:spLocks noChangeArrowheads="1"/>
          </p:cNvSpPr>
          <p:nvPr/>
        </p:nvSpPr>
        <p:spPr bwMode="auto">
          <a:xfrm rot="5400000">
            <a:off x="1493339" y="2412186"/>
            <a:ext cx="303144" cy="1259975"/>
          </a:xfrm>
          <a:prstGeom prst="rect">
            <a:avLst/>
          </a:prstGeom>
          <a:solidFill>
            <a:schemeClr val="tx2">
              <a:lumMod val="60000"/>
              <a:lumOff val="40000"/>
              <a:alpha val="17000"/>
            </a:schemeClr>
          </a:solidFill>
          <a:ln>
            <a:noFill/>
          </a:ln>
        </p:spPr>
        <p:txBody>
          <a:bodyPr vert="horz" wrap="square" lIns="69973" tIns="34987" rIns="69973" bIns="34987" numCol="1" anchor="t" anchorCtr="0" compatLnSpc="1">
            <a:prstTxWarp prst="textNoShape">
              <a:avLst/>
            </a:prstTxWarp>
          </a:bodyPr>
          <a:lstStyle/>
          <a:p>
            <a:endParaRPr lang="es-ES_tradnl" sz="1378">
              <a:solidFill>
                <a:srgbClr val="000000"/>
              </a:solidFill>
            </a:endParaRPr>
          </a:p>
        </p:txBody>
      </p:sp>
      <p:sp>
        <p:nvSpPr>
          <p:cNvPr id="47" name="Freeform 88"/>
          <p:cNvSpPr>
            <a:spLocks noEditPoints="1"/>
          </p:cNvSpPr>
          <p:nvPr/>
        </p:nvSpPr>
        <p:spPr bwMode="auto">
          <a:xfrm rot="5400000">
            <a:off x="2357715" y="2756837"/>
            <a:ext cx="608837" cy="774465"/>
          </a:xfrm>
          <a:custGeom>
            <a:avLst/>
            <a:gdLst>
              <a:gd name="T0" fmla="*/ 176 w 201"/>
              <a:gd name="T1" fmla="*/ 16 h 192"/>
              <a:gd name="T2" fmla="*/ 97 w 201"/>
              <a:gd name="T3" fmla="*/ 16 h 192"/>
              <a:gd name="T4" fmla="*/ 17 w 201"/>
              <a:gd name="T5" fmla="*/ 92 h 192"/>
              <a:gd name="T6" fmla="*/ 17 w 201"/>
              <a:gd name="T7" fmla="*/ 167 h 192"/>
              <a:gd name="T8" fmla="*/ 0 w 201"/>
              <a:gd name="T9" fmla="*/ 167 h 192"/>
              <a:gd name="T10" fmla="*/ 0 w 201"/>
              <a:gd name="T11" fmla="*/ 192 h 192"/>
              <a:gd name="T12" fmla="*/ 134 w 201"/>
              <a:gd name="T13" fmla="*/ 192 h 192"/>
              <a:gd name="T14" fmla="*/ 134 w 201"/>
              <a:gd name="T15" fmla="*/ 167 h 192"/>
              <a:gd name="T16" fmla="*/ 117 w 201"/>
              <a:gd name="T17" fmla="*/ 167 h 192"/>
              <a:gd name="T18" fmla="*/ 117 w 201"/>
              <a:gd name="T19" fmla="*/ 136 h 192"/>
              <a:gd name="T20" fmla="*/ 142 w 201"/>
              <a:gd name="T21" fmla="*/ 108 h 192"/>
              <a:gd name="T22" fmla="*/ 176 w 201"/>
              <a:gd name="T23" fmla="*/ 108 h 192"/>
              <a:gd name="T24" fmla="*/ 176 w 201"/>
              <a:gd name="T25" fmla="*/ 125 h 192"/>
              <a:gd name="T26" fmla="*/ 201 w 201"/>
              <a:gd name="T27" fmla="*/ 125 h 192"/>
              <a:gd name="T28" fmla="*/ 201 w 201"/>
              <a:gd name="T29" fmla="*/ 0 h 192"/>
              <a:gd name="T30" fmla="*/ 176 w 201"/>
              <a:gd name="T31" fmla="*/ 0 h 192"/>
              <a:gd name="T32" fmla="*/ 176 w 201"/>
              <a:gd name="T33" fmla="*/ 16 h 192"/>
              <a:gd name="T34" fmla="*/ 176 w 201"/>
              <a:gd name="T35" fmla="*/ 16 h 192"/>
              <a:gd name="T36" fmla="*/ 176 w 201"/>
              <a:gd name="T37" fmla="*/ 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1" h="192">
                <a:moveTo>
                  <a:pt x="176" y="16"/>
                </a:moveTo>
                <a:cubicBezTo>
                  <a:pt x="97" y="16"/>
                  <a:pt x="97" y="16"/>
                  <a:pt x="97" y="16"/>
                </a:cubicBezTo>
                <a:cubicBezTo>
                  <a:pt x="17" y="16"/>
                  <a:pt x="17" y="92"/>
                  <a:pt x="17" y="92"/>
                </a:cubicBezTo>
                <a:cubicBezTo>
                  <a:pt x="17" y="167"/>
                  <a:pt x="17" y="167"/>
                  <a:pt x="17" y="167"/>
                </a:cubicBezTo>
                <a:cubicBezTo>
                  <a:pt x="0" y="167"/>
                  <a:pt x="0" y="167"/>
                  <a:pt x="0" y="167"/>
                </a:cubicBezTo>
                <a:cubicBezTo>
                  <a:pt x="0" y="192"/>
                  <a:pt x="0" y="192"/>
                  <a:pt x="0" y="192"/>
                </a:cubicBezTo>
                <a:cubicBezTo>
                  <a:pt x="134" y="192"/>
                  <a:pt x="134" y="192"/>
                  <a:pt x="134" y="192"/>
                </a:cubicBezTo>
                <a:cubicBezTo>
                  <a:pt x="134" y="167"/>
                  <a:pt x="134" y="167"/>
                  <a:pt x="134" y="167"/>
                </a:cubicBezTo>
                <a:cubicBezTo>
                  <a:pt x="117" y="167"/>
                  <a:pt x="117" y="167"/>
                  <a:pt x="117" y="167"/>
                </a:cubicBezTo>
                <a:cubicBezTo>
                  <a:pt x="117" y="136"/>
                  <a:pt x="117" y="136"/>
                  <a:pt x="117" y="136"/>
                </a:cubicBezTo>
                <a:cubicBezTo>
                  <a:pt x="117" y="136"/>
                  <a:pt x="115" y="108"/>
                  <a:pt x="142" y="108"/>
                </a:cubicBezTo>
                <a:cubicBezTo>
                  <a:pt x="176" y="108"/>
                  <a:pt x="176" y="108"/>
                  <a:pt x="176" y="108"/>
                </a:cubicBezTo>
                <a:cubicBezTo>
                  <a:pt x="176" y="125"/>
                  <a:pt x="176" y="125"/>
                  <a:pt x="176" y="125"/>
                </a:cubicBezTo>
                <a:cubicBezTo>
                  <a:pt x="201" y="125"/>
                  <a:pt x="201" y="125"/>
                  <a:pt x="201" y="125"/>
                </a:cubicBezTo>
                <a:cubicBezTo>
                  <a:pt x="201" y="0"/>
                  <a:pt x="201" y="0"/>
                  <a:pt x="201" y="0"/>
                </a:cubicBezTo>
                <a:cubicBezTo>
                  <a:pt x="176" y="0"/>
                  <a:pt x="176" y="0"/>
                  <a:pt x="176" y="0"/>
                </a:cubicBezTo>
                <a:lnTo>
                  <a:pt x="176" y="16"/>
                </a:lnTo>
                <a:close/>
                <a:moveTo>
                  <a:pt x="176" y="16"/>
                </a:moveTo>
                <a:cubicBezTo>
                  <a:pt x="176" y="16"/>
                  <a:pt x="176" y="16"/>
                  <a:pt x="176" y="16"/>
                </a:cubicBezTo>
              </a:path>
            </a:pathLst>
          </a:custGeom>
          <a:solidFill>
            <a:schemeClr val="tx2">
              <a:lumMod val="60000"/>
              <a:lumOff val="40000"/>
              <a:alpha val="17000"/>
            </a:schemeClr>
          </a:solidFill>
          <a:ln>
            <a:noFill/>
          </a:ln>
        </p:spPr>
        <p:txBody>
          <a:bodyPr vert="horz" wrap="square" lIns="69973" tIns="34987" rIns="69973" bIns="34987" numCol="1" anchor="t" anchorCtr="0" compatLnSpc="1">
            <a:prstTxWarp prst="textNoShape">
              <a:avLst/>
            </a:prstTxWarp>
          </a:bodyPr>
          <a:lstStyle/>
          <a:p>
            <a:endParaRPr lang="es-ES_tradnl" sz="1378">
              <a:solidFill>
                <a:srgbClr val="000000"/>
              </a:solidFill>
            </a:endParaRPr>
          </a:p>
        </p:txBody>
      </p:sp>
      <p:sp>
        <p:nvSpPr>
          <p:cNvPr id="56" name="Rectangle 87"/>
          <p:cNvSpPr>
            <a:spLocks noChangeArrowheads="1"/>
          </p:cNvSpPr>
          <p:nvPr/>
        </p:nvSpPr>
        <p:spPr bwMode="auto">
          <a:xfrm rot="16200000">
            <a:off x="316141" y="2272856"/>
            <a:ext cx="349980" cy="371949"/>
          </a:xfrm>
          <a:prstGeom prst="rect">
            <a:avLst/>
          </a:prstGeom>
          <a:solidFill>
            <a:schemeClr val="tx2">
              <a:lumMod val="60000"/>
              <a:lumOff val="40000"/>
              <a:alpha val="17000"/>
            </a:schemeClr>
          </a:solidFill>
          <a:ln>
            <a:noFill/>
          </a:ln>
        </p:spPr>
        <p:txBody>
          <a:bodyPr vert="horz" wrap="square" lIns="69973" tIns="34987" rIns="69973" bIns="34987" numCol="1" anchor="t" anchorCtr="0" compatLnSpc="1">
            <a:prstTxWarp prst="textNoShape">
              <a:avLst/>
            </a:prstTxWarp>
          </a:bodyPr>
          <a:lstStyle/>
          <a:p>
            <a:endParaRPr lang="es-ES_tradnl" sz="1378">
              <a:solidFill>
                <a:srgbClr val="000000"/>
              </a:solidFill>
            </a:endParaRPr>
          </a:p>
        </p:txBody>
      </p:sp>
      <p:grpSp>
        <p:nvGrpSpPr>
          <p:cNvPr id="33" name="Group 32"/>
          <p:cNvGrpSpPr/>
          <p:nvPr/>
        </p:nvGrpSpPr>
        <p:grpSpPr>
          <a:xfrm rot="16200000" flipH="1">
            <a:off x="7067861" y="140198"/>
            <a:ext cx="580815" cy="9658831"/>
            <a:chOff x="1373570" y="4512865"/>
            <a:chExt cx="569252" cy="7099493"/>
          </a:xfrm>
        </p:grpSpPr>
        <p:sp>
          <p:nvSpPr>
            <p:cNvPr id="59" name="Rectangle 87"/>
            <p:cNvSpPr>
              <a:spLocks noChangeArrowheads="1"/>
            </p:cNvSpPr>
            <p:nvPr userDrawn="1"/>
          </p:nvSpPr>
          <p:spPr bwMode="auto">
            <a:xfrm rot="16200000">
              <a:off x="-1492699" y="8224274"/>
              <a:ext cx="6502776" cy="273392"/>
            </a:xfrm>
            <a:prstGeom prst="rect">
              <a:avLst/>
            </a:prstGeom>
            <a:solidFill>
              <a:schemeClr val="tx2">
                <a:lumMod val="60000"/>
                <a:lumOff val="40000"/>
                <a:alpha val="17000"/>
              </a:schemeClr>
            </a:solidFill>
            <a:ln>
              <a:noFill/>
            </a:ln>
          </p:spPr>
          <p:txBody>
            <a:bodyPr vert="horz" wrap="square" lIns="91440" tIns="45720" rIns="91440" bIns="45720" numCol="1" anchor="t" anchorCtr="0" compatLnSpc="1">
              <a:prstTxWarp prst="textNoShape">
                <a:avLst/>
              </a:prstTxWarp>
            </a:bodyPr>
            <a:lstStyle/>
            <a:p>
              <a:endParaRPr lang="es-ES_tradnl" sz="1378">
                <a:solidFill>
                  <a:srgbClr val="000000"/>
                </a:solidFill>
              </a:endParaRPr>
            </a:p>
          </p:txBody>
        </p:sp>
        <p:sp>
          <p:nvSpPr>
            <p:cNvPr id="60" name="Freeform 88"/>
            <p:cNvSpPr>
              <a:spLocks noEditPoints="1"/>
            </p:cNvSpPr>
            <p:nvPr userDrawn="1"/>
          </p:nvSpPr>
          <p:spPr bwMode="auto">
            <a:xfrm rot="5400000">
              <a:off x="1359837" y="4526598"/>
              <a:ext cx="596717" cy="569252"/>
            </a:xfrm>
            <a:custGeom>
              <a:avLst/>
              <a:gdLst>
                <a:gd name="T0" fmla="*/ 176 w 201"/>
                <a:gd name="T1" fmla="*/ 16 h 192"/>
                <a:gd name="T2" fmla="*/ 97 w 201"/>
                <a:gd name="T3" fmla="*/ 16 h 192"/>
                <a:gd name="T4" fmla="*/ 17 w 201"/>
                <a:gd name="T5" fmla="*/ 92 h 192"/>
                <a:gd name="T6" fmla="*/ 17 w 201"/>
                <a:gd name="T7" fmla="*/ 167 h 192"/>
                <a:gd name="T8" fmla="*/ 0 w 201"/>
                <a:gd name="T9" fmla="*/ 167 h 192"/>
                <a:gd name="T10" fmla="*/ 0 w 201"/>
                <a:gd name="T11" fmla="*/ 192 h 192"/>
                <a:gd name="T12" fmla="*/ 134 w 201"/>
                <a:gd name="T13" fmla="*/ 192 h 192"/>
                <a:gd name="T14" fmla="*/ 134 w 201"/>
                <a:gd name="T15" fmla="*/ 167 h 192"/>
                <a:gd name="T16" fmla="*/ 117 w 201"/>
                <a:gd name="T17" fmla="*/ 167 h 192"/>
                <a:gd name="T18" fmla="*/ 117 w 201"/>
                <a:gd name="T19" fmla="*/ 136 h 192"/>
                <a:gd name="T20" fmla="*/ 142 w 201"/>
                <a:gd name="T21" fmla="*/ 108 h 192"/>
                <a:gd name="T22" fmla="*/ 176 w 201"/>
                <a:gd name="T23" fmla="*/ 108 h 192"/>
                <a:gd name="T24" fmla="*/ 176 w 201"/>
                <a:gd name="T25" fmla="*/ 125 h 192"/>
                <a:gd name="T26" fmla="*/ 201 w 201"/>
                <a:gd name="T27" fmla="*/ 125 h 192"/>
                <a:gd name="T28" fmla="*/ 201 w 201"/>
                <a:gd name="T29" fmla="*/ 0 h 192"/>
                <a:gd name="T30" fmla="*/ 176 w 201"/>
                <a:gd name="T31" fmla="*/ 0 h 192"/>
                <a:gd name="T32" fmla="*/ 176 w 201"/>
                <a:gd name="T33" fmla="*/ 16 h 192"/>
                <a:gd name="T34" fmla="*/ 176 w 201"/>
                <a:gd name="T35" fmla="*/ 16 h 192"/>
                <a:gd name="T36" fmla="*/ 176 w 201"/>
                <a:gd name="T37" fmla="*/ 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1" h="192">
                  <a:moveTo>
                    <a:pt x="176" y="16"/>
                  </a:moveTo>
                  <a:cubicBezTo>
                    <a:pt x="97" y="16"/>
                    <a:pt x="97" y="16"/>
                    <a:pt x="97" y="16"/>
                  </a:cubicBezTo>
                  <a:cubicBezTo>
                    <a:pt x="17" y="16"/>
                    <a:pt x="17" y="92"/>
                    <a:pt x="17" y="92"/>
                  </a:cubicBezTo>
                  <a:cubicBezTo>
                    <a:pt x="17" y="167"/>
                    <a:pt x="17" y="167"/>
                    <a:pt x="17" y="167"/>
                  </a:cubicBezTo>
                  <a:cubicBezTo>
                    <a:pt x="0" y="167"/>
                    <a:pt x="0" y="167"/>
                    <a:pt x="0" y="167"/>
                  </a:cubicBezTo>
                  <a:cubicBezTo>
                    <a:pt x="0" y="192"/>
                    <a:pt x="0" y="192"/>
                    <a:pt x="0" y="192"/>
                  </a:cubicBezTo>
                  <a:cubicBezTo>
                    <a:pt x="134" y="192"/>
                    <a:pt x="134" y="192"/>
                    <a:pt x="134" y="192"/>
                  </a:cubicBezTo>
                  <a:cubicBezTo>
                    <a:pt x="134" y="167"/>
                    <a:pt x="134" y="167"/>
                    <a:pt x="134" y="167"/>
                  </a:cubicBezTo>
                  <a:cubicBezTo>
                    <a:pt x="117" y="167"/>
                    <a:pt x="117" y="167"/>
                    <a:pt x="117" y="167"/>
                  </a:cubicBezTo>
                  <a:cubicBezTo>
                    <a:pt x="117" y="136"/>
                    <a:pt x="117" y="136"/>
                    <a:pt x="117" y="136"/>
                  </a:cubicBezTo>
                  <a:cubicBezTo>
                    <a:pt x="117" y="136"/>
                    <a:pt x="115" y="108"/>
                    <a:pt x="142" y="108"/>
                  </a:cubicBezTo>
                  <a:cubicBezTo>
                    <a:pt x="176" y="108"/>
                    <a:pt x="176" y="108"/>
                    <a:pt x="176" y="108"/>
                  </a:cubicBezTo>
                  <a:cubicBezTo>
                    <a:pt x="176" y="125"/>
                    <a:pt x="176" y="125"/>
                    <a:pt x="176" y="125"/>
                  </a:cubicBezTo>
                  <a:cubicBezTo>
                    <a:pt x="201" y="125"/>
                    <a:pt x="201" y="125"/>
                    <a:pt x="201" y="125"/>
                  </a:cubicBezTo>
                  <a:cubicBezTo>
                    <a:pt x="201" y="0"/>
                    <a:pt x="201" y="0"/>
                    <a:pt x="201" y="0"/>
                  </a:cubicBezTo>
                  <a:cubicBezTo>
                    <a:pt x="176" y="0"/>
                    <a:pt x="176" y="0"/>
                    <a:pt x="176" y="0"/>
                  </a:cubicBezTo>
                  <a:lnTo>
                    <a:pt x="176" y="16"/>
                  </a:lnTo>
                  <a:close/>
                  <a:moveTo>
                    <a:pt x="176" y="16"/>
                  </a:moveTo>
                  <a:cubicBezTo>
                    <a:pt x="176" y="16"/>
                    <a:pt x="176" y="16"/>
                    <a:pt x="176" y="16"/>
                  </a:cubicBezTo>
                </a:path>
              </a:pathLst>
            </a:custGeom>
            <a:solidFill>
              <a:schemeClr val="tx2">
                <a:lumMod val="60000"/>
                <a:lumOff val="40000"/>
                <a:alpha val="17000"/>
              </a:schemeClr>
            </a:solidFill>
            <a:ln>
              <a:noFill/>
            </a:ln>
          </p:spPr>
          <p:txBody>
            <a:bodyPr vert="horz" wrap="square" lIns="91440" tIns="45720" rIns="91440" bIns="45720" numCol="1" anchor="t" anchorCtr="0" compatLnSpc="1">
              <a:prstTxWarp prst="textNoShape">
                <a:avLst/>
              </a:prstTxWarp>
            </a:bodyPr>
            <a:lstStyle/>
            <a:p>
              <a:endParaRPr lang="es-ES_tradnl" sz="1378">
                <a:solidFill>
                  <a:srgbClr val="000000"/>
                </a:solidFill>
              </a:endParaRPr>
            </a:p>
          </p:txBody>
        </p:sp>
      </p:grpSp>
      <p:graphicFrame>
        <p:nvGraphicFramePr>
          <p:cNvPr id="28" name="Object 27" hidden="1"/>
          <p:cNvGraphicFramePr>
            <a:graphicFrameLocks noChangeAspect="1"/>
          </p:cNvGraphicFramePr>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8" name="Object 27" hidden="1"/>
                      <p:cNvPicPr/>
                      <p:nvPr/>
                    </p:nvPicPr>
                    <p:blipFill>
                      <a:blip r:embed="rId8"/>
                      <a:stretch>
                        <a:fillRect/>
                      </a:stretch>
                    </p:blipFill>
                    <p:spPr>
                      <a:xfrm>
                        <a:off x="2162" y="1623"/>
                        <a:ext cx="2159" cy="1619"/>
                      </a:xfrm>
                      <a:prstGeom prst="rect">
                        <a:avLst/>
                      </a:prstGeom>
                    </p:spPr>
                  </p:pic>
                </p:oleObj>
              </mc:Fallback>
            </mc:AlternateContent>
          </a:graphicData>
        </a:graphic>
      </p:graphicFrame>
      <p:grpSp>
        <p:nvGrpSpPr>
          <p:cNvPr id="29" name="Title Elements"/>
          <p:cNvGrpSpPr/>
          <p:nvPr/>
        </p:nvGrpSpPr>
        <p:grpSpPr>
          <a:xfrm>
            <a:off x="0" y="1"/>
            <a:ext cx="12187683" cy="6859620"/>
            <a:chOff x="0" y="0"/>
            <a:chExt cx="8958264" cy="6723063"/>
          </a:xfrm>
        </p:grpSpPr>
        <p:sp>
          <p:nvSpPr>
            <p:cNvPr id="30" name="Document type" hidden="1"/>
            <p:cNvSpPr txBox="1">
              <a:spLocks noChangeArrowheads="1"/>
            </p:cNvSpPr>
            <p:nvPr/>
          </p:nvSpPr>
          <p:spPr bwMode="auto">
            <a:xfrm>
              <a:off x="2640013" y="4985167"/>
              <a:ext cx="4935538" cy="161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s-ES_tradnl" sz="1071" err="1">
                  <a:solidFill>
                    <a:srgbClr val="000000"/>
                  </a:solidFill>
                  <a:latin typeface="Arial"/>
                </a:rPr>
                <a:t>Document</a:t>
              </a:r>
              <a:r>
                <a:rPr lang="es-ES_tradnl" sz="1071">
                  <a:solidFill>
                    <a:srgbClr val="000000"/>
                  </a:solidFill>
                  <a:latin typeface="Arial"/>
                </a:rPr>
                <a:t> </a:t>
              </a:r>
              <a:r>
                <a:rPr lang="es-ES_tradnl" sz="1071" err="1">
                  <a:solidFill>
                    <a:srgbClr val="000000"/>
                  </a:solidFill>
                  <a:latin typeface="Arial"/>
                </a:rPr>
                <a:t>type</a:t>
              </a:r>
              <a:endParaRPr lang="es-ES_tradnl" sz="1071">
                <a:solidFill>
                  <a:srgbClr val="000000"/>
                </a:solidFill>
                <a:latin typeface="Arial"/>
              </a:endParaRPr>
            </a:p>
          </p:txBody>
        </p:sp>
        <p:sp>
          <p:nvSpPr>
            <p:cNvPr id="31" name="Date" hidden="1"/>
            <p:cNvSpPr txBox="1">
              <a:spLocks noChangeArrowheads="1"/>
            </p:cNvSpPr>
            <p:nvPr/>
          </p:nvSpPr>
          <p:spPr bwMode="auto">
            <a:xfrm>
              <a:off x="2640013" y="5199063"/>
              <a:ext cx="4935538" cy="161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s-ES_tradnl" sz="1071">
                  <a:solidFill>
                    <a:srgbClr val="000000"/>
                  </a:solidFill>
                  <a:latin typeface="Arial"/>
                </a:rPr>
                <a:t>Date</a:t>
              </a:r>
            </a:p>
          </p:txBody>
        </p:sp>
        <p:sp>
          <p:nvSpPr>
            <p:cNvPr id="32" name="Disclaimer" hidden="1"/>
            <p:cNvSpPr>
              <a:spLocks noChangeArrowheads="1"/>
            </p:cNvSpPr>
            <p:nvPr/>
          </p:nvSpPr>
          <p:spPr bwMode="auto">
            <a:xfrm>
              <a:off x="2640013" y="5955815"/>
              <a:ext cx="5121275"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615902" eaLnBrk="0" hangingPunct="0"/>
              <a:r>
                <a:rPr lang="es-ES_tradnl" sz="612" err="1">
                  <a:solidFill>
                    <a:srgbClr val="000000"/>
                  </a:solidFill>
                  <a:latin typeface="Arial"/>
                </a:rPr>
                <a:t>CONFIDENTIAL</a:t>
              </a:r>
              <a:r>
                <a:rPr lang="es-ES_tradnl" sz="612">
                  <a:solidFill>
                    <a:srgbClr val="000000"/>
                  </a:solidFill>
                  <a:latin typeface="Arial"/>
                </a:rPr>
                <a:t> AND </a:t>
              </a:r>
              <a:r>
                <a:rPr lang="es-ES_tradnl" sz="612" err="1">
                  <a:solidFill>
                    <a:srgbClr val="000000"/>
                  </a:solidFill>
                  <a:latin typeface="Arial"/>
                </a:rPr>
                <a:t>PROPRIETARY</a:t>
              </a:r>
              <a:endParaRPr lang="es-ES_tradnl" sz="612">
                <a:solidFill>
                  <a:srgbClr val="000000"/>
                </a:solidFill>
                <a:latin typeface="Arial"/>
              </a:endParaRPr>
            </a:p>
            <a:p>
              <a:pPr defTabSz="615902" eaLnBrk="0" hangingPunct="0"/>
              <a:r>
                <a:rPr lang="es-ES_tradnl" sz="612" err="1">
                  <a:solidFill>
                    <a:srgbClr val="000000"/>
                  </a:solidFill>
                  <a:latin typeface="Arial"/>
                </a:rPr>
                <a:t>Any</a:t>
              </a:r>
              <a:r>
                <a:rPr lang="es-ES_tradnl" sz="612">
                  <a:solidFill>
                    <a:srgbClr val="000000"/>
                  </a:solidFill>
                  <a:latin typeface="Arial"/>
                </a:rPr>
                <a:t> use of </a:t>
              </a:r>
              <a:r>
                <a:rPr lang="es-ES_tradnl" sz="612" err="1">
                  <a:solidFill>
                    <a:srgbClr val="000000"/>
                  </a:solidFill>
                  <a:latin typeface="Arial"/>
                </a:rPr>
                <a:t>this</a:t>
              </a:r>
              <a:r>
                <a:rPr lang="es-ES_tradnl" sz="612">
                  <a:solidFill>
                    <a:srgbClr val="000000"/>
                  </a:solidFill>
                  <a:latin typeface="Arial"/>
                </a:rPr>
                <a:t> material </a:t>
              </a:r>
              <a:r>
                <a:rPr lang="es-ES_tradnl" sz="612" err="1">
                  <a:solidFill>
                    <a:srgbClr val="000000"/>
                  </a:solidFill>
                  <a:latin typeface="Arial"/>
                </a:rPr>
                <a:t>without</a:t>
              </a:r>
              <a:r>
                <a:rPr lang="es-ES_tradnl" sz="612">
                  <a:solidFill>
                    <a:srgbClr val="000000"/>
                  </a:solidFill>
                  <a:latin typeface="Arial"/>
                </a:rPr>
                <a:t> </a:t>
              </a:r>
              <a:r>
                <a:rPr lang="es-ES_tradnl" sz="612" err="1">
                  <a:solidFill>
                    <a:srgbClr val="000000"/>
                  </a:solidFill>
                  <a:latin typeface="Arial"/>
                </a:rPr>
                <a:t>specific</a:t>
              </a:r>
              <a:r>
                <a:rPr lang="es-ES_tradnl" sz="612">
                  <a:solidFill>
                    <a:srgbClr val="000000"/>
                  </a:solidFill>
                  <a:latin typeface="Arial"/>
                </a:rPr>
                <a:t> </a:t>
              </a:r>
              <a:r>
                <a:rPr lang="es-ES_tradnl" sz="612" err="1">
                  <a:solidFill>
                    <a:srgbClr val="000000"/>
                  </a:solidFill>
                  <a:latin typeface="Arial"/>
                </a:rPr>
                <a:t>permission</a:t>
              </a:r>
              <a:r>
                <a:rPr lang="es-ES_tradnl" sz="612">
                  <a:solidFill>
                    <a:srgbClr val="000000"/>
                  </a:solidFill>
                  <a:latin typeface="Arial"/>
                </a:rPr>
                <a:t> of McKinsey &amp; Company </a:t>
              </a:r>
              <a:r>
                <a:rPr lang="es-ES_tradnl" sz="612" err="1">
                  <a:solidFill>
                    <a:srgbClr val="000000"/>
                  </a:solidFill>
                  <a:latin typeface="Arial"/>
                </a:rPr>
                <a:t>is</a:t>
              </a:r>
              <a:r>
                <a:rPr lang="es-ES_tradnl" sz="612">
                  <a:solidFill>
                    <a:srgbClr val="000000"/>
                  </a:solidFill>
                  <a:latin typeface="Arial"/>
                </a:rPr>
                <a:t> </a:t>
              </a:r>
              <a:r>
                <a:rPr lang="es-ES_tradnl" sz="612" err="1">
                  <a:solidFill>
                    <a:srgbClr val="000000"/>
                  </a:solidFill>
                  <a:latin typeface="Arial"/>
                </a:rPr>
                <a:t>strictly</a:t>
              </a:r>
              <a:r>
                <a:rPr lang="es-ES_tradnl" sz="612">
                  <a:solidFill>
                    <a:srgbClr val="000000"/>
                  </a:solidFill>
                  <a:latin typeface="Arial"/>
                </a:rPr>
                <a:t> </a:t>
              </a:r>
              <a:r>
                <a:rPr lang="es-ES_tradnl" sz="612" err="1">
                  <a:solidFill>
                    <a:srgbClr val="000000"/>
                  </a:solidFill>
                  <a:latin typeface="Arial"/>
                </a:rPr>
                <a:t>prohibited</a:t>
              </a:r>
              <a:endParaRPr lang="es-ES_tradnl" sz="612">
                <a:solidFill>
                  <a:srgbClr val="000000"/>
                </a:solidFill>
                <a:latin typeface="Arial"/>
              </a:endParaRPr>
            </a:p>
          </p:txBody>
        </p:sp>
        <p:sp>
          <p:nvSpPr>
            <p:cNvPr id="34"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_tradnl" sz="1378">
                <a:solidFill>
                  <a:srgbClr val="000000"/>
                </a:solidFill>
                <a:latin typeface="Arial"/>
              </a:endParaRPr>
            </a:p>
          </p:txBody>
        </p:sp>
        <p:sp>
          <p:nvSpPr>
            <p:cNvPr id="44"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_tradnl" sz="1378">
                <a:solidFill>
                  <a:srgbClr val="000000"/>
                </a:solidFill>
                <a:latin typeface="Arial"/>
              </a:endParaRPr>
            </a:p>
          </p:txBody>
        </p:sp>
        <p:sp>
          <p:nvSpPr>
            <p:cNvPr id="46" name="Rectangle 45"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378">
                <a:solidFill>
                  <a:srgbClr val="000000"/>
                </a:solidFill>
              </a:endParaRPr>
            </a:p>
          </p:txBody>
        </p:sp>
      </p:grpSp>
      <p:graphicFrame>
        <p:nvGraphicFramePr>
          <p:cNvPr id="48" name="Object 47" hidden="1"/>
          <p:cNvGraphicFramePr>
            <a:graphicFrameLocks noChangeAspect="1"/>
          </p:cNvGraphicFramePr>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48" name="Object 47" hidden="1"/>
                      <p:cNvPicPr/>
                      <p:nvPr/>
                    </p:nvPicPr>
                    <p:blipFill>
                      <a:blip r:embed="rId8"/>
                      <a:stretch>
                        <a:fillRect/>
                      </a:stretch>
                    </p:blipFill>
                    <p:spPr>
                      <a:xfrm>
                        <a:off x="2162" y="1623"/>
                        <a:ext cx="2159" cy="1619"/>
                      </a:xfrm>
                      <a:prstGeom prst="rect">
                        <a:avLst/>
                      </a:prstGeom>
                    </p:spPr>
                  </p:pic>
                </p:oleObj>
              </mc:Fallback>
            </mc:AlternateContent>
          </a:graphicData>
        </a:graphic>
      </p:graphicFrame>
      <p:grpSp>
        <p:nvGrpSpPr>
          <p:cNvPr id="49" name="Title Elements"/>
          <p:cNvGrpSpPr/>
          <p:nvPr/>
        </p:nvGrpSpPr>
        <p:grpSpPr>
          <a:xfrm>
            <a:off x="0" y="1"/>
            <a:ext cx="12187683" cy="6859620"/>
            <a:chOff x="0" y="0"/>
            <a:chExt cx="8958264" cy="6723063"/>
          </a:xfrm>
        </p:grpSpPr>
        <p:sp>
          <p:nvSpPr>
            <p:cNvPr id="50" name="Document type" hidden="1"/>
            <p:cNvSpPr txBox="1">
              <a:spLocks noChangeArrowheads="1"/>
            </p:cNvSpPr>
            <p:nvPr/>
          </p:nvSpPr>
          <p:spPr bwMode="auto">
            <a:xfrm>
              <a:off x="2640013" y="4985167"/>
              <a:ext cx="4935538" cy="161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s-ES_tradnl" sz="1071" err="1">
                  <a:solidFill>
                    <a:srgbClr val="000000"/>
                  </a:solidFill>
                  <a:latin typeface="Arial"/>
                </a:rPr>
                <a:t>Document</a:t>
              </a:r>
              <a:r>
                <a:rPr lang="es-ES_tradnl" sz="1071">
                  <a:solidFill>
                    <a:srgbClr val="000000"/>
                  </a:solidFill>
                  <a:latin typeface="Arial"/>
                </a:rPr>
                <a:t> </a:t>
              </a:r>
              <a:r>
                <a:rPr lang="es-ES_tradnl" sz="1071" err="1">
                  <a:solidFill>
                    <a:srgbClr val="000000"/>
                  </a:solidFill>
                  <a:latin typeface="Arial"/>
                </a:rPr>
                <a:t>type</a:t>
              </a:r>
              <a:endParaRPr lang="es-ES_tradnl" sz="1071">
                <a:solidFill>
                  <a:srgbClr val="000000"/>
                </a:solidFill>
                <a:latin typeface="Arial"/>
              </a:endParaRPr>
            </a:p>
          </p:txBody>
        </p:sp>
        <p:sp>
          <p:nvSpPr>
            <p:cNvPr id="51" name="Date" hidden="1"/>
            <p:cNvSpPr txBox="1">
              <a:spLocks noChangeArrowheads="1"/>
            </p:cNvSpPr>
            <p:nvPr/>
          </p:nvSpPr>
          <p:spPr bwMode="auto">
            <a:xfrm>
              <a:off x="2640013" y="5199063"/>
              <a:ext cx="4935538" cy="161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s-ES_tradnl" sz="1071">
                  <a:solidFill>
                    <a:srgbClr val="000000"/>
                  </a:solidFill>
                  <a:latin typeface="Arial"/>
                </a:rPr>
                <a:t>Date</a:t>
              </a:r>
            </a:p>
          </p:txBody>
        </p:sp>
        <p:sp>
          <p:nvSpPr>
            <p:cNvPr id="52" name="Disclaimer" hidden="1"/>
            <p:cNvSpPr>
              <a:spLocks noChangeArrowheads="1"/>
            </p:cNvSpPr>
            <p:nvPr/>
          </p:nvSpPr>
          <p:spPr bwMode="auto">
            <a:xfrm>
              <a:off x="2640013" y="5955815"/>
              <a:ext cx="5121275"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615902" eaLnBrk="0" hangingPunct="0"/>
              <a:r>
                <a:rPr lang="es-ES_tradnl" sz="612" err="1">
                  <a:solidFill>
                    <a:srgbClr val="000000"/>
                  </a:solidFill>
                  <a:latin typeface="Arial"/>
                </a:rPr>
                <a:t>CONFIDENTIAL</a:t>
              </a:r>
              <a:r>
                <a:rPr lang="es-ES_tradnl" sz="612">
                  <a:solidFill>
                    <a:srgbClr val="000000"/>
                  </a:solidFill>
                  <a:latin typeface="Arial"/>
                </a:rPr>
                <a:t> AND </a:t>
              </a:r>
              <a:r>
                <a:rPr lang="es-ES_tradnl" sz="612" err="1">
                  <a:solidFill>
                    <a:srgbClr val="000000"/>
                  </a:solidFill>
                  <a:latin typeface="Arial"/>
                </a:rPr>
                <a:t>PROPRIETARY</a:t>
              </a:r>
              <a:endParaRPr lang="es-ES_tradnl" sz="612">
                <a:solidFill>
                  <a:srgbClr val="000000"/>
                </a:solidFill>
                <a:latin typeface="Arial"/>
              </a:endParaRPr>
            </a:p>
            <a:p>
              <a:pPr defTabSz="615902" eaLnBrk="0" hangingPunct="0"/>
              <a:r>
                <a:rPr lang="es-ES_tradnl" sz="612" err="1">
                  <a:solidFill>
                    <a:srgbClr val="000000"/>
                  </a:solidFill>
                  <a:latin typeface="Arial"/>
                </a:rPr>
                <a:t>Any</a:t>
              </a:r>
              <a:r>
                <a:rPr lang="es-ES_tradnl" sz="612">
                  <a:solidFill>
                    <a:srgbClr val="000000"/>
                  </a:solidFill>
                  <a:latin typeface="Arial"/>
                </a:rPr>
                <a:t> use of </a:t>
              </a:r>
              <a:r>
                <a:rPr lang="es-ES_tradnl" sz="612" err="1">
                  <a:solidFill>
                    <a:srgbClr val="000000"/>
                  </a:solidFill>
                  <a:latin typeface="Arial"/>
                </a:rPr>
                <a:t>this</a:t>
              </a:r>
              <a:r>
                <a:rPr lang="es-ES_tradnl" sz="612">
                  <a:solidFill>
                    <a:srgbClr val="000000"/>
                  </a:solidFill>
                  <a:latin typeface="Arial"/>
                </a:rPr>
                <a:t> material </a:t>
              </a:r>
              <a:r>
                <a:rPr lang="es-ES_tradnl" sz="612" err="1">
                  <a:solidFill>
                    <a:srgbClr val="000000"/>
                  </a:solidFill>
                  <a:latin typeface="Arial"/>
                </a:rPr>
                <a:t>without</a:t>
              </a:r>
              <a:r>
                <a:rPr lang="es-ES_tradnl" sz="612">
                  <a:solidFill>
                    <a:srgbClr val="000000"/>
                  </a:solidFill>
                  <a:latin typeface="Arial"/>
                </a:rPr>
                <a:t> </a:t>
              </a:r>
              <a:r>
                <a:rPr lang="es-ES_tradnl" sz="612" err="1">
                  <a:solidFill>
                    <a:srgbClr val="000000"/>
                  </a:solidFill>
                  <a:latin typeface="Arial"/>
                </a:rPr>
                <a:t>specific</a:t>
              </a:r>
              <a:r>
                <a:rPr lang="es-ES_tradnl" sz="612">
                  <a:solidFill>
                    <a:srgbClr val="000000"/>
                  </a:solidFill>
                  <a:latin typeface="Arial"/>
                </a:rPr>
                <a:t> </a:t>
              </a:r>
              <a:r>
                <a:rPr lang="es-ES_tradnl" sz="612" err="1">
                  <a:solidFill>
                    <a:srgbClr val="000000"/>
                  </a:solidFill>
                  <a:latin typeface="Arial"/>
                </a:rPr>
                <a:t>permission</a:t>
              </a:r>
              <a:r>
                <a:rPr lang="es-ES_tradnl" sz="612">
                  <a:solidFill>
                    <a:srgbClr val="000000"/>
                  </a:solidFill>
                  <a:latin typeface="Arial"/>
                </a:rPr>
                <a:t> of McKinsey &amp; Company </a:t>
              </a:r>
              <a:r>
                <a:rPr lang="es-ES_tradnl" sz="612" err="1">
                  <a:solidFill>
                    <a:srgbClr val="000000"/>
                  </a:solidFill>
                  <a:latin typeface="Arial"/>
                </a:rPr>
                <a:t>is</a:t>
              </a:r>
              <a:r>
                <a:rPr lang="es-ES_tradnl" sz="612">
                  <a:solidFill>
                    <a:srgbClr val="000000"/>
                  </a:solidFill>
                  <a:latin typeface="Arial"/>
                </a:rPr>
                <a:t> </a:t>
              </a:r>
              <a:r>
                <a:rPr lang="es-ES_tradnl" sz="612" err="1">
                  <a:solidFill>
                    <a:srgbClr val="000000"/>
                  </a:solidFill>
                  <a:latin typeface="Arial"/>
                </a:rPr>
                <a:t>strictly</a:t>
              </a:r>
              <a:r>
                <a:rPr lang="es-ES_tradnl" sz="612">
                  <a:solidFill>
                    <a:srgbClr val="000000"/>
                  </a:solidFill>
                  <a:latin typeface="Arial"/>
                </a:rPr>
                <a:t> </a:t>
              </a:r>
              <a:r>
                <a:rPr lang="es-ES_tradnl" sz="612" err="1">
                  <a:solidFill>
                    <a:srgbClr val="000000"/>
                  </a:solidFill>
                  <a:latin typeface="Arial"/>
                </a:rPr>
                <a:t>prohibited</a:t>
              </a:r>
              <a:endParaRPr lang="es-ES_tradnl" sz="612">
                <a:solidFill>
                  <a:srgbClr val="000000"/>
                </a:solidFill>
                <a:latin typeface="Arial"/>
              </a:endParaRPr>
            </a:p>
          </p:txBody>
        </p:sp>
        <p:sp>
          <p:nvSpPr>
            <p:cNvPr id="53"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_tradnl" sz="1378">
                <a:solidFill>
                  <a:srgbClr val="000000"/>
                </a:solidFill>
                <a:latin typeface="Arial"/>
              </a:endParaRPr>
            </a:p>
          </p:txBody>
        </p:sp>
        <p:sp>
          <p:nvSpPr>
            <p:cNvPr id="55"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_tradnl" sz="1378">
                <a:solidFill>
                  <a:srgbClr val="000000"/>
                </a:solidFill>
                <a:latin typeface="Arial"/>
              </a:endParaRPr>
            </a:p>
          </p:txBody>
        </p:sp>
        <p:sp>
          <p:nvSpPr>
            <p:cNvPr id="57" name="Rectangle 56"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378">
                <a:solidFill>
                  <a:srgbClr val="000000"/>
                </a:solidFill>
              </a:endParaRPr>
            </a:p>
          </p:txBody>
        </p:sp>
      </p:grpSp>
      <p:graphicFrame>
        <p:nvGraphicFramePr>
          <p:cNvPr id="58" name="Object 57" hidden="1"/>
          <p:cNvGraphicFramePr>
            <a:graphicFrameLocks noChangeAspect="1"/>
          </p:cNvGraphicFramePr>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58" name="Object 57" hidden="1"/>
                      <p:cNvPicPr/>
                      <p:nvPr/>
                    </p:nvPicPr>
                    <p:blipFill>
                      <a:blip r:embed="rId8"/>
                      <a:stretch>
                        <a:fillRect/>
                      </a:stretch>
                    </p:blipFill>
                    <p:spPr>
                      <a:xfrm>
                        <a:off x="2162" y="1623"/>
                        <a:ext cx="2159" cy="1619"/>
                      </a:xfrm>
                      <a:prstGeom prst="rect">
                        <a:avLst/>
                      </a:prstGeom>
                    </p:spPr>
                  </p:pic>
                </p:oleObj>
              </mc:Fallback>
            </mc:AlternateContent>
          </a:graphicData>
        </a:graphic>
      </p:graphicFrame>
      <p:grpSp>
        <p:nvGrpSpPr>
          <p:cNvPr id="61" name="Title Elements"/>
          <p:cNvGrpSpPr/>
          <p:nvPr/>
        </p:nvGrpSpPr>
        <p:grpSpPr>
          <a:xfrm>
            <a:off x="0" y="1"/>
            <a:ext cx="12187683" cy="6859620"/>
            <a:chOff x="0" y="0"/>
            <a:chExt cx="8958264" cy="6723063"/>
          </a:xfrm>
        </p:grpSpPr>
        <p:sp>
          <p:nvSpPr>
            <p:cNvPr id="62" name="Document type" hidden="1"/>
            <p:cNvSpPr txBox="1">
              <a:spLocks noChangeArrowheads="1"/>
            </p:cNvSpPr>
            <p:nvPr/>
          </p:nvSpPr>
          <p:spPr bwMode="auto">
            <a:xfrm>
              <a:off x="2640013" y="4985167"/>
              <a:ext cx="4935538" cy="161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071">
                  <a:solidFill>
                    <a:srgbClr val="000000"/>
                  </a:solidFill>
                  <a:latin typeface="Arial"/>
                </a:rPr>
                <a:t>Document type</a:t>
              </a:r>
            </a:p>
          </p:txBody>
        </p:sp>
        <p:sp>
          <p:nvSpPr>
            <p:cNvPr id="63" name="Date" hidden="1"/>
            <p:cNvSpPr txBox="1">
              <a:spLocks noChangeArrowheads="1"/>
            </p:cNvSpPr>
            <p:nvPr/>
          </p:nvSpPr>
          <p:spPr bwMode="auto">
            <a:xfrm>
              <a:off x="2640013" y="5199063"/>
              <a:ext cx="4935538" cy="161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071">
                  <a:solidFill>
                    <a:srgbClr val="000000"/>
                  </a:solidFill>
                  <a:latin typeface="Arial"/>
                </a:rPr>
                <a:t>Date</a:t>
              </a:r>
            </a:p>
          </p:txBody>
        </p:sp>
        <p:sp>
          <p:nvSpPr>
            <p:cNvPr id="64" name="Disclaimer" hidden="1"/>
            <p:cNvSpPr>
              <a:spLocks noChangeArrowheads="1"/>
            </p:cNvSpPr>
            <p:nvPr/>
          </p:nvSpPr>
          <p:spPr bwMode="auto">
            <a:xfrm>
              <a:off x="2640013" y="5955815"/>
              <a:ext cx="5121275"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615902" eaLnBrk="0" hangingPunct="0"/>
              <a:r>
                <a:rPr lang="en-US" sz="612">
                  <a:solidFill>
                    <a:srgbClr val="000000"/>
                  </a:solidFill>
                  <a:latin typeface="Arial"/>
                </a:rPr>
                <a:t>CONFIDENTIAL AND PROPRIETARY</a:t>
              </a:r>
            </a:p>
            <a:p>
              <a:pPr defTabSz="615902" eaLnBrk="0" hangingPunct="0"/>
              <a:r>
                <a:rPr lang="en-US" sz="612">
                  <a:solidFill>
                    <a:srgbClr val="000000"/>
                  </a:solidFill>
                  <a:latin typeface="Arial"/>
                </a:rPr>
                <a:t>Any use of this material without specific permission of McKinsey &amp; Company is strictly prohibited</a:t>
              </a:r>
            </a:p>
          </p:txBody>
        </p:sp>
        <p:sp>
          <p:nvSpPr>
            <p:cNvPr id="65"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a:solidFill>
                  <a:srgbClr val="000000"/>
                </a:solidFill>
                <a:latin typeface="Arial"/>
              </a:endParaRPr>
            </a:p>
          </p:txBody>
        </p:sp>
        <p:sp>
          <p:nvSpPr>
            <p:cNvPr id="66"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a:solidFill>
                  <a:srgbClr val="000000"/>
                </a:solidFill>
                <a:latin typeface="Arial"/>
              </a:endParaRPr>
            </a:p>
          </p:txBody>
        </p:sp>
        <p:sp>
          <p:nvSpPr>
            <p:cNvPr id="67" name="Rectangle 66"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8">
                <a:solidFill>
                  <a:srgbClr val="000000"/>
                </a:solidFill>
              </a:endParaRPr>
            </a:p>
          </p:txBody>
        </p:sp>
      </p:grpSp>
      <p:pic>
        <p:nvPicPr>
          <p:cNvPr id="68" name="Picture 2" descr="https://www.cenit-transporte.com/wp-content/uploads/2013/01/cenit_logo-mob-retina.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844371" y="833131"/>
            <a:ext cx="1509429" cy="11320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51444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00E411AF-5418-4C83-BA51-28505081766E}" type="datetimeFigureOut">
              <a:rPr lang="es-CO" smtClean="0"/>
              <a:t>7/02/2021</a:t>
            </a:fld>
            <a:endParaRPr lang="es-CO"/>
          </a:p>
        </p:txBody>
      </p:sp>
      <p:sp>
        <p:nvSpPr>
          <p:cNvPr id="3" name="Marcador de pie de página 2"/>
          <p:cNvSpPr>
            <a:spLocks noGrp="1"/>
          </p:cNvSpPr>
          <p:nvPr>
            <p:ph type="ftr" sz="quarter" idx="11"/>
          </p:nvPr>
        </p:nvSpPr>
        <p:spPr/>
        <p:txBody>
          <a:bodyPr/>
          <a:lstStyle/>
          <a:p>
            <a:endParaRPr lang="es-CO"/>
          </a:p>
        </p:txBody>
      </p:sp>
      <p:sp>
        <p:nvSpPr>
          <p:cNvPr id="4" name="Marcador de número de diapositiva 3"/>
          <p:cNvSpPr>
            <a:spLocks noGrp="1"/>
          </p:cNvSpPr>
          <p:nvPr>
            <p:ph type="sldNum" sz="quarter" idx="12"/>
          </p:nvPr>
        </p:nvSpPr>
        <p:spPr/>
        <p:txBody>
          <a:bodyPr/>
          <a:lstStyle/>
          <a:p>
            <a:fld id="{682D1913-40D6-4ABE-93D6-D1AE9FF6CAC8}" type="slidenum">
              <a:rPr lang="es-CO" smtClean="0"/>
              <a:t>‹Nº›</a:t>
            </a:fld>
            <a:endParaRPr lang="es-CO"/>
          </a:p>
        </p:txBody>
      </p:sp>
    </p:spTree>
    <p:extLst>
      <p:ext uri="{BB962C8B-B14F-4D97-AF65-F5344CB8AC3E}">
        <p14:creationId xmlns:p14="http://schemas.microsoft.com/office/powerpoint/2010/main" val="39559489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endParaRPr lang="es-ES" dirty="0"/>
          </a:p>
        </p:txBody>
      </p:sp>
      <p:sp>
        <p:nvSpPr>
          <p:cNvPr id="8" name="Slide Number"/>
          <p:cNvSpPr txBox="1">
            <a:spLocks/>
          </p:cNvSpPr>
          <p:nvPr/>
        </p:nvSpPr>
        <p:spPr bwMode="gray">
          <a:xfrm>
            <a:off x="11652053" y="6409991"/>
            <a:ext cx="188093" cy="128097"/>
          </a:xfrm>
          <a:prstGeom prst="rect">
            <a:avLst/>
          </a:prstGeom>
        </p:spPr>
        <p:txBody>
          <a:bodyPr vert="horz" wrap="none" lIns="0" tIns="0" rIns="0" bIns="0" rtlCol="0" anchor="ctr">
            <a:spAutoFit/>
          </a:bodyPr>
          <a:lstStyle>
            <a:defPPr>
              <a:defRPr lang="es-ES"/>
            </a:defPPr>
            <a:lvl1pPr>
              <a:defRPr sz="1000" baseline="0">
                <a:latin typeface="+mn-lt"/>
              </a:defRPr>
            </a:lvl1pPr>
          </a:lstStyle>
          <a:p>
            <a:pPr lvl="0"/>
            <a:fld id="{42C328C1-A84F-4A39-A664-DBA00541A8C6}" type="slidenum">
              <a:rPr lang="es-ES" sz="816" smtClean="0">
                <a:solidFill>
                  <a:schemeClr val="accent6"/>
                </a:solidFill>
              </a:rPr>
              <a:pPr lvl="0"/>
              <a:t>‹Nº›</a:t>
            </a:fld>
            <a:endParaRPr lang="es-ES" sz="816" dirty="0">
              <a:solidFill>
                <a:schemeClr val="accent6"/>
              </a:solidFill>
            </a:endParaRPr>
          </a:p>
        </p:txBody>
      </p:sp>
      <p:sp>
        <p:nvSpPr>
          <p:cNvPr id="9" name="SlideLogoText" hidden="1"/>
          <p:cNvSpPr>
            <a:spLocks noChangeArrowheads="1"/>
          </p:cNvSpPr>
          <p:nvPr>
            <p:custDataLst>
              <p:tags r:id="rId1"/>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s-ES" sz="816" baseline="0" noProof="0" dirty="0">
                <a:solidFill>
                  <a:schemeClr val="accent6"/>
                </a:solidFill>
                <a:latin typeface="+mn-lt"/>
                <a:ea typeface="+mn-ea"/>
              </a:rPr>
              <a:t>McKinsey &amp; Company</a:t>
            </a:r>
          </a:p>
        </p:txBody>
      </p:sp>
      <p:sp>
        <p:nvSpPr>
          <p:cNvPr id="5"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s-ES" sz="612" baseline="0" noProof="0" dirty="0">
              <a:solidFill>
                <a:schemeClr val="accent6"/>
              </a:solidFill>
              <a:latin typeface="+mn-lt"/>
              <a:ea typeface="+mn-ea"/>
            </a:endParaRPr>
          </a:p>
        </p:txBody>
      </p:sp>
      <p:pic>
        <p:nvPicPr>
          <p:cNvPr id="6" name="Imagen 5">
            <a:extLst>
              <a:ext uri="{FF2B5EF4-FFF2-40B4-BE49-F238E27FC236}">
                <a16:creationId xmlns:a16="http://schemas.microsoft.com/office/drawing/2014/main" id="{8BD4377D-3D28-4068-BD37-5FDE5350B1B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0017" t="13966" r="12683" b="29231"/>
          <a:stretch/>
        </p:blipFill>
        <p:spPr>
          <a:xfrm>
            <a:off x="10088738" y="6155680"/>
            <a:ext cx="1356174" cy="610399"/>
          </a:xfrm>
          <a:prstGeom prst="rect">
            <a:avLst/>
          </a:prstGeom>
        </p:spPr>
      </p:pic>
      <p:cxnSp>
        <p:nvCxnSpPr>
          <p:cNvPr id="4" name="Straight Connector 3">
            <a:extLst>
              <a:ext uri="{FF2B5EF4-FFF2-40B4-BE49-F238E27FC236}">
                <a16:creationId xmlns:a16="http://schemas.microsoft.com/office/drawing/2014/main" id="{9C256ADF-7EE7-4BD6-BAD6-E17061C626F9}"/>
              </a:ext>
            </a:extLst>
          </p:cNvPr>
          <p:cNvCxnSpPr/>
          <p:nvPr/>
        </p:nvCxnSpPr>
        <p:spPr>
          <a:xfrm>
            <a:off x="11493879" y="6321217"/>
            <a:ext cx="0" cy="305644"/>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2FF67A-19B3-4143-937B-376342A39852}"/>
              </a:ext>
            </a:extLst>
          </p:cNvPr>
          <p:cNvCxnSpPr/>
          <p:nvPr/>
        </p:nvCxnSpPr>
        <p:spPr>
          <a:xfrm>
            <a:off x="10777293" y="6321217"/>
            <a:ext cx="0" cy="305644"/>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7286845"/>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AD122B0-0412-4D7A-B617-BEA6F282AAA3}"/>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O"/>
          </a:p>
        </p:txBody>
      </p:sp>
      <p:sp>
        <p:nvSpPr>
          <p:cNvPr id="3" name="Subtítulo 2">
            <a:extLst>
              <a:ext uri="{FF2B5EF4-FFF2-40B4-BE49-F238E27FC236}">
                <a16:creationId xmlns:a16="http://schemas.microsoft.com/office/drawing/2014/main" id="{8250734F-2247-4ABB-A230-873FA3B0942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CO"/>
          </a:p>
        </p:txBody>
      </p:sp>
      <p:sp>
        <p:nvSpPr>
          <p:cNvPr id="4" name="Marcador de fecha 3">
            <a:extLst>
              <a:ext uri="{FF2B5EF4-FFF2-40B4-BE49-F238E27FC236}">
                <a16:creationId xmlns:a16="http://schemas.microsoft.com/office/drawing/2014/main" id="{4A6EDFCF-C38D-415B-97D0-9B9798F809CF}"/>
              </a:ext>
            </a:extLst>
          </p:cNvPr>
          <p:cNvSpPr>
            <a:spLocks noGrp="1"/>
          </p:cNvSpPr>
          <p:nvPr>
            <p:ph type="dt" sz="half" idx="10"/>
          </p:nvPr>
        </p:nvSpPr>
        <p:spPr/>
        <p:txBody>
          <a:bodyPr/>
          <a:lstStyle/>
          <a:p>
            <a:fld id="{B85393CC-A1E3-46BF-8B50-8C9CD2C8FA82}" type="datetimeFigureOut">
              <a:rPr lang="es-CO" smtClean="0"/>
              <a:t>7/02/2021</a:t>
            </a:fld>
            <a:endParaRPr lang="es-CO"/>
          </a:p>
        </p:txBody>
      </p:sp>
      <p:sp>
        <p:nvSpPr>
          <p:cNvPr id="5" name="Marcador de pie de página 4">
            <a:extLst>
              <a:ext uri="{FF2B5EF4-FFF2-40B4-BE49-F238E27FC236}">
                <a16:creationId xmlns:a16="http://schemas.microsoft.com/office/drawing/2014/main" id="{754CEF5C-99E0-4B86-84A7-E61CF66CC649}"/>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58F52087-CE37-4828-92C7-559F4BF19843}"/>
              </a:ext>
            </a:extLst>
          </p:cNvPr>
          <p:cNvSpPr>
            <a:spLocks noGrp="1"/>
          </p:cNvSpPr>
          <p:nvPr>
            <p:ph type="sldNum" sz="quarter" idx="12"/>
          </p:nvPr>
        </p:nvSpPr>
        <p:spPr/>
        <p:txBody>
          <a:bodyPr/>
          <a:lstStyle/>
          <a:p>
            <a:fld id="{0166FB0D-522B-4FA9-BA1F-502792A6F2F4}" type="slidenum">
              <a:rPr lang="es-CO" smtClean="0"/>
              <a:t>‹Nº›</a:t>
            </a:fld>
            <a:endParaRPr lang="es-CO"/>
          </a:p>
        </p:txBody>
      </p:sp>
    </p:spTree>
    <p:extLst>
      <p:ext uri="{BB962C8B-B14F-4D97-AF65-F5344CB8AC3E}">
        <p14:creationId xmlns:p14="http://schemas.microsoft.com/office/powerpoint/2010/main" val="3151657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94D4E55-43B6-44E2-91A9-77EE387A2BDC}"/>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6FE1BBFD-D1D8-4954-8A62-8B4339BC4694}"/>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1C98F14F-4D87-419F-B2DC-5CB5B474CE06}"/>
              </a:ext>
            </a:extLst>
          </p:cNvPr>
          <p:cNvSpPr>
            <a:spLocks noGrp="1"/>
          </p:cNvSpPr>
          <p:nvPr>
            <p:ph type="dt" sz="half" idx="10"/>
          </p:nvPr>
        </p:nvSpPr>
        <p:spPr/>
        <p:txBody>
          <a:bodyPr/>
          <a:lstStyle/>
          <a:p>
            <a:fld id="{B85393CC-A1E3-46BF-8B50-8C9CD2C8FA82}" type="datetimeFigureOut">
              <a:rPr lang="es-CO" smtClean="0"/>
              <a:t>7/02/2021</a:t>
            </a:fld>
            <a:endParaRPr lang="es-CO"/>
          </a:p>
        </p:txBody>
      </p:sp>
      <p:sp>
        <p:nvSpPr>
          <p:cNvPr id="5" name="Marcador de pie de página 4">
            <a:extLst>
              <a:ext uri="{FF2B5EF4-FFF2-40B4-BE49-F238E27FC236}">
                <a16:creationId xmlns:a16="http://schemas.microsoft.com/office/drawing/2014/main" id="{CC667438-696A-4E4F-84E2-A47C35536D56}"/>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96636E6F-DBED-4DC2-AE30-E29ED4644657}"/>
              </a:ext>
            </a:extLst>
          </p:cNvPr>
          <p:cNvSpPr>
            <a:spLocks noGrp="1"/>
          </p:cNvSpPr>
          <p:nvPr>
            <p:ph type="sldNum" sz="quarter" idx="12"/>
          </p:nvPr>
        </p:nvSpPr>
        <p:spPr/>
        <p:txBody>
          <a:bodyPr/>
          <a:lstStyle/>
          <a:p>
            <a:fld id="{0166FB0D-522B-4FA9-BA1F-502792A6F2F4}" type="slidenum">
              <a:rPr lang="es-CO" smtClean="0"/>
              <a:t>‹Nº›</a:t>
            </a:fld>
            <a:endParaRPr lang="es-CO"/>
          </a:p>
        </p:txBody>
      </p:sp>
    </p:spTree>
    <p:extLst>
      <p:ext uri="{BB962C8B-B14F-4D97-AF65-F5344CB8AC3E}">
        <p14:creationId xmlns:p14="http://schemas.microsoft.com/office/powerpoint/2010/main" val="5721412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90B4E65-D991-4150-9F06-3A4AEF03165C}"/>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215A7DF2-CE62-41DA-9DAE-0F0C7F4712B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1340ADDD-38DB-4725-9259-755508520CB0}"/>
              </a:ext>
            </a:extLst>
          </p:cNvPr>
          <p:cNvSpPr>
            <a:spLocks noGrp="1"/>
          </p:cNvSpPr>
          <p:nvPr>
            <p:ph type="dt" sz="half" idx="10"/>
          </p:nvPr>
        </p:nvSpPr>
        <p:spPr/>
        <p:txBody>
          <a:bodyPr/>
          <a:lstStyle/>
          <a:p>
            <a:fld id="{B85393CC-A1E3-46BF-8B50-8C9CD2C8FA82}" type="datetimeFigureOut">
              <a:rPr lang="es-CO" smtClean="0"/>
              <a:t>7/02/2021</a:t>
            </a:fld>
            <a:endParaRPr lang="es-CO"/>
          </a:p>
        </p:txBody>
      </p:sp>
      <p:sp>
        <p:nvSpPr>
          <p:cNvPr id="5" name="Marcador de pie de página 4">
            <a:extLst>
              <a:ext uri="{FF2B5EF4-FFF2-40B4-BE49-F238E27FC236}">
                <a16:creationId xmlns:a16="http://schemas.microsoft.com/office/drawing/2014/main" id="{57A41632-0B3A-47C5-802C-32F5FFA9194A}"/>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C55F5C36-67A7-4105-9B53-8DF5FA9C3FD3}"/>
              </a:ext>
            </a:extLst>
          </p:cNvPr>
          <p:cNvSpPr>
            <a:spLocks noGrp="1"/>
          </p:cNvSpPr>
          <p:nvPr>
            <p:ph type="sldNum" sz="quarter" idx="12"/>
          </p:nvPr>
        </p:nvSpPr>
        <p:spPr/>
        <p:txBody>
          <a:bodyPr/>
          <a:lstStyle/>
          <a:p>
            <a:fld id="{0166FB0D-522B-4FA9-BA1F-502792A6F2F4}" type="slidenum">
              <a:rPr lang="es-CO" smtClean="0"/>
              <a:t>‹Nº›</a:t>
            </a:fld>
            <a:endParaRPr lang="es-CO"/>
          </a:p>
        </p:txBody>
      </p:sp>
    </p:spTree>
    <p:extLst>
      <p:ext uri="{BB962C8B-B14F-4D97-AF65-F5344CB8AC3E}">
        <p14:creationId xmlns:p14="http://schemas.microsoft.com/office/powerpoint/2010/main" val="11612549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7CD9991-AD6A-4064-A5CE-4CB483A49E9D}"/>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36A01B24-B4AF-4C9B-89C8-12816470EB61}"/>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a:extLst>
              <a:ext uri="{FF2B5EF4-FFF2-40B4-BE49-F238E27FC236}">
                <a16:creationId xmlns:a16="http://schemas.microsoft.com/office/drawing/2014/main" id="{35A31059-5DE2-46C0-ACE4-729074555957}"/>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fecha 4">
            <a:extLst>
              <a:ext uri="{FF2B5EF4-FFF2-40B4-BE49-F238E27FC236}">
                <a16:creationId xmlns:a16="http://schemas.microsoft.com/office/drawing/2014/main" id="{3A4B9DFA-1DFE-4413-B519-DD4197B312E4}"/>
              </a:ext>
            </a:extLst>
          </p:cNvPr>
          <p:cNvSpPr>
            <a:spLocks noGrp="1"/>
          </p:cNvSpPr>
          <p:nvPr>
            <p:ph type="dt" sz="half" idx="10"/>
          </p:nvPr>
        </p:nvSpPr>
        <p:spPr/>
        <p:txBody>
          <a:bodyPr/>
          <a:lstStyle/>
          <a:p>
            <a:fld id="{B85393CC-A1E3-46BF-8B50-8C9CD2C8FA82}" type="datetimeFigureOut">
              <a:rPr lang="es-CO" smtClean="0"/>
              <a:t>7/02/2021</a:t>
            </a:fld>
            <a:endParaRPr lang="es-CO"/>
          </a:p>
        </p:txBody>
      </p:sp>
      <p:sp>
        <p:nvSpPr>
          <p:cNvPr id="6" name="Marcador de pie de página 5">
            <a:extLst>
              <a:ext uri="{FF2B5EF4-FFF2-40B4-BE49-F238E27FC236}">
                <a16:creationId xmlns:a16="http://schemas.microsoft.com/office/drawing/2014/main" id="{7618CFDB-632B-4511-ACC7-D64AC7084E90}"/>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779EEAC8-5F73-4290-845A-8A892A3EECC0}"/>
              </a:ext>
            </a:extLst>
          </p:cNvPr>
          <p:cNvSpPr>
            <a:spLocks noGrp="1"/>
          </p:cNvSpPr>
          <p:nvPr>
            <p:ph type="sldNum" sz="quarter" idx="12"/>
          </p:nvPr>
        </p:nvSpPr>
        <p:spPr/>
        <p:txBody>
          <a:bodyPr/>
          <a:lstStyle/>
          <a:p>
            <a:fld id="{0166FB0D-522B-4FA9-BA1F-502792A6F2F4}" type="slidenum">
              <a:rPr lang="es-CO" smtClean="0"/>
              <a:t>‹Nº›</a:t>
            </a:fld>
            <a:endParaRPr lang="es-CO"/>
          </a:p>
        </p:txBody>
      </p:sp>
    </p:spTree>
    <p:extLst>
      <p:ext uri="{BB962C8B-B14F-4D97-AF65-F5344CB8AC3E}">
        <p14:creationId xmlns:p14="http://schemas.microsoft.com/office/powerpoint/2010/main" val="26542531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E20AC4D-1013-4C0A-BD3A-61FD76DC0E76}"/>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ED0DC0D9-01B1-4B64-8D9E-DBC7291DB5C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4FFB5FD5-1C25-44DE-888C-E9C9DF539763}"/>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texto 4">
            <a:extLst>
              <a:ext uri="{FF2B5EF4-FFF2-40B4-BE49-F238E27FC236}">
                <a16:creationId xmlns:a16="http://schemas.microsoft.com/office/drawing/2014/main" id="{EE2355A5-1B85-441E-ABFA-9AC7D4E23AA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88013EA6-796B-4935-8EC7-2EB04823623A}"/>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Marcador de fecha 6">
            <a:extLst>
              <a:ext uri="{FF2B5EF4-FFF2-40B4-BE49-F238E27FC236}">
                <a16:creationId xmlns:a16="http://schemas.microsoft.com/office/drawing/2014/main" id="{995C99AF-0A72-44E7-8684-A5BBE2D79303}"/>
              </a:ext>
            </a:extLst>
          </p:cNvPr>
          <p:cNvSpPr>
            <a:spLocks noGrp="1"/>
          </p:cNvSpPr>
          <p:nvPr>
            <p:ph type="dt" sz="half" idx="10"/>
          </p:nvPr>
        </p:nvSpPr>
        <p:spPr/>
        <p:txBody>
          <a:bodyPr/>
          <a:lstStyle/>
          <a:p>
            <a:fld id="{B85393CC-A1E3-46BF-8B50-8C9CD2C8FA82}" type="datetimeFigureOut">
              <a:rPr lang="es-CO" smtClean="0"/>
              <a:t>7/02/2021</a:t>
            </a:fld>
            <a:endParaRPr lang="es-CO"/>
          </a:p>
        </p:txBody>
      </p:sp>
      <p:sp>
        <p:nvSpPr>
          <p:cNvPr id="8" name="Marcador de pie de página 7">
            <a:extLst>
              <a:ext uri="{FF2B5EF4-FFF2-40B4-BE49-F238E27FC236}">
                <a16:creationId xmlns:a16="http://schemas.microsoft.com/office/drawing/2014/main" id="{087E52CF-7EF6-4452-87AB-662A2EA483D7}"/>
              </a:ext>
            </a:extLst>
          </p:cNvPr>
          <p:cNvSpPr>
            <a:spLocks noGrp="1"/>
          </p:cNvSpPr>
          <p:nvPr>
            <p:ph type="ftr" sz="quarter" idx="11"/>
          </p:nvPr>
        </p:nvSpPr>
        <p:spPr/>
        <p:txBody>
          <a:bodyPr/>
          <a:lstStyle/>
          <a:p>
            <a:endParaRPr lang="es-CO"/>
          </a:p>
        </p:txBody>
      </p:sp>
      <p:sp>
        <p:nvSpPr>
          <p:cNvPr id="9" name="Marcador de número de diapositiva 8">
            <a:extLst>
              <a:ext uri="{FF2B5EF4-FFF2-40B4-BE49-F238E27FC236}">
                <a16:creationId xmlns:a16="http://schemas.microsoft.com/office/drawing/2014/main" id="{2CB858EB-81E3-425C-8375-AC15BE945556}"/>
              </a:ext>
            </a:extLst>
          </p:cNvPr>
          <p:cNvSpPr>
            <a:spLocks noGrp="1"/>
          </p:cNvSpPr>
          <p:nvPr>
            <p:ph type="sldNum" sz="quarter" idx="12"/>
          </p:nvPr>
        </p:nvSpPr>
        <p:spPr/>
        <p:txBody>
          <a:bodyPr/>
          <a:lstStyle/>
          <a:p>
            <a:fld id="{0166FB0D-522B-4FA9-BA1F-502792A6F2F4}" type="slidenum">
              <a:rPr lang="es-CO" smtClean="0"/>
              <a:t>‹Nº›</a:t>
            </a:fld>
            <a:endParaRPr lang="es-CO"/>
          </a:p>
        </p:txBody>
      </p:sp>
    </p:spTree>
    <p:extLst>
      <p:ext uri="{BB962C8B-B14F-4D97-AF65-F5344CB8AC3E}">
        <p14:creationId xmlns:p14="http://schemas.microsoft.com/office/powerpoint/2010/main" val="19612592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60331F2-FD51-42EB-9F87-98EF25CC0080}"/>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fecha 2">
            <a:extLst>
              <a:ext uri="{FF2B5EF4-FFF2-40B4-BE49-F238E27FC236}">
                <a16:creationId xmlns:a16="http://schemas.microsoft.com/office/drawing/2014/main" id="{29C5BEE8-0DD7-4061-9848-7895E92EF9F3}"/>
              </a:ext>
            </a:extLst>
          </p:cNvPr>
          <p:cNvSpPr>
            <a:spLocks noGrp="1"/>
          </p:cNvSpPr>
          <p:nvPr>
            <p:ph type="dt" sz="half" idx="10"/>
          </p:nvPr>
        </p:nvSpPr>
        <p:spPr/>
        <p:txBody>
          <a:bodyPr/>
          <a:lstStyle/>
          <a:p>
            <a:fld id="{B85393CC-A1E3-46BF-8B50-8C9CD2C8FA82}" type="datetimeFigureOut">
              <a:rPr lang="es-CO" smtClean="0"/>
              <a:t>7/02/2021</a:t>
            </a:fld>
            <a:endParaRPr lang="es-CO"/>
          </a:p>
        </p:txBody>
      </p:sp>
      <p:sp>
        <p:nvSpPr>
          <p:cNvPr id="4" name="Marcador de pie de página 3">
            <a:extLst>
              <a:ext uri="{FF2B5EF4-FFF2-40B4-BE49-F238E27FC236}">
                <a16:creationId xmlns:a16="http://schemas.microsoft.com/office/drawing/2014/main" id="{90C94C06-01FA-4533-927C-918CF8D343A6}"/>
              </a:ext>
            </a:extLst>
          </p:cNvPr>
          <p:cNvSpPr>
            <a:spLocks noGrp="1"/>
          </p:cNvSpPr>
          <p:nvPr>
            <p:ph type="ftr" sz="quarter" idx="11"/>
          </p:nvPr>
        </p:nvSpPr>
        <p:spPr/>
        <p:txBody>
          <a:bodyPr/>
          <a:lstStyle/>
          <a:p>
            <a:endParaRPr lang="es-CO"/>
          </a:p>
        </p:txBody>
      </p:sp>
      <p:sp>
        <p:nvSpPr>
          <p:cNvPr id="5" name="Marcador de número de diapositiva 4">
            <a:extLst>
              <a:ext uri="{FF2B5EF4-FFF2-40B4-BE49-F238E27FC236}">
                <a16:creationId xmlns:a16="http://schemas.microsoft.com/office/drawing/2014/main" id="{6A4B0F9C-0747-4E54-A16E-6926F7D25FA2}"/>
              </a:ext>
            </a:extLst>
          </p:cNvPr>
          <p:cNvSpPr>
            <a:spLocks noGrp="1"/>
          </p:cNvSpPr>
          <p:nvPr>
            <p:ph type="sldNum" sz="quarter" idx="12"/>
          </p:nvPr>
        </p:nvSpPr>
        <p:spPr/>
        <p:txBody>
          <a:bodyPr/>
          <a:lstStyle/>
          <a:p>
            <a:fld id="{0166FB0D-522B-4FA9-BA1F-502792A6F2F4}" type="slidenum">
              <a:rPr lang="es-CO" smtClean="0"/>
              <a:t>‹Nº›</a:t>
            </a:fld>
            <a:endParaRPr lang="es-CO"/>
          </a:p>
        </p:txBody>
      </p:sp>
    </p:spTree>
    <p:extLst>
      <p:ext uri="{BB962C8B-B14F-4D97-AF65-F5344CB8AC3E}">
        <p14:creationId xmlns:p14="http://schemas.microsoft.com/office/powerpoint/2010/main" val="36146934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8A7DC31C-A969-40AF-B93E-CFE58EAC8EAD}"/>
              </a:ext>
            </a:extLst>
          </p:cNvPr>
          <p:cNvSpPr>
            <a:spLocks noGrp="1"/>
          </p:cNvSpPr>
          <p:nvPr>
            <p:ph type="dt" sz="half" idx="10"/>
          </p:nvPr>
        </p:nvSpPr>
        <p:spPr/>
        <p:txBody>
          <a:bodyPr/>
          <a:lstStyle/>
          <a:p>
            <a:fld id="{B85393CC-A1E3-46BF-8B50-8C9CD2C8FA82}" type="datetimeFigureOut">
              <a:rPr lang="es-CO" smtClean="0"/>
              <a:t>7/02/2021</a:t>
            </a:fld>
            <a:endParaRPr lang="es-CO"/>
          </a:p>
        </p:txBody>
      </p:sp>
      <p:sp>
        <p:nvSpPr>
          <p:cNvPr id="3" name="Marcador de pie de página 2">
            <a:extLst>
              <a:ext uri="{FF2B5EF4-FFF2-40B4-BE49-F238E27FC236}">
                <a16:creationId xmlns:a16="http://schemas.microsoft.com/office/drawing/2014/main" id="{63DF1604-3C41-4294-BED7-9FE66C07D551}"/>
              </a:ext>
            </a:extLst>
          </p:cNvPr>
          <p:cNvSpPr>
            <a:spLocks noGrp="1"/>
          </p:cNvSpPr>
          <p:nvPr>
            <p:ph type="ftr" sz="quarter" idx="11"/>
          </p:nvPr>
        </p:nvSpPr>
        <p:spPr/>
        <p:txBody>
          <a:bodyPr/>
          <a:lstStyle/>
          <a:p>
            <a:endParaRPr lang="es-CO"/>
          </a:p>
        </p:txBody>
      </p:sp>
      <p:sp>
        <p:nvSpPr>
          <p:cNvPr id="4" name="Marcador de número de diapositiva 3">
            <a:extLst>
              <a:ext uri="{FF2B5EF4-FFF2-40B4-BE49-F238E27FC236}">
                <a16:creationId xmlns:a16="http://schemas.microsoft.com/office/drawing/2014/main" id="{F28572EE-1C2E-4539-924D-FE4678F4C702}"/>
              </a:ext>
            </a:extLst>
          </p:cNvPr>
          <p:cNvSpPr>
            <a:spLocks noGrp="1"/>
          </p:cNvSpPr>
          <p:nvPr>
            <p:ph type="sldNum" sz="quarter" idx="12"/>
          </p:nvPr>
        </p:nvSpPr>
        <p:spPr/>
        <p:txBody>
          <a:bodyPr/>
          <a:lstStyle/>
          <a:p>
            <a:fld id="{0166FB0D-522B-4FA9-BA1F-502792A6F2F4}" type="slidenum">
              <a:rPr lang="es-CO" smtClean="0"/>
              <a:t>‹Nº›</a:t>
            </a:fld>
            <a:endParaRPr lang="es-CO"/>
          </a:p>
        </p:txBody>
      </p:sp>
    </p:spTree>
    <p:extLst>
      <p:ext uri="{BB962C8B-B14F-4D97-AF65-F5344CB8AC3E}">
        <p14:creationId xmlns:p14="http://schemas.microsoft.com/office/powerpoint/2010/main" val="22018847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450FA73-BE18-4889-B13F-D3576AFF5453}"/>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O"/>
          </a:p>
        </p:txBody>
      </p:sp>
      <p:sp>
        <p:nvSpPr>
          <p:cNvPr id="3" name="Marcador de contenido 2">
            <a:extLst>
              <a:ext uri="{FF2B5EF4-FFF2-40B4-BE49-F238E27FC236}">
                <a16:creationId xmlns:a16="http://schemas.microsoft.com/office/drawing/2014/main" id="{15FE3B0B-E9A2-40D7-966B-6C67C491FD9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texto 3">
            <a:extLst>
              <a:ext uri="{FF2B5EF4-FFF2-40B4-BE49-F238E27FC236}">
                <a16:creationId xmlns:a16="http://schemas.microsoft.com/office/drawing/2014/main" id="{8B9F0437-AA3C-4DBA-88CD-6E6670DB61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178E75E2-F638-4146-BC0D-F1C4507E9F9E}"/>
              </a:ext>
            </a:extLst>
          </p:cNvPr>
          <p:cNvSpPr>
            <a:spLocks noGrp="1"/>
          </p:cNvSpPr>
          <p:nvPr>
            <p:ph type="dt" sz="half" idx="10"/>
          </p:nvPr>
        </p:nvSpPr>
        <p:spPr/>
        <p:txBody>
          <a:bodyPr/>
          <a:lstStyle/>
          <a:p>
            <a:fld id="{B85393CC-A1E3-46BF-8B50-8C9CD2C8FA82}" type="datetimeFigureOut">
              <a:rPr lang="es-CO" smtClean="0"/>
              <a:t>7/02/2021</a:t>
            </a:fld>
            <a:endParaRPr lang="es-CO"/>
          </a:p>
        </p:txBody>
      </p:sp>
      <p:sp>
        <p:nvSpPr>
          <p:cNvPr id="6" name="Marcador de pie de página 5">
            <a:extLst>
              <a:ext uri="{FF2B5EF4-FFF2-40B4-BE49-F238E27FC236}">
                <a16:creationId xmlns:a16="http://schemas.microsoft.com/office/drawing/2014/main" id="{1CA58B67-0620-4478-99B6-A3AF79303C4D}"/>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44BE2D1E-5AD2-41A3-BD33-5D889657E5C3}"/>
              </a:ext>
            </a:extLst>
          </p:cNvPr>
          <p:cNvSpPr>
            <a:spLocks noGrp="1"/>
          </p:cNvSpPr>
          <p:nvPr>
            <p:ph type="sldNum" sz="quarter" idx="12"/>
          </p:nvPr>
        </p:nvSpPr>
        <p:spPr/>
        <p:txBody>
          <a:bodyPr/>
          <a:lstStyle/>
          <a:p>
            <a:fld id="{0166FB0D-522B-4FA9-BA1F-502792A6F2F4}" type="slidenum">
              <a:rPr lang="es-CO" smtClean="0"/>
              <a:t>‹Nº›</a:t>
            </a:fld>
            <a:endParaRPr lang="es-CO"/>
          </a:p>
        </p:txBody>
      </p:sp>
    </p:spTree>
    <p:extLst>
      <p:ext uri="{BB962C8B-B14F-4D97-AF65-F5344CB8AC3E}">
        <p14:creationId xmlns:p14="http://schemas.microsoft.com/office/powerpoint/2010/main" val="5658534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ción">
    <p:bg>
      <p:bgPr>
        <a:solidFill>
          <a:schemeClr val="bg1"/>
        </a:solidFill>
        <a:effectLst/>
      </p:bgPr>
    </p:bg>
    <p:spTree>
      <p:nvGrpSpPr>
        <p:cNvPr id="1" name=""/>
        <p:cNvGrpSpPr/>
        <p:nvPr/>
      </p:nvGrpSpPr>
      <p:grpSpPr>
        <a:xfrm>
          <a:off x="0" y="0"/>
          <a:ext cx="0" cy="0"/>
          <a:chOff x="0" y="0"/>
          <a:chExt cx="0" cy="0"/>
        </a:xfrm>
      </p:grpSpPr>
      <p:sp>
        <p:nvSpPr>
          <p:cNvPr id="47" name="Rectangle 53"/>
          <p:cNvSpPr/>
          <p:nvPr/>
        </p:nvSpPr>
        <p:spPr>
          <a:xfrm flipH="1">
            <a:off x="1" y="2285784"/>
            <a:ext cx="12198481" cy="457383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378">
              <a:solidFill>
                <a:srgbClr val="000000"/>
              </a:solidFill>
            </a:endParaRPr>
          </a:p>
        </p:txBody>
      </p:sp>
      <p:pic>
        <p:nvPicPr>
          <p:cNvPr id="5" name="Picture 36" descr="http://inteligenciapetrolera.com.co/inicio/wp-content/uploads/2015/05/oleoductos-Colombia.jpg"/>
          <p:cNvPicPr>
            <a:picLocks noChangeAspect="1" noChangeArrowheads="1"/>
          </p:cNvPicPr>
          <p:nvPr/>
        </p:nvPicPr>
        <p:blipFill rotWithShape="1">
          <a:blip r:embed="rId3"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2" y="0"/>
            <a:ext cx="12198479" cy="228578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1026"/>
          <p:cNvSpPr>
            <a:spLocks noGrp="1" noChangeArrowheads="1"/>
          </p:cNvSpPr>
          <p:nvPr>
            <p:ph type="ctrTitle" hasCustomPrompt="1"/>
          </p:nvPr>
        </p:nvSpPr>
        <p:spPr>
          <a:xfrm>
            <a:off x="3598214" y="3514460"/>
            <a:ext cx="7973759" cy="369332"/>
          </a:xfrm>
          <a:prstGeom prst="rect">
            <a:avLst/>
          </a:prstGeom>
        </p:spPr>
        <p:txBody>
          <a:bodyPr/>
          <a:lstStyle>
            <a:lvl1pPr>
              <a:defRPr sz="2400" b="0" baseline="0">
                <a:solidFill>
                  <a:schemeClr val="tx2"/>
                </a:solidFill>
              </a:defRPr>
            </a:lvl1pPr>
          </a:lstStyle>
          <a:p>
            <a:pPr lvl="0"/>
            <a:r>
              <a:rPr lang="es-ES_tradnl" noProof="0"/>
              <a:t>Título de la Sección (Arial, 24, Azul Oscuro)</a:t>
            </a:r>
          </a:p>
        </p:txBody>
      </p:sp>
      <p:sp>
        <p:nvSpPr>
          <p:cNvPr id="8" name="Rectangle 1027"/>
          <p:cNvSpPr>
            <a:spLocks noGrp="1" noChangeArrowheads="1"/>
          </p:cNvSpPr>
          <p:nvPr>
            <p:ph type="subTitle" idx="1" hasCustomPrompt="1"/>
          </p:nvPr>
        </p:nvSpPr>
        <p:spPr>
          <a:xfrm>
            <a:off x="231362" y="6419408"/>
            <a:ext cx="7973759" cy="338554"/>
          </a:xfrm>
          <a:prstGeom prst="rect">
            <a:avLst/>
          </a:prstGeom>
        </p:spPr>
        <p:txBody>
          <a:bodyPr wrap="square">
            <a:spAutoFit/>
          </a:bodyPr>
          <a:lstStyle>
            <a:lvl1pPr>
              <a:defRPr sz="1600" baseline="0">
                <a:solidFill>
                  <a:schemeClr val="tx2"/>
                </a:solidFill>
              </a:defRPr>
            </a:lvl1pPr>
          </a:lstStyle>
          <a:p>
            <a:pPr lvl="0"/>
            <a:r>
              <a:rPr lang="es-ES_tradnl" noProof="0"/>
              <a:t>Título de la Presentación (Arial, 16, Azul Oscuro)</a:t>
            </a:r>
          </a:p>
        </p:txBody>
      </p:sp>
      <p:grpSp>
        <p:nvGrpSpPr>
          <p:cNvPr id="9" name="Title Elements"/>
          <p:cNvGrpSpPr/>
          <p:nvPr/>
        </p:nvGrpSpPr>
        <p:grpSpPr>
          <a:xfrm>
            <a:off x="0" y="1"/>
            <a:ext cx="12187683" cy="6859620"/>
            <a:chOff x="0" y="0"/>
            <a:chExt cx="8958264" cy="6723063"/>
          </a:xfrm>
        </p:grpSpPr>
        <p:sp>
          <p:nvSpPr>
            <p:cNvPr id="10" name="Document type" hidden="1"/>
            <p:cNvSpPr txBox="1">
              <a:spLocks noChangeArrowheads="1"/>
            </p:cNvSpPr>
            <p:nvPr/>
          </p:nvSpPr>
          <p:spPr bwMode="auto">
            <a:xfrm>
              <a:off x="2640013" y="5446901"/>
              <a:ext cx="4935538" cy="161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s-ES_tradnl" sz="1071" err="1">
                  <a:solidFill>
                    <a:srgbClr val="DCEBF4"/>
                  </a:solidFill>
                  <a:latin typeface="Arial"/>
                </a:rPr>
                <a:t>Document</a:t>
              </a:r>
              <a:r>
                <a:rPr lang="es-ES_tradnl" sz="1071">
                  <a:solidFill>
                    <a:srgbClr val="DCEBF4"/>
                  </a:solidFill>
                  <a:latin typeface="Arial"/>
                </a:rPr>
                <a:t> </a:t>
              </a:r>
              <a:r>
                <a:rPr lang="es-ES_tradnl" sz="1071" err="1">
                  <a:solidFill>
                    <a:srgbClr val="DCEBF4"/>
                  </a:solidFill>
                  <a:latin typeface="Arial"/>
                </a:rPr>
                <a:t>type</a:t>
              </a:r>
              <a:endParaRPr lang="es-ES_tradnl" sz="1071">
                <a:solidFill>
                  <a:srgbClr val="DCEBF4"/>
                </a:solidFill>
                <a:latin typeface="Arial"/>
              </a:endParaRPr>
            </a:p>
          </p:txBody>
        </p:sp>
        <p:sp>
          <p:nvSpPr>
            <p:cNvPr id="11" name="Date" hidden="1"/>
            <p:cNvSpPr txBox="1">
              <a:spLocks noChangeArrowheads="1"/>
            </p:cNvSpPr>
            <p:nvPr/>
          </p:nvSpPr>
          <p:spPr bwMode="auto">
            <a:xfrm>
              <a:off x="2640013" y="5660798"/>
              <a:ext cx="4935538" cy="161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s-ES_tradnl" sz="1071">
                  <a:solidFill>
                    <a:srgbClr val="DCEBF4"/>
                  </a:solidFill>
                  <a:latin typeface="Arial"/>
                </a:rPr>
                <a:t>Date</a:t>
              </a:r>
            </a:p>
          </p:txBody>
        </p:sp>
        <p:sp>
          <p:nvSpPr>
            <p:cNvPr id="12" name="Disclaimer" hidden="1"/>
            <p:cNvSpPr>
              <a:spLocks noChangeArrowheads="1"/>
            </p:cNvSpPr>
            <p:nvPr/>
          </p:nvSpPr>
          <p:spPr bwMode="auto">
            <a:xfrm>
              <a:off x="2640013" y="6143140"/>
              <a:ext cx="5121275"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615902" eaLnBrk="0" hangingPunct="0"/>
              <a:r>
                <a:rPr lang="es-ES_tradnl" sz="612" err="1">
                  <a:solidFill>
                    <a:srgbClr val="DCEBF4"/>
                  </a:solidFill>
                  <a:latin typeface="Arial"/>
                </a:rPr>
                <a:t>CONFIDENTIAL</a:t>
              </a:r>
              <a:r>
                <a:rPr lang="es-ES_tradnl" sz="612">
                  <a:solidFill>
                    <a:srgbClr val="DCEBF4"/>
                  </a:solidFill>
                  <a:latin typeface="Arial"/>
                </a:rPr>
                <a:t> AND </a:t>
              </a:r>
              <a:r>
                <a:rPr lang="es-ES_tradnl" sz="612" err="1">
                  <a:solidFill>
                    <a:srgbClr val="DCEBF4"/>
                  </a:solidFill>
                  <a:latin typeface="Arial"/>
                </a:rPr>
                <a:t>PROPRIETARY</a:t>
              </a:r>
              <a:endParaRPr lang="es-ES_tradnl" sz="612">
                <a:solidFill>
                  <a:srgbClr val="DCEBF4"/>
                </a:solidFill>
                <a:latin typeface="Arial"/>
              </a:endParaRPr>
            </a:p>
            <a:p>
              <a:pPr defTabSz="615902" eaLnBrk="0" hangingPunct="0"/>
              <a:r>
                <a:rPr lang="es-ES_tradnl" sz="612" err="1">
                  <a:solidFill>
                    <a:srgbClr val="DCEBF4"/>
                  </a:solidFill>
                  <a:latin typeface="Arial"/>
                </a:rPr>
                <a:t>Any</a:t>
              </a:r>
              <a:r>
                <a:rPr lang="es-ES_tradnl" sz="612">
                  <a:solidFill>
                    <a:srgbClr val="DCEBF4"/>
                  </a:solidFill>
                  <a:latin typeface="Arial"/>
                </a:rPr>
                <a:t> use of </a:t>
              </a:r>
              <a:r>
                <a:rPr lang="es-ES_tradnl" sz="612" err="1">
                  <a:solidFill>
                    <a:srgbClr val="DCEBF4"/>
                  </a:solidFill>
                  <a:latin typeface="Arial"/>
                </a:rPr>
                <a:t>this</a:t>
              </a:r>
              <a:r>
                <a:rPr lang="es-ES_tradnl" sz="612">
                  <a:solidFill>
                    <a:srgbClr val="DCEBF4"/>
                  </a:solidFill>
                  <a:latin typeface="Arial"/>
                </a:rPr>
                <a:t> material </a:t>
              </a:r>
              <a:r>
                <a:rPr lang="es-ES_tradnl" sz="612" err="1">
                  <a:solidFill>
                    <a:srgbClr val="DCEBF4"/>
                  </a:solidFill>
                  <a:latin typeface="Arial"/>
                </a:rPr>
                <a:t>without</a:t>
              </a:r>
              <a:r>
                <a:rPr lang="es-ES_tradnl" sz="612">
                  <a:solidFill>
                    <a:srgbClr val="DCEBF4"/>
                  </a:solidFill>
                  <a:latin typeface="Arial"/>
                </a:rPr>
                <a:t> </a:t>
              </a:r>
              <a:r>
                <a:rPr lang="es-ES_tradnl" sz="612" err="1">
                  <a:solidFill>
                    <a:srgbClr val="DCEBF4"/>
                  </a:solidFill>
                  <a:latin typeface="Arial"/>
                </a:rPr>
                <a:t>specific</a:t>
              </a:r>
              <a:r>
                <a:rPr lang="es-ES_tradnl" sz="612">
                  <a:solidFill>
                    <a:srgbClr val="DCEBF4"/>
                  </a:solidFill>
                  <a:latin typeface="Arial"/>
                </a:rPr>
                <a:t> </a:t>
              </a:r>
              <a:r>
                <a:rPr lang="es-ES_tradnl" sz="612" err="1">
                  <a:solidFill>
                    <a:srgbClr val="DCEBF4"/>
                  </a:solidFill>
                  <a:latin typeface="Arial"/>
                </a:rPr>
                <a:t>permission</a:t>
              </a:r>
              <a:r>
                <a:rPr lang="es-ES_tradnl" sz="612">
                  <a:solidFill>
                    <a:srgbClr val="DCEBF4"/>
                  </a:solidFill>
                  <a:latin typeface="Arial"/>
                </a:rPr>
                <a:t> of McKinsey &amp; Company </a:t>
              </a:r>
              <a:r>
                <a:rPr lang="es-ES_tradnl" sz="612" err="1">
                  <a:solidFill>
                    <a:srgbClr val="DCEBF4"/>
                  </a:solidFill>
                  <a:latin typeface="Arial"/>
                </a:rPr>
                <a:t>is</a:t>
              </a:r>
              <a:r>
                <a:rPr lang="es-ES_tradnl" sz="612">
                  <a:solidFill>
                    <a:srgbClr val="DCEBF4"/>
                  </a:solidFill>
                  <a:latin typeface="Arial"/>
                </a:rPr>
                <a:t> </a:t>
              </a:r>
              <a:r>
                <a:rPr lang="es-ES_tradnl" sz="612" err="1">
                  <a:solidFill>
                    <a:srgbClr val="DCEBF4"/>
                  </a:solidFill>
                  <a:latin typeface="Arial"/>
                </a:rPr>
                <a:t>strictly</a:t>
              </a:r>
              <a:r>
                <a:rPr lang="es-ES_tradnl" sz="612">
                  <a:solidFill>
                    <a:srgbClr val="DCEBF4"/>
                  </a:solidFill>
                  <a:latin typeface="Arial"/>
                </a:rPr>
                <a:t> </a:t>
              </a:r>
              <a:r>
                <a:rPr lang="es-ES_tradnl" sz="612" err="1">
                  <a:solidFill>
                    <a:srgbClr val="DCEBF4"/>
                  </a:solidFill>
                  <a:latin typeface="Arial"/>
                </a:rPr>
                <a:t>prohibited</a:t>
              </a:r>
              <a:endParaRPr lang="es-ES_tradnl" sz="612">
                <a:solidFill>
                  <a:srgbClr val="DCEBF4"/>
                </a:solidFill>
                <a:latin typeface="Arial"/>
              </a:endParaRPr>
            </a:p>
          </p:txBody>
        </p:sp>
        <p:sp>
          <p:nvSpPr>
            <p:cNvPr id="13"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_tradnl" sz="1378">
                <a:solidFill>
                  <a:srgbClr val="000000"/>
                </a:solidFill>
                <a:latin typeface="Arial"/>
              </a:endParaRPr>
            </a:p>
          </p:txBody>
        </p:sp>
        <p:sp>
          <p:nvSpPr>
            <p:cNvPr id="14"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_tradnl" sz="1378">
                <a:solidFill>
                  <a:srgbClr val="000000"/>
                </a:solidFill>
                <a:latin typeface="Arial"/>
              </a:endParaRPr>
            </a:p>
          </p:txBody>
        </p:sp>
        <p:sp>
          <p:nvSpPr>
            <p:cNvPr id="15" name="Rectangle 42"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378">
                <a:solidFill>
                  <a:srgbClr val="000000"/>
                </a:solidFill>
              </a:endParaRPr>
            </a:p>
          </p:txBody>
        </p:sp>
      </p:grpSp>
      <p:sp>
        <p:nvSpPr>
          <p:cNvPr id="16" name="Rectangle 87"/>
          <p:cNvSpPr>
            <a:spLocks noChangeArrowheads="1"/>
          </p:cNvSpPr>
          <p:nvPr/>
        </p:nvSpPr>
        <p:spPr bwMode="auto">
          <a:xfrm rot="16200000">
            <a:off x="2183495" y="3877869"/>
            <a:ext cx="1230716" cy="371949"/>
          </a:xfrm>
          <a:prstGeom prst="rect">
            <a:avLst/>
          </a:prstGeom>
          <a:solidFill>
            <a:schemeClr val="tx2">
              <a:alpha val="28000"/>
            </a:schemeClr>
          </a:solidFill>
          <a:ln>
            <a:noFill/>
          </a:ln>
        </p:spPr>
        <p:txBody>
          <a:bodyPr vert="horz" wrap="square" lIns="69973" tIns="34987" rIns="69973" bIns="34987" numCol="1" anchor="t" anchorCtr="0" compatLnSpc="1">
            <a:prstTxWarp prst="textNoShape">
              <a:avLst/>
            </a:prstTxWarp>
          </a:bodyPr>
          <a:lstStyle/>
          <a:p>
            <a:pPr lvl="0"/>
            <a:endParaRPr lang="es-ES_tradnl" sz="1378">
              <a:solidFill>
                <a:srgbClr val="000000"/>
              </a:solidFill>
            </a:endParaRPr>
          </a:p>
        </p:txBody>
      </p:sp>
      <p:sp>
        <p:nvSpPr>
          <p:cNvPr id="17" name="Freeform 88"/>
          <p:cNvSpPr>
            <a:spLocks noEditPoints="1"/>
          </p:cNvSpPr>
          <p:nvPr/>
        </p:nvSpPr>
        <p:spPr bwMode="auto">
          <a:xfrm rot="16200000">
            <a:off x="323275" y="2551008"/>
            <a:ext cx="608837" cy="774465"/>
          </a:xfrm>
          <a:custGeom>
            <a:avLst/>
            <a:gdLst>
              <a:gd name="T0" fmla="*/ 176 w 201"/>
              <a:gd name="T1" fmla="*/ 16 h 192"/>
              <a:gd name="T2" fmla="*/ 97 w 201"/>
              <a:gd name="T3" fmla="*/ 16 h 192"/>
              <a:gd name="T4" fmla="*/ 17 w 201"/>
              <a:gd name="T5" fmla="*/ 92 h 192"/>
              <a:gd name="T6" fmla="*/ 17 w 201"/>
              <a:gd name="T7" fmla="*/ 167 h 192"/>
              <a:gd name="T8" fmla="*/ 0 w 201"/>
              <a:gd name="T9" fmla="*/ 167 h 192"/>
              <a:gd name="T10" fmla="*/ 0 w 201"/>
              <a:gd name="T11" fmla="*/ 192 h 192"/>
              <a:gd name="T12" fmla="*/ 134 w 201"/>
              <a:gd name="T13" fmla="*/ 192 h 192"/>
              <a:gd name="T14" fmla="*/ 134 w 201"/>
              <a:gd name="T15" fmla="*/ 167 h 192"/>
              <a:gd name="T16" fmla="*/ 117 w 201"/>
              <a:gd name="T17" fmla="*/ 167 h 192"/>
              <a:gd name="T18" fmla="*/ 117 w 201"/>
              <a:gd name="T19" fmla="*/ 136 h 192"/>
              <a:gd name="T20" fmla="*/ 142 w 201"/>
              <a:gd name="T21" fmla="*/ 108 h 192"/>
              <a:gd name="T22" fmla="*/ 176 w 201"/>
              <a:gd name="T23" fmla="*/ 108 h 192"/>
              <a:gd name="T24" fmla="*/ 176 w 201"/>
              <a:gd name="T25" fmla="*/ 125 h 192"/>
              <a:gd name="T26" fmla="*/ 201 w 201"/>
              <a:gd name="T27" fmla="*/ 125 h 192"/>
              <a:gd name="T28" fmla="*/ 201 w 201"/>
              <a:gd name="T29" fmla="*/ 0 h 192"/>
              <a:gd name="T30" fmla="*/ 176 w 201"/>
              <a:gd name="T31" fmla="*/ 0 h 192"/>
              <a:gd name="T32" fmla="*/ 176 w 201"/>
              <a:gd name="T33" fmla="*/ 16 h 192"/>
              <a:gd name="T34" fmla="*/ 176 w 201"/>
              <a:gd name="T35" fmla="*/ 16 h 192"/>
              <a:gd name="T36" fmla="*/ 176 w 201"/>
              <a:gd name="T37" fmla="*/ 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1" h="192">
                <a:moveTo>
                  <a:pt x="176" y="16"/>
                </a:moveTo>
                <a:cubicBezTo>
                  <a:pt x="97" y="16"/>
                  <a:pt x="97" y="16"/>
                  <a:pt x="97" y="16"/>
                </a:cubicBezTo>
                <a:cubicBezTo>
                  <a:pt x="17" y="16"/>
                  <a:pt x="17" y="92"/>
                  <a:pt x="17" y="92"/>
                </a:cubicBezTo>
                <a:cubicBezTo>
                  <a:pt x="17" y="167"/>
                  <a:pt x="17" y="167"/>
                  <a:pt x="17" y="167"/>
                </a:cubicBezTo>
                <a:cubicBezTo>
                  <a:pt x="0" y="167"/>
                  <a:pt x="0" y="167"/>
                  <a:pt x="0" y="167"/>
                </a:cubicBezTo>
                <a:cubicBezTo>
                  <a:pt x="0" y="192"/>
                  <a:pt x="0" y="192"/>
                  <a:pt x="0" y="192"/>
                </a:cubicBezTo>
                <a:cubicBezTo>
                  <a:pt x="134" y="192"/>
                  <a:pt x="134" y="192"/>
                  <a:pt x="134" y="192"/>
                </a:cubicBezTo>
                <a:cubicBezTo>
                  <a:pt x="134" y="167"/>
                  <a:pt x="134" y="167"/>
                  <a:pt x="134" y="167"/>
                </a:cubicBezTo>
                <a:cubicBezTo>
                  <a:pt x="117" y="167"/>
                  <a:pt x="117" y="167"/>
                  <a:pt x="117" y="167"/>
                </a:cubicBezTo>
                <a:cubicBezTo>
                  <a:pt x="117" y="136"/>
                  <a:pt x="117" y="136"/>
                  <a:pt x="117" y="136"/>
                </a:cubicBezTo>
                <a:cubicBezTo>
                  <a:pt x="117" y="136"/>
                  <a:pt x="115" y="108"/>
                  <a:pt x="142" y="108"/>
                </a:cubicBezTo>
                <a:cubicBezTo>
                  <a:pt x="176" y="108"/>
                  <a:pt x="176" y="108"/>
                  <a:pt x="176" y="108"/>
                </a:cubicBezTo>
                <a:cubicBezTo>
                  <a:pt x="176" y="125"/>
                  <a:pt x="176" y="125"/>
                  <a:pt x="176" y="125"/>
                </a:cubicBezTo>
                <a:cubicBezTo>
                  <a:pt x="201" y="125"/>
                  <a:pt x="201" y="125"/>
                  <a:pt x="201" y="125"/>
                </a:cubicBezTo>
                <a:cubicBezTo>
                  <a:pt x="201" y="0"/>
                  <a:pt x="201" y="0"/>
                  <a:pt x="201" y="0"/>
                </a:cubicBezTo>
                <a:cubicBezTo>
                  <a:pt x="176" y="0"/>
                  <a:pt x="176" y="0"/>
                  <a:pt x="176" y="0"/>
                </a:cubicBezTo>
                <a:lnTo>
                  <a:pt x="176" y="16"/>
                </a:lnTo>
                <a:close/>
                <a:moveTo>
                  <a:pt x="176" y="16"/>
                </a:moveTo>
                <a:cubicBezTo>
                  <a:pt x="176" y="16"/>
                  <a:pt x="176" y="16"/>
                  <a:pt x="176" y="16"/>
                </a:cubicBezTo>
              </a:path>
            </a:pathLst>
          </a:custGeom>
          <a:solidFill>
            <a:schemeClr val="tx2">
              <a:alpha val="28000"/>
            </a:schemeClr>
          </a:solidFill>
          <a:ln>
            <a:noFill/>
          </a:ln>
        </p:spPr>
        <p:txBody>
          <a:bodyPr vert="horz" wrap="square" lIns="69973" tIns="34987" rIns="69973" bIns="34987" numCol="1" anchor="t" anchorCtr="0" compatLnSpc="1">
            <a:prstTxWarp prst="textNoShape">
              <a:avLst/>
            </a:prstTxWarp>
          </a:bodyPr>
          <a:lstStyle/>
          <a:p>
            <a:pPr lvl="0"/>
            <a:endParaRPr lang="es-ES_tradnl" sz="1378">
              <a:solidFill>
                <a:srgbClr val="000000"/>
              </a:solidFill>
            </a:endParaRPr>
          </a:p>
        </p:txBody>
      </p:sp>
      <p:sp>
        <p:nvSpPr>
          <p:cNvPr id="18" name="Rectangle 86"/>
          <p:cNvSpPr>
            <a:spLocks noChangeArrowheads="1"/>
          </p:cNvSpPr>
          <p:nvPr/>
        </p:nvSpPr>
        <p:spPr bwMode="auto">
          <a:xfrm rot="5400000">
            <a:off x="1493339" y="2412186"/>
            <a:ext cx="303144" cy="1259975"/>
          </a:xfrm>
          <a:prstGeom prst="rect">
            <a:avLst/>
          </a:prstGeom>
          <a:solidFill>
            <a:schemeClr val="tx2">
              <a:alpha val="28000"/>
            </a:schemeClr>
          </a:solidFill>
          <a:ln>
            <a:noFill/>
          </a:ln>
        </p:spPr>
        <p:txBody>
          <a:bodyPr vert="horz" wrap="square" lIns="69973" tIns="34987" rIns="69973" bIns="34987" numCol="1" anchor="t" anchorCtr="0" compatLnSpc="1">
            <a:prstTxWarp prst="textNoShape">
              <a:avLst/>
            </a:prstTxWarp>
          </a:bodyPr>
          <a:lstStyle/>
          <a:p>
            <a:pPr lvl="0"/>
            <a:endParaRPr lang="es-ES_tradnl" sz="1378">
              <a:solidFill>
                <a:srgbClr val="000000"/>
              </a:solidFill>
            </a:endParaRPr>
          </a:p>
        </p:txBody>
      </p:sp>
      <p:sp>
        <p:nvSpPr>
          <p:cNvPr id="19" name="Freeform 88"/>
          <p:cNvSpPr>
            <a:spLocks noEditPoints="1"/>
          </p:cNvSpPr>
          <p:nvPr/>
        </p:nvSpPr>
        <p:spPr bwMode="auto">
          <a:xfrm rot="5400000">
            <a:off x="2357715" y="2756837"/>
            <a:ext cx="608837" cy="774465"/>
          </a:xfrm>
          <a:custGeom>
            <a:avLst/>
            <a:gdLst>
              <a:gd name="T0" fmla="*/ 176 w 201"/>
              <a:gd name="T1" fmla="*/ 16 h 192"/>
              <a:gd name="T2" fmla="*/ 97 w 201"/>
              <a:gd name="T3" fmla="*/ 16 h 192"/>
              <a:gd name="T4" fmla="*/ 17 w 201"/>
              <a:gd name="T5" fmla="*/ 92 h 192"/>
              <a:gd name="T6" fmla="*/ 17 w 201"/>
              <a:gd name="T7" fmla="*/ 167 h 192"/>
              <a:gd name="T8" fmla="*/ 0 w 201"/>
              <a:gd name="T9" fmla="*/ 167 h 192"/>
              <a:gd name="T10" fmla="*/ 0 w 201"/>
              <a:gd name="T11" fmla="*/ 192 h 192"/>
              <a:gd name="T12" fmla="*/ 134 w 201"/>
              <a:gd name="T13" fmla="*/ 192 h 192"/>
              <a:gd name="T14" fmla="*/ 134 w 201"/>
              <a:gd name="T15" fmla="*/ 167 h 192"/>
              <a:gd name="T16" fmla="*/ 117 w 201"/>
              <a:gd name="T17" fmla="*/ 167 h 192"/>
              <a:gd name="T18" fmla="*/ 117 w 201"/>
              <a:gd name="T19" fmla="*/ 136 h 192"/>
              <a:gd name="T20" fmla="*/ 142 w 201"/>
              <a:gd name="T21" fmla="*/ 108 h 192"/>
              <a:gd name="T22" fmla="*/ 176 w 201"/>
              <a:gd name="T23" fmla="*/ 108 h 192"/>
              <a:gd name="T24" fmla="*/ 176 w 201"/>
              <a:gd name="T25" fmla="*/ 125 h 192"/>
              <a:gd name="T26" fmla="*/ 201 w 201"/>
              <a:gd name="T27" fmla="*/ 125 h 192"/>
              <a:gd name="T28" fmla="*/ 201 w 201"/>
              <a:gd name="T29" fmla="*/ 0 h 192"/>
              <a:gd name="T30" fmla="*/ 176 w 201"/>
              <a:gd name="T31" fmla="*/ 0 h 192"/>
              <a:gd name="T32" fmla="*/ 176 w 201"/>
              <a:gd name="T33" fmla="*/ 16 h 192"/>
              <a:gd name="T34" fmla="*/ 176 w 201"/>
              <a:gd name="T35" fmla="*/ 16 h 192"/>
              <a:gd name="T36" fmla="*/ 176 w 201"/>
              <a:gd name="T37" fmla="*/ 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1" h="192">
                <a:moveTo>
                  <a:pt x="176" y="16"/>
                </a:moveTo>
                <a:cubicBezTo>
                  <a:pt x="97" y="16"/>
                  <a:pt x="97" y="16"/>
                  <a:pt x="97" y="16"/>
                </a:cubicBezTo>
                <a:cubicBezTo>
                  <a:pt x="17" y="16"/>
                  <a:pt x="17" y="92"/>
                  <a:pt x="17" y="92"/>
                </a:cubicBezTo>
                <a:cubicBezTo>
                  <a:pt x="17" y="167"/>
                  <a:pt x="17" y="167"/>
                  <a:pt x="17" y="167"/>
                </a:cubicBezTo>
                <a:cubicBezTo>
                  <a:pt x="0" y="167"/>
                  <a:pt x="0" y="167"/>
                  <a:pt x="0" y="167"/>
                </a:cubicBezTo>
                <a:cubicBezTo>
                  <a:pt x="0" y="192"/>
                  <a:pt x="0" y="192"/>
                  <a:pt x="0" y="192"/>
                </a:cubicBezTo>
                <a:cubicBezTo>
                  <a:pt x="134" y="192"/>
                  <a:pt x="134" y="192"/>
                  <a:pt x="134" y="192"/>
                </a:cubicBezTo>
                <a:cubicBezTo>
                  <a:pt x="134" y="167"/>
                  <a:pt x="134" y="167"/>
                  <a:pt x="134" y="167"/>
                </a:cubicBezTo>
                <a:cubicBezTo>
                  <a:pt x="117" y="167"/>
                  <a:pt x="117" y="167"/>
                  <a:pt x="117" y="167"/>
                </a:cubicBezTo>
                <a:cubicBezTo>
                  <a:pt x="117" y="136"/>
                  <a:pt x="117" y="136"/>
                  <a:pt x="117" y="136"/>
                </a:cubicBezTo>
                <a:cubicBezTo>
                  <a:pt x="117" y="136"/>
                  <a:pt x="115" y="108"/>
                  <a:pt x="142" y="108"/>
                </a:cubicBezTo>
                <a:cubicBezTo>
                  <a:pt x="176" y="108"/>
                  <a:pt x="176" y="108"/>
                  <a:pt x="176" y="108"/>
                </a:cubicBezTo>
                <a:cubicBezTo>
                  <a:pt x="176" y="125"/>
                  <a:pt x="176" y="125"/>
                  <a:pt x="176" y="125"/>
                </a:cubicBezTo>
                <a:cubicBezTo>
                  <a:pt x="201" y="125"/>
                  <a:pt x="201" y="125"/>
                  <a:pt x="201" y="125"/>
                </a:cubicBezTo>
                <a:cubicBezTo>
                  <a:pt x="201" y="0"/>
                  <a:pt x="201" y="0"/>
                  <a:pt x="201" y="0"/>
                </a:cubicBezTo>
                <a:cubicBezTo>
                  <a:pt x="176" y="0"/>
                  <a:pt x="176" y="0"/>
                  <a:pt x="176" y="0"/>
                </a:cubicBezTo>
                <a:lnTo>
                  <a:pt x="176" y="16"/>
                </a:lnTo>
                <a:close/>
                <a:moveTo>
                  <a:pt x="176" y="16"/>
                </a:moveTo>
                <a:cubicBezTo>
                  <a:pt x="176" y="16"/>
                  <a:pt x="176" y="16"/>
                  <a:pt x="176" y="16"/>
                </a:cubicBezTo>
              </a:path>
            </a:pathLst>
          </a:custGeom>
          <a:solidFill>
            <a:schemeClr val="tx2">
              <a:alpha val="28000"/>
            </a:schemeClr>
          </a:solidFill>
          <a:ln>
            <a:noFill/>
          </a:ln>
        </p:spPr>
        <p:txBody>
          <a:bodyPr vert="horz" wrap="square" lIns="69973" tIns="34987" rIns="69973" bIns="34987" numCol="1" anchor="t" anchorCtr="0" compatLnSpc="1">
            <a:prstTxWarp prst="textNoShape">
              <a:avLst/>
            </a:prstTxWarp>
          </a:bodyPr>
          <a:lstStyle/>
          <a:p>
            <a:pPr lvl="0"/>
            <a:endParaRPr lang="es-ES_tradnl" sz="1378">
              <a:solidFill>
                <a:srgbClr val="000000"/>
              </a:solidFill>
            </a:endParaRPr>
          </a:p>
        </p:txBody>
      </p:sp>
      <p:sp>
        <p:nvSpPr>
          <p:cNvPr id="20" name="Rectangle 87"/>
          <p:cNvSpPr>
            <a:spLocks noChangeArrowheads="1"/>
          </p:cNvSpPr>
          <p:nvPr/>
        </p:nvSpPr>
        <p:spPr bwMode="auto">
          <a:xfrm rot="16200000">
            <a:off x="316141" y="2272856"/>
            <a:ext cx="349980" cy="371949"/>
          </a:xfrm>
          <a:prstGeom prst="rect">
            <a:avLst/>
          </a:prstGeom>
          <a:solidFill>
            <a:schemeClr val="tx2">
              <a:alpha val="28000"/>
            </a:schemeClr>
          </a:solidFill>
          <a:ln>
            <a:noFill/>
          </a:ln>
        </p:spPr>
        <p:txBody>
          <a:bodyPr vert="horz" wrap="square" lIns="69973" tIns="34987" rIns="69973" bIns="34987" numCol="1" anchor="t" anchorCtr="0" compatLnSpc="1">
            <a:prstTxWarp prst="textNoShape">
              <a:avLst/>
            </a:prstTxWarp>
          </a:bodyPr>
          <a:lstStyle/>
          <a:p>
            <a:endParaRPr lang="es-ES_tradnl" sz="1378">
              <a:solidFill>
                <a:srgbClr val="000000"/>
              </a:solidFill>
            </a:endParaRPr>
          </a:p>
        </p:txBody>
      </p:sp>
      <p:sp>
        <p:nvSpPr>
          <p:cNvPr id="22" name="Rectangle 87"/>
          <p:cNvSpPr>
            <a:spLocks noChangeArrowheads="1"/>
          </p:cNvSpPr>
          <p:nvPr/>
        </p:nvSpPr>
        <p:spPr bwMode="auto">
          <a:xfrm flipH="1">
            <a:off x="3340684" y="4932675"/>
            <a:ext cx="8847000" cy="278945"/>
          </a:xfrm>
          <a:prstGeom prst="rect">
            <a:avLst/>
          </a:prstGeom>
          <a:solidFill>
            <a:schemeClr val="tx2">
              <a:alpha val="28000"/>
            </a:schemeClr>
          </a:solidFill>
          <a:ln>
            <a:noFill/>
          </a:ln>
        </p:spPr>
        <p:txBody>
          <a:bodyPr vert="horz" wrap="square" lIns="69973" tIns="34987" rIns="69973" bIns="34987" numCol="1" anchor="t" anchorCtr="0" compatLnSpc="1">
            <a:prstTxWarp prst="textNoShape">
              <a:avLst/>
            </a:prstTxWarp>
          </a:bodyPr>
          <a:lstStyle/>
          <a:p>
            <a:pPr lvl="0"/>
            <a:endParaRPr lang="es-ES_tradnl" sz="1378">
              <a:solidFill>
                <a:srgbClr val="000000"/>
              </a:solidFill>
            </a:endParaRPr>
          </a:p>
        </p:txBody>
      </p:sp>
      <p:sp>
        <p:nvSpPr>
          <p:cNvPr id="23" name="Freeform 88"/>
          <p:cNvSpPr>
            <a:spLocks noEditPoints="1"/>
          </p:cNvSpPr>
          <p:nvPr/>
        </p:nvSpPr>
        <p:spPr bwMode="auto">
          <a:xfrm rot="10800000" flipH="1">
            <a:off x="2528854" y="4679205"/>
            <a:ext cx="811831" cy="580815"/>
          </a:xfrm>
          <a:custGeom>
            <a:avLst/>
            <a:gdLst>
              <a:gd name="T0" fmla="*/ 176 w 201"/>
              <a:gd name="T1" fmla="*/ 16 h 192"/>
              <a:gd name="T2" fmla="*/ 97 w 201"/>
              <a:gd name="T3" fmla="*/ 16 h 192"/>
              <a:gd name="T4" fmla="*/ 17 w 201"/>
              <a:gd name="T5" fmla="*/ 92 h 192"/>
              <a:gd name="T6" fmla="*/ 17 w 201"/>
              <a:gd name="T7" fmla="*/ 167 h 192"/>
              <a:gd name="T8" fmla="*/ 0 w 201"/>
              <a:gd name="T9" fmla="*/ 167 h 192"/>
              <a:gd name="T10" fmla="*/ 0 w 201"/>
              <a:gd name="T11" fmla="*/ 192 h 192"/>
              <a:gd name="T12" fmla="*/ 134 w 201"/>
              <a:gd name="T13" fmla="*/ 192 h 192"/>
              <a:gd name="T14" fmla="*/ 134 w 201"/>
              <a:gd name="T15" fmla="*/ 167 h 192"/>
              <a:gd name="T16" fmla="*/ 117 w 201"/>
              <a:gd name="T17" fmla="*/ 167 h 192"/>
              <a:gd name="T18" fmla="*/ 117 w 201"/>
              <a:gd name="T19" fmla="*/ 136 h 192"/>
              <a:gd name="T20" fmla="*/ 142 w 201"/>
              <a:gd name="T21" fmla="*/ 108 h 192"/>
              <a:gd name="T22" fmla="*/ 176 w 201"/>
              <a:gd name="T23" fmla="*/ 108 h 192"/>
              <a:gd name="T24" fmla="*/ 176 w 201"/>
              <a:gd name="T25" fmla="*/ 125 h 192"/>
              <a:gd name="T26" fmla="*/ 201 w 201"/>
              <a:gd name="T27" fmla="*/ 125 h 192"/>
              <a:gd name="T28" fmla="*/ 201 w 201"/>
              <a:gd name="T29" fmla="*/ 0 h 192"/>
              <a:gd name="T30" fmla="*/ 176 w 201"/>
              <a:gd name="T31" fmla="*/ 0 h 192"/>
              <a:gd name="T32" fmla="*/ 176 w 201"/>
              <a:gd name="T33" fmla="*/ 16 h 192"/>
              <a:gd name="T34" fmla="*/ 176 w 201"/>
              <a:gd name="T35" fmla="*/ 16 h 192"/>
              <a:gd name="T36" fmla="*/ 176 w 201"/>
              <a:gd name="T37" fmla="*/ 1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1" h="192">
                <a:moveTo>
                  <a:pt x="176" y="16"/>
                </a:moveTo>
                <a:cubicBezTo>
                  <a:pt x="97" y="16"/>
                  <a:pt x="97" y="16"/>
                  <a:pt x="97" y="16"/>
                </a:cubicBezTo>
                <a:cubicBezTo>
                  <a:pt x="17" y="16"/>
                  <a:pt x="17" y="92"/>
                  <a:pt x="17" y="92"/>
                </a:cubicBezTo>
                <a:cubicBezTo>
                  <a:pt x="17" y="167"/>
                  <a:pt x="17" y="167"/>
                  <a:pt x="17" y="167"/>
                </a:cubicBezTo>
                <a:cubicBezTo>
                  <a:pt x="0" y="167"/>
                  <a:pt x="0" y="167"/>
                  <a:pt x="0" y="167"/>
                </a:cubicBezTo>
                <a:cubicBezTo>
                  <a:pt x="0" y="192"/>
                  <a:pt x="0" y="192"/>
                  <a:pt x="0" y="192"/>
                </a:cubicBezTo>
                <a:cubicBezTo>
                  <a:pt x="134" y="192"/>
                  <a:pt x="134" y="192"/>
                  <a:pt x="134" y="192"/>
                </a:cubicBezTo>
                <a:cubicBezTo>
                  <a:pt x="134" y="167"/>
                  <a:pt x="134" y="167"/>
                  <a:pt x="134" y="167"/>
                </a:cubicBezTo>
                <a:cubicBezTo>
                  <a:pt x="117" y="167"/>
                  <a:pt x="117" y="167"/>
                  <a:pt x="117" y="167"/>
                </a:cubicBezTo>
                <a:cubicBezTo>
                  <a:pt x="117" y="136"/>
                  <a:pt x="117" y="136"/>
                  <a:pt x="117" y="136"/>
                </a:cubicBezTo>
                <a:cubicBezTo>
                  <a:pt x="117" y="136"/>
                  <a:pt x="115" y="108"/>
                  <a:pt x="142" y="108"/>
                </a:cubicBezTo>
                <a:cubicBezTo>
                  <a:pt x="176" y="108"/>
                  <a:pt x="176" y="108"/>
                  <a:pt x="176" y="108"/>
                </a:cubicBezTo>
                <a:cubicBezTo>
                  <a:pt x="176" y="125"/>
                  <a:pt x="176" y="125"/>
                  <a:pt x="176" y="125"/>
                </a:cubicBezTo>
                <a:cubicBezTo>
                  <a:pt x="201" y="125"/>
                  <a:pt x="201" y="125"/>
                  <a:pt x="201" y="125"/>
                </a:cubicBezTo>
                <a:cubicBezTo>
                  <a:pt x="201" y="0"/>
                  <a:pt x="201" y="0"/>
                  <a:pt x="201" y="0"/>
                </a:cubicBezTo>
                <a:cubicBezTo>
                  <a:pt x="176" y="0"/>
                  <a:pt x="176" y="0"/>
                  <a:pt x="176" y="0"/>
                </a:cubicBezTo>
                <a:lnTo>
                  <a:pt x="176" y="16"/>
                </a:lnTo>
                <a:close/>
                <a:moveTo>
                  <a:pt x="176" y="16"/>
                </a:moveTo>
                <a:cubicBezTo>
                  <a:pt x="176" y="16"/>
                  <a:pt x="176" y="16"/>
                  <a:pt x="176" y="16"/>
                </a:cubicBezTo>
              </a:path>
            </a:pathLst>
          </a:custGeom>
          <a:solidFill>
            <a:schemeClr val="tx2">
              <a:alpha val="28000"/>
            </a:schemeClr>
          </a:solidFill>
          <a:ln>
            <a:noFill/>
          </a:ln>
        </p:spPr>
        <p:txBody>
          <a:bodyPr vert="horz" wrap="square" lIns="69973" tIns="34987" rIns="69973" bIns="34987" numCol="1" anchor="t" anchorCtr="0" compatLnSpc="1">
            <a:prstTxWarp prst="textNoShape">
              <a:avLst/>
            </a:prstTxWarp>
          </a:bodyPr>
          <a:lstStyle/>
          <a:p>
            <a:pPr lvl="0"/>
            <a:endParaRPr lang="es-ES_tradnl" sz="1378">
              <a:solidFill>
                <a:srgbClr val="000000"/>
              </a:solidFill>
            </a:endParaRPr>
          </a:p>
        </p:txBody>
      </p:sp>
      <p:grpSp>
        <p:nvGrpSpPr>
          <p:cNvPr id="24" name="Title Elements"/>
          <p:cNvGrpSpPr/>
          <p:nvPr/>
        </p:nvGrpSpPr>
        <p:grpSpPr>
          <a:xfrm>
            <a:off x="0" y="1"/>
            <a:ext cx="12187683" cy="6859620"/>
            <a:chOff x="0" y="0"/>
            <a:chExt cx="8958264" cy="6723063"/>
          </a:xfrm>
        </p:grpSpPr>
        <p:sp>
          <p:nvSpPr>
            <p:cNvPr id="25" name="Document type" hidden="1"/>
            <p:cNvSpPr txBox="1">
              <a:spLocks noChangeArrowheads="1"/>
            </p:cNvSpPr>
            <p:nvPr/>
          </p:nvSpPr>
          <p:spPr bwMode="auto">
            <a:xfrm>
              <a:off x="2640013" y="4985167"/>
              <a:ext cx="4935538" cy="161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s-ES_tradnl" sz="1071" err="1">
                  <a:solidFill>
                    <a:srgbClr val="000000"/>
                  </a:solidFill>
                  <a:latin typeface="Arial"/>
                </a:rPr>
                <a:t>Document</a:t>
              </a:r>
              <a:r>
                <a:rPr lang="es-ES_tradnl" sz="1071">
                  <a:solidFill>
                    <a:srgbClr val="000000"/>
                  </a:solidFill>
                  <a:latin typeface="Arial"/>
                </a:rPr>
                <a:t> </a:t>
              </a:r>
              <a:r>
                <a:rPr lang="es-ES_tradnl" sz="1071" err="1">
                  <a:solidFill>
                    <a:srgbClr val="000000"/>
                  </a:solidFill>
                  <a:latin typeface="Arial"/>
                </a:rPr>
                <a:t>type</a:t>
              </a:r>
              <a:endParaRPr lang="es-ES_tradnl" sz="1071">
                <a:solidFill>
                  <a:srgbClr val="000000"/>
                </a:solidFill>
                <a:latin typeface="Arial"/>
              </a:endParaRPr>
            </a:p>
          </p:txBody>
        </p:sp>
        <p:sp>
          <p:nvSpPr>
            <p:cNvPr id="26" name="Date" hidden="1"/>
            <p:cNvSpPr txBox="1">
              <a:spLocks noChangeArrowheads="1"/>
            </p:cNvSpPr>
            <p:nvPr/>
          </p:nvSpPr>
          <p:spPr bwMode="auto">
            <a:xfrm>
              <a:off x="2640013" y="5199063"/>
              <a:ext cx="4935538" cy="161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s-ES_tradnl" sz="1071">
                  <a:solidFill>
                    <a:srgbClr val="000000"/>
                  </a:solidFill>
                  <a:latin typeface="Arial"/>
                </a:rPr>
                <a:t>Date</a:t>
              </a:r>
            </a:p>
          </p:txBody>
        </p:sp>
        <p:sp>
          <p:nvSpPr>
            <p:cNvPr id="27" name="Disclaimer" hidden="1"/>
            <p:cNvSpPr>
              <a:spLocks noChangeArrowheads="1"/>
            </p:cNvSpPr>
            <p:nvPr/>
          </p:nvSpPr>
          <p:spPr bwMode="auto">
            <a:xfrm>
              <a:off x="2640013" y="5955815"/>
              <a:ext cx="5121275"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615902" eaLnBrk="0" hangingPunct="0"/>
              <a:r>
                <a:rPr lang="es-ES_tradnl" sz="612" err="1">
                  <a:solidFill>
                    <a:srgbClr val="000000"/>
                  </a:solidFill>
                  <a:latin typeface="Arial"/>
                </a:rPr>
                <a:t>CONFIDENTIAL</a:t>
              </a:r>
              <a:r>
                <a:rPr lang="es-ES_tradnl" sz="612">
                  <a:solidFill>
                    <a:srgbClr val="000000"/>
                  </a:solidFill>
                  <a:latin typeface="Arial"/>
                </a:rPr>
                <a:t> AND </a:t>
              </a:r>
              <a:r>
                <a:rPr lang="es-ES_tradnl" sz="612" err="1">
                  <a:solidFill>
                    <a:srgbClr val="000000"/>
                  </a:solidFill>
                  <a:latin typeface="Arial"/>
                </a:rPr>
                <a:t>PROPRIETARY</a:t>
              </a:r>
              <a:endParaRPr lang="es-ES_tradnl" sz="612">
                <a:solidFill>
                  <a:srgbClr val="000000"/>
                </a:solidFill>
                <a:latin typeface="Arial"/>
              </a:endParaRPr>
            </a:p>
            <a:p>
              <a:pPr defTabSz="615902" eaLnBrk="0" hangingPunct="0"/>
              <a:r>
                <a:rPr lang="es-ES_tradnl" sz="612" err="1">
                  <a:solidFill>
                    <a:srgbClr val="000000"/>
                  </a:solidFill>
                  <a:latin typeface="Arial"/>
                </a:rPr>
                <a:t>Any</a:t>
              </a:r>
              <a:r>
                <a:rPr lang="es-ES_tradnl" sz="612">
                  <a:solidFill>
                    <a:srgbClr val="000000"/>
                  </a:solidFill>
                  <a:latin typeface="Arial"/>
                </a:rPr>
                <a:t> use of </a:t>
              </a:r>
              <a:r>
                <a:rPr lang="es-ES_tradnl" sz="612" err="1">
                  <a:solidFill>
                    <a:srgbClr val="000000"/>
                  </a:solidFill>
                  <a:latin typeface="Arial"/>
                </a:rPr>
                <a:t>this</a:t>
              </a:r>
              <a:r>
                <a:rPr lang="es-ES_tradnl" sz="612">
                  <a:solidFill>
                    <a:srgbClr val="000000"/>
                  </a:solidFill>
                  <a:latin typeface="Arial"/>
                </a:rPr>
                <a:t> material </a:t>
              </a:r>
              <a:r>
                <a:rPr lang="es-ES_tradnl" sz="612" err="1">
                  <a:solidFill>
                    <a:srgbClr val="000000"/>
                  </a:solidFill>
                  <a:latin typeface="Arial"/>
                </a:rPr>
                <a:t>without</a:t>
              </a:r>
              <a:r>
                <a:rPr lang="es-ES_tradnl" sz="612">
                  <a:solidFill>
                    <a:srgbClr val="000000"/>
                  </a:solidFill>
                  <a:latin typeface="Arial"/>
                </a:rPr>
                <a:t> </a:t>
              </a:r>
              <a:r>
                <a:rPr lang="es-ES_tradnl" sz="612" err="1">
                  <a:solidFill>
                    <a:srgbClr val="000000"/>
                  </a:solidFill>
                  <a:latin typeface="Arial"/>
                </a:rPr>
                <a:t>specific</a:t>
              </a:r>
              <a:r>
                <a:rPr lang="es-ES_tradnl" sz="612">
                  <a:solidFill>
                    <a:srgbClr val="000000"/>
                  </a:solidFill>
                  <a:latin typeface="Arial"/>
                </a:rPr>
                <a:t> </a:t>
              </a:r>
              <a:r>
                <a:rPr lang="es-ES_tradnl" sz="612" err="1">
                  <a:solidFill>
                    <a:srgbClr val="000000"/>
                  </a:solidFill>
                  <a:latin typeface="Arial"/>
                </a:rPr>
                <a:t>permission</a:t>
              </a:r>
              <a:r>
                <a:rPr lang="es-ES_tradnl" sz="612">
                  <a:solidFill>
                    <a:srgbClr val="000000"/>
                  </a:solidFill>
                  <a:latin typeface="Arial"/>
                </a:rPr>
                <a:t> of McKinsey &amp; Company </a:t>
              </a:r>
              <a:r>
                <a:rPr lang="es-ES_tradnl" sz="612" err="1">
                  <a:solidFill>
                    <a:srgbClr val="000000"/>
                  </a:solidFill>
                  <a:latin typeface="Arial"/>
                </a:rPr>
                <a:t>is</a:t>
              </a:r>
              <a:r>
                <a:rPr lang="es-ES_tradnl" sz="612">
                  <a:solidFill>
                    <a:srgbClr val="000000"/>
                  </a:solidFill>
                  <a:latin typeface="Arial"/>
                </a:rPr>
                <a:t> </a:t>
              </a:r>
              <a:r>
                <a:rPr lang="es-ES_tradnl" sz="612" err="1">
                  <a:solidFill>
                    <a:srgbClr val="000000"/>
                  </a:solidFill>
                  <a:latin typeface="Arial"/>
                </a:rPr>
                <a:t>strictly</a:t>
              </a:r>
              <a:r>
                <a:rPr lang="es-ES_tradnl" sz="612">
                  <a:solidFill>
                    <a:srgbClr val="000000"/>
                  </a:solidFill>
                  <a:latin typeface="Arial"/>
                </a:rPr>
                <a:t> </a:t>
              </a:r>
              <a:r>
                <a:rPr lang="es-ES_tradnl" sz="612" err="1">
                  <a:solidFill>
                    <a:srgbClr val="000000"/>
                  </a:solidFill>
                  <a:latin typeface="Arial"/>
                </a:rPr>
                <a:t>prohibited</a:t>
              </a:r>
              <a:endParaRPr lang="es-ES_tradnl" sz="612">
                <a:solidFill>
                  <a:srgbClr val="000000"/>
                </a:solidFill>
                <a:latin typeface="Arial"/>
              </a:endParaRPr>
            </a:p>
          </p:txBody>
        </p:sp>
        <p:sp>
          <p:nvSpPr>
            <p:cNvPr id="28"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_tradnl" sz="1378">
                <a:solidFill>
                  <a:srgbClr val="000000"/>
                </a:solidFill>
                <a:latin typeface="Arial"/>
              </a:endParaRPr>
            </a:p>
          </p:txBody>
        </p:sp>
        <p:sp>
          <p:nvSpPr>
            <p:cNvPr id="29"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_tradnl" sz="1378">
                <a:solidFill>
                  <a:srgbClr val="000000"/>
                </a:solidFill>
                <a:latin typeface="Arial"/>
              </a:endParaRPr>
            </a:p>
          </p:txBody>
        </p:sp>
        <p:sp>
          <p:nvSpPr>
            <p:cNvPr id="30" name="Rectangle 45"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378">
                <a:solidFill>
                  <a:srgbClr val="000000"/>
                </a:solidFill>
              </a:endParaRPr>
            </a:p>
          </p:txBody>
        </p:sp>
      </p:grpSp>
      <p:grpSp>
        <p:nvGrpSpPr>
          <p:cNvPr id="31" name="Title Elements"/>
          <p:cNvGrpSpPr/>
          <p:nvPr/>
        </p:nvGrpSpPr>
        <p:grpSpPr>
          <a:xfrm>
            <a:off x="0" y="1"/>
            <a:ext cx="12187683" cy="6859620"/>
            <a:chOff x="0" y="0"/>
            <a:chExt cx="8958264" cy="6723063"/>
          </a:xfrm>
        </p:grpSpPr>
        <p:sp>
          <p:nvSpPr>
            <p:cNvPr id="32" name="Document type" hidden="1"/>
            <p:cNvSpPr txBox="1">
              <a:spLocks noChangeArrowheads="1"/>
            </p:cNvSpPr>
            <p:nvPr/>
          </p:nvSpPr>
          <p:spPr bwMode="auto">
            <a:xfrm>
              <a:off x="2640013" y="4985167"/>
              <a:ext cx="4935538" cy="161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s-ES_tradnl" sz="1071" err="1">
                  <a:solidFill>
                    <a:srgbClr val="000000"/>
                  </a:solidFill>
                  <a:latin typeface="Arial"/>
                </a:rPr>
                <a:t>Document</a:t>
              </a:r>
              <a:r>
                <a:rPr lang="es-ES_tradnl" sz="1071">
                  <a:solidFill>
                    <a:srgbClr val="000000"/>
                  </a:solidFill>
                  <a:latin typeface="Arial"/>
                </a:rPr>
                <a:t> </a:t>
              </a:r>
              <a:r>
                <a:rPr lang="es-ES_tradnl" sz="1071" err="1">
                  <a:solidFill>
                    <a:srgbClr val="000000"/>
                  </a:solidFill>
                  <a:latin typeface="Arial"/>
                </a:rPr>
                <a:t>type</a:t>
              </a:r>
              <a:endParaRPr lang="es-ES_tradnl" sz="1071">
                <a:solidFill>
                  <a:srgbClr val="000000"/>
                </a:solidFill>
                <a:latin typeface="Arial"/>
              </a:endParaRPr>
            </a:p>
          </p:txBody>
        </p:sp>
        <p:sp>
          <p:nvSpPr>
            <p:cNvPr id="33" name="Date" hidden="1"/>
            <p:cNvSpPr txBox="1">
              <a:spLocks noChangeArrowheads="1"/>
            </p:cNvSpPr>
            <p:nvPr/>
          </p:nvSpPr>
          <p:spPr bwMode="auto">
            <a:xfrm>
              <a:off x="2640013" y="5199063"/>
              <a:ext cx="4935538" cy="161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s-ES_tradnl" sz="1071">
                  <a:solidFill>
                    <a:srgbClr val="000000"/>
                  </a:solidFill>
                  <a:latin typeface="Arial"/>
                </a:rPr>
                <a:t>Date</a:t>
              </a:r>
            </a:p>
          </p:txBody>
        </p:sp>
        <p:sp>
          <p:nvSpPr>
            <p:cNvPr id="34" name="Disclaimer" hidden="1"/>
            <p:cNvSpPr>
              <a:spLocks noChangeArrowheads="1"/>
            </p:cNvSpPr>
            <p:nvPr/>
          </p:nvSpPr>
          <p:spPr bwMode="auto">
            <a:xfrm>
              <a:off x="2640013" y="5955815"/>
              <a:ext cx="5121275"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615902" eaLnBrk="0" hangingPunct="0"/>
              <a:r>
                <a:rPr lang="es-ES_tradnl" sz="612" err="1">
                  <a:solidFill>
                    <a:srgbClr val="000000"/>
                  </a:solidFill>
                  <a:latin typeface="Arial"/>
                </a:rPr>
                <a:t>CONFIDENTIAL</a:t>
              </a:r>
              <a:r>
                <a:rPr lang="es-ES_tradnl" sz="612">
                  <a:solidFill>
                    <a:srgbClr val="000000"/>
                  </a:solidFill>
                  <a:latin typeface="Arial"/>
                </a:rPr>
                <a:t> AND </a:t>
              </a:r>
              <a:r>
                <a:rPr lang="es-ES_tradnl" sz="612" err="1">
                  <a:solidFill>
                    <a:srgbClr val="000000"/>
                  </a:solidFill>
                  <a:latin typeface="Arial"/>
                </a:rPr>
                <a:t>PROPRIETARY</a:t>
              </a:r>
              <a:endParaRPr lang="es-ES_tradnl" sz="612">
                <a:solidFill>
                  <a:srgbClr val="000000"/>
                </a:solidFill>
                <a:latin typeface="Arial"/>
              </a:endParaRPr>
            </a:p>
            <a:p>
              <a:pPr defTabSz="615902" eaLnBrk="0" hangingPunct="0"/>
              <a:r>
                <a:rPr lang="es-ES_tradnl" sz="612" err="1">
                  <a:solidFill>
                    <a:srgbClr val="000000"/>
                  </a:solidFill>
                  <a:latin typeface="Arial"/>
                </a:rPr>
                <a:t>Any</a:t>
              </a:r>
              <a:r>
                <a:rPr lang="es-ES_tradnl" sz="612">
                  <a:solidFill>
                    <a:srgbClr val="000000"/>
                  </a:solidFill>
                  <a:latin typeface="Arial"/>
                </a:rPr>
                <a:t> use of </a:t>
              </a:r>
              <a:r>
                <a:rPr lang="es-ES_tradnl" sz="612" err="1">
                  <a:solidFill>
                    <a:srgbClr val="000000"/>
                  </a:solidFill>
                  <a:latin typeface="Arial"/>
                </a:rPr>
                <a:t>this</a:t>
              </a:r>
              <a:r>
                <a:rPr lang="es-ES_tradnl" sz="612">
                  <a:solidFill>
                    <a:srgbClr val="000000"/>
                  </a:solidFill>
                  <a:latin typeface="Arial"/>
                </a:rPr>
                <a:t> material </a:t>
              </a:r>
              <a:r>
                <a:rPr lang="es-ES_tradnl" sz="612" err="1">
                  <a:solidFill>
                    <a:srgbClr val="000000"/>
                  </a:solidFill>
                  <a:latin typeface="Arial"/>
                </a:rPr>
                <a:t>without</a:t>
              </a:r>
              <a:r>
                <a:rPr lang="es-ES_tradnl" sz="612">
                  <a:solidFill>
                    <a:srgbClr val="000000"/>
                  </a:solidFill>
                  <a:latin typeface="Arial"/>
                </a:rPr>
                <a:t> </a:t>
              </a:r>
              <a:r>
                <a:rPr lang="es-ES_tradnl" sz="612" err="1">
                  <a:solidFill>
                    <a:srgbClr val="000000"/>
                  </a:solidFill>
                  <a:latin typeface="Arial"/>
                </a:rPr>
                <a:t>specific</a:t>
              </a:r>
              <a:r>
                <a:rPr lang="es-ES_tradnl" sz="612">
                  <a:solidFill>
                    <a:srgbClr val="000000"/>
                  </a:solidFill>
                  <a:latin typeface="Arial"/>
                </a:rPr>
                <a:t> </a:t>
              </a:r>
              <a:r>
                <a:rPr lang="es-ES_tradnl" sz="612" err="1">
                  <a:solidFill>
                    <a:srgbClr val="000000"/>
                  </a:solidFill>
                  <a:latin typeface="Arial"/>
                </a:rPr>
                <a:t>permission</a:t>
              </a:r>
              <a:r>
                <a:rPr lang="es-ES_tradnl" sz="612">
                  <a:solidFill>
                    <a:srgbClr val="000000"/>
                  </a:solidFill>
                  <a:latin typeface="Arial"/>
                </a:rPr>
                <a:t> of McKinsey &amp; Company </a:t>
              </a:r>
              <a:r>
                <a:rPr lang="es-ES_tradnl" sz="612" err="1">
                  <a:solidFill>
                    <a:srgbClr val="000000"/>
                  </a:solidFill>
                  <a:latin typeface="Arial"/>
                </a:rPr>
                <a:t>is</a:t>
              </a:r>
              <a:r>
                <a:rPr lang="es-ES_tradnl" sz="612">
                  <a:solidFill>
                    <a:srgbClr val="000000"/>
                  </a:solidFill>
                  <a:latin typeface="Arial"/>
                </a:rPr>
                <a:t> </a:t>
              </a:r>
              <a:r>
                <a:rPr lang="es-ES_tradnl" sz="612" err="1">
                  <a:solidFill>
                    <a:srgbClr val="000000"/>
                  </a:solidFill>
                  <a:latin typeface="Arial"/>
                </a:rPr>
                <a:t>strictly</a:t>
              </a:r>
              <a:r>
                <a:rPr lang="es-ES_tradnl" sz="612">
                  <a:solidFill>
                    <a:srgbClr val="000000"/>
                  </a:solidFill>
                  <a:latin typeface="Arial"/>
                </a:rPr>
                <a:t> </a:t>
              </a:r>
              <a:r>
                <a:rPr lang="es-ES_tradnl" sz="612" err="1">
                  <a:solidFill>
                    <a:srgbClr val="000000"/>
                  </a:solidFill>
                  <a:latin typeface="Arial"/>
                </a:rPr>
                <a:t>prohibited</a:t>
              </a:r>
              <a:endParaRPr lang="es-ES_tradnl" sz="612">
                <a:solidFill>
                  <a:srgbClr val="000000"/>
                </a:solidFill>
                <a:latin typeface="Arial"/>
              </a:endParaRPr>
            </a:p>
          </p:txBody>
        </p:sp>
        <p:sp>
          <p:nvSpPr>
            <p:cNvPr id="35"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_tradnl" sz="1378">
                <a:solidFill>
                  <a:srgbClr val="000000"/>
                </a:solidFill>
                <a:latin typeface="Arial"/>
              </a:endParaRPr>
            </a:p>
          </p:txBody>
        </p:sp>
        <p:sp>
          <p:nvSpPr>
            <p:cNvPr id="36"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_tradnl" sz="1378">
                <a:solidFill>
                  <a:srgbClr val="000000"/>
                </a:solidFill>
                <a:latin typeface="Arial"/>
              </a:endParaRPr>
            </a:p>
          </p:txBody>
        </p:sp>
        <p:sp>
          <p:nvSpPr>
            <p:cNvPr id="37" name="Rectangle 56"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378">
                <a:solidFill>
                  <a:srgbClr val="000000"/>
                </a:solidFill>
              </a:endParaRPr>
            </a:p>
          </p:txBody>
        </p:sp>
      </p:grpSp>
      <p:grpSp>
        <p:nvGrpSpPr>
          <p:cNvPr id="38" name="Title Elements"/>
          <p:cNvGrpSpPr/>
          <p:nvPr/>
        </p:nvGrpSpPr>
        <p:grpSpPr>
          <a:xfrm>
            <a:off x="0" y="1"/>
            <a:ext cx="12187683" cy="6859620"/>
            <a:chOff x="0" y="0"/>
            <a:chExt cx="8958264" cy="6723063"/>
          </a:xfrm>
        </p:grpSpPr>
        <p:sp>
          <p:nvSpPr>
            <p:cNvPr id="39" name="Document type" hidden="1"/>
            <p:cNvSpPr txBox="1">
              <a:spLocks noChangeArrowheads="1"/>
            </p:cNvSpPr>
            <p:nvPr/>
          </p:nvSpPr>
          <p:spPr bwMode="auto">
            <a:xfrm>
              <a:off x="2640013" y="4985167"/>
              <a:ext cx="4935538" cy="161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071">
                  <a:solidFill>
                    <a:srgbClr val="000000"/>
                  </a:solidFill>
                  <a:latin typeface="Arial"/>
                </a:rPr>
                <a:t>Document type</a:t>
              </a:r>
            </a:p>
          </p:txBody>
        </p:sp>
        <p:sp>
          <p:nvSpPr>
            <p:cNvPr id="40" name="Date" hidden="1"/>
            <p:cNvSpPr txBox="1">
              <a:spLocks noChangeArrowheads="1"/>
            </p:cNvSpPr>
            <p:nvPr/>
          </p:nvSpPr>
          <p:spPr bwMode="auto">
            <a:xfrm>
              <a:off x="2640013" y="5199063"/>
              <a:ext cx="4935538" cy="161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071">
                  <a:solidFill>
                    <a:srgbClr val="000000"/>
                  </a:solidFill>
                  <a:latin typeface="Arial"/>
                </a:rPr>
                <a:t>Date</a:t>
              </a:r>
            </a:p>
          </p:txBody>
        </p:sp>
        <p:sp>
          <p:nvSpPr>
            <p:cNvPr id="41" name="Disclaimer" hidden="1"/>
            <p:cNvSpPr>
              <a:spLocks noChangeArrowheads="1"/>
            </p:cNvSpPr>
            <p:nvPr/>
          </p:nvSpPr>
          <p:spPr bwMode="auto">
            <a:xfrm>
              <a:off x="2640013" y="5955815"/>
              <a:ext cx="5121275"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615902" eaLnBrk="0" hangingPunct="0"/>
              <a:r>
                <a:rPr lang="en-US" sz="612">
                  <a:solidFill>
                    <a:srgbClr val="000000"/>
                  </a:solidFill>
                  <a:latin typeface="Arial"/>
                </a:rPr>
                <a:t>CONFIDENTIAL AND PROPRIETARY</a:t>
              </a:r>
            </a:p>
            <a:p>
              <a:pPr defTabSz="615902" eaLnBrk="0" hangingPunct="0"/>
              <a:r>
                <a:rPr lang="en-US" sz="612">
                  <a:solidFill>
                    <a:srgbClr val="000000"/>
                  </a:solidFill>
                  <a:latin typeface="Arial"/>
                </a:rPr>
                <a:t>Any use of this material without specific permission of McKinsey &amp; Company is strictly prohibited</a:t>
              </a:r>
            </a:p>
          </p:txBody>
        </p:sp>
        <p:sp>
          <p:nvSpPr>
            <p:cNvPr id="4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a:solidFill>
                  <a:srgbClr val="000000"/>
                </a:solidFill>
                <a:latin typeface="Arial"/>
              </a:endParaRPr>
            </a:p>
          </p:txBody>
        </p:sp>
        <p:sp>
          <p:nvSpPr>
            <p:cNvPr id="4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a:solidFill>
                  <a:srgbClr val="000000"/>
                </a:solidFill>
                <a:latin typeface="Arial"/>
              </a:endParaRPr>
            </a:p>
          </p:txBody>
        </p:sp>
        <p:sp>
          <p:nvSpPr>
            <p:cNvPr id="44" name="Rectangle 66"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8">
                <a:solidFill>
                  <a:srgbClr val="000000"/>
                </a:solidFill>
              </a:endParaRPr>
            </a:p>
          </p:txBody>
        </p:sp>
      </p:grpSp>
      <p:sp>
        <p:nvSpPr>
          <p:cNvPr id="46" name="Marcador de número de diapositiva 5"/>
          <p:cNvSpPr>
            <a:spLocks noGrp="1"/>
          </p:cNvSpPr>
          <p:nvPr>
            <p:ph type="sldNum" sz="quarter" idx="4"/>
          </p:nvPr>
        </p:nvSpPr>
        <p:spPr>
          <a:xfrm>
            <a:off x="11344876" y="6406123"/>
            <a:ext cx="847124" cy="365125"/>
          </a:xfrm>
          <a:prstGeom prst="rect">
            <a:avLst/>
          </a:prstGeom>
        </p:spPr>
        <p:txBody>
          <a:bodyPr/>
          <a:lstStyle>
            <a:lvl1pPr algn="ctr">
              <a:defRPr sz="1200" b="1">
                <a:solidFill>
                  <a:schemeClr val="tx2"/>
                </a:solidFill>
              </a:defRPr>
            </a:lvl1pPr>
          </a:lstStyle>
          <a:p>
            <a:fld id="{02F25750-4209-4357-A72F-45445C8044EF}" type="slidenum">
              <a:rPr lang="es-CO" smtClean="0"/>
              <a:pPr/>
              <a:t>‹Nº›</a:t>
            </a:fld>
            <a:endParaRPr lang="es-CO"/>
          </a:p>
        </p:txBody>
      </p:sp>
      <p:sp>
        <p:nvSpPr>
          <p:cNvPr id="49" name="TitleTopPlaceholder"/>
          <p:cNvSpPr>
            <a:spLocks noChangeArrowheads="1"/>
          </p:cNvSpPr>
          <p:nvPr/>
        </p:nvSpPr>
        <p:spPr bwMode="auto">
          <a:xfrm>
            <a:off x="1" y="1944"/>
            <a:ext cx="12198480" cy="2283840"/>
          </a:xfrm>
          <a:prstGeom prst="rect">
            <a:avLst/>
          </a:prstGeom>
          <a:solidFill>
            <a:schemeClr val="accent1">
              <a:alpha val="70000"/>
            </a:schemeClr>
          </a:solidFill>
          <a:ln w="9525">
            <a:noFill/>
            <a:miter lim="800000"/>
            <a:headEnd/>
            <a:tailEnd/>
          </a:ln>
          <a:effectLst/>
        </p:spPr>
        <p:txBody>
          <a:bodyPr wrap="none" anchor="ctr"/>
          <a:lstStyle/>
          <a:p>
            <a:endParaRPr lang="es-ES_tradnl" sz="1378">
              <a:solidFill>
                <a:srgbClr val="000000"/>
              </a:solidFill>
              <a:latin typeface="Arial"/>
            </a:endParaRPr>
          </a:p>
        </p:txBody>
      </p:sp>
      <p:pic>
        <p:nvPicPr>
          <p:cNvPr id="45" name="Picture 2" descr="https://www.cenit-transporte.com/wp-content/uploads/2013/01/cenit_logo-mob-retin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44371" y="833131"/>
            <a:ext cx="1509429" cy="11320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4937540"/>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D0AC813-DDE5-472B-94D8-667E1D6C2450}"/>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O"/>
          </a:p>
        </p:txBody>
      </p:sp>
      <p:sp>
        <p:nvSpPr>
          <p:cNvPr id="3" name="Marcador de posición de imagen 2">
            <a:extLst>
              <a:ext uri="{FF2B5EF4-FFF2-40B4-BE49-F238E27FC236}">
                <a16:creationId xmlns:a16="http://schemas.microsoft.com/office/drawing/2014/main" id="{14BB18D3-E6FF-4885-8A11-B711A866BF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O"/>
          </a:p>
        </p:txBody>
      </p:sp>
      <p:sp>
        <p:nvSpPr>
          <p:cNvPr id="4" name="Marcador de texto 3">
            <a:extLst>
              <a:ext uri="{FF2B5EF4-FFF2-40B4-BE49-F238E27FC236}">
                <a16:creationId xmlns:a16="http://schemas.microsoft.com/office/drawing/2014/main" id="{4069E3CA-41C4-432D-89E2-B09FF46E52E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538E9A9C-0363-4185-89EB-1788D502BEB5}"/>
              </a:ext>
            </a:extLst>
          </p:cNvPr>
          <p:cNvSpPr>
            <a:spLocks noGrp="1"/>
          </p:cNvSpPr>
          <p:nvPr>
            <p:ph type="dt" sz="half" idx="10"/>
          </p:nvPr>
        </p:nvSpPr>
        <p:spPr/>
        <p:txBody>
          <a:bodyPr/>
          <a:lstStyle/>
          <a:p>
            <a:fld id="{B85393CC-A1E3-46BF-8B50-8C9CD2C8FA82}" type="datetimeFigureOut">
              <a:rPr lang="es-CO" smtClean="0"/>
              <a:t>7/02/2021</a:t>
            </a:fld>
            <a:endParaRPr lang="es-CO"/>
          </a:p>
        </p:txBody>
      </p:sp>
      <p:sp>
        <p:nvSpPr>
          <p:cNvPr id="6" name="Marcador de pie de página 5">
            <a:extLst>
              <a:ext uri="{FF2B5EF4-FFF2-40B4-BE49-F238E27FC236}">
                <a16:creationId xmlns:a16="http://schemas.microsoft.com/office/drawing/2014/main" id="{A9DB738A-7BAD-4A0E-926D-67DC5DB9AAE2}"/>
              </a:ext>
            </a:extLst>
          </p:cNvPr>
          <p:cNvSpPr>
            <a:spLocks noGrp="1"/>
          </p:cNvSpPr>
          <p:nvPr>
            <p:ph type="ftr" sz="quarter" idx="11"/>
          </p:nvPr>
        </p:nvSpPr>
        <p:spPr/>
        <p:txBody>
          <a:bodyPr/>
          <a:lstStyle/>
          <a:p>
            <a:endParaRPr lang="es-CO"/>
          </a:p>
        </p:txBody>
      </p:sp>
      <p:sp>
        <p:nvSpPr>
          <p:cNvPr id="7" name="Marcador de número de diapositiva 6">
            <a:extLst>
              <a:ext uri="{FF2B5EF4-FFF2-40B4-BE49-F238E27FC236}">
                <a16:creationId xmlns:a16="http://schemas.microsoft.com/office/drawing/2014/main" id="{ABE68C4D-A3DC-4F49-A8B7-DD63A1733FE0}"/>
              </a:ext>
            </a:extLst>
          </p:cNvPr>
          <p:cNvSpPr>
            <a:spLocks noGrp="1"/>
          </p:cNvSpPr>
          <p:nvPr>
            <p:ph type="sldNum" sz="quarter" idx="12"/>
          </p:nvPr>
        </p:nvSpPr>
        <p:spPr/>
        <p:txBody>
          <a:bodyPr/>
          <a:lstStyle/>
          <a:p>
            <a:fld id="{0166FB0D-522B-4FA9-BA1F-502792A6F2F4}" type="slidenum">
              <a:rPr lang="es-CO" smtClean="0"/>
              <a:t>‹Nº›</a:t>
            </a:fld>
            <a:endParaRPr lang="es-CO"/>
          </a:p>
        </p:txBody>
      </p:sp>
    </p:spTree>
    <p:extLst>
      <p:ext uri="{BB962C8B-B14F-4D97-AF65-F5344CB8AC3E}">
        <p14:creationId xmlns:p14="http://schemas.microsoft.com/office/powerpoint/2010/main" val="40474227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26247A5-8B8C-461C-8CDE-A56F23DAF374}"/>
              </a:ext>
            </a:extLst>
          </p:cNvPr>
          <p:cNvSpPr>
            <a:spLocks noGrp="1"/>
          </p:cNvSpPr>
          <p:nvPr>
            <p:ph type="title"/>
          </p:nvPr>
        </p:nvSpPr>
        <p:spPr/>
        <p:txBody>
          <a:bodyPr/>
          <a:lstStyle/>
          <a:p>
            <a:r>
              <a:rPr lang="es-ES"/>
              <a:t>Haga clic para modificar el estilo de título del patrón</a:t>
            </a:r>
            <a:endParaRPr lang="es-CO"/>
          </a:p>
        </p:txBody>
      </p:sp>
      <p:sp>
        <p:nvSpPr>
          <p:cNvPr id="3" name="Marcador de texto vertical 2">
            <a:extLst>
              <a:ext uri="{FF2B5EF4-FFF2-40B4-BE49-F238E27FC236}">
                <a16:creationId xmlns:a16="http://schemas.microsoft.com/office/drawing/2014/main" id="{56EFD238-BF68-42D0-BADD-C12AD34063EF}"/>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88EC7B95-DF5D-4895-8A1A-ACA04B24F746}"/>
              </a:ext>
            </a:extLst>
          </p:cNvPr>
          <p:cNvSpPr>
            <a:spLocks noGrp="1"/>
          </p:cNvSpPr>
          <p:nvPr>
            <p:ph type="dt" sz="half" idx="10"/>
          </p:nvPr>
        </p:nvSpPr>
        <p:spPr/>
        <p:txBody>
          <a:bodyPr/>
          <a:lstStyle/>
          <a:p>
            <a:fld id="{B85393CC-A1E3-46BF-8B50-8C9CD2C8FA82}" type="datetimeFigureOut">
              <a:rPr lang="es-CO" smtClean="0"/>
              <a:t>7/02/2021</a:t>
            </a:fld>
            <a:endParaRPr lang="es-CO"/>
          </a:p>
        </p:txBody>
      </p:sp>
      <p:sp>
        <p:nvSpPr>
          <p:cNvPr id="5" name="Marcador de pie de página 4">
            <a:extLst>
              <a:ext uri="{FF2B5EF4-FFF2-40B4-BE49-F238E27FC236}">
                <a16:creationId xmlns:a16="http://schemas.microsoft.com/office/drawing/2014/main" id="{0329D4ED-3D2E-408E-9347-E59E5101DA97}"/>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A8F796B8-CF7E-4E3C-96D4-7C210A7488C9}"/>
              </a:ext>
            </a:extLst>
          </p:cNvPr>
          <p:cNvSpPr>
            <a:spLocks noGrp="1"/>
          </p:cNvSpPr>
          <p:nvPr>
            <p:ph type="sldNum" sz="quarter" idx="12"/>
          </p:nvPr>
        </p:nvSpPr>
        <p:spPr/>
        <p:txBody>
          <a:bodyPr/>
          <a:lstStyle/>
          <a:p>
            <a:fld id="{0166FB0D-522B-4FA9-BA1F-502792A6F2F4}" type="slidenum">
              <a:rPr lang="es-CO" smtClean="0"/>
              <a:t>‹Nº›</a:t>
            </a:fld>
            <a:endParaRPr lang="es-CO"/>
          </a:p>
        </p:txBody>
      </p:sp>
    </p:spTree>
    <p:extLst>
      <p:ext uri="{BB962C8B-B14F-4D97-AF65-F5344CB8AC3E}">
        <p14:creationId xmlns:p14="http://schemas.microsoft.com/office/powerpoint/2010/main" val="21344282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3154E65A-3C66-4FDC-B9CA-62C6BC81EB3F}"/>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O"/>
          </a:p>
        </p:txBody>
      </p:sp>
      <p:sp>
        <p:nvSpPr>
          <p:cNvPr id="3" name="Marcador de texto vertical 2">
            <a:extLst>
              <a:ext uri="{FF2B5EF4-FFF2-40B4-BE49-F238E27FC236}">
                <a16:creationId xmlns:a16="http://schemas.microsoft.com/office/drawing/2014/main" id="{9E404ACC-FEC1-4FAD-8303-B1336598F82F}"/>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22973CD9-F94B-4482-8E98-E1F9A6476F58}"/>
              </a:ext>
            </a:extLst>
          </p:cNvPr>
          <p:cNvSpPr>
            <a:spLocks noGrp="1"/>
          </p:cNvSpPr>
          <p:nvPr>
            <p:ph type="dt" sz="half" idx="10"/>
          </p:nvPr>
        </p:nvSpPr>
        <p:spPr/>
        <p:txBody>
          <a:bodyPr/>
          <a:lstStyle/>
          <a:p>
            <a:fld id="{B85393CC-A1E3-46BF-8B50-8C9CD2C8FA82}" type="datetimeFigureOut">
              <a:rPr lang="es-CO" smtClean="0"/>
              <a:t>7/02/2021</a:t>
            </a:fld>
            <a:endParaRPr lang="es-CO"/>
          </a:p>
        </p:txBody>
      </p:sp>
      <p:sp>
        <p:nvSpPr>
          <p:cNvPr id="5" name="Marcador de pie de página 4">
            <a:extLst>
              <a:ext uri="{FF2B5EF4-FFF2-40B4-BE49-F238E27FC236}">
                <a16:creationId xmlns:a16="http://schemas.microsoft.com/office/drawing/2014/main" id="{51A753E0-BEF8-43BC-A838-C95BA43F20A7}"/>
              </a:ext>
            </a:extLst>
          </p:cNvPr>
          <p:cNvSpPr>
            <a:spLocks noGrp="1"/>
          </p:cNvSpPr>
          <p:nvPr>
            <p:ph type="ftr" sz="quarter" idx="11"/>
          </p:nvPr>
        </p:nvSpPr>
        <p:spPr/>
        <p:txBody>
          <a:bodyPr/>
          <a:lstStyle/>
          <a:p>
            <a:endParaRPr lang="es-CO"/>
          </a:p>
        </p:txBody>
      </p:sp>
      <p:sp>
        <p:nvSpPr>
          <p:cNvPr id="6" name="Marcador de número de diapositiva 5">
            <a:extLst>
              <a:ext uri="{FF2B5EF4-FFF2-40B4-BE49-F238E27FC236}">
                <a16:creationId xmlns:a16="http://schemas.microsoft.com/office/drawing/2014/main" id="{200E3D86-68EB-4C43-82B4-F849C3461C9A}"/>
              </a:ext>
            </a:extLst>
          </p:cNvPr>
          <p:cNvSpPr>
            <a:spLocks noGrp="1"/>
          </p:cNvSpPr>
          <p:nvPr>
            <p:ph type="sldNum" sz="quarter" idx="12"/>
          </p:nvPr>
        </p:nvSpPr>
        <p:spPr/>
        <p:txBody>
          <a:bodyPr/>
          <a:lstStyle/>
          <a:p>
            <a:fld id="{0166FB0D-522B-4FA9-BA1F-502792A6F2F4}" type="slidenum">
              <a:rPr lang="es-CO" smtClean="0"/>
              <a:t>‹Nº›</a:t>
            </a:fld>
            <a:endParaRPr lang="es-CO"/>
          </a:p>
        </p:txBody>
      </p:sp>
    </p:spTree>
    <p:extLst>
      <p:ext uri="{BB962C8B-B14F-4D97-AF65-F5344CB8AC3E}">
        <p14:creationId xmlns:p14="http://schemas.microsoft.com/office/powerpoint/2010/main" val="32923891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Contenido1">
    <p:spTree>
      <p:nvGrpSpPr>
        <p:cNvPr id="1" name=""/>
        <p:cNvGrpSpPr/>
        <p:nvPr/>
      </p:nvGrpSpPr>
      <p:grpSpPr>
        <a:xfrm>
          <a:off x="0" y="0"/>
          <a:ext cx="0" cy="0"/>
          <a:chOff x="0" y="0"/>
          <a:chExt cx="0" cy="0"/>
        </a:xfrm>
      </p:grpSpPr>
      <p:sp>
        <p:nvSpPr>
          <p:cNvPr id="5" name="SlideLogoSeparator" hidden="1"/>
          <p:cNvSpPr>
            <a:spLocks noChangeArrowheads="1"/>
          </p:cNvSpPr>
          <p:nvPr>
            <p:custDataLst>
              <p:tags r:id="rId1"/>
            </p:custDataLst>
          </p:nvPr>
        </p:nvSpPr>
        <p:spPr bwMode="auto">
          <a:xfrm>
            <a:off x="11454169" y="6534054"/>
            <a:ext cx="54523"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685145"/>
            <a:r>
              <a:rPr lang="es-ES_tradnl" sz="918">
                <a:solidFill>
                  <a:srgbClr val="000000"/>
                </a:solidFill>
              </a:rPr>
              <a:t>|</a:t>
            </a:r>
          </a:p>
        </p:txBody>
      </p:sp>
    </p:spTree>
    <p:extLst>
      <p:ext uri="{BB962C8B-B14F-4D97-AF65-F5344CB8AC3E}">
        <p14:creationId xmlns:p14="http://schemas.microsoft.com/office/powerpoint/2010/main" val="41515981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B1BD27B-DA0D-4005-880D-6F36CC0E8F7A}"/>
              </a:ext>
            </a:extLst>
          </p:cNvPr>
          <p:cNvSpPr/>
          <p:nvPr>
            <p:custDataLst>
              <p:tags r:id="rId2"/>
            </p:custDataLst>
          </p:nvPr>
        </p:nvSpPr>
        <p:spPr>
          <a:xfrm>
            <a:off x="1" y="1"/>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558" b="0" i="0" baseline="0" dirty="0" err="1">
              <a:solidFill>
                <a:schemeClr val="tx1"/>
              </a:solidFill>
              <a:latin typeface="Arial" panose="020B0604020202020204" pitchFamily="34" charset="0"/>
              <a:ea typeface="+mj-ea"/>
              <a:cs typeface="+mj-cs"/>
              <a:sym typeface="Arial" panose="020B0604020202020204" pitchFamily="34" charset="0"/>
            </a:endParaRPr>
          </a:p>
        </p:txBody>
      </p:sp>
      <p:pic>
        <p:nvPicPr>
          <p:cNvPr id="23" name="Imagen 7">
            <a:extLst>
              <a:ext uri="{FF2B5EF4-FFF2-40B4-BE49-F238E27FC236}">
                <a16:creationId xmlns:a16="http://schemas.microsoft.com/office/drawing/2014/main" id="{3E07FF20-6D9C-430B-B0A9-077587E6CC0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0" y="3"/>
            <a:ext cx="12428776" cy="6997297"/>
          </a:xfrm>
          <a:prstGeom prst="rect">
            <a:avLst/>
          </a:prstGeom>
        </p:spPr>
      </p:pic>
      <p:sp>
        <p:nvSpPr>
          <p:cNvPr id="5" name="doc id" hidden="1"/>
          <p:cNvSpPr txBox="1">
            <a:spLocks noChangeArrowheads="1"/>
          </p:cNvSpPr>
          <p:nvPr/>
        </p:nvSpPr>
        <p:spPr bwMode="auto">
          <a:xfrm>
            <a:off x="11595910" y="37257"/>
            <a:ext cx="401720" cy="124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s-ES" sz="853" baseline="0" noProof="0" dirty="0">
              <a:solidFill>
                <a:srgbClr val="482A06"/>
              </a:solidFill>
              <a:latin typeface="+mn-lt"/>
            </a:endParaRPr>
          </a:p>
        </p:txBody>
      </p:sp>
      <p:grpSp>
        <p:nvGrpSpPr>
          <p:cNvPr id="15" name="LogoImage" hidden="1">
            <a:extLst>
              <a:ext uri="{FF2B5EF4-FFF2-40B4-BE49-F238E27FC236}">
                <a16:creationId xmlns:a16="http://schemas.microsoft.com/office/drawing/2014/main" id="{EAB2229D-6370-488C-937F-1A93CFBD709A}"/>
              </a:ext>
            </a:extLst>
          </p:cNvPr>
          <p:cNvGrpSpPr>
            <a:grpSpLocks/>
          </p:cNvGrpSpPr>
          <p:nvPr/>
        </p:nvGrpSpPr>
        <p:grpSpPr bwMode="auto">
          <a:xfrm>
            <a:off x="3090575" y="263460"/>
            <a:ext cx="1741648" cy="553874"/>
            <a:chOff x="0" y="973"/>
            <a:chExt cx="7680" cy="2374"/>
          </a:xfrm>
        </p:grpSpPr>
        <p:sp>
          <p:nvSpPr>
            <p:cNvPr id="16" name="AutoShape 3" hidden="1">
              <a:extLst>
                <a:ext uri="{FF2B5EF4-FFF2-40B4-BE49-F238E27FC236}">
                  <a16:creationId xmlns:a16="http://schemas.microsoft.com/office/drawing/2014/main" id="{8E86CEE8-2C1E-45F7-BFA1-BEDA55D35732}"/>
                </a:ext>
              </a:extLst>
            </p:cNvPr>
            <p:cNvSpPr>
              <a:spLocks noChangeAspect="1" noChangeArrowheads="1" noTextEdit="1"/>
            </p:cNvSpPr>
            <p:nvPr userDrawn="1"/>
          </p:nvSpPr>
          <p:spPr bwMode="auto">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sz="1279">
                <a:latin typeface="+mn-lt"/>
              </a:endParaRPr>
            </a:p>
          </p:txBody>
        </p:sp>
        <p:sp>
          <p:nvSpPr>
            <p:cNvPr id="17" name="Freeform 5" hidden="1">
              <a:extLst>
                <a:ext uri="{FF2B5EF4-FFF2-40B4-BE49-F238E27FC236}">
                  <a16:creationId xmlns:a16="http://schemas.microsoft.com/office/drawing/2014/main" id="{EB2102CC-8FC1-437F-921D-FAB1EA6588EC}"/>
                </a:ext>
              </a:extLst>
            </p:cNvPr>
            <p:cNvSpPr>
              <a:spLocks noEditPoints="1"/>
            </p:cNvSpPr>
            <p:nvPr userDrawn="1"/>
          </p:nvSpPr>
          <p:spPr bwMode="auto">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1279">
                <a:latin typeface="+mn-lt"/>
              </a:endParaRPr>
            </a:p>
          </p:txBody>
        </p:sp>
      </p:grpSp>
      <p:sp>
        <p:nvSpPr>
          <p:cNvPr id="29" name="Isosceles Triangle 28">
            <a:extLst>
              <a:ext uri="{FF2B5EF4-FFF2-40B4-BE49-F238E27FC236}">
                <a16:creationId xmlns:a16="http://schemas.microsoft.com/office/drawing/2014/main" id="{EFCD2F8A-3DC4-421F-A722-D929B41B3219}"/>
              </a:ext>
            </a:extLst>
          </p:cNvPr>
          <p:cNvSpPr/>
          <p:nvPr/>
        </p:nvSpPr>
        <p:spPr>
          <a:xfrm rot="5400000">
            <a:off x="-301145" y="4206677"/>
            <a:ext cx="1870183" cy="1267891"/>
          </a:xfrm>
          <a:prstGeom prst="triangle">
            <a:avLst>
              <a:gd name="adj" fmla="val 5804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279" dirty="0" err="1">
              <a:solidFill>
                <a:schemeClr val="tx1"/>
              </a:solidFill>
            </a:endParaRPr>
          </a:p>
        </p:txBody>
      </p:sp>
      <p:sp>
        <p:nvSpPr>
          <p:cNvPr id="4" name="Working Draft Text" hidden="1"/>
          <p:cNvSpPr txBox="1">
            <a:spLocks noChangeArrowheads="1"/>
          </p:cNvSpPr>
          <p:nvPr/>
        </p:nvSpPr>
        <p:spPr bwMode="black">
          <a:xfrm>
            <a:off x="367396" y="121514"/>
            <a:ext cx="900497" cy="98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s-ES" sz="640" b="1" baseline="0" noProof="0" dirty="0">
                <a:solidFill>
                  <a:schemeClr val="bg1"/>
                </a:solidFill>
                <a:latin typeface="+mn-lt"/>
              </a:rPr>
              <a:t>WORKING DRAFT</a:t>
            </a:r>
          </a:p>
        </p:txBody>
      </p:sp>
      <p:sp>
        <p:nvSpPr>
          <p:cNvPr id="6" name="Working Draft" hidden="1"/>
          <p:cNvSpPr txBox="1">
            <a:spLocks noChangeArrowheads="1"/>
          </p:cNvSpPr>
          <p:nvPr/>
        </p:nvSpPr>
        <p:spPr bwMode="black">
          <a:xfrm>
            <a:off x="367396" y="247125"/>
            <a:ext cx="3815785" cy="98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40" baseline="0" noProof="0">
                <a:solidFill>
                  <a:schemeClr val="bg1"/>
                </a:solidFill>
                <a:latin typeface="+mn-lt"/>
              </a:rPr>
              <a:t>Last Modified 8/27/2019 06:39 Central Standard Time</a:t>
            </a:r>
            <a:endParaRPr lang="es-ES" sz="640" baseline="0" noProof="0" dirty="0">
              <a:solidFill>
                <a:schemeClr val="bg1"/>
              </a:solidFill>
              <a:latin typeface="+mn-lt"/>
            </a:endParaRPr>
          </a:p>
        </p:txBody>
      </p:sp>
      <p:sp>
        <p:nvSpPr>
          <p:cNvPr id="7" name="Printed" hidden="1"/>
          <p:cNvSpPr txBox="1">
            <a:spLocks noChangeArrowheads="1"/>
          </p:cNvSpPr>
          <p:nvPr/>
        </p:nvSpPr>
        <p:spPr bwMode="black">
          <a:xfrm>
            <a:off x="367398" y="372737"/>
            <a:ext cx="3618996" cy="98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s-ES" sz="640" baseline="0" noProof="0" dirty="0">
                <a:solidFill>
                  <a:schemeClr val="bg1"/>
                </a:solidFill>
                <a:latin typeface="+mn-lt"/>
              </a:rPr>
              <a:t>Printed</a:t>
            </a:r>
          </a:p>
        </p:txBody>
      </p:sp>
      <p:sp>
        <p:nvSpPr>
          <p:cNvPr id="13314" name="Title"/>
          <p:cNvSpPr>
            <a:spLocks noGrp="1" noChangeArrowheads="1"/>
          </p:cNvSpPr>
          <p:nvPr>
            <p:ph type="ctrTitle"/>
          </p:nvPr>
        </p:nvSpPr>
        <p:spPr bwMode="gray">
          <a:xfrm>
            <a:off x="390893" y="747983"/>
            <a:ext cx="6357713" cy="393605"/>
          </a:xfrm>
          <a:prstGeom prst="rect">
            <a:avLst/>
          </a:prstGeom>
        </p:spPr>
        <p:txBody>
          <a:bodyPr/>
          <a:lstStyle>
            <a:lvl1pPr>
              <a:defRPr sz="2558" b="0" baseline="0">
                <a:solidFill>
                  <a:schemeClr val="bg1"/>
                </a:solidFill>
                <a:latin typeface="+mj-lt"/>
                <a:ea typeface="+mj-ea"/>
              </a:defRPr>
            </a:lvl1pPr>
          </a:lstStyle>
          <a:p>
            <a:pPr lvl="0" latinLnBrk="0"/>
            <a:r>
              <a:rPr lang="en-US" noProof="0"/>
              <a:t>Click to edit Master title style</a:t>
            </a:r>
            <a:endParaRPr lang="es-ES" noProof="0" dirty="0"/>
          </a:p>
        </p:txBody>
      </p:sp>
      <p:sp>
        <p:nvSpPr>
          <p:cNvPr id="13315" name="Subtitle"/>
          <p:cNvSpPr>
            <a:spLocks noGrp="1" noChangeArrowheads="1"/>
          </p:cNvSpPr>
          <p:nvPr>
            <p:ph type="subTitle" idx="1"/>
          </p:nvPr>
        </p:nvSpPr>
        <p:spPr bwMode="gray">
          <a:xfrm>
            <a:off x="390895" y="2628592"/>
            <a:ext cx="3720470" cy="172185"/>
          </a:xfrm>
          <a:prstGeom prst="rect">
            <a:avLst/>
          </a:prstGeom>
        </p:spPr>
        <p:txBody>
          <a:bodyPr wrap="square">
            <a:spAutoFit/>
          </a:bodyPr>
          <a:lstStyle>
            <a:lvl1pPr>
              <a:defRPr sz="1119" cap="all" baseline="0">
                <a:solidFill>
                  <a:schemeClr val="bg1"/>
                </a:solidFill>
                <a:latin typeface="+mn-lt"/>
                <a:ea typeface="+mn-ea"/>
              </a:defRPr>
            </a:lvl1pPr>
          </a:lstStyle>
          <a:p>
            <a:pPr lvl="0" latinLnBrk="0"/>
            <a:r>
              <a:rPr lang="en-US" noProof="0"/>
              <a:t>Click to edit Master subtitle style</a:t>
            </a:r>
            <a:endParaRPr lang="es-ES" noProof="0" dirty="0"/>
          </a:p>
        </p:txBody>
      </p:sp>
      <p:sp>
        <p:nvSpPr>
          <p:cNvPr id="57" name="Document type" hidden="1"/>
          <p:cNvSpPr txBox="1">
            <a:spLocks noChangeArrowheads="1"/>
          </p:cNvSpPr>
          <p:nvPr/>
        </p:nvSpPr>
        <p:spPr bwMode="gray">
          <a:xfrm>
            <a:off x="390895" y="3150697"/>
            <a:ext cx="3720470" cy="1722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s-ES" sz="1119" baseline="0" noProof="0" dirty="0">
                <a:solidFill>
                  <a:schemeClr val="bg1"/>
                </a:solidFill>
                <a:latin typeface="+mn-lt"/>
              </a:rPr>
              <a:t>Tipo de Documento | Fecha</a:t>
            </a:r>
          </a:p>
        </p:txBody>
      </p:sp>
      <p:sp>
        <p:nvSpPr>
          <p:cNvPr id="26" name="Disclaimer-Spanish (Spain Traditional Sort)" hidden="1"/>
          <p:cNvSpPr>
            <a:spLocks noChangeArrowheads="1"/>
          </p:cNvSpPr>
          <p:nvPr/>
        </p:nvSpPr>
        <p:spPr bwMode="black">
          <a:xfrm>
            <a:off x="147168" y="6494737"/>
            <a:ext cx="2943404" cy="1969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defTabSz="857894" eaLnBrk="0" hangingPunct="0"/>
            <a:r>
              <a:rPr lang="es-CO" sz="640" baseline="0" dirty="0">
                <a:solidFill>
                  <a:schemeClr val="bg1"/>
                </a:solidFill>
                <a:latin typeface="+mn-lt"/>
              </a:rPr>
              <a:t>DOCUMENTO CONFIDENCIAL</a:t>
            </a:r>
          </a:p>
          <a:p>
            <a:pPr defTabSz="857894" eaLnBrk="0" hangingPunct="0"/>
            <a:r>
              <a:rPr lang="es-CO" sz="640" baseline="0" dirty="0">
                <a:solidFill>
                  <a:schemeClr val="bg1"/>
                </a:solidFill>
                <a:latin typeface="+mn-lt"/>
              </a:rPr>
              <a:t>Queda prohibido su uso y distribución sin autorización expresa</a:t>
            </a:r>
            <a:endParaRPr lang="es-ES" sz="640" baseline="0" dirty="0">
              <a:solidFill>
                <a:schemeClr val="bg1"/>
              </a:solidFill>
              <a:latin typeface="+mn-lt"/>
            </a:endParaRPr>
          </a:p>
        </p:txBody>
      </p:sp>
    </p:spTree>
    <p:extLst>
      <p:ext uri="{BB962C8B-B14F-4D97-AF65-F5344CB8AC3E}">
        <p14:creationId xmlns:p14="http://schemas.microsoft.com/office/powerpoint/2010/main" val="22524582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endParaRPr lang="es-ES" dirty="0"/>
          </a:p>
        </p:txBody>
      </p:sp>
      <p:sp>
        <p:nvSpPr>
          <p:cNvPr id="8" name="Slide Number"/>
          <p:cNvSpPr txBox="1">
            <a:spLocks/>
          </p:cNvSpPr>
          <p:nvPr/>
        </p:nvSpPr>
        <p:spPr bwMode="gray">
          <a:xfrm>
            <a:off x="11652054" y="6424796"/>
            <a:ext cx="144270" cy="98489"/>
          </a:xfrm>
          <a:prstGeom prst="rect">
            <a:avLst/>
          </a:prstGeom>
        </p:spPr>
        <p:txBody>
          <a:bodyPr vert="horz" wrap="none" lIns="0" tIns="0" rIns="0" bIns="0" rtlCol="0" anchor="ctr">
            <a:spAutoFit/>
          </a:bodyPr>
          <a:lstStyle>
            <a:defPPr>
              <a:defRPr lang="es-ES"/>
            </a:defPPr>
            <a:lvl1pPr>
              <a:defRPr sz="1000" baseline="0">
                <a:latin typeface="+mn-lt"/>
              </a:defRPr>
            </a:lvl1pPr>
          </a:lstStyle>
          <a:p>
            <a:pPr lvl="0"/>
            <a:fld id="{42C328C1-A84F-4A39-A664-DBA00541A8C6}" type="slidenum">
              <a:rPr lang="es-ES" sz="640" smtClean="0">
                <a:solidFill>
                  <a:schemeClr val="accent6"/>
                </a:solidFill>
              </a:rPr>
              <a:pPr lvl="0"/>
              <a:t>‹Nº›</a:t>
            </a:fld>
            <a:endParaRPr lang="es-ES" sz="640" dirty="0">
              <a:solidFill>
                <a:schemeClr val="accent6"/>
              </a:solidFill>
            </a:endParaRPr>
          </a:p>
        </p:txBody>
      </p:sp>
      <p:sp>
        <p:nvSpPr>
          <p:cNvPr id="9" name="SlideLogoText" hidden="1"/>
          <p:cNvSpPr>
            <a:spLocks noChangeArrowheads="1"/>
          </p:cNvSpPr>
          <p:nvPr>
            <p:custDataLst>
              <p:tags r:id="rId1"/>
            </p:custDataLst>
          </p:nvPr>
        </p:nvSpPr>
        <p:spPr bwMode="gray">
          <a:xfrm>
            <a:off x="10710416" y="6654029"/>
            <a:ext cx="804707" cy="98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54342"/>
            <a:r>
              <a:rPr lang="es-ES" sz="640" baseline="0" noProof="0" dirty="0">
                <a:solidFill>
                  <a:schemeClr val="accent6"/>
                </a:solidFill>
                <a:latin typeface="+mn-lt"/>
                <a:ea typeface="+mn-ea"/>
              </a:rPr>
              <a:t>McKinsey &amp; Company</a:t>
            </a:r>
          </a:p>
        </p:txBody>
      </p:sp>
      <p:sp>
        <p:nvSpPr>
          <p:cNvPr id="5" name="doc id" hidden="1"/>
          <p:cNvSpPr>
            <a:spLocks noChangeArrowheads="1"/>
          </p:cNvSpPr>
          <p:nvPr/>
        </p:nvSpPr>
        <p:spPr bwMode="gray">
          <a:xfrm flipH="1">
            <a:off x="10658002" y="51835"/>
            <a:ext cx="1231563" cy="73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54342"/>
            <a:endParaRPr lang="es-ES" sz="480" baseline="0" noProof="0" dirty="0">
              <a:solidFill>
                <a:schemeClr val="accent6"/>
              </a:solidFill>
              <a:latin typeface="+mn-lt"/>
              <a:ea typeface="+mn-ea"/>
            </a:endParaRPr>
          </a:p>
        </p:txBody>
      </p:sp>
      <p:pic>
        <p:nvPicPr>
          <p:cNvPr id="6" name="Imagen 5">
            <a:extLst>
              <a:ext uri="{FF2B5EF4-FFF2-40B4-BE49-F238E27FC236}">
                <a16:creationId xmlns:a16="http://schemas.microsoft.com/office/drawing/2014/main" id="{8BD4377D-3D28-4068-BD37-5FDE5350B1B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0017" t="13966" r="12683" b="29231"/>
          <a:stretch/>
        </p:blipFill>
        <p:spPr>
          <a:xfrm>
            <a:off x="10088739" y="6155681"/>
            <a:ext cx="1356175" cy="610399"/>
          </a:xfrm>
          <a:prstGeom prst="rect">
            <a:avLst/>
          </a:prstGeom>
        </p:spPr>
      </p:pic>
      <p:cxnSp>
        <p:nvCxnSpPr>
          <p:cNvPr id="4" name="Straight Connector 3">
            <a:extLst>
              <a:ext uri="{FF2B5EF4-FFF2-40B4-BE49-F238E27FC236}">
                <a16:creationId xmlns:a16="http://schemas.microsoft.com/office/drawing/2014/main" id="{9C256ADF-7EE7-4BD6-BAD6-E17061C626F9}"/>
              </a:ext>
            </a:extLst>
          </p:cNvPr>
          <p:cNvCxnSpPr/>
          <p:nvPr/>
        </p:nvCxnSpPr>
        <p:spPr>
          <a:xfrm>
            <a:off x="11493879" y="6321218"/>
            <a:ext cx="0" cy="305644"/>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2FF67A-19B3-4143-937B-376342A39852}"/>
              </a:ext>
            </a:extLst>
          </p:cNvPr>
          <p:cNvCxnSpPr/>
          <p:nvPr/>
        </p:nvCxnSpPr>
        <p:spPr>
          <a:xfrm>
            <a:off x="10777293" y="6321218"/>
            <a:ext cx="0" cy="305644"/>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4364374"/>
      </p:ext>
    </p:extLst>
  </p:cSld>
  <p:clrMapOvr>
    <a:masterClrMapping/>
  </p:clrMapOvr>
  <p:extLst>
    <p:ext uri="{DCECCB84-F9BA-43D5-87BE-67443E8EF086}">
      <p15:sldGuideLst xmlns:p15="http://schemas.microsoft.com/office/powerpoint/2012/main">
        <p15:guide id="1" pos="7961">
          <p15:clr>
            <a:srgbClr val="F26B43"/>
          </p15:clr>
        </p15:guide>
        <p15:guide id="2" pos="107">
          <p15:clr>
            <a:srgbClr val="F26B43"/>
          </p15:clr>
        </p15:guide>
        <p15:guide id="3" orient="horz" pos="959">
          <p15:clr>
            <a:srgbClr val="F26B43"/>
          </p15:clr>
        </p15:guide>
        <p15:guide id="4" orient="horz" pos="5445">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2D0DCE-CDCF-4279-9C42-4592E8D9FAB3}"/>
              </a:ext>
            </a:extLst>
          </p:cNvPr>
          <p:cNvGraphicFramePr>
            <a:graphicFrameLocks noChangeAspect="1"/>
          </p:cNvGraphicFramePr>
          <p:nvPr>
            <p:custDataLst>
              <p:tags r:id="rId1"/>
            </p:custDataLst>
          </p:nvPr>
        </p:nvGraphicFramePr>
        <p:xfrm>
          <a:off x="1623" y="1621"/>
          <a:ext cx="1619" cy="1619"/>
        </p:xfrm>
        <a:graphic>
          <a:graphicData uri="http://schemas.openxmlformats.org/presentationml/2006/ole">
            <mc:AlternateContent xmlns:mc="http://schemas.openxmlformats.org/markup-compatibility/2006">
              <mc:Choice xmlns:v="urn:schemas-microsoft-com:vml" Requires="v">
                <p:oleObj name="Diapositiva de think-cell" r:id="rId5" imgW="386" imgH="386" progId="TCLayout.ActiveDocument.1">
                  <p:embed/>
                </p:oleObj>
              </mc:Choice>
              <mc:Fallback>
                <p:oleObj name="Diapositiva de think-cell" r:id="rId5" imgW="386" imgH="386" progId="TCLayout.ActiveDocument.1">
                  <p:embed/>
                  <p:pic>
                    <p:nvPicPr>
                      <p:cNvPr id="3" name="Object 2" hidden="1">
                        <a:extLst>
                          <a:ext uri="{FF2B5EF4-FFF2-40B4-BE49-F238E27FC236}">
                            <a16:creationId xmlns:a16="http://schemas.microsoft.com/office/drawing/2014/main" id="{9C2D0DCE-CDCF-4279-9C42-4592E8D9FAB3}"/>
                          </a:ext>
                        </a:extLst>
                      </p:cNvPr>
                      <p:cNvPicPr/>
                      <p:nvPr/>
                    </p:nvPicPr>
                    <p:blipFill>
                      <a:blip r:embed="rId6"/>
                      <a:stretch>
                        <a:fillRect/>
                      </a:stretch>
                    </p:blipFill>
                    <p:spPr>
                      <a:xfrm>
                        <a:off x="1623" y="1621"/>
                        <a:ext cx="161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6935DEC-47F0-49DB-96EC-E2391B556E11}"/>
              </a:ext>
            </a:extLst>
          </p:cNvPr>
          <p:cNvSpPr/>
          <p:nvPr>
            <p:custDataLst>
              <p:tags r:id="rId2"/>
            </p:custDataLst>
          </p:nvPr>
        </p:nvSpPr>
        <p:spPr>
          <a:xfrm>
            <a:off x="1" y="1"/>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798" b="0"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12" name="Freeform: Shape 11">
            <a:extLst>
              <a:ext uri="{FF2B5EF4-FFF2-40B4-BE49-F238E27FC236}">
                <a16:creationId xmlns:a16="http://schemas.microsoft.com/office/drawing/2014/main" id="{FB3C6511-9021-4F94-B9FB-6664A8A5B8CC}"/>
              </a:ext>
            </a:extLst>
          </p:cNvPr>
          <p:cNvSpPr/>
          <p:nvPr/>
        </p:nvSpPr>
        <p:spPr>
          <a:xfrm>
            <a:off x="3" y="0"/>
            <a:ext cx="5864858" cy="3484012"/>
          </a:xfrm>
          <a:custGeom>
            <a:avLst/>
            <a:gdLst>
              <a:gd name="connsiteX0" fmla="*/ 0 w 10220960"/>
              <a:gd name="connsiteY0" fmla="*/ 0 h 5130800"/>
              <a:gd name="connsiteX1" fmla="*/ 0 w 10220960"/>
              <a:gd name="connsiteY1" fmla="*/ 3759200 h 5130800"/>
              <a:gd name="connsiteX2" fmla="*/ 1666240 w 10220960"/>
              <a:gd name="connsiteY2" fmla="*/ 5130800 h 5130800"/>
              <a:gd name="connsiteX3" fmla="*/ 10220960 w 10220960"/>
              <a:gd name="connsiteY3" fmla="*/ 20320 h 5130800"/>
              <a:gd name="connsiteX4" fmla="*/ 0 w 10220960"/>
              <a:gd name="connsiteY4" fmla="*/ 0 h 5130800"/>
              <a:gd name="connsiteX0" fmla="*/ 0 w 10220960"/>
              <a:gd name="connsiteY0" fmla="*/ 0 h 5130800"/>
              <a:gd name="connsiteX1" fmla="*/ 0 w 10220960"/>
              <a:gd name="connsiteY1" fmla="*/ 3759200 h 5130800"/>
              <a:gd name="connsiteX2" fmla="*/ 1666240 w 10220960"/>
              <a:gd name="connsiteY2" fmla="*/ 5130800 h 5130800"/>
              <a:gd name="connsiteX3" fmla="*/ 10220960 w 10220960"/>
              <a:gd name="connsiteY3" fmla="*/ 10160 h 5130800"/>
              <a:gd name="connsiteX4" fmla="*/ 0 w 10220960"/>
              <a:gd name="connsiteY4" fmla="*/ 0 h 5130800"/>
              <a:gd name="connsiteX0" fmla="*/ 0 w 10231120"/>
              <a:gd name="connsiteY0" fmla="*/ 0 h 5130800"/>
              <a:gd name="connsiteX1" fmla="*/ 0 w 10231120"/>
              <a:gd name="connsiteY1" fmla="*/ 3759200 h 5130800"/>
              <a:gd name="connsiteX2" fmla="*/ 1666240 w 10231120"/>
              <a:gd name="connsiteY2" fmla="*/ 5130800 h 5130800"/>
              <a:gd name="connsiteX3" fmla="*/ 10231120 w 10231120"/>
              <a:gd name="connsiteY3" fmla="*/ 0 h 5130800"/>
              <a:gd name="connsiteX4" fmla="*/ 0 w 10231120"/>
              <a:gd name="connsiteY4" fmla="*/ 0 h 5130800"/>
              <a:gd name="connsiteX0" fmla="*/ 0 w 10231120"/>
              <a:gd name="connsiteY0" fmla="*/ 0 h 5310929"/>
              <a:gd name="connsiteX1" fmla="*/ 0 w 10231120"/>
              <a:gd name="connsiteY1" fmla="*/ 3759200 h 5310929"/>
              <a:gd name="connsiteX2" fmla="*/ 1598692 w 10231120"/>
              <a:gd name="connsiteY2" fmla="*/ 5310929 h 5310929"/>
              <a:gd name="connsiteX3" fmla="*/ 10231120 w 10231120"/>
              <a:gd name="connsiteY3" fmla="*/ 0 h 5310929"/>
              <a:gd name="connsiteX4" fmla="*/ 0 w 10231120"/>
              <a:gd name="connsiteY4" fmla="*/ 0 h 5310929"/>
              <a:gd name="connsiteX0" fmla="*/ 0 w 10231120"/>
              <a:gd name="connsiteY0" fmla="*/ 0 h 5142149"/>
              <a:gd name="connsiteX1" fmla="*/ 0 w 10231120"/>
              <a:gd name="connsiteY1" fmla="*/ 3759200 h 5142149"/>
              <a:gd name="connsiteX2" fmla="*/ 1857628 w 10231120"/>
              <a:gd name="connsiteY2" fmla="*/ 5142149 h 5142149"/>
              <a:gd name="connsiteX3" fmla="*/ 10231120 w 10231120"/>
              <a:gd name="connsiteY3" fmla="*/ 0 h 5142149"/>
              <a:gd name="connsiteX4" fmla="*/ 0 w 10231120"/>
              <a:gd name="connsiteY4" fmla="*/ 0 h 5142149"/>
              <a:gd name="connsiteX0" fmla="*/ 0 w 10231120"/>
              <a:gd name="connsiteY0" fmla="*/ 0 h 5209661"/>
              <a:gd name="connsiteX1" fmla="*/ 0 w 10231120"/>
              <a:gd name="connsiteY1" fmla="*/ 3759200 h 5209661"/>
              <a:gd name="connsiteX2" fmla="*/ 1722531 w 10231120"/>
              <a:gd name="connsiteY2" fmla="*/ 5209661 h 5209661"/>
              <a:gd name="connsiteX3" fmla="*/ 10231120 w 10231120"/>
              <a:gd name="connsiteY3" fmla="*/ 0 h 5209661"/>
              <a:gd name="connsiteX4" fmla="*/ 0 w 10231120"/>
              <a:gd name="connsiteY4" fmla="*/ 0 h 5209661"/>
              <a:gd name="connsiteX0" fmla="*/ 0 w 10231120"/>
              <a:gd name="connsiteY0" fmla="*/ 0 h 6074571"/>
              <a:gd name="connsiteX1" fmla="*/ 0 w 10231120"/>
              <a:gd name="connsiteY1" fmla="*/ 3759200 h 6074571"/>
              <a:gd name="connsiteX2" fmla="*/ 2741756 w 10231120"/>
              <a:gd name="connsiteY2" fmla="*/ 6074571 h 6074571"/>
              <a:gd name="connsiteX3" fmla="*/ 10231120 w 10231120"/>
              <a:gd name="connsiteY3" fmla="*/ 0 h 6074571"/>
              <a:gd name="connsiteX4" fmla="*/ 0 w 10231120"/>
              <a:gd name="connsiteY4" fmla="*/ 0 h 6074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31120" h="6074571">
                <a:moveTo>
                  <a:pt x="0" y="0"/>
                </a:moveTo>
                <a:lnTo>
                  <a:pt x="0" y="3759200"/>
                </a:lnTo>
                <a:lnTo>
                  <a:pt x="2741756" y="6074571"/>
                </a:lnTo>
                <a:lnTo>
                  <a:pt x="10231120" y="0"/>
                </a:lnTo>
                <a:lnTo>
                  <a:pt x="0" y="0"/>
                </a:lnTo>
                <a:close/>
              </a:path>
            </a:pathLst>
          </a:custGeom>
          <a:solidFill>
            <a:schemeClr val="tx2">
              <a:alpha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095" tIns="36548" rIns="73095" bIns="36548" numCol="1" spcCol="0" rtlCol="0" fromWordArt="0" anchor="ctr" anchorCtr="0" forceAA="0" compatLnSpc="1">
            <a:prstTxWarp prst="textNoShape">
              <a:avLst/>
            </a:prstTxWarp>
            <a:noAutofit/>
          </a:bodyPr>
          <a:lstStyle/>
          <a:p>
            <a:pPr lvl="0" algn="ctr"/>
            <a:endParaRPr lang="es-CO" sz="1279" dirty="0" err="1">
              <a:solidFill>
                <a:schemeClr val="tx1"/>
              </a:solidFill>
            </a:endParaRPr>
          </a:p>
        </p:txBody>
      </p:sp>
      <p:sp>
        <p:nvSpPr>
          <p:cNvPr id="13" name="Isosceles Triangle 12">
            <a:extLst>
              <a:ext uri="{FF2B5EF4-FFF2-40B4-BE49-F238E27FC236}">
                <a16:creationId xmlns:a16="http://schemas.microsoft.com/office/drawing/2014/main" id="{51C5CF7B-3EBA-404B-AD28-C33560F6373D}"/>
              </a:ext>
            </a:extLst>
          </p:cNvPr>
          <p:cNvSpPr/>
          <p:nvPr/>
        </p:nvSpPr>
        <p:spPr>
          <a:xfrm rot="5400000">
            <a:off x="-452076" y="2975662"/>
            <a:ext cx="2242800" cy="1338646"/>
          </a:xfrm>
          <a:prstGeom prst="triangle">
            <a:avLst>
              <a:gd name="adj" fmla="val 51521"/>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279" dirty="0" err="1">
              <a:solidFill>
                <a:schemeClr val="tx1"/>
              </a:solidFill>
            </a:endParaRPr>
          </a:p>
        </p:txBody>
      </p:sp>
      <p:sp>
        <p:nvSpPr>
          <p:cNvPr id="2" name="Title 1"/>
          <p:cNvSpPr>
            <a:spLocks noGrp="1"/>
          </p:cNvSpPr>
          <p:nvPr>
            <p:ph type="title"/>
          </p:nvPr>
        </p:nvSpPr>
        <p:spPr>
          <a:xfrm>
            <a:off x="520918" y="234866"/>
            <a:ext cx="11366552" cy="430626"/>
          </a:xfrm>
        </p:spPr>
        <p:txBody>
          <a:bodyPr/>
          <a:lstStyle>
            <a:lvl1pPr>
              <a:defRPr sz="2798">
                <a:solidFill>
                  <a:schemeClr val="bg1"/>
                </a:solidFill>
              </a:defRPr>
            </a:lvl1pPr>
          </a:lstStyle>
          <a:p>
            <a:r>
              <a:rPr lang="en-US"/>
              <a:t>Click to edit Master title style</a:t>
            </a:r>
            <a:endParaRPr lang="es-ES" dirty="0"/>
          </a:p>
        </p:txBody>
      </p:sp>
      <p:sp>
        <p:nvSpPr>
          <p:cNvPr id="10" name="SlideLogoText" hidden="1"/>
          <p:cNvSpPr>
            <a:spLocks noChangeArrowheads="1"/>
          </p:cNvSpPr>
          <p:nvPr>
            <p:custDataLst>
              <p:tags r:id="rId3"/>
            </p:custDataLst>
          </p:nvPr>
        </p:nvSpPr>
        <p:spPr bwMode="black">
          <a:xfrm>
            <a:off x="10710416" y="6654029"/>
            <a:ext cx="804707" cy="98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54342"/>
            <a:r>
              <a:rPr lang="es-ES" sz="640" baseline="0" noProof="0" dirty="0">
                <a:solidFill>
                  <a:schemeClr val="bg1"/>
                </a:solidFill>
                <a:latin typeface="+mn-lt"/>
                <a:ea typeface="+mn-ea"/>
              </a:rPr>
              <a:t>McKinsey &amp; Company</a:t>
            </a:r>
          </a:p>
        </p:txBody>
      </p:sp>
      <p:sp>
        <p:nvSpPr>
          <p:cNvPr id="5" name="doc id" hidden="1"/>
          <p:cNvSpPr>
            <a:spLocks noChangeArrowheads="1"/>
          </p:cNvSpPr>
          <p:nvPr/>
        </p:nvSpPr>
        <p:spPr bwMode="gray">
          <a:xfrm flipH="1">
            <a:off x="10658002" y="51835"/>
            <a:ext cx="1231563" cy="73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54342"/>
            <a:endParaRPr lang="es-ES" sz="480" baseline="0" noProof="0" dirty="0">
              <a:solidFill>
                <a:schemeClr val="accent6"/>
              </a:solidFill>
              <a:latin typeface="+mn-lt"/>
              <a:ea typeface="+mn-ea"/>
            </a:endParaRPr>
          </a:p>
        </p:txBody>
      </p:sp>
      <p:pic>
        <p:nvPicPr>
          <p:cNvPr id="18" name="Imagen 5">
            <a:extLst>
              <a:ext uri="{FF2B5EF4-FFF2-40B4-BE49-F238E27FC236}">
                <a16:creationId xmlns:a16="http://schemas.microsoft.com/office/drawing/2014/main" id="{65174F25-BF49-48CC-A0E9-3A858A266FF3}"/>
              </a:ext>
            </a:extLst>
          </p:cNvPr>
          <p:cNvPicPr>
            <a:picLocks noChangeAspect="1"/>
          </p:cNvPicPr>
          <p:nvPr/>
        </p:nvPicPr>
        <p:blipFill rotWithShape="1">
          <a:blip r:embed="rId7" cstate="screen">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a:ext>
            </a:extLst>
          </a:blip>
          <a:srcRect l="10017" t="13966" r="12683" b="29231"/>
          <a:stretch/>
        </p:blipFill>
        <p:spPr>
          <a:xfrm>
            <a:off x="520918" y="1634524"/>
            <a:ext cx="1974585" cy="888740"/>
          </a:xfrm>
          <a:prstGeom prst="rect">
            <a:avLst/>
          </a:prstGeom>
        </p:spPr>
      </p:pic>
      <p:sp>
        <p:nvSpPr>
          <p:cNvPr id="22" name="Freeform: Shape 21">
            <a:extLst>
              <a:ext uri="{FF2B5EF4-FFF2-40B4-BE49-F238E27FC236}">
                <a16:creationId xmlns:a16="http://schemas.microsoft.com/office/drawing/2014/main" id="{A23135CA-97A1-4085-A6F2-CECBD884991E}"/>
              </a:ext>
            </a:extLst>
          </p:cNvPr>
          <p:cNvSpPr/>
          <p:nvPr/>
        </p:nvSpPr>
        <p:spPr>
          <a:xfrm rot="10800000">
            <a:off x="9648740" y="5347174"/>
            <a:ext cx="2543263" cy="1510822"/>
          </a:xfrm>
          <a:custGeom>
            <a:avLst/>
            <a:gdLst>
              <a:gd name="connsiteX0" fmla="*/ 0 w 10220960"/>
              <a:gd name="connsiteY0" fmla="*/ 0 h 5130800"/>
              <a:gd name="connsiteX1" fmla="*/ 0 w 10220960"/>
              <a:gd name="connsiteY1" fmla="*/ 3759200 h 5130800"/>
              <a:gd name="connsiteX2" fmla="*/ 1666240 w 10220960"/>
              <a:gd name="connsiteY2" fmla="*/ 5130800 h 5130800"/>
              <a:gd name="connsiteX3" fmla="*/ 10220960 w 10220960"/>
              <a:gd name="connsiteY3" fmla="*/ 20320 h 5130800"/>
              <a:gd name="connsiteX4" fmla="*/ 0 w 10220960"/>
              <a:gd name="connsiteY4" fmla="*/ 0 h 5130800"/>
              <a:gd name="connsiteX0" fmla="*/ 0 w 10220960"/>
              <a:gd name="connsiteY0" fmla="*/ 0 h 5130800"/>
              <a:gd name="connsiteX1" fmla="*/ 0 w 10220960"/>
              <a:gd name="connsiteY1" fmla="*/ 3759200 h 5130800"/>
              <a:gd name="connsiteX2" fmla="*/ 1666240 w 10220960"/>
              <a:gd name="connsiteY2" fmla="*/ 5130800 h 5130800"/>
              <a:gd name="connsiteX3" fmla="*/ 10220960 w 10220960"/>
              <a:gd name="connsiteY3" fmla="*/ 10160 h 5130800"/>
              <a:gd name="connsiteX4" fmla="*/ 0 w 10220960"/>
              <a:gd name="connsiteY4" fmla="*/ 0 h 5130800"/>
              <a:gd name="connsiteX0" fmla="*/ 0 w 10231120"/>
              <a:gd name="connsiteY0" fmla="*/ 0 h 5130800"/>
              <a:gd name="connsiteX1" fmla="*/ 0 w 10231120"/>
              <a:gd name="connsiteY1" fmla="*/ 3759200 h 5130800"/>
              <a:gd name="connsiteX2" fmla="*/ 1666240 w 10231120"/>
              <a:gd name="connsiteY2" fmla="*/ 5130800 h 5130800"/>
              <a:gd name="connsiteX3" fmla="*/ 10231120 w 10231120"/>
              <a:gd name="connsiteY3" fmla="*/ 0 h 5130800"/>
              <a:gd name="connsiteX4" fmla="*/ 0 w 10231120"/>
              <a:gd name="connsiteY4" fmla="*/ 0 h 5130800"/>
              <a:gd name="connsiteX0" fmla="*/ 0 w 10231120"/>
              <a:gd name="connsiteY0" fmla="*/ 0 h 5310929"/>
              <a:gd name="connsiteX1" fmla="*/ 0 w 10231120"/>
              <a:gd name="connsiteY1" fmla="*/ 3759200 h 5310929"/>
              <a:gd name="connsiteX2" fmla="*/ 1598692 w 10231120"/>
              <a:gd name="connsiteY2" fmla="*/ 5310929 h 5310929"/>
              <a:gd name="connsiteX3" fmla="*/ 10231120 w 10231120"/>
              <a:gd name="connsiteY3" fmla="*/ 0 h 5310929"/>
              <a:gd name="connsiteX4" fmla="*/ 0 w 10231120"/>
              <a:gd name="connsiteY4" fmla="*/ 0 h 5310929"/>
              <a:gd name="connsiteX0" fmla="*/ 0 w 10231120"/>
              <a:gd name="connsiteY0" fmla="*/ 0 h 5142149"/>
              <a:gd name="connsiteX1" fmla="*/ 0 w 10231120"/>
              <a:gd name="connsiteY1" fmla="*/ 3759200 h 5142149"/>
              <a:gd name="connsiteX2" fmla="*/ 1857628 w 10231120"/>
              <a:gd name="connsiteY2" fmla="*/ 5142149 h 5142149"/>
              <a:gd name="connsiteX3" fmla="*/ 10231120 w 10231120"/>
              <a:gd name="connsiteY3" fmla="*/ 0 h 5142149"/>
              <a:gd name="connsiteX4" fmla="*/ 0 w 10231120"/>
              <a:gd name="connsiteY4" fmla="*/ 0 h 5142149"/>
              <a:gd name="connsiteX0" fmla="*/ 0 w 10231120"/>
              <a:gd name="connsiteY0" fmla="*/ 0 h 5209661"/>
              <a:gd name="connsiteX1" fmla="*/ 0 w 10231120"/>
              <a:gd name="connsiteY1" fmla="*/ 3759200 h 5209661"/>
              <a:gd name="connsiteX2" fmla="*/ 1722531 w 10231120"/>
              <a:gd name="connsiteY2" fmla="*/ 5209661 h 5209661"/>
              <a:gd name="connsiteX3" fmla="*/ 10231120 w 10231120"/>
              <a:gd name="connsiteY3" fmla="*/ 0 h 5209661"/>
              <a:gd name="connsiteX4" fmla="*/ 0 w 10231120"/>
              <a:gd name="connsiteY4" fmla="*/ 0 h 5209661"/>
              <a:gd name="connsiteX0" fmla="*/ 0 w 10231120"/>
              <a:gd name="connsiteY0" fmla="*/ 0 h 6074571"/>
              <a:gd name="connsiteX1" fmla="*/ 0 w 10231120"/>
              <a:gd name="connsiteY1" fmla="*/ 3759200 h 6074571"/>
              <a:gd name="connsiteX2" fmla="*/ 2741756 w 10231120"/>
              <a:gd name="connsiteY2" fmla="*/ 6074571 h 6074571"/>
              <a:gd name="connsiteX3" fmla="*/ 10231120 w 10231120"/>
              <a:gd name="connsiteY3" fmla="*/ 0 h 6074571"/>
              <a:gd name="connsiteX4" fmla="*/ 0 w 10231120"/>
              <a:gd name="connsiteY4" fmla="*/ 0 h 6074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31120" h="6074571">
                <a:moveTo>
                  <a:pt x="0" y="0"/>
                </a:moveTo>
                <a:lnTo>
                  <a:pt x="0" y="3759200"/>
                </a:lnTo>
                <a:lnTo>
                  <a:pt x="2741756" y="6074571"/>
                </a:lnTo>
                <a:lnTo>
                  <a:pt x="10231120" y="0"/>
                </a:lnTo>
                <a:lnTo>
                  <a:pt x="0" y="0"/>
                </a:lnTo>
                <a:close/>
              </a:path>
            </a:pathLst>
          </a:custGeom>
          <a:solidFill>
            <a:schemeClr val="tx2">
              <a:alpha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095" tIns="36548" rIns="73095" bIns="36548" numCol="1" spcCol="0" rtlCol="0" fromWordArt="0" anchor="ctr" anchorCtr="0" forceAA="0" compatLnSpc="1">
            <a:prstTxWarp prst="textNoShape">
              <a:avLst/>
            </a:prstTxWarp>
            <a:noAutofit/>
          </a:bodyPr>
          <a:lstStyle/>
          <a:p>
            <a:pPr lvl="0" algn="ctr"/>
            <a:endParaRPr lang="es-CO" sz="1279" dirty="0" err="1">
              <a:solidFill>
                <a:schemeClr val="tx1"/>
              </a:solidFill>
            </a:endParaRPr>
          </a:p>
        </p:txBody>
      </p:sp>
      <p:sp>
        <p:nvSpPr>
          <p:cNvPr id="23" name="Isosceles Triangle 22">
            <a:extLst>
              <a:ext uri="{FF2B5EF4-FFF2-40B4-BE49-F238E27FC236}">
                <a16:creationId xmlns:a16="http://schemas.microsoft.com/office/drawing/2014/main" id="{A6299710-8558-4D8F-B2F7-688E18B94C4C}"/>
              </a:ext>
            </a:extLst>
          </p:cNvPr>
          <p:cNvSpPr/>
          <p:nvPr/>
        </p:nvSpPr>
        <p:spPr>
          <a:xfrm rot="16200000">
            <a:off x="11415465" y="4987119"/>
            <a:ext cx="972579" cy="580497"/>
          </a:xfrm>
          <a:prstGeom prst="triangle">
            <a:avLst>
              <a:gd name="adj" fmla="val 51521"/>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095" tIns="36548" rIns="73095" bIns="36548" numCol="1" spcCol="0" rtlCol="0" fromWordArt="0" anchor="ctr" anchorCtr="0" forceAA="0" compatLnSpc="1">
            <a:prstTxWarp prst="textNoShape">
              <a:avLst/>
            </a:prstTxWarp>
            <a:noAutofit/>
          </a:bodyPr>
          <a:lstStyle/>
          <a:p>
            <a:pPr lvl="0" algn="ctr"/>
            <a:endParaRPr lang="es-CO" sz="1279" dirty="0" err="1">
              <a:solidFill>
                <a:schemeClr val="tx1"/>
              </a:solidFill>
            </a:endParaRPr>
          </a:p>
        </p:txBody>
      </p:sp>
      <p:sp>
        <p:nvSpPr>
          <p:cNvPr id="9" name="Slide Number"/>
          <p:cNvSpPr txBox="1">
            <a:spLocks/>
          </p:cNvSpPr>
          <p:nvPr/>
        </p:nvSpPr>
        <p:spPr bwMode="black">
          <a:xfrm>
            <a:off x="11652054" y="6424796"/>
            <a:ext cx="144270" cy="98489"/>
          </a:xfrm>
          <a:prstGeom prst="rect">
            <a:avLst/>
          </a:prstGeom>
        </p:spPr>
        <p:txBody>
          <a:bodyPr vert="horz" wrap="none" lIns="0" tIns="0" rIns="0" bIns="0" rtlCol="0" anchor="ctr">
            <a:spAutoFit/>
          </a:bodyPr>
          <a:lstStyle>
            <a:defPPr>
              <a:defRPr lang="es-ES"/>
            </a:defPPr>
            <a:lvl1pPr>
              <a:defRPr sz="1000" baseline="0">
                <a:latin typeface="+mn-lt"/>
              </a:defRPr>
            </a:lvl1pPr>
          </a:lstStyle>
          <a:p>
            <a:pPr lvl="0"/>
            <a:fld id="{42C328C1-A84F-4A39-A664-DBA00541A8C6}" type="slidenum">
              <a:rPr lang="es-ES" sz="640" smtClean="0">
                <a:solidFill>
                  <a:schemeClr val="bg1"/>
                </a:solidFill>
              </a:rPr>
              <a:pPr lvl="0"/>
              <a:t>‹Nº›</a:t>
            </a:fld>
            <a:endParaRPr lang="es-ES" sz="640" dirty="0">
              <a:solidFill>
                <a:schemeClr val="bg1"/>
              </a:solidFill>
            </a:endParaRPr>
          </a:p>
        </p:txBody>
      </p:sp>
      <p:cxnSp>
        <p:nvCxnSpPr>
          <p:cNvPr id="19" name="Straight Connector 18">
            <a:extLst>
              <a:ext uri="{FF2B5EF4-FFF2-40B4-BE49-F238E27FC236}">
                <a16:creationId xmlns:a16="http://schemas.microsoft.com/office/drawing/2014/main" id="{B253CD2E-1E01-4C1C-B0D0-9E4FFF45EE74}"/>
              </a:ext>
            </a:extLst>
          </p:cNvPr>
          <p:cNvCxnSpPr/>
          <p:nvPr/>
        </p:nvCxnSpPr>
        <p:spPr>
          <a:xfrm>
            <a:off x="11493879" y="6321218"/>
            <a:ext cx="0" cy="305644"/>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6124394"/>
      </p:ext>
    </p:extLst>
  </p:cSld>
  <p:clrMapOvr>
    <a:masterClrMapping/>
  </p:clrMapOvr>
  <p:extLst>
    <p:ext uri="{DCECCB84-F9BA-43D5-87BE-67443E8EF086}">
      <p15:sldGuideLst xmlns:p15="http://schemas.microsoft.com/office/powerpoint/2012/main">
        <p15:guide id="1" pos="5432">
          <p15:clr>
            <a:srgbClr val="000000"/>
          </p15:clr>
        </p15:guide>
        <p15:guide id="2" orient="horz" pos="794">
          <p15:clr>
            <a:srgbClr val="000000"/>
          </p15:clr>
        </p15:guide>
        <p15:guide id="3" orient="horz" pos="5449">
          <p15:clr>
            <a:srgbClr val="000000"/>
          </p15:clr>
        </p15:guide>
        <p15:guide id="4" pos="104">
          <p15:clr>
            <a:srgbClr val="00000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723D-443E-4746-A65F-E087C0A43D84}"/>
              </a:ext>
            </a:extLst>
          </p:cNvPr>
          <p:cNvSpPr>
            <a:spLocks noGrp="1"/>
          </p:cNvSpPr>
          <p:nvPr>
            <p:ph type="title"/>
          </p:nvPr>
        </p:nvSpPr>
        <p:spPr/>
        <p:txBody>
          <a:bodyPr/>
          <a:lstStyle/>
          <a:p>
            <a:r>
              <a:rPr lang="en-US"/>
              <a:t>Click to edit Master title style</a:t>
            </a:r>
            <a:endParaRPr lang="es-CO"/>
          </a:p>
        </p:txBody>
      </p:sp>
      <p:sp>
        <p:nvSpPr>
          <p:cNvPr id="3" name="Content Placeholder 2">
            <a:extLst>
              <a:ext uri="{FF2B5EF4-FFF2-40B4-BE49-F238E27FC236}">
                <a16:creationId xmlns:a16="http://schemas.microsoft.com/office/drawing/2014/main" id="{114477D9-A47B-4436-8B16-5BB9047A66F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CO"/>
          </a:p>
        </p:txBody>
      </p:sp>
    </p:spTree>
    <p:extLst>
      <p:ext uri="{BB962C8B-B14F-4D97-AF65-F5344CB8AC3E}">
        <p14:creationId xmlns:p14="http://schemas.microsoft.com/office/powerpoint/2010/main" val="25833030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B1BD27B-DA0D-4005-880D-6F36CC0E8F7A}"/>
              </a:ext>
            </a:extLst>
          </p:cNvPr>
          <p:cNvSpPr/>
          <p:nvPr>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65" b="0" i="0" baseline="0" err="1">
              <a:solidFill>
                <a:schemeClr val="tx1"/>
              </a:solidFill>
              <a:latin typeface="Arial" panose="020B0604020202020204" pitchFamily="34" charset="0"/>
              <a:ea typeface="+mj-ea"/>
              <a:cs typeface="+mj-cs"/>
              <a:sym typeface="Arial" panose="020B0604020202020204" pitchFamily="34" charset="0"/>
            </a:endParaRPr>
          </a:p>
        </p:txBody>
      </p:sp>
      <p:pic>
        <p:nvPicPr>
          <p:cNvPr id="23" name="Imagen 7">
            <a:extLst>
              <a:ext uri="{FF2B5EF4-FFF2-40B4-BE49-F238E27FC236}">
                <a16:creationId xmlns:a16="http://schemas.microsoft.com/office/drawing/2014/main" id="{3E07FF20-6D9C-430B-B0A9-077587E6CC0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0" y="2"/>
            <a:ext cx="12428776" cy="6997297"/>
          </a:xfrm>
          <a:prstGeom prst="rect">
            <a:avLst/>
          </a:prstGeom>
        </p:spPr>
      </p:pic>
      <p:sp>
        <p:nvSpPr>
          <p:cNvPr id="5" name="doc id" hidden="1"/>
          <p:cNvSpPr txBox="1">
            <a:spLocks noChangeArrowheads="1"/>
          </p:cNvSpPr>
          <p:nvPr/>
        </p:nvSpPr>
        <p:spPr bwMode="auto">
          <a:xfrm>
            <a:off x="11595907"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s-ES" sz="1089" baseline="0" noProof="0">
              <a:solidFill>
                <a:srgbClr val="482A06"/>
              </a:solidFill>
              <a:latin typeface="+mn-lt"/>
            </a:endParaRPr>
          </a:p>
        </p:txBody>
      </p:sp>
      <p:grpSp>
        <p:nvGrpSpPr>
          <p:cNvPr id="15" name="LogoImage" hidden="1">
            <a:extLst>
              <a:ext uri="{FF2B5EF4-FFF2-40B4-BE49-F238E27FC236}">
                <a16:creationId xmlns:a16="http://schemas.microsoft.com/office/drawing/2014/main" id="{EAB2229D-6370-488C-937F-1A93CFBD709A}"/>
              </a:ext>
            </a:extLst>
          </p:cNvPr>
          <p:cNvGrpSpPr>
            <a:grpSpLocks/>
          </p:cNvGrpSpPr>
          <p:nvPr/>
        </p:nvGrpSpPr>
        <p:grpSpPr bwMode="auto">
          <a:xfrm>
            <a:off x="3090573" y="263459"/>
            <a:ext cx="1741648" cy="553873"/>
            <a:chOff x="0" y="973"/>
            <a:chExt cx="7680" cy="2374"/>
          </a:xfrm>
        </p:grpSpPr>
        <p:sp>
          <p:nvSpPr>
            <p:cNvPr id="16" name="AutoShape 3" hidden="1">
              <a:extLst>
                <a:ext uri="{FF2B5EF4-FFF2-40B4-BE49-F238E27FC236}">
                  <a16:creationId xmlns:a16="http://schemas.microsoft.com/office/drawing/2014/main" id="{8E86CEE8-2C1E-45F7-BFA1-BEDA55D35732}"/>
                </a:ext>
              </a:extLst>
            </p:cNvPr>
            <p:cNvSpPr>
              <a:spLocks noChangeAspect="1" noChangeArrowheads="1" noTextEdit="1"/>
            </p:cNvSpPr>
            <p:nvPr userDrawn="1"/>
          </p:nvSpPr>
          <p:spPr bwMode="auto">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sz="1837">
                <a:latin typeface="+mn-lt"/>
              </a:endParaRPr>
            </a:p>
          </p:txBody>
        </p:sp>
        <p:sp>
          <p:nvSpPr>
            <p:cNvPr id="17" name="Freeform 5" hidden="1">
              <a:extLst>
                <a:ext uri="{FF2B5EF4-FFF2-40B4-BE49-F238E27FC236}">
                  <a16:creationId xmlns:a16="http://schemas.microsoft.com/office/drawing/2014/main" id="{EB2102CC-8FC1-437F-921D-FAB1EA6588EC}"/>
                </a:ext>
              </a:extLst>
            </p:cNvPr>
            <p:cNvSpPr>
              <a:spLocks noEditPoints="1"/>
            </p:cNvSpPr>
            <p:nvPr userDrawn="1"/>
          </p:nvSpPr>
          <p:spPr bwMode="auto">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1837">
                <a:latin typeface="+mn-lt"/>
              </a:endParaRPr>
            </a:p>
          </p:txBody>
        </p:sp>
      </p:grpSp>
      <p:sp>
        <p:nvSpPr>
          <p:cNvPr id="29" name="Isosceles Triangle 28">
            <a:extLst>
              <a:ext uri="{FF2B5EF4-FFF2-40B4-BE49-F238E27FC236}">
                <a16:creationId xmlns:a16="http://schemas.microsoft.com/office/drawing/2014/main" id="{EFCD2F8A-3DC4-421F-A722-D929B41B3219}"/>
              </a:ext>
            </a:extLst>
          </p:cNvPr>
          <p:cNvSpPr/>
          <p:nvPr/>
        </p:nvSpPr>
        <p:spPr>
          <a:xfrm rot="5400000">
            <a:off x="-301147" y="4206675"/>
            <a:ext cx="1870184" cy="1267892"/>
          </a:xfrm>
          <a:prstGeom prst="triangle">
            <a:avLst>
              <a:gd name="adj" fmla="val 5804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837" err="1">
              <a:solidFill>
                <a:schemeClr val="tx1"/>
              </a:solidFill>
            </a:endParaRPr>
          </a:p>
        </p:txBody>
      </p:sp>
      <p:sp>
        <p:nvSpPr>
          <p:cNvPr id="4" name="Working Draft Text" hidden="1"/>
          <p:cNvSpPr txBox="1">
            <a:spLocks noChangeArrowheads="1"/>
          </p:cNvSpPr>
          <p:nvPr/>
        </p:nvSpPr>
        <p:spPr bwMode="black">
          <a:xfrm>
            <a:off x="367394" y="121512"/>
            <a:ext cx="9004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s-ES" sz="816" b="1" baseline="0" noProof="0">
                <a:solidFill>
                  <a:schemeClr val="bg1"/>
                </a:solidFill>
                <a:latin typeface="+mn-lt"/>
              </a:rPr>
              <a:t>WORKING DRAFT</a:t>
            </a:r>
          </a:p>
        </p:txBody>
      </p:sp>
      <p:sp>
        <p:nvSpPr>
          <p:cNvPr id="6" name="Working Draft" hidden="1"/>
          <p:cNvSpPr txBox="1">
            <a:spLocks noChangeArrowheads="1"/>
          </p:cNvSpPr>
          <p:nvPr/>
        </p:nvSpPr>
        <p:spPr bwMode="black">
          <a:xfrm>
            <a:off x="367395" y="247124"/>
            <a:ext cx="381578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aseline="0" noProof="0">
                <a:solidFill>
                  <a:schemeClr val="bg1"/>
                </a:solidFill>
                <a:latin typeface="+mn-lt"/>
              </a:rPr>
              <a:t>Last Modified 8/27/2019 06:39 Central Standard Time</a:t>
            </a:r>
            <a:endParaRPr lang="es-ES" sz="816" baseline="0" noProof="0">
              <a:solidFill>
                <a:schemeClr val="bg1"/>
              </a:solidFill>
              <a:latin typeface="+mn-lt"/>
            </a:endParaRPr>
          </a:p>
        </p:txBody>
      </p:sp>
      <p:sp>
        <p:nvSpPr>
          <p:cNvPr id="7" name="Printed" hidden="1"/>
          <p:cNvSpPr txBox="1">
            <a:spLocks noChangeArrowheads="1"/>
          </p:cNvSpPr>
          <p:nvPr/>
        </p:nvSpPr>
        <p:spPr bwMode="black">
          <a:xfrm>
            <a:off x="367396" y="372737"/>
            <a:ext cx="3618996"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s-ES" sz="816" baseline="0" noProof="0">
                <a:solidFill>
                  <a:schemeClr val="bg1"/>
                </a:solidFill>
                <a:latin typeface="+mn-lt"/>
              </a:rPr>
              <a:t>Printed</a:t>
            </a:r>
          </a:p>
        </p:txBody>
      </p:sp>
      <p:sp>
        <p:nvSpPr>
          <p:cNvPr id="13314" name="Title"/>
          <p:cNvSpPr>
            <a:spLocks noGrp="1" noChangeArrowheads="1"/>
          </p:cNvSpPr>
          <p:nvPr>
            <p:ph type="ctrTitle"/>
          </p:nvPr>
        </p:nvSpPr>
        <p:spPr bwMode="gray">
          <a:xfrm>
            <a:off x="390893" y="747982"/>
            <a:ext cx="6357712" cy="502445"/>
          </a:xfrm>
          <a:prstGeom prst="rect">
            <a:avLst/>
          </a:prstGeom>
        </p:spPr>
        <p:txBody>
          <a:bodyPr/>
          <a:lstStyle>
            <a:lvl1pPr>
              <a:defRPr sz="3265" b="0" baseline="0">
                <a:solidFill>
                  <a:schemeClr val="bg1"/>
                </a:solidFill>
                <a:latin typeface="+mj-lt"/>
                <a:ea typeface="+mj-ea"/>
              </a:defRPr>
            </a:lvl1pPr>
          </a:lstStyle>
          <a:p>
            <a:pPr lvl="0" latinLnBrk="0"/>
            <a:r>
              <a:rPr lang="en-US" noProof="0"/>
              <a:t>Click to edit Master title style</a:t>
            </a:r>
            <a:endParaRPr lang="es-ES" noProof="0"/>
          </a:p>
        </p:txBody>
      </p:sp>
      <p:sp>
        <p:nvSpPr>
          <p:cNvPr id="13315" name="Subtitle"/>
          <p:cNvSpPr>
            <a:spLocks noGrp="1" noChangeArrowheads="1"/>
          </p:cNvSpPr>
          <p:nvPr>
            <p:ph type="subTitle" idx="1"/>
          </p:nvPr>
        </p:nvSpPr>
        <p:spPr bwMode="gray">
          <a:xfrm>
            <a:off x="390893" y="2628591"/>
            <a:ext cx="3720470" cy="219820"/>
          </a:xfrm>
          <a:prstGeom prst="rect">
            <a:avLst/>
          </a:prstGeom>
        </p:spPr>
        <p:txBody>
          <a:bodyPr wrap="square">
            <a:spAutoFit/>
          </a:bodyPr>
          <a:lstStyle>
            <a:lvl1pPr>
              <a:defRPr sz="1428" cap="all" baseline="0">
                <a:solidFill>
                  <a:schemeClr val="bg1"/>
                </a:solidFill>
                <a:latin typeface="+mn-lt"/>
                <a:ea typeface="+mn-ea"/>
              </a:defRPr>
            </a:lvl1pPr>
          </a:lstStyle>
          <a:p>
            <a:pPr lvl="0" latinLnBrk="0"/>
            <a:r>
              <a:rPr lang="en-US" noProof="0"/>
              <a:t>Click to edit Master subtitle style</a:t>
            </a:r>
            <a:endParaRPr lang="es-ES" noProof="0"/>
          </a:p>
        </p:txBody>
      </p:sp>
      <p:sp>
        <p:nvSpPr>
          <p:cNvPr id="57" name="Document type" hidden="1"/>
          <p:cNvSpPr txBox="1">
            <a:spLocks noChangeArrowheads="1"/>
          </p:cNvSpPr>
          <p:nvPr/>
        </p:nvSpPr>
        <p:spPr bwMode="gray">
          <a:xfrm>
            <a:off x="390893" y="3098719"/>
            <a:ext cx="3720470"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s-ES" sz="1428" baseline="0" noProof="0">
                <a:solidFill>
                  <a:schemeClr val="bg1"/>
                </a:solidFill>
                <a:latin typeface="+mn-lt"/>
              </a:rPr>
              <a:t>Tipo de Documento | Fecha</a:t>
            </a:r>
          </a:p>
        </p:txBody>
      </p:sp>
      <p:sp>
        <p:nvSpPr>
          <p:cNvPr id="26" name="Disclaimer-Spanish (Spain Traditional Sort)" hidden="1"/>
          <p:cNvSpPr>
            <a:spLocks noChangeArrowheads="1"/>
          </p:cNvSpPr>
          <p:nvPr/>
        </p:nvSpPr>
        <p:spPr bwMode="black">
          <a:xfrm>
            <a:off x="147169" y="6494736"/>
            <a:ext cx="2943404" cy="256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defTabSz="1094990" eaLnBrk="0" hangingPunct="0"/>
            <a:r>
              <a:rPr lang="es-CO" sz="816" baseline="0">
                <a:solidFill>
                  <a:schemeClr val="bg1"/>
                </a:solidFill>
                <a:latin typeface="+mn-lt"/>
              </a:rPr>
              <a:t>DOCUMENTO CONFIDENCIAL</a:t>
            </a:r>
          </a:p>
          <a:p>
            <a:pPr defTabSz="1094990" eaLnBrk="0" hangingPunct="0"/>
            <a:r>
              <a:rPr lang="es-CO" sz="816" baseline="0">
                <a:solidFill>
                  <a:schemeClr val="bg1"/>
                </a:solidFill>
                <a:latin typeface="+mn-lt"/>
              </a:rPr>
              <a:t>Queda prohibido su uso y distribución sin autorización expresa</a:t>
            </a:r>
            <a:endParaRPr lang="es-ES" sz="816" baseline="0">
              <a:solidFill>
                <a:schemeClr val="bg1"/>
              </a:solidFill>
              <a:latin typeface="+mn-lt"/>
            </a:endParaRPr>
          </a:p>
        </p:txBody>
      </p:sp>
    </p:spTree>
    <p:extLst>
      <p:ext uri="{BB962C8B-B14F-4D97-AF65-F5344CB8AC3E}">
        <p14:creationId xmlns:p14="http://schemas.microsoft.com/office/powerpoint/2010/main" val="9396689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endParaRPr lang="es-ES"/>
          </a:p>
        </p:txBody>
      </p:sp>
      <p:sp>
        <p:nvSpPr>
          <p:cNvPr id="8" name="Slide Number"/>
          <p:cNvSpPr txBox="1">
            <a:spLocks/>
          </p:cNvSpPr>
          <p:nvPr/>
        </p:nvSpPr>
        <p:spPr bwMode="gray">
          <a:xfrm>
            <a:off x="11652053" y="6409991"/>
            <a:ext cx="188093" cy="128097"/>
          </a:xfrm>
          <a:prstGeom prst="rect">
            <a:avLst/>
          </a:prstGeom>
        </p:spPr>
        <p:txBody>
          <a:bodyPr vert="horz" wrap="none" lIns="0" tIns="0" rIns="0" bIns="0" rtlCol="0" anchor="ctr">
            <a:spAutoFit/>
          </a:bodyPr>
          <a:lstStyle>
            <a:defPPr>
              <a:defRPr lang="es-ES"/>
            </a:defPPr>
            <a:lvl1pPr>
              <a:defRPr sz="1000" baseline="0">
                <a:latin typeface="+mn-lt"/>
              </a:defRPr>
            </a:lvl1pPr>
          </a:lstStyle>
          <a:p>
            <a:pPr lvl="0"/>
            <a:fld id="{42C328C1-A84F-4A39-A664-DBA00541A8C6}" type="slidenum">
              <a:rPr lang="es-ES" sz="816" smtClean="0">
                <a:solidFill>
                  <a:schemeClr val="accent6"/>
                </a:solidFill>
              </a:rPr>
              <a:pPr lvl="0"/>
              <a:t>‹Nº›</a:t>
            </a:fld>
            <a:endParaRPr lang="es-ES" sz="816">
              <a:solidFill>
                <a:schemeClr val="accent6"/>
              </a:solidFill>
            </a:endParaRPr>
          </a:p>
        </p:txBody>
      </p:sp>
      <p:sp>
        <p:nvSpPr>
          <p:cNvPr id="9" name="SlideLogoText" hidden="1"/>
          <p:cNvSpPr>
            <a:spLocks noChangeArrowheads="1"/>
          </p:cNvSpPr>
          <p:nvPr>
            <p:custDataLst>
              <p:tags r:id="rId1"/>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s-ES" sz="816" baseline="0" noProof="0">
                <a:solidFill>
                  <a:schemeClr val="accent6"/>
                </a:solidFill>
                <a:latin typeface="+mn-lt"/>
                <a:ea typeface="+mn-ea"/>
              </a:rPr>
              <a:t>McKinsey &amp; Company</a:t>
            </a:r>
          </a:p>
        </p:txBody>
      </p:sp>
      <p:sp>
        <p:nvSpPr>
          <p:cNvPr id="5"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s-ES" sz="612" baseline="0" noProof="0">
              <a:solidFill>
                <a:schemeClr val="accent6"/>
              </a:solidFill>
              <a:latin typeface="+mn-lt"/>
              <a:ea typeface="+mn-ea"/>
            </a:endParaRPr>
          </a:p>
        </p:txBody>
      </p:sp>
      <p:pic>
        <p:nvPicPr>
          <p:cNvPr id="6" name="Imagen 5">
            <a:extLst>
              <a:ext uri="{FF2B5EF4-FFF2-40B4-BE49-F238E27FC236}">
                <a16:creationId xmlns:a16="http://schemas.microsoft.com/office/drawing/2014/main" id="{8BD4377D-3D28-4068-BD37-5FDE5350B1B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0017" t="13966" r="12683" b="29231"/>
          <a:stretch/>
        </p:blipFill>
        <p:spPr>
          <a:xfrm>
            <a:off x="10088738" y="6155680"/>
            <a:ext cx="1356174" cy="610399"/>
          </a:xfrm>
          <a:prstGeom prst="rect">
            <a:avLst/>
          </a:prstGeom>
        </p:spPr>
      </p:pic>
      <p:cxnSp>
        <p:nvCxnSpPr>
          <p:cNvPr id="4" name="Straight Connector 3">
            <a:extLst>
              <a:ext uri="{FF2B5EF4-FFF2-40B4-BE49-F238E27FC236}">
                <a16:creationId xmlns:a16="http://schemas.microsoft.com/office/drawing/2014/main" id="{9C256ADF-7EE7-4BD6-BAD6-E17061C626F9}"/>
              </a:ext>
            </a:extLst>
          </p:cNvPr>
          <p:cNvCxnSpPr/>
          <p:nvPr/>
        </p:nvCxnSpPr>
        <p:spPr>
          <a:xfrm>
            <a:off x="11493879" y="6321217"/>
            <a:ext cx="0" cy="305644"/>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2FF67A-19B3-4143-937B-376342A39852}"/>
              </a:ext>
            </a:extLst>
          </p:cNvPr>
          <p:cNvCxnSpPr/>
          <p:nvPr/>
        </p:nvCxnSpPr>
        <p:spPr>
          <a:xfrm>
            <a:off x="10777293" y="6321217"/>
            <a:ext cx="0" cy="305644"/>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8852181"/>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ido_En Blanco">
    <p:spTree>
      <p:nvGrpSpPr>
        <p:cNvPr id="1" name=""/>
        <p:cNvGrpSpPr/>
        <p:nvPr/>
      </p:nvGrpSpPr>
      <p:grpSpPr>
        <a:xfrm>
          <a:off x="0" y="0"/>
          <a:ext cx="0" cy="0"/>
          <a:chOff x="0" y="0"/>
          <a:chExt cx="0" cy="0"/>
        </a:xfrm>
      </p:grpSpPr>
      <p:sp>
        <p:nvSpPr>
          <p:cNvPr id="3" name="Marcador de número de diapositiva 2"/>
          <p:cNvSpPr>
            <a:spLocks noGrp="1"/>
          </p:cNvSpPr>
          <p:nvPr>
            <p:ph type="sldNum" sz="quarter" idx="10"/>
          </p:nvPr>
        </p:nvSpPr>
        <p:spPr/>
        <p:txBody>
          <a:bodyPr/>
          <a:lstStyle/>
          <a:p>
            <a:fld id="{02F25750-4209-4357-A72F-45445C8044EF}" type="slidenum">
              <a:rPr lang="es-CO" smtClean="0"/>
              <a:pPr/>
              <a:t>‹Nº›</a:t>
            </a:fld>
            <a:endParaRPr lang="es-CO"/>
          </a:p>
        </p:txBody>
      </p:sp>
    </p:spTree>
    <p:extLst>
      <p:ext uri="{BB962C8B-B14F-4D97-AF65-F5344CB8AC3E}">
        <p14:creationId xmlns:p14="http://schemas.microsoft.com/office/powerpoint/2010/main" val="5442918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2D0DCE-CDCF-4279-9C42-4592E8D9FAB3}"/>
              </a:ext>
            </a:extLst>
          </p:cNvPr>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Diapositiva de think-cell" r:id="rId5" imgW="386" imgH="386" progId="TCLayout.ActiveDocument.1">
                  <p:embed/>
                </p:oleObj>
              </mc:Choice>
              <mc:Fallback>
                <p:oleObj name="Diapositiva de think-cell" r:id="rId5" imgW="386" imgH="386" progId="TCLayout.ActiveDocument.1">
                  <p:embed/>
                  <p:pic>
                    <p:nvPicPr>
                      <p:cNvPr id="3" name="Object 2" hidden="1">
                        <a:extLst>
                          <a:ext uri="{FF2B5EF4-FFF2-40B4-BE49-F238E27FC236}">
                            <a16:creationId xmlns:a16="http://schemas.microsoft.com/office/drawing/2014/main" id="{9C2D0DCE-CDCF-4279-9C42-4592E8D9FAB3}"/>
                          </a:ext>
                        </a:extLst>
                      </p:cNvPr>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6935DEC-47F0-49DB-96EC-E2391B556E11}"/>
              </a:ext>
            </a:extLst>
          </p:cNvPr>
          <p:cNvSpPr/>
          <p:nvPr>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571" b="0"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12" name="Freeform: Shape 11">
            <a:extLst>
              <a:ext uri="{FF2B5EF4-FFF2-40B4-BE49-F238E27FC236}">
                <a16:creationId xmlns:a16="http://schemas.microsoft.com/office/drawing/2014/main" id="{FB3C6511-9021-4F94-B9FB-6664A8A5B8CC}"/>
              </a:ext>
            </a:extLst>
          </p:cNvPr>
          <p:cNvSpPr/>
          <p:nvPr/>
        </p:nvSpPr>
        <p:spPr>
          <a:xfrm>
            <a:off x="0" y="0"/>
            <a:ext cx="5864858" cy="3484012"/>
          </a:xfrm>
          <a:custGeom>
            <a:avLst/>
            <a:gdLst>
              <a:gd name="connsiteX0" fmla="*/ 0 w 10220960"/>
              <a:gd name="connsiteY0" fmla="*/ 0 h 5130800"/>
              <a:gd name="connsiteX1" fmla="*/ 0 w 10220960"/>
              <a:gd name="connsiteY1" fmla="*/ 3759200 h 5130800"/>
              <a:gd name="connsiteX2" fmla="*/ 1666240 w 10220960"/>
              <a:gd name="connsiteY2" fmla="*/ 5130800 h 5130800"/>
              <a:gd name="connsiteX3" fmla="*/ 10220960 w 10220960"/>
              <a:gd name="connsiteY3" fmla="*/ 20320 h 5130800"/>
              <a:gd name="connsiteX4" fmla="*/ 0 w 10220960"/>
              <a:gd name="connsiteY4" fmla="*/ 0 h 5130800"/>
              <a:gd name="connsiteX0" fmla="*/ 0 w 10220960"/>
              <a:gd name="connsiteY0" fmla="*/ 0 h 5130800"/>
              <a:gd name="connsiteX1" fmla="*/ 0 w 10220960"/>
              <a:gd name="connsiteY1" fmla="*/ 3759200 h 5130800"/>
              <a:gd name="connsiteX2" fmla="*/ 1666240 w 10220960"/>
              <a:gd name="connsiteY2" fmla="*/ 5130800 h 5130800"/>
              <a:gd name="connsiteX3" fmla="*/ 10220960 w 10220960"/>
              <a:gd name="connsiteY3" fmla="*/ 10160 h 5130800"/>
              <a:gd name="connsiteX4" fmla="*/ 0 w 10220960"/>
              <a:gd name="connsiteY4" fmla="*/ 0 h 5130800"/>
              <a:gd name="connsiteX0" fmla="*/ 0 w 10231120"/>
              <a:gd name="connsiteY0" fmla="*/ 0 h 5130800"/>
              <a:gd name="connsiteX1" fmla="*/ 0 w 10231120"/>
              <a:gd name="connsiteY1" fmla="*/ 3759200 h 5130800"/>
              <a:gd name="connsiteX2" fmla="*/ 1666240 w 10231120"/>
              <a:gd name="connsiteY2" fmla="*/ 5130800 h 5130800"/>
              <a:gd name="connsiteX3" fmla="*/ 10231120 w 10231120"/>
              <a:gd name="connsiteY3" fmla="*/ 0 h 5130800"/>
              <a:gd name="connsiteX4" fmla="*/ 0 w 10231120"/>
              <a:gd name="connsiteY4" fmla="*/ 0 h 5130800"/>
              <a:gd name="connsiteX0" fmla="*/ 0 w 10231120"/>
              <a:gd name="connsiteY0" fmla="*/ 0 h 5310929"/>
              <a:gd name="connsiteX1" fmla="*/ 0 w 10231120"/>
              <a:gd name="connsiteY1" fmla="*/ 3759200 h 5310929"/>
              <a:gd name="connsiteX2" fmla="*/ 1598692 w 10231120"/>
              <a:gd name="connsiteY2" fmla="*/ 5310929 h 5310929"/>
              <a:gd name="connsiteX3" fmla="*/ 10231120 w 10231120"/>
              <a:gd name="connsiteY3" fmla="*/ 0 h 5310929"/>
              <a:gd name="connsiteX4" fmla="*/ 0 w 10231120"/>
              <a:gd name="connsiteY4" fmla="*/ 0 h 5310929"/>
              <a:gd name="connsiteX0" fmla="*/ 0 w 10231120"/>
              <a:gd name="connsiteY0" fmla="*/ 0 h 5142149"/>
              <a:gd name="connsiteX1" fmla="*/ 0 w 10231120"/>
              <a:gd name="connsiteY1" fmla="*/ 3759200 h 5142149"/>
              <a:gd name="connsiteX2" fmla="*/ 1857628 w 10231120"/>
              <a:gd name="connsiteY2" fmla="*/ 5142149 h 5142149"/>
              <a:gd name="connsiteX3" fmla="*/ 10231120 w 10231120"/>
              <a:gd name="connsiteY3" fmla="*/ 0 h 5142149"/>
              <a:gd name="connsiteX4" fmla="*/ 0 w 10231120"/>
              <a:gd name="connsiteY4" fmla="*/ 0 h 5142149"/>
              <a:gd name="connsiteX0" fmla="*/ 0 w 10231120"/>
              <a:gd name="connsiteY0" fmla="*/ 0 h 5209661"/>
              <a:gd name="connsiteX1" fmla="*/ 0 w 10231120"/>
              <a:gd name="connsiteY1" fmla="*/ 3759200 h 5209661"/>
              <a:gd name="connsiteX2" fmla="*/ 1722531 w 10231120"/>
              <a:gd name="connsiteY2" fmla="*/ 5209661 h 5209661"/>
              <a:gd name="connsiteX3" fmla="*/ 10231120 w 10231120"/>
              <a:gd name="connsiteY3" fmla="*/ 0 h 5209661"/>
              <a:gd name="connsiteX4" fmla="*/ 0 w 10231120"/>
              <a:gd name="connsiteY4" fmla="*/ 0 h 5209661"/>
              <a:gd name="connsiteX0" fmla="*/ 0 w 10231120"/>
              <a:gd name="connsiteY0" fmla="*/ 0 h 6074571"/>
              <a:gd name="connsiteX1" fmla="*/ 0 w 10231120"/>
              <a:gd name="connsiteY1" fmla="*/ 3759200 h 6074571"/>
              <a:gd name="connsiteX2" fmla="*/ 2741756 w 10231120"/>
              <a:gd name="connsiteY2" fmla="*/ 6074571 h 6074571"/>
              <a:gd name="connsiteX3" fmla="*/ 10231120 w 10231120"/>
              <a:gd name="connsiteY3" fmla="*/ 0 h 6074571"/>
              <a:gd name="connsiteX4" fmla="*/ 0 w 10231120"/>
              <a:gd name="connsiteY4" fmla="*/ 0 h 6074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31120" h="6074571">
                <a:moveTo>
                  <a:pt x="0" y="0"/>
                </a:moveTo>
                <a:lnTo>
                  <a:pt x="0" y="3759200"/>
                </a:lnTo>
                <a:lnTo>
                  <a:pt x="2741756" y="6074571"/>
                </a:lnTo>
                <a:lnTo>
                  <a:pt x="10231120" y="0"/>
                </a:lnTo>
                <a:lnTo>
                  <a:pt x="0" y="0"/>
                </a:lnTo>
                <a:close/>
              </a:path>
            </a:pathLst>
          </a:custGeom>
          <a:solidFill>
            <a:schemeClr val="tx2">
              <a:alpha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lvl="0" algn="ctr"/>
            <a:endParaRPr lang="es-CO" sz="1837" err="1">
              <a:solidFill>
                <a:schemeClr val="tx1"/>
              </a:solidFill>
            </a:endParaRPr>
          </a:p>
        </p:txBody>
      </p:sp>
      <p:sp>
        <p:nvSpPr>
          <p:cNvPr id="13" name="Isosceles Triangle 12">
            <a:extLst>
              <a:ext uri="{FF2B5EF4-FFF2-40B4-BE49-F238E27FC236}">
                <a16:creationId xmlns:a16="http://schemas.microsoft.com/office/drawing/2014/main" id="{51C5CF7B-3EBA-404B-AD28-C33560F6373D}"/>
              </a:ext>
            </a:extLst>
          </p:cNvPr>
          <p:cNvSpPr/>
          <p:nvPr/>
        </p:nvSpPr>
        <p:spPr>
          <a:xfrm rot="5400000">
            <a:off x="-452077" y="2975662"/>
            <a:ext cx="2242800" cy="1338646"/>
          </a:xfrm>
          <a:prstGeom prst="triangle">
            <a:avLst>
              <a:gd name="adj" fmla="val 51521"/>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837" err="1">
              <a:solidFill>
                <a:schemeClr val="tx1"/>
              </a:solidFill>
            </a:endParaRPr>
          </a:p>
        </p:txBody>
      </p:sp>
      <p:sp>
        <p:nvSpPr>
          <p:cNvPr id="2" name="Title 1"/>
          <p:cNvSpPr>
            <a:spLocks noGrp="1"/>
          </p:cNvSpPr>
          <p:nvPr>
            <p:ph type="title"/>
          </p:nvPr>
        </p:nvSpPr>
        <p:spPr>
          <a:xfrm>
            <a:off x="520917" y="234865"/>
            <a:ext cx="11366553" cy="549549"/>
          </a:xfrm>
        </p:spPr>
        <p:txBody>
          <a:bodyPr/>
          <a:lstStyle>
            <a:lvl1pPr>
              <a:defRPr sz="3571">
                <a:solidFill>
                  <a:schemeClr val="bg1"/>
                </a:solidFill>
              </a:defRPr>
            </a:lvl1pPr>
          </a:lstStyle>
          <a:p>
            <a:r>
              <a:rPr lang="en-US"/>
              <a:t>Click to edit Master title style</a:t>
            </a:r>
            <a:endParaRPr lang="es-ES"/>
          </a:p>
        </p:txBody>
      </p:sp>
      <p:sp>
        <p:nvSpPr>
          <p:cNvPr id="10" name="SlideLogoText" hidden="1"/>
          <p:cNvSpPr>
            <a:spLocks noChangeArrowheads="1"/>
          </p:cNvSpPr>
          <p:nvPr>
            <p:custDataLst>
              <p:tags r:id="rId3"/>
            </p:custDataLst>
          </p:nvPr>
        </p:nvSpPr>
        <p:spPr bwMode="black">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s-ES" sz="816" baseline="0" noProof="0">
                <a:solidFill>
                  <a:schemeClr val="bg1"/>
                </a:solidFill>
                <a:latin typeface="+mn-lt"/>
                <a:ea typeface="+mn-ea"/>
              </a:rPr>
              <a:t>McKinsey &amp; Company</a:t>
            </a:r>
          </a:p>
        </p:txBody>
      </p:sp>
      <p:sp>
        <p:nvSpPr>
          <p:cNvPr id="5"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s-ES" sz="612" baseline="0" noProof="0">
              <a:solidFill>
                <a:schemeClr val="accent6"/>
              </a:solidFill>
              <a:latin typeface="+mn-lt"/>
              <a:ea typeface="+mn-ea"/>
            </a:endParaRPr>
          </a:p>
        </p:txBody>
      </p:sp>
      <p:pic>
        <p:nvPicPr>
          <p:cNvPr id="18" name="Imagen 5">
            <a:extLst>
              <a:ext uri="{FF2B5EF4-FFF2-40B4-BE49-F238E27FC236}">
                <a16:creationId xmlns:a16="http://schemas.microsoft.com/office/drawing/2014/main" id="{65174F25-BF49-48CC-A0E9-3A858A266FF3}"/>
              </a:ext>
            </a:extLst>
          </p:cNvPr>
          <p:cNvPicPr>
            <a:picLocks noChangeAspect="1"/>
          </p:cNvPicPr>
          <p:nvPr/>
        </p:nvPicPr>
        <p:blipFill rotWithShape="1">
          <a:blip r:embed="rId7" cstate="screen">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a:ext>
            </a:extLst>
          </a:blip>
          <a:srcRect l="10017" t="13966" r="12683" b="29231"/>
          <a:stretch/>
        </p:blipFill>
        <p:spPr>
          <a:xfrm>
            <a:off x="520918" y="1634523"/>
            <a:ext cx="1974585" cy="888739"/>
          </a:xfrm>
          <a:prstGeom prst="rect">
            <a:avLst/>
          </a:prstGeom>
        </p:spPr>
      </p:pic>
      <p:sp>
        <p:nvSpPr>
          <p:cNvPr id="22" name="Freeform: Shape 21">
            <a:extLst>
              <a:ext uri="{FF2B5EF4-FFF2-40B4-BE49-F238E27FC236}">
                <a16:creationId xmlns:a16="http://schemas.microsoft.com/office/drawing/2014/main" id="{A23135CA-97A1-4085-A6F2-CECBD884991E}"/>
              </a:ext>
            </a:extLst>
          </p:cNvPr>
          <p:cNvSpPr/>
          <p:nvPr/>
        </p:nvSpPr>
        <p:spPr>
          <a:xfrm rot="10800000">
            <a:off x="9648737" y="5347174"/>
            <a:ext cx="2543263" cy="1510823"/>
          </a:xfrm>
          <a:custGeom>
            <a:avLst/>
            <a:gdLst>
              <a:gd name="connsiteX0" fmla="*/ 0 w 10220960"/>
              <a:gd name="connsiteY0" fmla="*/ 0 h 5130800"/>
              <a:gd name="connsiteX1" fmla="*/ 0 w 10220960"/>
              <a:gd name="connsiteY1" fmla="*/ 3759200 h 5130800"/>
              <a:gd name="connsiteX2" fmla="*/ 1666240 w 10220960"/>
              <a:gd name="connsiteY2" fmla="*/ 5130800 h 5130800"/>
              <a:gd name="connsiteX3" fmla="*/ 10220960 w 10220960"/>
              <a:gd name="connsiteY3" fmla="*/ 20320 h 5130800"/>
              <a:gd name="connsiteX4" fmla="*/ 0 w 10220960"/>
              <a:gd name="connsiteY4" fmla="*/ 0 h 5130800"/>
              <a:gd name="connsiteX0" fmla="*/ 0 w 10220960"/>
              <a:gd name="connsiteY0" fmla="*/ 0 h 5130800"/>
              <a:gd name="connsiteX1" fmla="*/ 0 w 10220960"/>
              <a:gd name="connsiteY1" fmla="*/ 3759200 h 5130800"/>
              <a:gd name="connsiteX2" fmla="*/ 1666240 w 10220960"/>
              <a:gd name="connsiteY2" fmla="*/ 5130800 h 5130800"/>
              <a:gd name="connsiteX3" fmla="*/ 10220960 w 10220960"/>
              <a:gd name="connsiteY3" fmla="*/ 10160 h 5130800"/>
              <a:gd name="connsiteX4" fmla="*/ 0 w 10220960"/>
              <a:gd name="connsiteY4" fmla="*/ 0 h 5130800"/>
              <a:gd name="connsiteX0" fmla="*/ 0 w 10231120"/>
              <a:gd name="connsiteY0" fmla="*/ 0 h 5130800"/>
              <a:gd name="connsiteX1" fmla="*/ 0 w 10231120"/>
              <a:gd name="connsiteY1" fmla="*/ 3759200 h 5130800"/>
              <a:gd name="connsiteX2" fmla="*/ 1666240 w 10231120"/>
              <a:gd name="connsiteY2" fmla="*/ 5130800 h 5130800"/>
              <a:gd name="connsiteX3" fmla="*/ 10231120 w 10231120"/>
              <a:gd name="connsiteY3" fmla="*/ 0 h 5130800"/>
              <a:gd name="connsiteX4" fmla="*/ 0 w 10231120"/>
              <a:gd name="connsiteY4" fmla="*/ 0 h 5130800"/>
              <a:gd name="connsiteX0" fmla="*/ 0 w 10231120"/>
              <a:gd name="connsiteY0" fmla="*/ 0 h 5310929"/>
              <a:gd name="connsiteX1" fmla="*/ 0 w 10231120"/>
              <a:gd name="connsiteY1" fmla="*/ 3759200 h 5310929"/>
              <a:gd name="connsiteX2" fmla="*/ 1598692 w 10231120"/>
              <a:gd name="connsiteY2" fmla="*/ 5310929 h 5310929"/>
              <a:gd name="connsiteX3" fmla="*/ 10231120 w 10231120"/>
              <a:gd name="connsiteY3" fmla="*/ 0 h 5310929"/>
              <a:gd name="connsiteX4" fmla="*/ 0 w 10231120"/>
              <a:gd name="connsiteY4" fmla="*/ 0 h 5310929"/>
              <a:gd name="connsiteX0" fmla="*/ 0 w 10231120"/>
              <a:gd name="connsiteY0" fmla="*/ 0 h 5142149"/>
              <a:gd name="connsiteX1" fmla="*/ 0 w 10231120"/>
              <a:gd name="connsiteY1" fmla="*/ 3759200 h 5142149"/>
              <a:gd name="connsiteX2" fmla="*/ 1857628 w 10231120"/>
              <a:gd name="connsiteY2" fmla="*/ 5142149 h 5142149"/>
              <a:gd name="connsiteX3" fmla="*/ 10231120 w 10231120"/>
              <a:gd name="connsiteY3" fmla="*/ 0 h 5142149"/>
              <a:gd name="connsiteX4" fmla="*/ 0 w 10231120"/>
              <a:gd name="connsiteY4" fmla="*/ 0 h 5142149"/>
              <a:gd name="connsiteX0" fmla="*/ 0 w 10231120"/>
              <a:gd name="connsiteY0" fmla="*/ 0 h 5209661"/>
              <a:gd name="connsiteX1" fmla="*/ 0 w 10231120"/>
              <a:gd name="connsiteY1" fmla="*/ 3759200 h 5209661"/>
              <a:gd name="connsiteX2" fmla="*/ 1722531 w 10231120"/>
              <a:gd name="connsiteY2" fmla="*/ 5209661 h 5209661"/>
              <a:gd name="connsiteX3" fmla="*/ 10231120 w 10231120"/>
              <a:gd name="connsiteY3" fmla="*/ 0 h 5209661"/>
              <a:gd name="connsiteX4" fmla="*/ 0 w 10231120"/>
              <a:gd name="connsiteY4" fmla="*/ 0 h 5209661"/>
              <a:gd name="connsiteX0" fmla="*/ 0 w 10231120"/>
              <a:gd name="connsiteY0" fmla="*/ 0 h 6074571"/>
              <a:gd name="connsiteX1" fmla="*/ 0 w 10231120"/>
              <a:gd name="connsiteY1" fmla="*/ 3759200 h 6074571"/>
              <a:gd name="connsiteX2" fmla="*/ 2741756 w 10231120"/>
              <a:gd name="connsiteY2" fmla="*/ 6074571 h 6074571"/>
              <a:gd name="connsiteX3" fmla="*/ 10231120 w 10231120"/>
              <a:gd name="connsiteY3" fmla="*/ 0 h 6074571"/>
              <a:gd name="connsiteX4" fmla="*/ 0 w 10231120"/>
              <a:gd name="connsiteY4" fmla="*/ 0 h 6074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31120" h="6074571">
                <a:moveTo>
                  <a:pt x="0" y="0"/>
                </a:moveTo>
                <a:lnTo>
                  <a:pt x="0" y="3759200"/>
                </a:lnTo>
                <a:lnTo>
                  <a:pt x="2741756" y="6074571"/>
                </a:lnTo>
                <a:lnTo>
                  <a:pt x="10231120" y="0"/>
                </a:lnTo>
                <a:lnTo>
                  <a:pt x="0" y="0"/>
                </a:lnTo>
                <a:close/>
              </a:path>
            </a:pathLst>
          </a:custGeom>
          <a:solidFill>
            <a:schemeClr val="tx2">
              <a:alpha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lvl="0" algn="ctr"/>
            <a:endParaRPr lang="es-CO" sz="1837" err="1">
              <a:solidFill>
                <a:schemeClr val="tx1"/>
              </a:solidFill>
            </a:endParaRPr>
          </a:p>
        </p:txBody>
      </p:sp>
      <p:sp>
        <p:nvSpPr>
          <p:cNvPr id="23" name="Isosceles Triangle 22">
            <a:extLst>
              <a:ext uri="{FF2B5EF4-FFF2-40B4-BE49-F238E27FC236}">
                <a16:creationId xmlns:a16="http://schemas.microsoft.com/office/drawing/2014/main" id="{A6299710-8558-4D8F-B2F7-688E18B94C4C}"/>
              </a:ext>
            </a:extLst>
          </p:cNvPr>
          <p:cNvSpPr/>
          <p:nvPr/>
        </p:nvSpPr>
        <p:spPr>
          <a:xfrm rot="16200000">
            <a:off x="11415464" y="4987120"/>
            <a:ext cx="972579" cy="580497"/>
          </a:xfrm>
          <a:prstGeom prst="triangle">
            <a:avLst>
              <a:gd name="adj" fmla="val 51521"/>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lvl="0" algn="ctr"/>
            <a:endParaRPr lang="es-CO" sz="1837" err="1">
              <a:solidFill>
                <a:schemeClr val="tx1"/>
              </a:solidFill>
            </a:endParaRPr>
          </a:p>
        </p:txBody>
      </p:sp>
      <p:sp>
        <p:nvSpPr>
          <p:cNvPr id="9" name="Slide Number"/>
          <p:cNvSpPr txBox="1">
            <a:spLocks/>
          </p:cNvSpPr>
          <p:nvPr/>
        </p:nvSpPr>
        <p:spPr bwMode="black">
          <a:xfrm>
            <a:off x="11652053" y="6409991"/>
            <a:ext cx="188093" cy="128097"/>
          </a:xfrm>
          <a:prstGeom prst="rect">
            <a:avLst/>
          </a:prstGeom>
        </p:spPr>
        <p:txBody>
          <a:bodyPr vert="horz" wrap="none" lIns="0" tIns="0" rIns="0" bIns="0" rtlCol="0" anchor="ctr">
            <a:spAutoFit/>
          </a:bodyPr>
          <a:lstStyle>
            <a:defPPr>
              <a:defRPr lang="es-ES"/>
            </a:defPPr>
            <a:lvl1pPr>
              <a:defRPr sz="1000" baseline="0">
                <a:latin typeface="+mn-lt"/>
              </a:defRPr>
            </a:lvl1pPr>
          </a:lstStyle>
          <a:p>
            <a:pPr lvl="0"/>
            <a:fld id="{42C328C1-A84F-4A39-A664-DBA00541A8C6}" type="slidenum">
              <a:rPr lang="es-ES" sz="816" smtClean="0">
                <a:solidFill>
                  <a:schemeClr val="bg1"/>
                </a:solidFill>
              </a:rPr>
              <a:pPr lvl="0"/>
              <a:t>‹Nº›</a:t>
            </a:fld>
            <a:endParaRPr lang="es-ES" sz="816">
              <a:solidFill>
                <a:schemeClr val="bg1"/>
              </a:solidFill>
            </a:endParaRPr>
          </a:p>
        </p:txBody>
      </p:sp>
      <p:cxnSp>
        <p:nvCxnSpPr>
          <p:cNvPr id="19" name="Straight Connector 18">
            <a:extLst>
              <a:ext uri="{FF2B5EF4-FFF2-40B4-BE49-F238E27FC236}">
                <a16:creationId xmlns:a16="http://schemas.microsoft.com/office/drawing/2014/main" id="{B253CD2E-1E01-4C1C-B0D0-9E4FFF45EE74}"/>
              </a:ext>
            </a:extLst>
          </p:cNvPr>
          <p:cNvCxnSpPr/>
          <p:nvPr/>
        </p:nvCxnSpPr>
        <p:spPr>
          <a:xfrm>
            <a:off x="11493879" y="6321217"/>
            <a:ext cx="0" cy="305644"/>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3259044"/>
      </p:ext>
    </p:extLst>
  </p:cSld>
  <p:clrMapOvr>
    <a:masterClrMapping/>
  </p:clrMapOvr>
  <p:extLst>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723D-443E-4746-A65F-E087C0A43D84}"/>
              </a:ext>
            </a:extLst>
          </p:cNvPr>
          <p:cNvSpPr>
            <a:spLocks noGrp="1"/>
          </p:cNvSpPr>
          <p:nvPr>
            <p:ph type="title"/>
          </p:nvPr>
        </p:nvSpPr>
        <p:spPr/>
        <p:txBody>
          <a:bodyPr/>
          <a:lstStyle/>
          <a:p>
            <a:r>
              <a:rPr lang="en-US"/>
              <a:t>Click to edit Master title style</a:t>
            </a:r>
            <a:endParaRPr lang="es-CO"/>
          </a:p>
        </p:txBody>
      </p:sp>
      <p:sp>
        <p:nvSpPr>
          <p:cNvPr id="3" name="Content Placeholder 2">
            <a:extLst>
              <a:ext uri="{FF2B5EF4-FFF2-40B4-BE49-F238E27FC236}">
                <a16:creationId xmlns:a16="http://schemas.microsoft.com/office/drawing/2014/main" id="{114477D9-A47B-4436-8B16-5BB9047A66F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CO"/>
          </a:p>
        </p:txBody>
      </p:sp>
    </p:spTree>
    <p:extLst>
      <p:ext uri="{BB962C8B-B14F-4D97-AF65-F5344CB8AC3E}">
        <p14:creationId xmlns:p14="http://schemas.microsoft.com/office/powerpoint/2010/main" val="19213206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82466960"/>
              </p:ext>
            </p:ext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B1BD27B-DA0D-4005-880D-6F36CC0E8F7A}"/>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s-CO" sz="3265" b="0"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23" name="Imagen 7">
            <a:extLst>
              <a:ext uri="{FF2B5EF4-FFF2-40B4-BE49-F238E27FC236}">
                <a16:creationId xmlns:a16="http://schemas.microsoft.com/office/drawing/2014/main" id="{3E07FF20-6D9C-430B-B0A9-077587E6CC06}"/>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2"/>
            <a:ext cx="12428776" cy="6997297"/>
          </a:xfrm>
          <a:prstGeom prst="rect">
            <a:avLst/>
          </a:prstGeom>
        </p:spPr>
      </p:pic>
      <p:sp>
        <p:nvSpPr>
          <p:cNvPr id="5" name="doc id" hidden="1"/>
          <p:cNvSpPr txBox="1">
            <a:spLocks noChangeArrowheads="1"/>
          </p:cNvSpPr>
          <p:nvPr userDrawn="1"/>
        </p:nvSpPr>
        <p:spPr bwMode="auto">
          <a:xfrm>
            <a:off x="11595907"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s-CO" sz="1089" baseline="0" noProof="0" dirty="0">
              <a:solidFill>
                <a:srgbClr val="482A06"/>
              </a:solidFill>
              <a:latin typeface="+mn-lt"/>
            </a:endParaRPr>
          </a:p>
        </p:txBody>
      </p:sp>
      <p:grpSp>
        <p:nvGrpSpPr>
          <p:cNvPr id="15" name="LogoImage" hidden="1">
            <a:extLst>
              <a:ext uri="{FF2B5EF4-FFF2-40B4-BE49-F238E27FC236}">
                <a16:creationId xmlns:a16="http://schemas.microsoft.com/office/drawing/2014/main" id="{EAB2229D-6370-488C-937F-1A93CFBD709A}"/>
              </a:ext>
            </a:extLst>
          </p:cNvPr>
          <p:cNvGrpSpPr>
            <a:grpSpLocks/>
          </p:cNvGrpSpPr>
          <p:nvPr userDrawn="1"/>
        </p:nvGrpSpPr>
        <p:grpSpPr bwMode="auto">
          <a:xfrm>
            <a:off x="3090573" y="263459"/>
            <a:ext cx="1741648" cy="553873"/>
            <a:chOff x="0" y="973"/>
            <a:chExt cx="7680" cy="2374"/>
          </a:xfrm>
        </p:grpSpPr>
        <p:sp>
          <p:nvSpPr>
            <p:cNvPr id="16" name="AutoShape 3" hidden="1">
              <a:extLst>
                <a:ext uri="{FF2B5EF4-FFF2-40B4-BE49-F238E27FC236}">
                  <a16:creationId xmlns:a16="http://schemas.microsoft.com/office/drawing/2014/main" id="{8E86CEE8-2C1E-45F7-BFA1-BEDA55D35732}"/>
                </a:ext>
              </a:extLst>
            </p:cNvPr>
            <p:cNvSpPr>
              <a:spLocks noChangeAspect="1" noChangeArrowheads="1" noTextEdit="1"/>
            </p:cNvSpPr>
            <p:nvPr userDrawn="1"/>
          </p:nvSpPr>
          <p:spPr bwMode="auto">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CO" sz="1837" dirty="0">
                <a:latin typeface="+mn-lt"/>
              </a:endParaRPr>
            </a:p>
          </p:txBody>
        </p:sp>
        <p:sp>
          <p:nvSpPr>
            <p:cNvPr id="17" name="Freeform 5" hidden="1">
              <a:extLst>
                <a:ext uri="{FF2B5EF4-FFF2-40B4-BE49-F238E27FC236}">
                  <a16:creationId xmlns:a16="http://schemas.microsoft.com/office/drawing/2014/main" id="{EB2102CC-8FC1-437F-921D-FAB1EA6588EC}"/>
                </a:ext>
              </a:extLst>
            </p:cNvPr>
            <p:cNvSpPr>
              <a:spLocks noEditPoints="1"/>
            </p:cNvSpPr>
            <p:nvPr userDrawn="1"/>
          </p:nvSpPr>
          <p:spPr bwMode="auto">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sz="1837" dirty="0">
                <a:latin typeface="+mn-lt"/>
              </a:endParaRPr>
            </a:p>
          </p:txBody>
        </p:sp>
      </p:grpSp>
      <p:sp>
        <p:nvSpPr>
          <p:cNvPr id="29" name="Isosceles Triangle 28">
            <a:extLst>
              <a:ext uri="{FF2B5EF4-FFF2-40B4-BE49-F238E27FC236}">
                <a16:creationId xmlns:a16="http://schemas.microsoft.com/office/drawing/2014/main" id="{EFCD2F8A-3DC4-421F-A722-D929B41B3219}"/>
              </a:ext>
            </a:extLst>
          </p:cNvPr>
          <p:cNvSpPr/>
          <p:nvPr userDrawn="1"/>
        </p:nvSpPr>
        <p:spPr>
          <a:xfrm rot="5400000">
            <a:off x="-301147" y="4206675"/>
            <a:ext cx="1870184" cy="1267892"/>
          </a:xfrm>
          <a:prstGeom prst="triangle">
            <a:avLst>
              <a:gd name="adj" fmla="val 5804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837" dirty="0">
              <a:solidFill>
                <a:schemeClr val="tx1"/>
              </a:solidFill>
            </a:endParaRPr>
          </a:p>
        </p:txBody>
      </p:sp>
      <p:sp>
        <p:nvSpPr>
          <p:cNvPr id="4" name="Working Draft Text" hidden="1"/>
          <p:cNvSpPr txBox="1">
            <a:spLocks noChangeArrowheads="1"/>
          </p:cNvSpPr>
          <p:nvPr userDrawn="1"/>
        </p:nvSpPr>
        <p:spPr bwMode="black">
          <a:xfrm>
            <a:off x="367394" y="121512"/>
            <a:ext cx="9004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s-CO" sz="816" b="1" baseline="0" noProof="0" dirty="0">
                <a:solidFill>
                  <a:schemeClr val="bg1"/>
                </a:solidFill>
                <a:latin typeface="+mn-lt"/>
              </a:rPr>
              <a:t>WORKING DRAFT</a:t>
            </a:r>
          </a:p>
        </p:txBody>
      </p:sp>
      <p:sp>
        <p:nvSpPr>
          <p:cNvPr id="6" name="Working Draft" hidden="1"/>
          <p:cNvSpPr txBox="1">
            <a:spLocks noChangeArrowheads="1"/>
          </p:cNvSpPr>
          <p:nvPr userDrawn="1"/>
        </p:nvSpPr>
        <p:spPr bwMode="black">
          <a:xfrm>
            <a:off x="367395" y="247124"/>
            <a:ext cx="381578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aseline="0" noProof="0">
                <a:solidFill>
                  <a:schemeClr val="bg1"/>
                </a:solidFill>
                <a:latin typeface="+mn-lt"/>
              </a:rPr>
              <a:t>Last Modified 10/10/2019 3:29 p.m. SA Pacific Standard Time</a:t>
            </a:r>
            <a:endParaRPr lang="es-CO" sz="816" baseline="0" noProof="0" dirty="0">
              <a:solidFill>
                <a:schemeClr val="bg1"/>
              </a:solidFill>
              <a:latin typeface="+mn-lt"/>
            </a:endParaRPr>
          </a:p>
        </p:txBody>
      </p:sp>
      <p:sp>
        <p:nvSpPr>
          <p:cNvPr id="7" name="Printed" hidden="1"/>
          <p:cNvSpPr txBox="1">
            <a:spLocks noChangeArrowheads="1"/>
          </p:cNvSpPr>
          <p:nvPr userDrawn="1"/>
        </p:nvSpPr>
        <p:spPr bwMode="black">
          <a:xfrm>
            <a:off x="367396" y="372737"/>
            <a:ext cx="3618996"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s-CO" sz="816" baseline="0" noProof="0" dirty="0" err="1">
                <a:solidFill>
                  <a:schemeClr val="bg1"/>
                </a:solidFill>
                <a:latin typeface="+mn-lt"/>
              </a:rPr>
              <a:t>Printed</a:t>
            </a:r>
            <a:endParaRPr lang="es-CO" sz="816" baseline="0" noProof="0" dirty="0">
              <a:solidFill>
                <a:schemeClr val="bg1"/>
              </a:solidFill>
              <a:latin typeface="+mn-lt"/>
            </a:endParaRPr>
          </a:p>
        </p:txBody>
      </p:sp>
      <p:sp>
        <p:nvSpPr>
          <p:cNvPr id="13314" name="Title"/>
          <p:cNvSpPr>
            <a:spLocks noGrp="1" noChangeArrowheads="1"/>
          </p:cNvSpPr>
          <p:nvPr userDrawn="1">
            <p:ph type="ctrTitle"/>
          </p:nvPr>
        </p:nvSpPr>
        <p:spPr bwMode="gray">
          <a:xfrm>
            <a:off x="390893" y="747982"/>
            <a:ext cx="6357712" cy="502445"/>
          </a:xfrm>
          <a:prstGeom prst="rect">
            <a:avLst/>
          </a:prstGeom>
        </p:spPr>
        <p:txBody>
          <a:bodyPr/>
          <a:lstStyle>
            <a:lvl1pPr>
              <a:defRPr sz="3265" b="0" baseline="0">
                <a:solidFill>
                  <a:schemeClr val="bg1"/>
                </a:solidFill>
                <a:latin typeface="+mj-lt"/>
                <a:ea typeface="+mj-ea"/>
              </a:defRPr>
            </a:lvl1pPr>
          </a:lstStyle>
          <a:p>
            <a:pPr lvl="0" latinLnBrk="0"/>
            <a:r>
              <a:rPr lang="es-CO" noProof="0" dirty="0" err="1"/>
              <a:t>Click</a:t>
            </a:r>
            <a:r>
              <a:rPr lang="es-CO" noProof="0" dirty="0"/>
              <a:t> </a:t>
            </a:r>
            <a:r>
              <a:rPr lang="es-CO" noProof="0" dirty="0" err="1"/>
              <a:t>to</a:t>
            </a:r>
            <a:r>
              <a:rPr lang="es-CO" noProof="0" dirty="0"/>
              <a:t> </a:t>
            </a:r>
            <a:r>
              <a:rPr lang="es-CO" noProof="0" dirty="0" err="1"/>
              <a:t>edit</a:t>
            </a:r>
            <a:r>
              <a:rPr lang="es-CO" noProof="0" dirty="0"/>
              <a:t> Master </a:t>
            </a:r>
            <a:r>
              <a:rPr lang="es-CO" noProof="0" dirty="0" err="1"/>
              <a:t>title</a:t>
            </a:r>
            <a:r>
              <a:rPr lang="es-CO" noProof="0" dirty="0"/>
              <a:t> </a:t>
            </a:r>
            <a:r>
              <a:rPr lang="es-CO" noProof="0" dirty="0" err="1"/>
              <a:t>style</a:t>
            </a:r>
            <a:endParaRPr lang="es-CO" noProof="0" dirty="0"/>
          </a:p>
        </p:txBody>
      </p:sp>
      <p:sp>
        <p:nvSpPr>
          <p:cNvPr id="13315" name="Subtitle"/>
          <p:cNvSpPr>
            <a:spLocks noGrp="1" noChangeArrowheads="1"/>
          </p:cNvSpPr>
          <p:nvPr userDrawn="1">
            <p:ph type="subTitle" idx="1"/>
          </p:nvPr>
        </p:nvSpPr>
        <p:spPr bwMode="gray">
          <a:xfrm>
            <a:off x="390893" y="2628591"/>
            <a:ext cx="3720470" cy="219820"/>
          </a:xfrm>
          <a:prstGeom prst="rect">
            <a:avLst/>
          </a:prstGeom>
        </p:spPr>
        <p:txBody>
          <a:bodyPr wrap="square">
            <a:spAutoFit/>
          </a:bodyPr>
          <a:lstStyle>
            <a:lvl1pPr>
              <a:defRPr sz="1428" cap="all" baseline="0">
                <a:solidFill>
                  <a:schemeClr val="bg1"/>
                </a:solidFill>
                <a:latin typeface="+mn-lt"/>
                <a:ea typeface="+mn-ea"/>
              </a:defRPr>
            </a:lvl1pPr>
          </a:lstStyle>
          <a:p>
            <a:pPr lvl="0" latinLnBrk="0"/>
            <a:r>
              <a:rPr lang="es-CO" noProof="0" dirty="0" err="1"/>
              <a:t>Click</a:t>
            </a:r>
            <a:r>
              <a:rPr lang="es-CO" noProof="0" dirty="0"/>
              <a:t> </a:t>
            </a:r>
            <a:r>
              <a:rPr lang="es-CO" noProof="0" dirty="0" err="1"/>
              <a:t>to</a:t>
            </a:r>
            <a:r>
              <a:rPr lang="es-CO" noProof="0" dirty="0"/>
              <a:t> </a:t>
            </a:r>
            <a:r>
              <a:rPr lang="es-CO" noProof="0" dirty="0" err="1"/>
              <a:t>edit</a:t>
            </a:r>
            <a:r>
              <a:rPr lang="es-CO" noProof="0" dirty="0"/>
              <a:t> Master </a:t>
            </a:r>
            <a:r>
              <a:rPr lang="es-CO" noProof="0" dirty="0" err="1"/>
              <a:t>subtitle</a:t>
            </a:r>
            <a:r>
              <a:rPr lang="es-CO" noProof="0" dirty="0"/>
              <a:t> </a:t>
            </a:r>
            <a:r>
              <a:rPr lang="es-CO" noProof="0" dirty="0" err="1"/>
              <a:t>style</a:t>
            </a:r>
            <a:endParaRPr lang="es-CO" noProof="0" dirty="0"/>
          </a:p>
        </p:txBody>
      </p:sp>
      <p:sp>
        <p:nvSpPr>
          <p:cNvPr id="57" name="Document type" hidden="1"/>
          <p:cNvSpPr txBox="1">
            <a:spLocks noChangeArrowheads="1"/>
          </p:cNvSpPr>
          <p:nvPr userDrawn="1"/>
        </p:nvSpPr>
        <p:spPr bwMode="gray">
          <a:xfrm>
            <a:off x="390893" y="3098719"/>
            <a:ext cx="3720470"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s-CO" sz="1428" baseline="0" noProof="0" dirty="0">
                <a:solidFill>
                  <a:schemeClr val="bg1"/>
                </a:solidFill>
                <a:latin typeface="+mn-lt"/>
              </a:rPr>
              <a:t>Tipo de Documento | Fecha</a:t>
            </a:r>
          </a:p>
        </p:txBody>
      </p:sp>
      <p:sp>
        <p:nvSpPr>
          <p:cNvPr id="26" name="Disclaimer-Spanish (Spain Traditional Sort)" hidden="1"/>
          <p:cNvSpPr>
            <a:spLocks noChangeArrowheads="1"/>
          </p:cNvSpPr>
          <p:nvPr userDrawn="1"/>
        </p:nvSpPr>
        <p:spPr bwMode="black">
          <a:xfrm>
            <a:off x="147169" y="6494736"/>
            <a:ext cx="2943404" cy="256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defTabSz="1094990" eaLnBrk="0" hangingPunct="0"/>
            <a:r>
              <a:rPr lang="es-CO" sz="816" baseline="0" dirty="0">
                <a:solidFill>
                  <a:schemeClr val="bg1"/>
                </a:solidFill>
                <a:latin typeface="+mn-lt"/>
              </a:rPr>
              <a:t>DOCUMENTO CONFIDENCIAL</a:t>
            </a:r>
          </a:p>
          <a:p>
            <a:pPr defTabSz="1094990" eaLnBrk="0" hangingPunct="0"/>
            <a:r>
              <a:rPr lang="es-CO" sz="816" baseline="0" dirty="0">
                <a:solidFill>
                  <a:schemeClr val="bg1"/>
                </a:solidFill>
                <a:latin typeface="+mn-lt"/>
              </a:rPr>
              <a:t>Queda prohibido su uso y distribución sin autorización expresa</a:t>
            </a:r>
          </a:p>
        </p:txBody>
      </p:sp>
    </p:spTree>
    <p:extLst>
      <p:ext uri="{BB962C8B-B14F-4D97-AF65-F5344CB8AC3E}">
        <p14:creationId xmlns:p14="http://schemas.microsoft.com/office/powerpoint/2010/main" val="3887513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AEB706C-6E23-41E1-A0FC-A1EA374CB6FA}"/>
              </a:ext>
            </a:extLst>
          </p:cNvPr>
          <p:cNvGraphicFramePr>
            <a:graphicFrameLocks noChangeAspect="1"/>
          </p:cNvGraphicFramePr>
          <p:nvPr userDrawn="1">
            <p:custDataLst>
              <p:tags r:id="rId1"/>
            </p:custDataLst>
            <p:extLst>
              <p:ext uri="{D42A27DB-BD31-4B8C-83A1-F6EECF244321}">
                <p14:modId xmlns:p14="http://schemas.microsoft.com/office/powerpoint/2010/main" val="213684428"/>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Diapositiva de think-cell" r:id="rId5" imgW="473" imgH="473" progId="TCLayout.ActiveDocument.1">
                  <p:embed/>
                </p:oleObj>
              </mc:Choice>
              <mc:Fallback>
                <p:oleObj name="Diapositiva de think-cell" r:id="rId5" imgW="473" imgH="473" progId="TCLayout.ActiveDocument.1">
                  <p:embed/>
                  <p:pic>
                    <p:nvPicPr>
                      <p:cNvPr id="7" name="Object 6" hidden="1">
                        <a:extLst>
                          <a:ext uri="{FF2B5EF4-FFF2-40B4-BE49-F238E27FC236}">
                            <a16:creationId xmlns:a16="http://schemas.microsoft.com/office/drawing/2014/main" id="{9AEB706C-6E23-41E1-A0FC-A1EA374CB6FA}"/>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A6B4CC7-D319-4F9B-A303-D6AFC249F2B0}"/>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s-CO" sz="2041"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p:txBody>
          <a:bodyPr/>
          <a:lstStyle/>
          <a:p>
            <a:r>
              <a:rPr lang="es-CO" dirty="0" err="1"/>
              <a:t>Click</a:t>
            </a:r>
            <a:r>
              <a:rPr lang="es-CO" dirty="0"/>
              <a:t> </a:t>
            </a:r>
            <a:r>
              <a:rPr lang="es-CO" dirty="0" err="1"/>
              <a:t>to</a:t>
            </a:r>
            <a:r>
              <a:rPr lang="es-CO" dirty="0"/>
              <a:t> </a:t>
            </a:r>
            <a:r>
              <a:rPr lang="es-CO" dirty="0" err="1"/>
              <a:t>edit</a:t>
            </a:r>
            <a:r>
              <a:rPr lang="es-CO" dirty="0"/>
              <a:t> Master </a:t>
            </a:r>
            <a:r>
              <a:rPr lang="es-CO" dirty="0" err="1"/>
              <a:t>title</a:t>
            </a:r>
            <a:r>
              <a:rPr lang="es-CO" dirty="0"/>
              <a:t> </a:t>
            </a:r>
            <a:r>
              <a:rPr lang="es-CO" dirty="0" err="1"/>
              <a:t>style</a:t>
            </a:r>
            <a:endParaRPr lang="es-CO" dirty="0"/>
          </a:p>
        </p:txBody>
      </p:sp>
      <p:sp>
        <p:nvSpPr>
          <p:cNvPr id="8" name="Slide Number"/>
          <p:cNvSpPr txBox="1">
            <a:spLocks/>
          </p:cNvSpPr>
          <p:nvPr userDrawn="1"/>
        </p:nvSpPr>
        <p:spPr bwMode="gray">
          <a:xfrm>
            <a:off x="11652053" y="6409991"/>
            <a:ext cx="188093" cy="128097"/>
          </a:xfrm>
          <a:prstGeom prst="rect">
            <a:avLst/>
          </a:prstGeom>
        </p:spPr>
        <p:txBody>
          <a:bodyPr vert="horz" wrap="none" lIns="0" tIns="0" rIns="0" bIns="0" rtlCol="0" anchor="ctr">
            <a:spAutoFit/>
          </a:bodyPr>
          <a:lstStyle>
            <a:defPPr>
              <a:defRPr lang="es-ES"/>
            </a:defPPr>
            <a:lvl1pPr>
              <a:defRPr sz="1000" baseline="0">
                <a:latin typeface="+mn-lt"/>
              </a:defRPr>
            </a:lvl1pPr>
          </a:lstStyle>
          <a:p>
            <a:pPr lvl="0"/>
            <a:fld id="{42C328C1-A84F-4A39-A664-DBA00541A8C6}" type="slidenum">
              <a:rPr lang="es-CO" sz="816" smtClean="0">
                <a:solidFill>
                  <a:schemeClr val="accent6"/>
                </a:solidFill>
              </a:rPr>
              <a:pPr lvl="0"/>
              <a:t>‹Nº›</a:t>
            </a:fld>
            <a:endParaRPr lang="es-CO" sz="816" dirty="0">
              <a:solidFill>
                <a:schemeClr val="accent6"/>
              </a:solidFill>
            </a:endParaRPr>
          </a:p>
        </p:txBody>
      </p:sp>
      <p:sp>
        <p:nvSpPr>
          <p:cNvPr id="9" name="SlideLogoText" hidden="1"/>
          <p:cNvSpPr>
            <a:spLocks noChangeArrowheads="1"/>
          </p:cNvSpPr>
          <p:nvPr userDrawn="1">
            <p:custDataLst>
              <p:tags r:id="rId3"/>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s-CO" sz="816"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s-CO" sz="612" baseline="0" noProof="0" dirty="0">
              <a:solidFill>
                <a:schemeClr val="accent6"/>
              </a:solidFill>
              <a:latin typeface="+mn-lt"/>
              <a:ea typeface="+mn-ea"/>
            </a:endParaRPr>
          </a:p>
        </p:txBody>
      </p:sp>
      <p:pic>
        <p:nvPicPr>
          <p:cNvPr id="6" name="Imagen 5">
            <a:extLst>
              <a:ext uri="{FF2B5EF4-FFF2-40B4-BE49-F238E27FC236}">
                <a16:creationId xmlns:a16="http://schemas.microsoft.com/office/drawing/2014/main" id="{8BD4377D-3D28-4068-BD37-5FDE5350B1B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0017" t="13966" r="12683" b="29231"/>
          <a:stretch/>
        </p:blipFill>
        <p:spPr>
          <a:xfrm>
            <a:off x="10088738" y="6155680"/>
            <a:ext cx="1356174" cy="610399"/>
          </a:xfrm>
          <a:prstGeom prst="rect">
            <a:avLst/>
          </a:prstGeom>
        </p:spPr>
      </p:pic>
      <p:cxnSp>
        <p:nvCxnSpPr>
          <p:cNvPr id="4" name="Straight Connector 3">
            <a:extLst>
              <a:ext uri="{FF2B5EF4-FFF2-40B4-BE49-F238E27FC236}">
                <a16:creationId xmlns:a16="http://schemas.microsoft.com/office/drawing/2014/main" id="{9C256ADF-7EE7-4BD6-BAD6-E17061C626F9}"/>
              </a:ext>
            </a:extLst>
          </p:cNvPr>
          <p:cNvCxnSpPr/>
          <p:nvPr userDrawn="1"/>
        </p:nvCxnSpPr>
        <p:spPr>
          <a:xfrm>
            <a:off x="11493879" y="6321217"/>
            <a:ext cx="0" cy="305644"/>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2FF67A-19B3-4143-937B-376342A39852}"/>
              </a:ext>
            </a:extLst>
          </p:cNvPr>
          <p:cNvCxnSpPr/>
          <p:nvPr userDrawn="1"/>
        </p:nvCxnSpPr>
        <p:spPr>
          <a:xfrm>
            <a:off x="10777293" y="6321217"/>
            <a:ext cx="0" cy="305644"/>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6277664"/>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2D0DCE-CDCF-4279-9C42-4592E8D9FAB3}"/>
              </a:ext>
            </a:extLst>
          </p:cNvPr>
          <p:cNvGraphicFramePr>
            <a:graphicFrameLocks noChangeAspect="1"/>
          </p:cNvGraphicFramePr>
          <p:nvPr userDrawn="1">
            <p:custDataLst>
              <p:tags r:id="rId1"/>
            </p:custDataLst>
            <p:extLst>
              <p:ext uri="{D42A27DB-BD31-4B8C-83A1-F6EECF244321}">
                <p14:modId xmlns:p14="http://schemas.microsoft.com/office/powerpoint/2010/main" val="2385066541"/>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Diapositiva de think-cell" r:id="rId5" imgW="386" imgH="386" progId="TCLayout.ActiveDocument.1">
                  <p:embed/>
                </p:oleObj>
              </mc:Choice>
              <mc:Fallback>
                <p:oleObj name="Diapositiva de think-cell" r:id="rId5" imgW="386" imgH="386" progId="TCLayout.ActiveDocument.1">
                  <p:embed/>
                  <p:pic>
                    <p:nvPicPr>
                      <p:cNvPr id="3" name="Object 2" hidden="1">
                        <a:extLst>
                          <a:ext uri="{FF2B5EF4-FFF2-40B4-BE49-F238E27FC236}">
                            <a16:creationId xmlns:a16="http://schemas.microsoft.com/office/drawing/2014/main" id="{9C2D0DCE-CDCF-4279-9C42-4592E8D9FAB3}"/>
                          </a:ext>
                        </a:extLst>
                      </p:cNvPr>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6935DEC-47F0-49DB-96EC-E2391B556E11}"/>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s-CO" sz="3571"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12" name="Freeform: Shape 11">
            <a:extLst>
              <a:ext uri="{FF2B5EF4-FFF2-40B4-BE49-F238E27FC236}">
                <a16:creationId xmlns:a16="http://schemas.microsoft.com/office/drawing/2014/main" id="{FB3C6511-9021-4F94-B9FB-6664A8A5B8CC}"/>
              </a:ext>
            </a:extLst>
          </p:cNvPr>
          <p:cNvSpPr/>
          <p:nvPr userDrawn="1"/>
        </p:nvSpPr>
        <p:spPr>
          <a:xfrm>
            <a:off x="0" y="0"/>
            <a:ext cx="5864858" cy="3484012"/>
          </a:xfrm>
          <a:custGeom>
            <a:avLst/>
            <a:gdLst>
              <a:gd name="connsiteX0" fmla="*/ 0 w 10220960"/>
              <a:gd name="connsiteY0" fmla="*/ 0 h 5130800"/>
              <a:gd name="connsiteX1" fmla="*/ 0 w 10220960"/>
              <a:gd name="connsiteY1" fmla="*/ 3759200 h 5130800"/>
              <a:gd name="connsiteX2" fmla="*/ 1666240 w 10220960"/>
              <a:gd name="connsiteY2" fmla="*/ 5130800 h 5130800"/>
              <a:gd name="connsiteX3" fmla="*/ 10220960 w 10220960"/>
              <a:gd name="connsiteY3" fmla="*/ 20320 h 5130800"/>
              <a:gd name="connsiteX4" fmla="*/ 0 w 10220960"/>
              <a:gd name="connsiteY4" fmla="*/ 0 h 5130800"/>
              <a:gd name="connsiteX0" fmla="*/ 0 w 10220960"/>
              <a:gd name="connsiteY0" fmla="*/ 0 h 5130800"/>
              <a:gd name="connsiteX1" fmla="*/ 0 w 10220960"/>
              <a:gd name="connsiteY1" fmla="*/ 3759200 h 5130800"/>
              <a:gd name="connsiteX2" fmla="*/ 1666240 w 10220960"/>
              <a:gd name="connsiteY2" fmla="*/ 5130800 h 5130800"/>
              <a:gd name="connsiteX3" fmla="*/ 10220960 w 10220960"/>
              <a:gd name="connsiteY3" fmla="*/ 10160 h 5130800"/>
              <a:gd name="connsiteX4" fmla="*/ 0 w 10220960"/>
              <a:gd name="connsiteY4" fmla="*/ 0 h 5130800"/>
              <a:gd name="connsiteX0" fmla="*/ 0 w 10231120"/>
              <a:gd name="connsiteY0" fmla="*/ 0 h 5130800"/>
              <a:gd name="connsiteX1" fmla="*/ 0 w 10231120"/>
              <a:gd name="connsiteY1" fmla="*/ 3759200 h 5130800"/>
              <a:gd name="connsiteX2" fmla="*/ 1666240 w 10231120"/>
              <a:gd name="connsiteY2" fmla="*/ 5130800 h 5130800"/>
              <a:gd name="connsiteX3" fmla="*/ 10231120 w 10231120"/>
              <a:gd name="connsiteY3" fmla="*/ 0 h 5130800"/>
              <a:gd name="connsiteX4" fmla="*/ 0 w 10231120"/>
              <a:gd name="connsiteY4" fmla="*/ 0 h 5130800"/>
              <a:gd name="connsiteX0" fmla="*/ 0 w 10231120"/>
              <a:gd name="connsiteY0" fmla="*/ 0 h 5310929"/>
              <a:gd name="connsiteX1" fmla="*/ 0 w 10231120"/>
              <a:gd name="connsiteY1" fmla="*/ 3759200 h 5310929"/>
              <a:gd name="connsiteX2" fmla="*/ 1598692 w 10231120"/>
              <a:gd name="connsiteY2" fmla="*/ 5310929 h 5310929"/>
              <a:gd name="connsiteX3" fmla="*/ 10231120 w 10231120"/>
              <a:gd name="connsiteY3" fmla="*/ 0 h 5310929"/>
              <a:gd name="connsiteX4" fmla="*/ 0 w 10231120"/>
              <a:gd name="connsiteY4" fmla="*/ 0 h 5310929"/>
              <a:gd name="connsiteX0" fmla="*/ 0 w 10231120"/>
              <a:gd name="connsiteY0" fmla="*/ 0 h 5142149"/>
              <a:gd name="connsiteX1" fmla="*/ 0 w 10231120"/>
              <a:gd name="connsiteY1" fmla="*/ 3759200 h 5142149"/>
              <a:gd name="connsiteX2" fmla="*/ 1857628 w 10231120"/>
              <a:gd name="connsiteY2" fmla="*/ 5142149 h 5142149"/>
              <a:gd name="connsiteX3" fmla="*/ 10231120 w 10231120"/>
              <a:gd name="connsiteY3" fmla="*/ 0 h 5142149"/>
              <a:gd name="connsiteX4" fmla="*/ 0 w 10231120"/>
              <a:gd name="connsiteY4" fmla="*/ 0 h 5142149"/>
              <a:gd name="connsiteX0" fmla="*/ 0 w 10231120"/>
              <a:gd name="connsiteY0" fmla="*/ 0 h 5209661"/>
              <a:gd name="connsiteX1" fmla="*/ 0 w 10231120"/>
              <a:gd name="connsiteY1" fmla="*/ 3759200 h 5209661"/>
              <a:gd name="connsiteX2" fmla="*/ 1722531 w 10231120"/>
              <a:gd name="connsiteY2" fmla="*/ 5209661 h 5209661"/>
              <a:gd name="connsiteX3" fmla="*/ 10231120 w 10231120"/>
              <a:gd name="connsiteY3" fmla="*/ 0 h 5209661"/>
              <a:gd name="connsiteX4" fmla="*/ 0 w 10231120"/>
              <a:gd name="connsiteY4" fmla="*/ 0 h 5209661"/>
              <a:gd name="connsiteX0" fmla="*/ 0 w 10231120"/>
              <a:gd name="connsiteY0" fmla="*/ 0 h 6074571"/>
              <a:gd name="connsiteX1" fmla="*/ 0 w 10231120"/>
              <a:gd name="connsiteY1" fmla="*/ 3759200 h 6074571"/>
              <a:gd name="connsiteX2" fmla="*/ 2741756 w 10231120"/>
              <a:gd name="connsiteY2" fmla="*/ 6074571 h 6074571"/>
              <a:gd name="connsiteX3" fmla="*/ 10231120 w 10231120"/>
              <a:gd name="connsiteY3" fmla="*/ 0 h 6074571"/>
              <a:gd name="connsiteX4" fmla="*/ 0 w 10231120"/>
              <a:gd name="connsiteY4" fmla="*/ 0 h 6074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31120" h="6074571">
                <a:moveTo>
                  <a:pt x="0" y="0"/>
                </a:moveTo>
                <a:lnTo>
                  <a:pt x="0" y="3759200"/>
                </a:lnTo>
                <a:lnTo>
                  <a:pt x="2741756" y="6074571"/>
                </a:lnTo>
                <a:lnTo>
                  <a:pt x="10231120" y="0"/>
                </a:lnTo>
                <a:lnTo>
                  <a:pt x="0" y="0"/>
                </a:lnTo>
                <a:close/>
              </a:path>
            </a:pathLst>
          </a:custGeom>
          <a:solidFill>
            <a:schemeClr val="tx2">
              <a:alpha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lvl="0" algn="ctr"/>
            <a:endParaRPr lang="es-CO" sz="1837" dirty="0">
              <a:solidFill>
                <a:schemeClr val="tx1"/>
              </a:solidFill>
            </a:endParaRPr>
          </a:p>
        </p:txBody>
      </p:sp>
      <p:sp>
        <p:nvSpPr>
          <p:cNvPr id="13" name="Isosceles Triangle 12">
            <a:extLst>
              <a:ext uri="{FF2B5EF4-FFF2-40B4-BE49-F238E27FC236}">
                <a16:creationId xmlns:a16="http://schemas.microsoft.com/office/drawing/2014/main" id="{51C5CF7B-3EBA-404B-AD28-C33560F6373D}"/>
              </a:ext>
            </a:extLst>
          </p:cNvPr>
          <p:cNvSpPr/>
          <p:nvPr userDrawn="1"/>
        </p:nvSpPr>
        <p:spPr>
          <a:xfrm rot="5400000">
            <a:off x="-452077" y="2975662"/>
            <a:ext cx="2242800" cy="1338646"/>
          </a:xfrm>
          <a:prstGeom prst="triangle">
            <a:avLst>
              <a:gd name="adj" fmla="val 51521"/>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837" dirty="0">
              <a:solidFill>
                <a:schemeClr val="tx1"/>
              </a:solidFill>
            </a:endParaRPr>
          </a:p>
        </p:txBody>
      </p:sp>
      <p:sp>
        <p:nvSpPr>
          <p:cNvPr id="2" name="Title 1"/>
          <p:cNvSpPr>
            <a:spLocks noGrp="1"/>
          </p:cNvSpPr>
          <p:nvPr userDrawn="1">
            <p:ph type="title"/>
          </p:nvPr>
        </p:nvSpPr>
        <p:spPr>
          <a:xfrm>
            <a:off x="520917" y="234865"/>
            <a:ext cx="11366553" cy="549549"/>
          </a:xfrm>
        </p:spPr>
        <p:txBody>
          <a:bodyPr/>
          <a:lstStyle>
            <a:lvl1pPr>
              <a:defRPr sz="3571">
                <a:solidFill>
                  <a:schemeClr val="bg1"/>
                </a:solidFill>
              </a:defRPr>
            </a:lvl1pPr>
          </a:lstStyle>
          <a:p>
            <a:r>
              <a:rPr lang="es-CO" dirty="0" err="1"/>
              <a:t>Click</a:t>
            </a:r>
            <a:r>
              <a:rPr lang="es-CO" dirty="0"/>
              <a:t> </a:t>
            </a:r>
            <a:r>
              <a:rPr lang="es-CO" dirty="0" err="1"/>
              <a:t>to</a:t>
            </a:r>
            <a:r>
              <a:rPr lang="es-CO" dirty="0"/>
              <a:t> </a:t>
            </a:r>
            <a:r>
              <a:rPr lang="es-CO" dirty="0" err="1"/>
              <a:t>edit</a:t>
            </a:r>
            <a:r>
              <a:rPr lang="es-CO" dirty="0"/>
              <a:t> Master </a:t>
            </a:r>
            <a:r>
              <a:rPr lang="es-CO" dirty="0" err="1"/>
              <a:t>title</a:t>
            </a:r>
            <a:r>
              <a:rPr lang="es-CO" dirty="0"/>
              <a:t> </a:t>
            </a:r>
            <a:r>
              <a:rPr lang="es-CO" dirty="0" err="1"/>
              <a:t>style</a:t>
            </a:r>
            <a:endParaRPr lang="es-CO" dirty="0"/>
          </a:p>
        </p:txBody>
      </p:sp>
      <p:sp>
        <p:nvSpPr>
          <p:cNvPr id="10" name="SlideLogoText" hidden="1"/>
          <p:cNvSpPr>
            <a:spLocks noChangeArrowheads="1"/>
          </p:cNvSpPr>
          <p:nvPr userDrawn="1">
            <p:custDataLst>
              <p:tags r:id="rId3"/>
            </p:custDataLst>
          </p:nvPr>
        </p:nvSpPr>
        <p:spPr bwMode="black">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s-CO" sz="816" baseline="0" noProof="0" dirty="0">
                <a:solidFill>
                  <a:schemeClr val="bg1"/>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s-CO" sz="612" baseline="0" noProof="0" dirty="0">
              <a:solidFill>
                <a:schemeClr val="accent6"/>
              </a:solidFill>
              <a:latin typeface="+mn-lt"/>
              <a:ea typeface="+mn-ea"/>
            </a:endParaRPr>
          </a:p>
        </p:txBody>
      </p:sp>
      <p:pic>
        <p:nvPicPr>
          <p:cNvPr id="18" name="Imagen 5">
            <a:extLst>
              <a:ext uri="{FF2B5EF4-FFF2-40B4-BE49-F238E27FC236}">
                <a16:creationId xmlns:a16="http://schemas.microsoft.com/office/drawing/2014/main" id="{65174F25-BF49-48CC-A0E9-3A858A266FF3}"/>
              </a:ext>
            </a:extLst>
          </p:cNvPr>
          <p:cNvPicPr>
            <a:picLocks noChangeAspect="1"/>
          </p:cNvPicPr>
          <p:nvPr userDrawn="1"/>
        </p:nvPicPr>
        <p:blipFill rotWithShape="1">
          <a:blip r:embed="rId7" cstate="screen">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a:ext>
            </a:extLst>
          </a:blip>
          <a:srcRect l="10017" t="13966" r="12683" b="29231"/>
          <a:stretch/>
        </p:blipFill>
        <p:spPr>
          <a:xfrm>
            <a:off x="520918" y="1634523"/>
            <a:ext cx="1974585" cy="888739"/>
          </a:xfrm>
          <a:prstGeom prst="rect">
            <a:avLst/>
          </a:prstGeom>
        </p:spPr>
      </p:pic>
      <p:sp>
        <p:nvSpPr>
          <p:cNvPr id="22" name="Freeform: Shape 21">
            <a:extLst>
              <a:ext uri="{FF2B5EF4-FFF2-40B4-BE49-F238E27FC236}">
                <a16:creationId xmlns:a16="http://schemas.microsoft.com/office/drawing/2014/main" id="{A23135CA-97A1-4085-A6F2-CECBD884991E}"/>
              </a:ext>
            </a:extLst>
          </p:cNvPr>
          <p:cNvSpPr/>
          <p:nvPr userDrawn="1"/>
        </p:nvSpPr>
        <p:spPr>
          <a:xfrm rot="10800000">
            <a:off x="9648737" y="5347174"/>
            <a:ext cx="2543263" cy="1510823"/>
          </a:xfrm>
          <a:custGeom>
            <a:avLst/>
            <a:gdLst>
              <a:gd name="connsiteX0" fmla="*/ 0 w 10220960"/>
              <a:gd name="connsiteY0" fmla="*/ 0 h 5130800"/>
              <a:gd name="connsiteX1" fmla="*/ 0 w 10220960"/>
              <a:gd name="connsiteY1" fmla="*/ 3759200 h 5130800"/>
              <a:gd name="connsiteX2" fmla="*/ 1666240 w 10220960"/>
              <a:gd name="connsiteY2" fmla="*/ 5130800 h 5130800"/>
              <a:gd name="connsiteX3" fmla="*/ 10220960 w 10220960"/>
              <a:gd name="connsiteY3" fmla="*/ 20320 h 5130800"/>
              <a:gd name="connsiteX4" fmla="*/ 0 w 10220960"/>
              <a:gd name="connsiteY4" fmla="*/ 0 h 5130800"/>
              <a:gd name="connsiteX0" fmla="*/ 0 w 10220960"/>
              <a:gd name="connsiteY0" fmla="*/ 0 h 5130800"/>
              <a:gd name="connsiteX1" fmla="*/ 0 w 10220960"/>
              <a:gd name="connsiteY1" fmla="*/ 3759200 h 5130800"/>
              <a:gd name="connsiteX2" fmla="*/ 1666240 w 10220960"/>
              <a:gd name="connsiteY2" fmla="*/ 5130800 h 5130800"/>
              <a:gd name="connsiteX3" fmla="*/ 10220960 w 10220960"/>
              <a:gd name="connsiteY3" fmla="*/ 10160 h 5130800"/>
              <a:gd name="connsiteX4" fmla="*/ 0 w 10220960"/>
              <a:gd name="connsiteY4" fmla="*/ 0 h 5130800"/>
              <a:gd name="connsiteX0" fmla="*/ 0 w 10231120"/>
              <a:gd name="connsiteY0" fmla="*/ 0 h 5130800"/>
              <a:gd name="connsiteX1" fmla="*/ 0 w 10231120"/>
              <a:gd name="connsiteY1" fmla="*/ 3759200 h 5130800"/>
              <a:gd name="connsiteX2" fmla="*/ 1666240 w 10231120"/>
              <a:gd name="connsiteY2" fmla="*/ 5130800 h 5130800"/>
              <a:gd name="connsiteX3" fmla="*/ 10231120 w 10231120"/>
              <a:gd name="connsiteY3" fmla="*/ 0 h 5130800"/>
              <a:gd name="connsiteX4" fmla="*/ 0 w 10231120"/>
              <a:gd name="connsiteY4" fmla="*/ 0 h 5130800"/>
              <a:gd name="connsiteX0" fmla="*/ 0 w 10231120"/>
              <a:gd name="connsiteY0" fmla="*/ 0 h 5310929"/>
              <a:gd name="connsiteX1" fmla="*/ 0 w 10231120"/>
              <a:gd name="connsiteY1" fmla="*/ 3759200 h 5310929"/>
              <a:gd name="connsiteX2" fmla="*/ 1598692 w 10231120"/>
              <a:gd name="connsiteY2" fmla="*/ 5310929 h 5310929"/>
              <a:gd name="connsiteX3" fmla="*/ 10231120 w 10231120"/>
              <a:gd name="connsiteY3" fmla="*/ 0 h 5310929"/>
              <a:gd name="connsiteX4" fmla="*/ 0 w 10231120"/>
              <a:gd name="connsiteY4" fmla="*/ 0 h 5310929"/>
              <a:gd name="connsiteX0" fmla="*/ 0 w 10231120"/>
              <a:gd name="connsiteY0" fmla="*/ 0 h 5142149"/>
              <a:gd name="connsiteX1" fmla="*/ 0 w 10231120"/>
              <a:gd name="connsiteY1" fmla="*/ 3759200 h 5142149"/>
              <a:gd name="connsiteX2" fmla="*/ 1857628 w 10231120"/>
              <a:gd name="connsiteY2" fmla="*/ 5142149 h 5142149"/>
              <a:gd name="connsiteX3" fmla="*/ 10231120 w 10231120"/>
              <a:gd name="connsiteY3" fmla="*/ 0 h 5142149"/>
              <a:gd name="connsiteX4" fmla="*/ 0 w 10231120"/>
              <a:gd name="connsiteY4" fmla="*/ 0 h 5142149"/>
              <a:gd name="connsiteX0" fmla="*/ 0 w 10231120"/>
              <a:gd name="connsiteY0" fmla="*/ 0 h 5209661"/>
              <a:gd name="connsiteX1" fmla="*/ 0 w 10231120"/>
              <a:gd name="connsiteY1" fmla="*/ 3759200 h 5209661"/>
              <a:gd name="connsiteX2" fmla="*/ 1722531 w 10231120"/>
              <a:gd name="connsiteY2" fmla="*/ 5209661 h 5209661"/>
              <a:gd name="connsiteX3" fmla="*/ 10231120 w 10231120"/>
              <a:gd name="connsiteY3" fmla="*/ 0 h 5209661"/>
              <a:gd name="connsiteX4" fmla="*/ 0 w 10231120"/>
              <a:gd name="connsiteY4" fmla="*/ 0 h 5209661"/>
              <a:gd name="connsiteX0" fmla="*/ 0 w 10231120"/>
              <a:gd name="connsiteY0" fmla="*/ 0 h 6074571"/>
              <a:gd name="connsiteX1" fmla="*/ 0 w 10231120"/>
              <a:gd name="connsiteY1" fmla="*/ 3759200 h 6074571"/>
              <a:gd name="connsiteX2" fmla="*/ 2741756 w 10231120"/>
              <a:gd name="connsiteY2" fmla="*/ 6074571 h 6074571"/>
              <a:gd name="connsiteX3" fmla="*/ 10231120 w 10231120"/>
              <a:gd name="connsiteY3" fmla="*/ 0 h 6074571"/>
              <a:gd name="connsiteX4" fmla="*/ 0 w 10231120"/>
              <a:gd name="connsiteY4" fmla="*/ 0 h 6074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31120" h="6074571">
                <a:moveTo>
                  <a:pt x="0" y="0"/>
                </a:moveTo>
                <a:lnTo>
                  <a:pt x="0" y="3759200"/>
                </a:lnTo>
                <a:lnTo>
                  <a:pt x="2741756" y="6074571"/>
                </a:lnTo>
                <a:lnTo>
                  <a:pt x="10231120" y="0"/>
                </a:lnTo>
                <a:lnTo>
                  <a:pt x="0" y="0"/>
                </a:lnTo>
                <a:close/>
              </a:path>
            </a:pathLst>
          </a:custGeom>
          <a:solidFill>
            <a:schemeClr val="tx2">
              <a:alpha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lvl="0" algn="ctr"/>
            <a:endParaRPr lang="es-CO" sz="1837" dirty="0">
              <a:solidFill>
                <a:schemeClr val="tx1"/>
              </a:solidFill>
            </a:endParaRPr>
          </a:p>
        </p:txBody>
      </p:sp>
      <p:sp>
        <p:nvSpPr>
          <p:cNvPr id="23" name="Isosceles Triangle 22">
            <a:extLst>
              <a:ext uri="{FF2B5EF4-FFF2-40B4-BE49-F238E27FC236}">
                <a16:creationId xmlns:a16="http://schemas.microsoft.com/office/drawing/2014/main" id="{A6299710-8558-4D8F-B2F7-688E18B94C4C}"/>
              </a:ext>
            </a:extLst>
          </p:cNvPr>
          <p:cNvSpPr/>
          <p:nvPr userDrawn="1"/>
        </p:nvSpPr>
        <p:spPr>
          <a:xfrm rot="16200000">
            <a:off x="11415464" y="4987120"/>
            <a:ext cx="972579" cy="580497"/>
          </a:xfrm>
          <a:prstGeom prst="triangle">
            <a:avLst>
              <a:gd name="adj" fmla="val 51521"/>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lvl="0" algn="ctr"/>
            <a:endParaRPr lang="es-CO" sz="1837" dirty="0">
              <a:solidFill>
                <a:schemeClr val="tx1"/>
              </a:solidFill>
            </a:endParaRPr>
          </a:p>
        </p:txBody>
      </p:sp>
      <p:sp>
        <p:nvSpPr>
          <p:cNvPr id="9" name="Slide Number"/>
          <p:cNvSpPr txBox="1">
            <a:spLocks/>
          </p:cNvSpPr>
          <p:nvPr userDrawn="1"/>
        </p:nvSpPr>
        <p:spPr bwMode="black">
          <a:xfrm>
            <a:off x="11652053" y="6409991"/>
            <a:ext cx="188093" cy="128097"/>
          </a:xfrm>
          <a:prstGeom prst="rect">
            <a:avLst/>
          </a:prstGeom>
        </p:spPr>
        <p:txBody>
          <a:bodyPr vert="horz" wrap="none" lIns="0" tIns="0" rIns="0" bIns="0" rtlCol="0" anchor="ctr">
            <a:spAutoFit/>
          </a:bodyPr>
          <a:lstStyle>
            <a:defPPr>
              <a:defRPr lang="es-ES"/>
            </a:defPPr>
            <a:lvl1pPr>
              <a:defRPr sz="1000" baseline="0">
                <a:latin typeface="+mn-lt"/>
              </a:defRPr>
            </a:lvl1pPr>
          </a:lstStyle>
          <a:p>
            <a:pPr lvl="0"/>
            <a:fld id="{42C328C1-A84F-4A39-A664-DBA00541A8C6}" type="slidenum">
              <a:rPr lang="es-CO" sz="816" smtClean="0">
                <a:solidFill>
                  <a:schemeClr val="bg1"/>
                </a:solidFill>
              </a:rPr>
              <a:pPr lvl="0"/>
              <a:t>‹Nº›</a:t>
            </a:fld>
            <a:endParaRPr lang="es-CO" sz="816" dirty="0">
              <a:solidFill>
                <a:schemeClr val="bg1"/>
              </a:solidFill>
            </a:endParaRPr>
          </a:p>
        </p:txBody>
      </p:sp>
      <p:cxnSp>
        <p:nvCxnSpPr>
          <p:cNvPr id="19" name="Straight Connector 18">
            <a:extLst>
              <a:ext uri="{FF2B5EF4-FFF2-40B4-BE49-F238E27FC236}">
                <a16:creationId xmlns:a16="http://schemas.microsoft.com/office/drawing/2014/main" id="{B253CD2E-1E01-4C1C-B0D0-9E4FFF45EE74}"/>
              </a:ext>
            </a:extLst>
          </p:cNvPr>
          <p:cNvCxnSpPr/>
          <p:nvPr userDrawn="1"/>
        </p:nvCxnSpPr>
        <p:spPr>
          <a:xfrm>
            <a:off x="11493879" y="6321217"/>
            <a:ext cx="0" cy="305644"/>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3091500"/>
      </p:ext>
    </p:extLst>
  </p:cSld>
  <p:clrMapOvr>
    <a:masterClrMapping/>
  </p:clrMapOvr>
  <p:extLst>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3E59E5-4B1C-40DC-8510-FA08329A095F}"/>
              </a:ext>
            </a:extLst>
          </p:cNvPr>
          <p:cNvGraphicFramePr>
            <a:graphicFrameLocks noChangeAspect="1"/>
          </p:cNvGraphicFramePr>
          <p:nvPr userDrawn="1">
            <p:custDataLst>
              <p:tags r:id="rId1"/>
            </p:custDataLst>
            <p:extLst>
              <p:ext uri="{D42A27DB-BD31-4B8C-83A1-F6EECF244321}">
                <p14:modId xmlns:p14="http://schemas.microsoft.com/office/powerpoint/2010/main" val="1426999691"/>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Diapositiva de think-cell" r:id="rId4" imgW="473" imgH="473" progId="TCLayout.ActiveDocument.1">
                  <p:embed/>
                </p:oleObj>
              </mc:Choice>
              <mc:Fallback>
                <p:oleObj name="Diapositiva de think-cell" r:id="rId4" imgW="473" imgH="473" progId="TCLayout.ActiveDocument.1">
                  <p:embed/>
                  <p:pic>
                    <p:nvPicPr>
                      <p:cNvPr id="5" name="Object 4" hidden="1">
                        <a:extLst>
                          <a:ext uri="{FF2B5EF4-FFF2-40B4-BE49-F238E27FC236}">
                            <a16:creationId xmlns:a16="http://schemas.microsoft.com/office/drawing/2014/main" id="{6B3E59E5-4B1C-40DC-8510-FA08329A095F}"/>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BD6EF5-00AA-4D2D-8CED-F0C79739D96E}"/>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s-CO" sz="2041"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FF20723D-443E-4746-A65F-E087C0A43D84}"/>
              </a:ext>
            </a:extLst>
          </p:cNvPr>
          <p:cNvSpPr>
            <a:spLocks noGrp="1"/>
          </p:cNvSpPr>
          <p:nvPr>
            <p:ph type="title"/>
          </p:nvPr>
        </p:nvSpPr>
        <p:spPr/>
        <p:txBody>
          <a:bodyPr/>
          <a:lstStyle/>
          <a:p>
            <a:r>
              <a:rPr lang="es-CO" dirty="0" err="1"/>
              <a:t>Click</a:t>
            </a:r>
            <a:r>
              <a:rPr lang="es-CO" dirty="0"/>
              <a:t> </a:t>
            </a:r>
            <a:r>
              <a:rPr lang="es-CO" dirty="0" err="1"/>
              <a:t>to</a:t>
            </a:r>
            <a:r>
              <a:rPr lang="es-CO" dirty="0"/>
              <a:t> </a:t>
            </a:r>
            <a:r>
              <a:rPr lang="es-CO" dirty="0" err="1"/>
              <a:t>edit</a:t>
            </a:r>
            <a:r>
              <a:rPr lang="es-CO" dirty="0"/>
              <a:t> Master </a:t>
            </a:r>
            <a:r>
              <a:rPr lang="es-CO" dirty="0" err="1"/>
              <a:t>title</a:t>
            </a:r>
            <a:r>
              <a:rPr lang="es-CO" dirty="0"/>
              <a:t> </a:t>
            </a:r>
            <a:r>
              <a:rPr lang="es-CO" dirty="0" err="1"/>
              <a:t>style</a:t>
            </a:r>
            <a:endParaRPr lang="es-CO" dirty="0"/>
          </a:p>
        </p:txBody>
      </p:sp>
      <p:sp>
        <p:nvSpPr>
          <p:cNvPr id="6" name="Slide Number">
            <a:extLst>
              <a:ext uri="{FF2B5EF4-FFF2-40B4-BE49-F238E27FC236}">
                <a16:creationId xmlns:a16="http://schemas.microsoft.com/office/drawing/2014/main" id="{D8B39B6A-CBB6-44D4-B5E9-8E7324A398CD}"/>
              </a:ext>
            </a:extLst>
          </p:cNvPr>
          <p:cNvSpPr txBox="1">
            <a:spLocks/>
          </p:cNvSpPr>
          <p:nvPr userDrawn="1"/>
        </p:nvSpPr>
        <p:spPr bwMode="gray">
          <a:xfrm>
            <a:off x="11652053" y="6409991"/>
            <a:ext cx="188093" cy="128097"/>
          </a:xfrm>
          <a:prstGeom prst="rect">
            <a:avLst/>
          </a:prstGeom>
        </p:spPr>
        <p:txBody>
          <a:bodyPr vert="horz" wrap="none" lIns="0" tIns="0" rIns="0" bIns="0" rtlCol="0" anchor="ctr">
            <a:spAutoFit/>
          </a:bodyPr>
          <a:lstStyle>
            <a:defPPr>
              <a:defRPr lang="es-ES"/>
            </a:defPPr>
            <a:lvl1pPr>
              <a:defRPr sz="1000" baseline="0">
                <a:latin typeface="+mn-lt"/>
              </a:defRPr>
            </a:lvl1pPr>
          </a:lstStyle>
          <a:p>
            <a:pPr lvl="0"/>
            <a:fld id="{42C328C1-A84F-4A39-A664-DBA00541A8C6}" type="slidenum">
              <a:rPr lang="es-CO" sz="816" smtClean="0">
                <a:solidFill>
                  <a:schemeClr val="accent6"/>
                </a:solidFill>
              </a:rPr>
              <a:pPr lvl="0"/>
              <a:t>‹Nº›</a:t>
            </a:fld>
            <a:endParaRPr lang="es-CO" sz="816" dirty="0">
              <a:solidFill>
                <a:schemeClr val="accent6"/>
              </a:solidFill>
            </a:endParaRPr>
          </a:p>
        </p:txBody>
      </p:sp>
    </p:spTree>
    <p:extLst>
      <p:ext uri="{BB962C8B-B14F-4D97-AF65-F5344CB8AC3E}">
        <p14:creationId xmlns:p14="http://schemas.microsoft.com/office/powerpoint/2010/main" val="10579676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3E59E5-4B1C-40DC-8510-FA08329A095F}"/>
              </a:ext>
            </a:extLst>
          </p:cNvPr>
          <p:cNvGraphicFramePr>
            <a:graphicFrameLocks noChangeAspect="1"/>
          </p:cNvGraphicFramePr>
          <p:nvPr userDrawn="1">
            <p:custDataLst>
              <p:tags r:id="rId1"/>
            </p:custDataLst>
            <p:extLst>
              <p:ext uri="{D42A27DB-BD31-4B8C-83A1-F6EECF244321}">
                <p14:modId xmlns:p14="http://schemas.microsoft.com/office/powerpoint/2010/main" val="4056550080"/>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Diapositiva de think-cell" r:id="rId4" imgW="473" imgH="473" progId="TCLayout.ActiveDocument.1">
                  <p:embed/>
                </p:oleObj>
              </mc:Choice>
              <mc:Fallback>
                <p:oleObj name="Diapositiva de think-cell" r:id="rId4" imgW="473" imgH="473" progId="TCLayout.ActiveDocument.1">
                  <p:embed/>
                  <p:pic>
                    <p:nvPicPr>
                      <p:cNvPr id="5" name="Object 4" hidden="1">
                        <a:extLst>
                          <a:ext uri="{FF2B5EF4-FFF2-40B4-BE49-F238E27FC236}">
                            <a16:creationId xmlns:a16="http://schemas.microsoft.com/office/drawing/2014/main" id="{6B3E59E5-4B1C-40DC-8510-FA08329A095F}"/>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BD6EF5-00AA-4D2D-8CED-F0C79739D96E}"/>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s-CO" sz="2041" b="0"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10" name="Picture 9">
            <a:extLst>
              <a:ext uri="{FF2B5EF4-FFF2-40B4-BE49-F238E27FC236}">
                <a16:creationId xmlns:a16="http://schemas.microsoft.com/office/drawing/2014/main" id="{B5101621-7632-4BAE-B715-BF99380CA6C4}"/>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47456" b="28120"/>
          <a:stretch/>
        </p:blipFill>
        <p:spPr>
          <a:xfrm>
            <a:off x="0" y="1"/>
            <a:ext cx="12188758" cy="2232651"/>
          </a:xfrm>
          <a:prstGeom prst="rect">
            <a:avLst/>
          </a:prstGeom>
        </p:spPr>
      </p:pic>
      <p:sp>
        <p:nvSpPr>
          <p:cNvPr id="11" name="Rectangle 10">
            <a:extLst>
              <a:ext uri="{FF2B5EF4-FFF2-40B4-BE49-F238E27FC236}">
                <a16:creationId xmlns:a16="http://schemas.microsoft.com/office/drawing/2014/main" id="{8FB1663F-8E86-42E3-AEC8-D3B15834F966}"/>
              </a:ext>
            </a:extLst>
          </p:cNvPr>
          <p:cNvSpPr/>
          <p:nvPr userDrawn="1"/>
        </p:nvSpPr>
        <p:spPr>
          <a:xfrm>
            <a:off x="0" y="240668"/>
            <a:ext cx="5224727" cy="70005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837" dirty="0">
              <a:solidFill>
                <a:schemeClr val="tx1"/>
              </a:solidFill>
            </a:endParaRPr>
          </a:p>
        </p:txBody>
      </p:sp>
      <p:sp>
        <p:nvSpPr>
          <p:cNvPr id="2" name="Title 1">
            <a:extLst>
              <a:ext uri="{FF2B5EF4-FFF2-40B4-BE49-F238E27FC236}">
                <a16:creationId xmlns:a16="http://schemas.microsoft.com/office/drawing/2014/main" id="{FF20723D-443E-4746-A65F-E087C0A43D84}"/>
              </a:ext>
            </a:extLst>
          </p:cNvPr>
          <p:cNvSpPr>
            <a:spLocks noGrp="1"/>
          </p:cNvSpPr>
          <p:nvPr>
            <p:ph type="title"/>
          </p:nvPr>
        </p:nvSpPr>
        <p:spPr>
          <a:xfrm>
            <a:off x="161987" y="513725"/>
            <a:ext cx="11725484" cy="314028"/>
          </a:xfrm>
        </p:spPr>
        <p:txBody>
          <a:bodyPr/>
          <a:lstStyle/>
          <a:p>
            <a:r>
              <a:rPr lang="es-CO" dirty="0" err="1"/>
              <a:t>Click</a:t>
            </a:r>
            <a:r>
              <a:rPr lang="es-CO" dirty="0"/>
              <a:t> </a:t>
            </a:r>
            <a:r>
              <a:rPr lang="es-CO" dirty="0" err="1"/>
              <a:t>to</a:t>
            </a:r>
            <a:r>
              <a:rPr lang="es-CO" dirty="0"/>
              <a:t> </a:t>
            </a:r>
            <a:r>
              <a:rPr lang="es-CO" dirty="0" err="1"/>
              <a:t>edit</a:t>
            </a:r>
            <a:r>
              <a:rPr lang="es-CO" dirty="0"/>
              <a:t> Master </a:t>
            </a:r>
            <a:r>
              <a:rPr lang="es-CO" dirty="0" err="1"/>
              <a:t>title</a:t>
            </a:r>
            <a:r>
              <a:rPr lang="es-CO" dirty="0"/>
              <a:t> </a:t>
            </a:r>
            <a:r>
              <a:rPr lang="es-CO" dirty="0" err="1"/>
              <a:t>style</a:t>
            </a:r>
            <a:endParaRPr lang="es-CO" dirty="0"/>
          </a:p>
        </p:txBody>
      </p:sp>
      <p:sp>
        <p:nvSpPr>
          <p:cNvPr id="6" name="Slide Number">
            <a:extLst>
              <a:ext uri="{FF2B5EF4-FFF2-40B4-BE49-F238E27FC236}">
                <a16:creationId xmlns:a16="http://schemas.microsoft.com/office/drawing/2014/main" id="{D8B39B6A-CBB6-44D4-B5E9-8E7324A398CD}"/>
              </a:ext>
            </a:extLst>
          </p:cNvPr>
          <p:cNvSpPr txBox="1">
            <a:spLocks/>
          </p:cNvSpPr>
          <p:nvPr userDrawn="1"/>
        </p:nvSpPr>
        <p:spPr bwMode="gray">
          <a:xfrm>
            <a:off x="11652053" y="6409991"/>
            <a:ext cx="188093" cy="128097"/>
          </a:xfrm>
          <a:prstGeom prst="rect">
            <a:avLst/>
          </a:prstGeom>
        </p:spPr>
        <p:txBody>
          <a:bodyPr vert="horz" wrap="none" lIns="0" tIns="0" rIns="0" bIns="0" rtlCol="0" anchor="ctr">
            <a:spAutoFit/>
          </a:bodyPr>
          <a:lstStyle>
            <a:defPPr>
              <a:defRPr lang="es-ES"/>
            </a:defPPr>
            <a:lvl1pPr>
              <a:defRPr sz="1000" baseline="0">
                <a:latin typeface="+mn-lt"/>
              </a:defRPr>
            </a:lvl1pPr>
          </a:lstStyle>
          <a:p>
            <a:pPr lvl="0"/>
            <a:fld id="{42C328C1-A84F-4A39-A664-DBA00541A8C6}" type="slidenum">
              <a:rPr lang="es-CO" sz="816" smtClean="0">
                <a:solidFill>
                  <a:schemeClr val="accent6"/>
                </a:solidFill>
              </a:rPr>
              <a:pPr lvl="0"/>
              <a:t>‹Nº›</a:t>
            </a:fld>
            <a:endParaRPr lang="es-CO" sz="816" dirty="0">
              <a:solidFill>
                <a:schemeClr val="accent6"/>
              </a:solidFill>
            </a:endParaRPr>
          </a:p>
        </p:txBody>
      </p:sp>
    </p:spTree>
    <p:extLst>
      <p:ext uri="{BB962C8B-B14F-4D97-AF65-F5344CB8AC3E}">
        <p14:creationId xmlns:p14="http://schemas.microsoft.com/office/powerpoint/2010/main" val="38833023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B1BD27B-DA0D-4005-880D-6F36CC0E8F7A}"/>
              </a:ext>
            </a:extLst>
          </p:cNvPr>
          <p:cNvSpPr/>
          <p:nvPr>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65" b="0" i="0" baseline="0" err="1">
              <a:solidFill>
                <a:schemeClr val="tx1"/>
              </a:solidFill>
              <a:latin typeface="Arial" panose="020B0604020202020204" pitchFamily="34" charset="0"/>
              <a:ea typeface="+mj-ea"/>
              <a:cs typeface="+mj-cs"/>
              <a:sym typeface="Arial" panose="020B0604020202020204" pitchFamily="34" charset="0"/>
            </a:endParaRPr>
          </a:p>
        </p:txBody>
      </p:sp>
      <p:pic>
        <p:nvPicPr>
          <p:cNvPr id="23" name="Imagen 7">
            <a:extLst>
              <a:ext uri="{FF2B5EF4-FFF2-40B4-BE49-F238E27FC236}">
                <a16:creationId xmlns:a16="http://schemas.microsoft.com/office/drawing/2014/main" id="{3E07FF20-6D9C-430B-B0A9-077587E6CC0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0" y="2"/>
            <a:ext cx="12428776" cy="6997297"/>
          </a:xfrm>
          <a:prstGeom prst="rect">
            <a:avLst/>
          </a:prstGeom>
        </p:spPr>
      </p:pic>
      <p:sp>
        <p:nvSpPr>
          <p:cNvPr id="5" name="doc id" hidden="1"/>
          <p:cNvSpPr txBox="1">
            <a:spLocks noChangeArrowheads="1"/>
          </p:cNvSpPr>
          <p:nvPr/>
        </p:nvSpPr>
        <p:spPr bwMode="auto">
          <a:xfrm>
            <a:off x="11595907"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s-ES" sz="1089" baseline="0" noProof="0">
              <a:solidFill>
                <a:srgbClr val="482A06"/>
              </a:solidFill>
              <a:latin typeface="+mn-lt"/>
            </a:endParaRPr>
          </a:p>
        </p:txBody>
      </p:sp>
      <p:grpSp>
        <p:nvGrpSpPr>
          <p:cNvPr id="15" name="LogoImage" hidden="1">
            <a:extLst>
              <a:ext uri="{FF2B5EF4-FFF2-40B4-BE49-F238E27FC236}">
                <a16:creationId xmlns:a16="http://schemas.microsoft.com/office/drawing/2014/main" id="{EAB2229D-6370-488C-937F-1A93CFBD709A}"/>
              </a:ext>
            </a:extLst>
          </p:cNvPr>
          <p:cNvGrpSpPr>
            <a:grpSpLocks/>
          </p:cNvGrpSpPr>
          <p:nvPr/>
        </p:nvGrpSpPr>
        <p:grpSpPr bwMode="auto">
          <a:xfrm>
            <a:off x="3090573" y="263459"/>
            <a:ext cx="1741648" cy="553873"/>
            <a:chOff x="0" y="973"/>
            <a:chExt cx="7680" cy="2374"/>
          </a:xfrm>
        </p:grpSpPr>
        <p:sp>
          <p:nvSpPr>
            <p:cNvPr id="16" name="AutoShape 3" hidden="1">
              <a:extLst>
                <a:ext uri="{FF2B5EF4-FFF2-40B4-BE49-F238E27FC236}">
                  <a16:creationId xmlns:a16="http://schemas.microsoft.com/office/drawing/2014/main" id="{8E86CEE8-2C1E-45F7-BFA1-BEDA55D35732}"/>
                </a:ext>
              </a:extLst>
            </p:cNvPr>
            <p:cNvSpPr>
              <a:spLocks noChangeAspect="1" noChangeArrowheads="1" noTextEdit="1"/>
            </p:cNvSpPr>
            <p:nvPr userDrawn="1"/>
          </p:nvSpPr>
          <p:spPr bwMode="auto">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sz="1837">
                <a:latin typeface="+mn-lt"/>
              </a:endParaRPr>
            </a:p>
          </p:txBody>
        </p:sp>
        <p:sp>
          <p:nvSpPr>
            <p:cNvPr id="17" name="Freeform 5" hidden="1">
              <a:extLst>
                <a:ext uri="{FF2B5EF4-FFF2-40B4-BE49-F238E27FC236}">
                  <a16:creationId xmlns:a16="http://schemas.microsoft.com/office/drawing/2014/main" id="{EB2102CC-8FC1-437F-921D-FAB1EA6588EC}"/>
                </a:ext>
              </a:extLst>
            </p:cNvPr>
            <p:cNvSpPr>
              <a:spLocks noEditPoints="1"/>
            </p:cNvSpPr>
            <p:nvPr userDrawn="1"/>
          </p:nvSpPr>
          <p:spPr bwMode="auto">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sz="1837">
                <a:latin typeface="+mn-lt"/>
              </a:endParaRPr>
            </a:p>
          </p:txBody>
        </p:sp>
      </p:grpSp>
      <p:sp>
        <p:nvSpPr>
          <p:cNvPr id="29" name="Isosceles Triangle 28">
            <a:extLst>
              <a:ext uri="{FF2B5EF4-FFF2-40B4-BE49-F238E27FC236}">
                <a16:creationId xmlns:a16="http://schemas.microsoft.com/office/drawing/2014/main" id="{EFCD2F8A-3DC4-421F-A722-D929B41B3219}"/>
              </a:ext>
            </a:extLst>
          </p:cNvPr>
          <p:cNvSpPr/>
          <p:nvPr/>
        </p:nvSpPr>
        <p:spPr>
          <a:xfrm rot="5400000">
            <a:off x="-301147" y="4206675"/>
            <a:ext cx="1870184" cy="1267892"/>
          </a:xfrm>
          <a:prstGeom prst="triangle">
            <a:avLst>
              <a:gd name="adj" fmla="val 5804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837" err="1">
              <a:solidFill>
                <a:schemeClr val="tx1"/>
              </a:solidFill>
            </a:endParaRPr>
          </a:p>
        </p:txBody>
      </p:sp>
      <p:sp>
        <p:nvSpPr>
          <p:cNvPr id="4" name="Working Draft Text" hidden="1"/>
          <p:cNvSpPr txBox="1">
            <a:spLocks noChangeArrowheads="1"/>
          </p:cNvSpPr>
          <p:nvPr/>
        </p:nvSpPr>
        <p:spPr bwMode="black">
          <a:xfrm>
            <a:off x="367394" y="121512"/>
            <a:ext cx="9004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s-ES" sz="816" b="1" baseline="0" noProof="0">
                <a:solidFill>
                  <a:schemeClr val="bg1"/>
                </a:solidFill>
                <a:latin typeface="+mn-lt"/>
              </a:rPr>
              <a:t>WORKING DRAFT</a:t>
            </a:r>
          </a:p>
        </p:txBody>
      </p:sp>
      <p:sp>
        <p:nvSpPr>
          <p:cNvPr id="6" name="Working Draft" hidden="1"/>
          <p:cNvSpPr txBox="1">
            <a:spLocks noChangeArrowheads="1"/>
          </p:cNvSpPr>
          <p:nvPr/>
        </p:nvSpPr>
        <p:spPr bwMode="black">
          <a:xfrm>
            <a:off x="367395" y="247124"/>
            <a:ext cx="381578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aseline="0" noProof="0">
                <a:solidFill>
                  <a:schemeClr val="bg1"/>
                </a:solidFill>
                <a:latin typeface="+mn-lt"/>
              </a:rPr>
              <a:t>Last Modified 8/27/2019 06:39 Central Standard Time</a:t>
            </a:r>
            <a:endParaRPr lang="es-ES" sz="816" baseline="0" noProof="0">
              <a:solidFill>
                <a:schemeClr val="bg1"/>
              </a:solidFill>
              <a:latin typeface="+mn-lt"/>
            </a:endParaRPr>
          </a:p>
        </p:txBody>
      </p:sp>
      <p:sp>
        <p:nvSpPr>
          <p:cNvPr id="7" name="Printed" hidden="1"/>
          <p:cNvSpPr txBox="1">
            <a:spLocks noChangeArrowheads="1"/>
          </p:cNvSpPr>
          <p:nvPr/>
        </p:nvSpPr>
        <p:spPr bwMode="black">
          <a:xfrm>
            <a:off x="367396" y="372737"/>
            <a:ext cx="3618996"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s-ES" sz="816" baseline="0" noProof="0">
                <a:solidFill>
                  <a:schemeClr val="bg1"/>
                </a:solidFill>
                <a:latin typeface="+mn-lt"/>
              </a:rPr>
              <a:t>Printed</a:t>
            </a:r>
          </a:p>
        </p:txBody>
      </p:sp>
      <p:sp>
        <p:nvSpPr>
          <p:cNvPr id="13314" name="Title"/>
          <p:cNvSpPr>
            <a:spLocks noGrp="1" noChangeArrowheads="1"/>
          </p:cNvSpPr>
          <p:nvPr>
            <p:ph type="ctrTitle"/>
          </p:nvPr>
        </p:nvSpPr>
        <p:spPr bwMode="gray">
          <a:xfrm>
            <a:off x="390893" y="747982"/>
            <a:ext cx="6357712" cy="502445"/>
          </a:xfrm>
          <a:prstGeom prst="rect">
            <a:avLst/>
          </a:prstGeom>
        </p:spPr>
        <p:txBody>
          <a:bodyPr/>
          <a:lstStyle>
            <a:lvl1pPr>
              <a:defRPr sz="3265" b="0" baseline="0">
                <a:solidFill>
                  <a:schemeClr val="bg1"/>
                </a:solidFill>
                <a:latin typeface="+mj-lt"/>
                <a:ea typeface="+mj-ea"/>
              </a:defRPr>
            </a:lvl1pPr>
          </a:lstStyle>
          <a:p>
            <a:pPr lvl="0" latinLnBrk="0"/>
            <a:r>
              <a:rPr lang="en-US" noProof="0"/>
              <a:t>Click to edit Master title style</a:t>
            </a:r>
            <a:endParaRPr lang="es-ES" noProof="0"/>
          </a:p>
        </p:txBody>
      </p:sp>
      <p:sp>
        <p:nvSpPr>
          <p:cNvPr id="13315" name="Subtitle"/>
          <p:cNvSpPr>
            <a:spLocks noGrp="1" noChangeArrowheads="1"/>
          </p:cNvSpPr>
          <p:nvPr>
            <p:ph type="subTitle" idx="1"/>
          </p:nvPr>
        </p:nvSpPr>
        <p:spPr bwMode="gray">
          <a:xfrm>
            <a:off x="390893" y="2628591"/>
            <a:ext cx="3720470" cy="219820"/>
          </a:xfrm>
          <a:prstGeom prst="rect">
            <a:avLst/>
          </a:prstGeom>
        </p:spPr>
        <p:txBody>
          <a:bodyPr wrap="square">
            <a:spAutoFit/>
          </a:bodyPr>
          <a:lstStyle>
            <a:lvl1pPr>
              <a:defRPr sz="1428" cap="all" baseline="0">
                <a:solidFill>
                  <a:schemeClr val="bg1"/>
                </a:solidFill>
                <a:latin typeface="+mn-lt"/>
                <a:ea typeface="+mn-ea"/>
              </a:defRPr>
            </a:lvl1pPr>
          </a:lstStyle>
          <a:p>
            <a:pPr lvl="0" latinLnBrk="0"/>
            <a:r>
              <a:rPr lang="en-US" noProof="0"/>
              <a:t>Click to edit Master subtitle style</a:t>
            </a:r>
            <a:endParaRPr lang="es-ES" noProof="0"/>
          </a:p>
        </p:txBody>
      </p:sp>
      <p:sp>
        <p:nvSpPr>
          <p:cNvPr id="57" name="Document type" hidden="1"/>
          <p:cNvSpPr txBox="1">
            <a:spLocks noChangeArrowheads="1"/>
          </p:cNvSpPr>
          <p:nvPr/>
        </p:nvSpPr>
        <p:spPr bwMode="gray">
          <a:xfrm>
            <a:off x="390893" y="3098719"/>
            <a:ext cx="3720470"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s-ES" sz="1428" baseline="0" noProof="0">
                <a:solidFill>
                  <a:schemeClr val="bg1"/>
                </a:solidFill>
                <a:latin typeface="+mn-lt"/>
              </a:rPr>
              <a:t>Tipo de Documento | Fecha</a:t>
            </a:r>
          </a:p>
        </p:txBody>
      </p:sp>
      <p:sp>
        <p:nvSpPr>
          <p:cNvPr id="26" name="Disclaimer-Spanish (Spain Traditional Sort)" hidden="1"/>
          <p:cNvSpPr>
            <a:spLocks noChangeArrowheads="1"/>
          </p:cNvSpPr>
          <p:nvPr/>
        </p:nvSpPr>
        <p:spPr bwMode="black">
          <a:xfrm>
            <a:off x="147169" y="6494736"/>
            <a:ext cx="2943404" cy="256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defTabSz="1094990" eaLnBrk="0" hangingPunct="0"/>
            <a:r>
              <a:rPr lang="es-CO" sz="816" baseline="0">
                <a:solidFill>
                  <a:schemeClr val="bg1"/>
                </a:solidFill>
                <a:latin typeface="+mn-lt"/>
              </a:rPr>
              <a:t>DOCUMENTO CONFIDENCIAL</a:t>
            </a:r>
          </a:p>
          <a:p>
            <a:pPr defTabSz="1094990" eaLnBrk="0" hangingPunct="0"/>
            <a:r>
              <a:rPr lang="es-CO" sz="816" baseline="0">
                <a:solidFill>
                  <a:schemeClr val="bg1"/>
                </a:solidFill>
                <a:latin typeface="+mn-lt"/>
              </a:rPr>
              <a:t>Queda prohibido su uso y distribución sin autorización expresa</a:t>
            </a:r>
            <a:endParaRPr lang="es-ES" sz="816" baseline="0">
              <a:solidFill>
                <a:schemeClr val="bg1"/>
              </a:solidFill>
              <a:latin typeface="+mn-lt"/>
            </a:endParaRPr>
          </a:p>
        </p:txBody>
      </p:sp>
    </p:spTree>
    <p:extLst>
      <p:ext uri="{BB962C8B-B14F-4D97-AF65-F5344CB8AC3E}">
        <p14:creationId xmlns:p14="http://schemas.microsoft.com/office/powerpoint/2010/main" val="36880402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endParaRPr lang="es-ES"/>
          </a:p>
        </p:txBody>
      </p:sp>
      <p:sp>
        <p:nvSpPr>
          <p:cNvPr id="8" name="Slide Number"/>
          <p:cNvSpPr txBox="1">
            <a:spLocks/>
          </p:cNvSpPr>
          <p:nvPr/>
        </p:nvSpPr>
        <p:spPr bwMode="gray">
          <a:xfrm>
            <a:off x="11652053" y="6409991"/>
            <a:ext cx="188093" cy="128097"/>
          </a:xfrm>
          <a:prstGeom prst="rect">
            <a:avLst/>
          </a:prstGeom>
        </p:spPr>
        <p:txBody>
          <a:bodyPr vert="horz" wrap="none" lIns="0" tIns="0" rIns="0" bIns="0" rtlCol="0" anchor="ctr">
            <a:spAutoFit/>
          </a:bodyPr>
          <a:lstStyle>
            <a:defPPr>
              <a:defRPr lang="es-ES"/>
            </a:defPPr>
            <a:lvl1pPr>
              <a:defRPr sz="1000" baseline="0">
                <a:latin typeface="+mn-lt"/>
              </a:defRPr>
            </a:lvl1pPr>
          </a:lstStyle>
          <a:p>
            <a:pPr lvl="0"/>
            <a:fld id="{42C328C1-A84F-4A39-A664-DBA00541A8C6}" type="slidenum">
              <a:rPr lang="es-ES" sz="816" smtClean="0">
                <a:solidFill>
                  <a:schemeClr val="accent6"/>
                </a:solidFill>
              </a:rPr>
              <a:pPr lvl="0"/>
              <a:t>‹Nº›</a:t>
            </a:fld>
            <a:endParaRPr lang="es-ES" sz="816">
              <a:solidFill>
                <a:schemeClr val="accent6"/>
              </a:solidFill>
            </a:endParaRPr>
          </a:p>
        </p:txBody>
      </p:sp>
      <p:sp>
        <p:nvSpPr>
          <p:cNvPr id="9" name="SlideLogoText" hidden="1"/>
          <p:cNvSpPr>
            <a:spLocks noChangeArrowheads="1"/>
          </p:cNvSpPr>
          <p:nvPr>
            <p:custDataLst>
              <p:tags r:id="rId1"/>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s-ES" sz="816" baseline="0" noProof="0">
                <a:solidFill>
                  <a:schemeClr val="accent6"/>
                </a:solidFill>
                <a:latin typeface="+mn-lt"/>
                <a:ea typeface="+mn-ea"/>
              </a:rPr>
              <a:t>McKinsey &amp; Company</a:t>
            </a:r>
          </a:p>
        </p:txBody>
      </p:sp>
      <p:sp>
        <p:nvSpPr>
          <p:cNvPr id="5"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s-ES" sz="612" baseline="0" noProof="0">
              <a:solidFill>
                <a:schemeClr val="accent6"/>
              </a:solidFill>
              <a:latin typeface="+mn-lt"/>
              <a:ea typeface="+mn-ea"/>
            </a:endParaRPr>
          </a:p>
        </p:txBody>
      </p:sp>
      <p:pic>
        <p:nvPicPr>
          <p:cNvPr id="6" name="Imagen 5">
            <a:extLst>
              <a:ext uri="{FF2B5EF4-FFF2-40B4-BE49-F238E27FC236}">
                <a16:creationId xmlns:a16="http://schemas.microsoft.com/office/drawing/2014/main" id="{8BD4377D-3D28-4068-BD37-5FDE5350B1B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0017" t="13966" r="12683" b="29231"/>
          <a:stretch/>
        </p:blipFill>
        <p:spPr>
          <a:xfrm>
            <a:off x="10088738" y="6155680"/>
            <a:ext cx="1356174" cy="610399"/>
          </a:xfrm>
          <a:prstGeom prst="rect">
            <a:avLst/>
          </a:prstGeom>
        </p:spPr>
      </p:pic>
      <p:cxnSp>
        <p:nvCxnSpPr>
          <p:cNvPr id="4" name="Straight Connector 3">
            <a:extLst>
              <a:ext uri="{FF2B5EF4-FFF2-40B4-BE49-F238E27FC236}">
                <a16:creationId xmlns:a16="http://schemas.microsoft.com/office/drawing/2014/main" id="{9C256ADF-7EE7-4BD6-BAD6-E17061C626F9}"/>
              </a:ext>
            </a:extLst>
          </p:cNvPr>
          <p:cNvCxnSpPr/>
          <p:nvPr/>
        </p:nvCxnSpPr>
        <p:spPr>
          <a:xfrm>
            <a:off x="11493879" y="6321217"/>
            <a:ext cx="0" cy="305644"/>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2FF67A-19B3-4143-937B-376342A39852}"/>
              </a:ext>
            </a:extLst>
          </p:cNvPr>
          <p:cNvCxnSpPr/>
          <p:nvPr/>
        </p:nvCxnSpPr>
        <p:spPr>
          <a:xfrm>
            <a:off x="10777293" y="6321217"/>
            <a:ext cx="0" cy="305644"/>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7453036"/>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2D0DCE-CDCF-4279-9C42-4592E8D9FAB3}"/>
              </a:ext>
            </a:extLst>
          </p:cNvPr>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Diapositiva de think-cell" r:id="rId5" imgW="386" imgH="386" progId="TCLayout.ActiveDocument.1">
                  <p:embed/>
                </p:oleObj>
              </mc:Choice>
              <mc:Fallback>
                <p:oleObj name="Diapositiva de think-cell" r:id="rId5" imgW="386" imgH="386" progId="TCLayout.ActiveDocument.1">
                  <p:embed/>
                  <p:pic>
                    <p:nvPicPr>
                      <p:cNvPr id="3" name="Object 2" hidden="1">
                        <a:extLst>
                          <a:ext uri="{FF2B5EF4-FFF2-40B4-BE49-F238E27FC236}">
                            <a16:creationId xmlns:a16="http://schemas.microsoft.com/office/drawing/2014/main" id="{9C2D0DCE-CDCF-4279-9C42-4592E8D9FAB3}"/>
                          </a:ext>
                        </a:extLst>
                      </p:cNvPr>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6935DEC-47F0-49DB-96EC-E2391B556E11}"/>
              </a:ext>
            </a:extLst>
          </p:cNvPr>
          <p:cNvSpPr/>
          <p:nvPr>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571" b="0"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12" name="Freeform: Shape 11">
            <a:extLst>
              <a:ext uri="{FF2B5EF4-FFF2-40B4-BE49-F238E27FC236}">
                <a16:creationId xmlns:a16="http://schemas.microsoft.com/office/drawing/2014/main" id="{FB3C6511-9021-4F94-B9FB-6664A8A5B8CC}"/>
              </a:ext>
            </a:extLst>
          </p:cNvPr>
          <p:cNvSpPr/>
          <p:nvPr/>
        </p:nvSpPr>
        <p:spPr>
          <a:xfrm>
            <a:off x="0" y="0"/>
            <a:ext cx="5864858" cy="3484012"/>
          </a:xfrm>
          <a:custGeom>
            <a:avLst/>
            <a:gdLst>
              <a:gd name="connsiteX0" fmla="*/ 0 w 10220960"/>
              <a:gd name="connsiteY0" fmla="*/ 0 h 5130800"/>
              <a:gd name="connsiteX1" fmla="*/ 0 w 10220960"/>
              <a:gd name="connsiteY1" fmla="*/ 3759200 h 5130800"/>
              <a:gd name="connsiteX2" fmla="*/ 1666240 w 10220960"/>
              <a:gd name="connsiteY2" fmla="*/ 5130800 h 5130800"/>
              <a:gd name="connsiteX3" fmla="*/ 10220960 w 10220960"/>
              <a:gd name="connsiteY3" fmla="*/ 20320 h 5130800"/>
              <a:gd name="connsiteX4" fmla="*/ 0 w 10220960"/>
              <a:gd name="connsiteY4" fmla="*/ 0 h 5130800"/>
              <a:gd name="connsiteX0" fmla="*/ 0 w 10220960"/>
              <a:gd name="connsiteY0" fmla="*/ 0 h 5130800"/>
              <a:gd name="connsiteX1" fmla="*/ 0 w 10220960"/>
              <a:gd name="connsiteY1" fmla="*/ 3759200 h 5130800"/>
              <a:gd name="connsiteX2" fmla="*/ 1666240 w 10220960"/>
              <a:gd name="connsiteY2" fmla="*/ 5130800 h 5130800"/>
              <a:gd name="connsiteX3" fmla="*/ 10220960 w 10220960"/>
              <a:gd name="connsiteY3" fmla="*/ 10160 h 5130800"/>
              <a:gd name="connsiteX4" fmla="*/ 0 w 10220960"/>
              <a:gd name="connsiteY4" fmla="*/ 0 h 5130800"/>
              <a:gd name="connsiteX0" fmla="*/ 0 w 10231120"/>
              <a:gd name="connsiteY0" fmla="*/ 0 h 5130800"/>
              <a:gd name="connsiteX1" fmla="*/ 0 w 10231120"/>
              <a:gd name="connsiteY1" fmla="*/ 3759200 h 5130800"/>
              <a:gd name="connsiteX2" fmla="*/ 1666240 w 10231120"/>
              <a:gd name="connsiteY2" fmla="*/ 5130800 h 5130800"/>
              <a:gd name="connsiteX3" fmla="*/ 10231120 w 10231120"/>
              <a:gd name="connsiteY3" fmla="*/ 0 h 5130800"/>
              <a:gd name="connsiteX4" fmla="*/ 0 w 10231120"/>
              <a:gd name="connsiteY4" fmla="*/ 0 h 5130800"/>
              <a:gd name="connsiteX0" fmla="*/ 0 w 10231120"/>
              <a:gd name="connsiteY0" fmla="*/ 0 h 5310929"/>
              <a:gd name="connsiteX1" fmla="*/ 0 w 10231120"/>
              <a:gd name="connsiteY1" fmla="*/ 3759200 h 5310929"/>
              <a:gd name="connsiteX2" fmla="*/ 1598692 w 10231120"/>
              <a:gd name="connsiteY2" fmla="*/ 5310929 h 5310929"/>
              <a:gd name="connsiteX3" fmla="*/ 10231120 w 10231120"/>
              <a:gd name="connsiteY3" fmla="*/ 0 h 5310929"/>
              <a:gd name="connsiteX4" fmla="*/ 0 w 10231120"/>
              <a:gd name="connsiteY4" fmla="*/ 0 h 5310929"/>
              <a:gd name="connsiteX0" fmla="*/ 0 w 10231120"/>
              <a:gd name="connsiteY0" fmla="*/ 0 h 5142149"/>
              <a:gd name="connsiteX1" fmla="*/ 0 w 10231120"/>
              <a:gd name="connsiteY1" fmla="*/ 3759200 h 5142149"/>
              <a:gd name="connsiteX2" fmla="*/ 1857628 w 10231120"/>
              <a:gd name="connsiteY2" fmla="*/ 5142149 h 5142149"/>
              <a:gd name="connsiteX3" fmla="*/ 10231120 w 10231120"/>
              <a:gd name="connsiteY3" fmla="*/ 0 h 5142149"/>
              <a:gd name="connsiteX4" fmla="*/ 0 w 10231120"/>
              <a:gd name="connsiteY4" fmla="*/ 0 h 5142149"/>
              <a:gd name="connsiteX0" fmla="*/ 0 w 10231120"/>
              <a:gd name="connsiteY0" fmla="*/ 0 h 5209661"/>
              <a:gd name="connsiteX1" fmla="*/ 0 w 10231120"/>
              <a:gd name="connsiteY1" fmla="*/ 3759200 h 5209661"/>
              <a:gd name="connsiteX2" fmla="*/ 1722531 w 10231120"/>
              <a:gd name="connsiteY2" fmla="*/ 5209661 h 5209661"/>
              <a:gd name="connsiteX3" fmla="*/ 10231120 w 10231120"/>
              <a:gd name="connsiteY3" fmla="*/ 0 h 5209661"/>
              <a:gd name="connsiteX4" fmla="*/ 0 w 10231120"/>
              <a:gd name="connsiteY4" fmla="*/ 0 h 5209661"/>
              <a:gd name="connsiteX0" fmla="*/ 0 w 10231120"/>
              <a:gd name="connsiteY0" fmla="*/ 0 h 6074571"/>
              <a:gd name="connsiteX1" fmla="*/ 0 w 10231120"/>
              <a:gd name="connsiteY1" fmla="*/ 3759200 h 6074571"/>
              <a:gd name="connsiteX2" fmla="*/ 2741756 w 10231120"/>
              <a:gd name="connsiteY2" fmla="*/ 6074571 h 6074571"/>
              <a:gd name="connsiteX3" fmla="*/ 10231120 w 10231120"/>
              <a:gd name="connsiteY3" fmla="*/ 0 h 6074571"/>
              <a:gd name="connsiteX4" fmla="*/ 0 w 10231120"/>
              <a:gd name="connsiteY4" fmla="*/ 0 h 6074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31120" h="6074571">
                <a:moveTo>
                  <a:pt x="0" y="0"/>
                </a:moveTo>
                <a:lnTo>
                  <a:pt x="0" y="3759200"/>
                </a:lnTo>
                <a:lnTo>
                  <a:pt x="2741756" y="6074571"/>
                </a:lnTo>
                <a:lnTo>
                  <a:pt x="10231120" y="0"/>
                </a:lnTo>
                <a:lnTo>
                  <a:pt x="0" y="0"/>
                </a:lnTo>
                <a:close/>
              </a:path>
            </a:pathLst>
          </a:custGeom>
          <a:solidFill>
            <a:schemeClr val="tx2">
              <a:alpha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lvl="0" algn="ctr"/>
            <a:endParaRPr lang="es-CO" sz="1837" err="1">
              <a:solidFill>
                <a:schemeClr val="tx1"/>
              </a:solidFill>
            </a:endParaRPr>
          </a:p>
        </p:txBody>
      </p:sp>
      <p:sp>
        <p:nvSpPr>
          <p:cNvPr id="13" name="Isosceles Triangle 12">
            <a:extLst>
              <a:ext uri="{FF2B5EF4-FFF2-40B4-BE49-F238E27FC236}">
                <a16:creationId xmlns:a16="http://schemas.microsoft.com/office/drawing/2014/main" id="{51C5CF7B-3EBA-404B-AD28-C33560F6373D}"/>
              </a:ext>
            </a:extLst>
          </p:cNvPr>
          <p:cNvSpPr/>
          <p:nvPr/>
        </p:nvSpPr>
        <p:spPr>
          <a:xfrm rot="5400000">
            <a:off x="-452077" y="2975662"/>
            <a:ext cx="2242800" cy="1338646"/>
          </a:xfrm>
          <a:prstGeom prst="triangle">
            <a:avLst>
              <a:gd name="adj" fmla="val 51521"/>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837" err="1">
              <a:solidFill>
                <a:schemeClr val="tx1"/>
              </a:solidFill>
            </a:endParaRPr>
          </a:p>
        </p:txBody>
      </p:sp>
      <p:sp>
        <p:nvSpPr>
          <p:cNvPr id="2" name="Title 1"/>
          <p:cNvSpPr>
            <a:spLocks noGrp="1"/>
          </p:cNvSpPr>
          <p:nvPr>
            <p:ph type="title"/>
          </p:nvPr>
        </p:nvSpPr>
        <p:spPr>
          <a:xfrm>
            <a:off x="520917" y="234865"/>
            <a:ext cx="11366553" cy="549549"/>
          </a:xfrm>
        </p:spPr>
        <p:txBody>
          <a:bodyPr/>
          <a:lstStyle>
            <a:lvl1pPr>
              <a:defRPr sz="3571">
                <a:solidFill>
                  <a:schemeClr val="bg1"/>
                </a:solidFill>
              </a:defRPr>
            </a:lvl1pPr>
          </a:lstStyle>
          <a:p>
            <a:r>
              <a:rPr lang="en-US"/>
              <a:t>Click to edit Master title style</a:t>
            </a:r>
            <a:endParaRPr lang="es-ES"/>
          </a:p>
        </p:txBody>
      </p:sp>
      <p:sp>
        <p:nvSpPr>
          <p:cNvPr id="10" name="SlideLogoText" hidden="1"/>
          <p:cNvSpPr>
            <a:spLocks noChangeArrowheads="1"/>
          </p:cNvSpPr>
          <p:nvPr>
            <p:custDataLst>
              <p:tags r:id="rId3"/>
            </p:custDataLst>
          </p:nvPr>
        </p:nvSpPr>
        <p:spPr bwMode="black">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s-ES" sz="816" baseline="0" noProof="0">
                <a:solidFill>
                  <a:schemeClr val="bg1"/>
                </a:solidFill>
                <a:latin typeface="+mn-lt"/>
                <a:ea typeface="+mn-ea"/>
              </a:rPr>
              <a:t>McKinsey &amp; Company</a:t>
            </a:r>
          </a:p>
        </p:txBody>
      </p:sp>
      <p:sp>
        <p:nvSpPr>
          <p:cNvPr id="5"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s-ES" sz="612" baseline="0" noProof="0">
              <a:solidFill>
                <a:schemeClr val="accent6"/>
              </a:solidFill>
              <a:latin typeface="+mn-lt"/>
              <a:ea typeface="+mn-ea"/>
            </a:endParaRPr>
          </a:p>
        </p:txBody>
      </p:sp>
      <p:pic>
        <p:nvPicPr>
          <p:cNvPr id="18" name="Imagen 5">
            <a:extLst>
              <a:ext uri="{FF2B5EF4-FFF2-40B4-BE49-F238E27FC236}">
                <a16:creationId xmlns:a16="http://schemas.microsoft.com/office/drawing/2014/main" id="{65174F25-BF49-48CC-A0E9-3A858A266FF3}"/>
              </a:ext>
            </a:extLst>
          </p:cNvPr>
          <p:cNvPicPr>
            <a:picLocks noChangeAspect="1"/>
          </p:cNvPicPr>
          <p:nvPr/>
        </p:nvPicPr>
        <p:blipFill rotWithShape="1">
          <a:blip r:embed="rId7" cstate="screen">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a:ext>
            </a:extLst>
          </a:blip>
          <a:srcRect l="10017" t="13966" r="12683" b="29231"/>
          <a:stretch/>
        </p:blipFill>
        <p:spPr>
          <a:xfrm>
            <a:off x="520918" y="1634523"/>
            <a:ext cx="1974585" cy="888739"/>
          </a:xfrm>
          <a:prstGeom prst="rect">
            <a:avLst/>
          </a:prstGeom>
        </p:spPr>
      </p:pic>
      <p:sp>
        <p:nvSpPr>
          <p:cNvPr id="22" name="Freeform: Shape 21">
            <a:extLst>
              <a:ext uri="{FF2B5EF4-FFF2-40B4-BE49-F238E27FC236}">
                <a16:creationId xmlns:a16="http://schemas.microsoft.com/office/drawing/2014/main" id="{A23135CA-97A1-4085-A6F2-CECBD884991E}"/>
              </a:ext>
            </a:extLst>
          </p:cNvPr>
          <p:cNvSpPr/>
          <p:nvPr/>
        </p:nvSpPr>
        <p:spPr>
          <a:xfrm rot="10800000">
            <a:off x="9648737" y="5347174"/>
            <a:ext cx="2543263" cy="1510823"/>
          </a:xfrm>
          <a:custGeom>
            <a:avLst/>
            <a:gdLst>
              <a:gd name="connsiteX0" fmla="*/ 0 w 10220960"/>
              <a:gd name="connsiteY0" fmla="*/ 0 h 5130800"/>
              <a:gd name="connsiteX1" fmla="*/ 0 w 10220960"/>
              <a:gd name="connsiteY1" fmla="*/ 3759200 h 5130800"/>
              <a:gd name="connsiteX2" fmla="*/ 1666240 w 10220960"/>
              <a:gd name="connsiteY2" fmla="*/ 5130800 h 5130800"/>
              <a:gd name="connsiteX3" fmla="*/ 10220960 w 10220960"/>
              <a:gd name="connsiteY3" fmla="*/ 20320 h 5130800"/>
              <a:gd name="connsiteX4" fmla="*/ 0 w 10220960"/>
              <a:gd name="connsiteY4" fmla="*/ 0 h 5130800"/>
              <a:gd name="connsiteX0" fmla="*/ 0 w 10220960"/>
              <a:gd name="connsiteY0" fmla="*/ 0 h 5130800"/>
              <a:gd name="connsiteX1" fmla="*/ 0 w 10220960"/>
              <a:gd name="connsiteY1" fmla="*/ 3759200 h 5130800"/>
              <a:gd name="connsiteX2" fmla="*/ 1666240 w 10220960"/>
              <a:gd name="connsiteY2" fmla="*/ 5130800 h 5130800"/>
              <a:gd name="connsiteX3" fmla="*/ 10220960 w 10220960"/>
              <a:gd name="connsiteY3" fmla="*/ 10160 h 5130800"/>
              <a:gd name="connsiteX4" fmla="*/ 0 w 10220960"/>
              <a:gd name="connsiteY4" fmla="*/ 0 h 5130800"/>
              <a:gd name="connsiteX0" fmla="*/ 0 w 10231120"/>
              <a:gd name="connsiteY0" fmla="*/ 0 h 5130800"/>
              <a:gd name="connsiteX1" fmla="*/ 0 w 10231120"/>
              <a:gd name="connsiteY1" fmla="*/ 3759200 h 5130800"/>
              <a:gd name="connsiteX2" fmla="*/ 1666240 w 10231120"/>
              <a:gd name="connsiteY2" fmla="*/ 5130800 h 5130800"/>
              <a:gd name="connsiteX3" fmla="*/ 10231120 w 10231120"/>
              <a:gd name="connsiteY3" fmla="*/ 0 h 5130800"/>
              <a:gd name="connsiteX4" fmla="*/ 0 w 10231120"/>
              <a:gd name="connsiteY4" fmla="*/ 0 h 5130800"/>
              <a:gd name="connsiteX0" fmla="*/ 0 w 10231120"/>
              <a:gd name="connsiteY0" fmla="*/ 0 h 5310929"/>
              <a:gd name="connsiteX1" fmla="*/ 0 w 10231120"/>
              <a:gd name="connsiteY1" fmla="*/ 3759200 h 5310929"/>
              <a:gd name="connsiteX2" fmla="*/ 1598692 w 10231120"/>
              <a:gd name="connsiteY2" fmla="*/ 5310929 h 5310929"/>
              <a:gd name="connsiteX3" fmla="*/ 10231120 w 10231120"/>
              <a:gd name="connsiteY3" fmla="*/ 0 h 5310929"/>
              <a:gd name="connsiteX4" fmla="*/ 0 w 10231120"/>
              <a:gd name="connsiteY4" fmla="*/ 0 h 5310929"/>
              <a:gd name="connsiteX0" fmla="*/ 0 w 10231120"/>
              <a:gd name="connsiteY0" fmla="*/ 0 h 5142149"/>
              <a:gd name="connsiteX1" fmla="*/ 0 w 10231120"/>
              <a:gd name="connsiteY1" fmla="*/ 3759200 h 5142149"/>
              <a:gd name="connsiteX2" fmla="*/ 1857628 w 10231120"/>
              <a:gd name="connsiteY2" fmla="*/ 5142149 h 5142149"/>
              <a:gd name="connsiteX3" fmla="*/ 10231120 w 10231120"/>
              <a:gd name="connsiteY3" fmla="*/ 0 h 5142149"/>
              <a:gd name="connsiteX4" fmla="*/ 0 w 10231120"/>
              <a:gd name="connsiteY4" fmla="*/ 0 h 5142149"/>
              <a:gd name="connsiteX0" fmla="*/ 0 w 10231120"/>
              <a:gd name="connsiteY0" fmla="*/ 0 h 5209661"/>
              <a:gd name="connsiteX1" fmla="*/ 0 w 10231120"/>
              <a:gd name="connsiteY1" fmla="*/ 3759200 h 5209661"/>
              <a:gd name="connsiteX2" fmla="*/ 1722531 w 10231120"/>
              <a:gd name="connsiteY2" fmla="*/ 5209661 h 5209661"/>
              <a:gd name="connsiteX3" fmla="*/ 10231120 w 10231120"/>
              <a:gd name="connsiteY3" fmla="*/ 0 h 5209661"/>
              <a:gd name="connsiteX4" fmla="*/ 0 w 10231120"/>
              <a:gd name="connsiteY4" fmla="*/ 0 h 5209661"/>
              <a:gd name="connsiteX0" fmla="*/ 0 w 10231120"/>
              <a:gd name="connsiteY0" fmla="*/ 0 h 6074571"/>
              <a:gd name="connsiteX1" fmla="*/ 0 w 10231120"/>
              <a:gd name="connsiteY1" fmla="*/ 3759200 h 6074571"/>
              <a:gd name="connsiteX2" fmla="*/ 2741756 w 10231120"/>
              <a:gd name="connsiteY2" fmla="*/ 6074571 h 6074571"/>
              <a:gd name="connsiteX3" fmla="*/ 10231120 w 10231120"/>
              <a:gd name="connsiteY3" fmla="*/ 0 h 6074571"/>
              <a:gd name="connsiteX4" fmla="*/ 0 w 10231120"/>
              <a:gd name="connsiteY4" fmla="*/ 0 h 6074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31120" h="6074571">
                <a:moveTo>
                  <a:pt x="0" y="0"/>
                </a:moveTo>
                <a:lnTo>
                  <a:pt x="0" y="3759200"/>
                </a:lnTo>
                <a:lnTo>
                  <a:pt x="2741756" y="6074571"/>
                </a:lnTo>
                <a:lnTo>
                  <a:pt x="10231120" y="0"/>
                </a:lnTo>
                <a:lnTo>
                  <a:pt x="0" y="0"/>
                </a:lnTo>
                <a:close/>
              </a:path>
            </a:pathLst>
          </a:custGeom>
          <a:solidFill>
            <a:schemeClr val="tx2">
              <a:alpha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lvl="0" algn="ctr"/>
            <a:endParaRPr lang="es-CO" sz="1837" err="1">
              <a:solidFill>
                <a:schemeClr val="tx1"/>
              </a:solidFill>
            </a:endParaRPr>
          </a:p>
        </p:txBody>
      </p:sp>
      <p:sp>
        <p:nvSpPr>
          <p:cNvPr id="23" name="Isosceles Triangle 22">
            <a:extLst>
              <a:ext uri="{FF2B5EF4-FFF2-40B4-BE49-F238E27FC236}">
                <a16:creationId xmlns:a16="http://schemas.microsoft.com/office/drawing/2014/main" id="{A6299710-8558-4D8F-B2F7-688E18B94C4C}"/>
              </a:ext>
            </a:extLst>
          </p:cNvPr>
          <p:cNvSpPr/>
          <p:nvPr/>
        </p:nvSpPr>
        <p:spPr>
          <a:xfrm rot="16200000">
            <a:off x="11415464" y="4987120"/>
            <a:ext cx="972579" cy="580497"/>
          </a:xfrm>
          <a:prstGeom prst="triangle">
            <a:avLst>
              <a:gd name="adj" fmla="val 51521"/>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lvl="0" algn="ctr"/>
            <a:endParaRPr lang="es-CO" sz="1837" err="1">
              <a:solidFill>
                <a:schemeClr val="tx1"/>
              </a:solidFill>
            </a:endParaRPr>
          </a:p>
        </p:txBody>
      </p:sp>
      <p:sp>
        <p:nvSpPr>
          <p:cNvPr id="9" name="Slide Number"/>
          <p:cNvSpPr txBox="1">
            <a:spLocks/>
          </p:cNvSpPr>
          <p:nvPr/>
        </p:nvSpPr>
        <p:spPr bwMode="black">
          <a:xfrm>
            <a:off x="11652053" y="6409991"/>
            <a:ext cx="188093" cy="128097"/>
          </a:xfrm>
          <a:prstGeom prst="rect">
            <a:avLst/>
          </a:prstGeom>
        </p:spPr>
        <p:txBody>
          <a:bodyPr vert="horz" wrap="none" lIns="0" tIns="0" rIns="0" bIns="0" rtlCol="0" anchor="ctr">
            <a:spAutoFit/>
          </a:bodyPr>
          <a:lstStyle>
            <a:defPPr>
              <a:defRPr lang="es-ES"/>
            </a:defPPr>
            <a:lvl1pPr>
              <a:defRPr sz="1000" baseline="0">
                <a:latin typeface="+mn-lt"/>
              </a:defRPr>
            </a:lvl1pPr>
          </a:lstStyle>
          <a:p>
            <a:pPr lvl="0"/>
            <a:fld id="{42C328C1-A84F-4A39-A664-DBA00541A8C6}" type="slidenum">
              <a:rPr lang="es-ES" sz="816" smtClean="0">
                <a:solidFill>
                  <a:schemeClr val="bg1"/>
                </a:solidFill>
              </a:rPr>
              <a:pPr lvl="0"/>
              <a:t>‹Nº›</a:t>
            </a:fld>
            <a:endParaRPr lang="es-ES" sz="816">
              <a:solidFill>
                <a:schemeClr val="bg1"/>
              </a:solidFill>
            </a:endParaRPr>
          </a:p>
        </p:txBody>
      </p:sp>
      <p:cxnSp>
        <p:nvCxnSpPr>
          <p:cNvPr id="19" name="Straight Connector 18">
            <a:extLst>
              <a:ext uri="{FF2B5EF4-FFF2-40B4-BE49-F238E27FC236}">
                <a16:creationId xmlns:a16="http://schemas.microsoft.com/office/drawing/2014/main" id="{B253CD2E-1E01-4C1C-B0D0-9E4FFF45EE74}"/>
              </a:ext>
            </a:extLst>
          </p:cNvPr>
          <p:cNvCxnSpPr/>
          <p:nvPr/>
        </p:nvCxnSpPr>
        <p:spPr>
          <a:xfrm>
            <a:off x="11493879" y="6321217"/>
            <a:ext cx="0" cy="305644"/>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2101018"/>
      </p:ext>
    </p:extLst>
  </p:cSld>
  <p:clrMapOvr>
    <a:masterClrMapping/>
  </p:clrMapOvr>
  <p:extLst>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 Contenido_Solo Título">
    <p:spTree>
      <p:nvGrpSpPr>
        <p:cNvPr id="1" name=""/>
        <p:cNvGrpSpPr/>
        <p:nvPr/>
      </p:nvGrpSpPr>
      <p:grpSpPr>
        <a:xfrm>
          <a:off x="0" y="0"/>
          <a:ext cx="0" cy="0"/>
          <a:chOff x="0" y="0"/>
          <a:chExt cx="0" cy="0"/>
        </a:xfrm>
      </p:grpSpPr>
      <p:sp>
        <p:nvSpPr>
          <p:cNvPr id="3" name="Marcador de número de diapositiva 2"/>
          <p:cNvSpPr>
            <a:spLocks noGrp="1"/>
          </p:cNvSpPr>
          <p:nvPr>
            <p:ph type="sldNum" sz="quarter" idx="10"/>
          </p:nvPr>
        </p:nvSpPr>
        <p:spPr/>
        <p:txBody>
          <a:bodyPr/>
          <a:lstStyle/>
          <a:p>
            <a:fld id="{02F25750-4209-4357-A72F-45445C8044EF}" type="slidenum">
              <a:rPr lang="es-CO" smtClean="0"/>
              <a:pPr/>
              <a:t>‹Nº›</a:t>
            </a:fld>
            <a:endParaRPr lang="es-CO"/>
          </a:p>
        </p:txBody>
      </p:sp>
      <p:sp>
        <p:nvSpPr>
          <p:cNvPr id="4" name="2. Slide Title"/>
          <p:cNvSpPr>
            <a:spLocks noGrp="1"/>
          </p:cNvSpPr>
          <p:nvPr>
            <p:ph type="title" hasCustomPrompt="1"/>
          </p:nvPr>
        </p:nvSpPr>
        <p:spPr>
          <a:xfrm>
            <a:off x="330506" y="234865"/>
            <a:ext cx="11530988" cy="668518"/>
          </a:xfrm>
          <a:prstGeom prst="rect">
            <a:avLst/>
          </a:prstGeom>
        </p:spPr>
        <p:txBody>
          <a:bodyPr/>
          <a:lstStyle>
            <a:lvl1pPr>
              <a:defRPr sz="2000" baseline="0"/>
            </a:lvl1pPr>
          </a:lstStyle>
          <a:p>
            <a:r>
              <a:rPr lang="es-ES_tradnl"/>
              <a:t>Título de la diapositiva (Arial, 20, Azul)</a:t>
            </a:r>
          </a:p>
        </p:txBody>
      </p:sp>
    </p:spTree>
    <p:extLst>
      <p:ext uri="{BB962C8B-B14F-4D97-AF65-F5344CB8AC3E}">
        <p14:creationId xmlns:p14="http://schemas.microsoft.com/office/powerpoint/2010/main" val="24006142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723D-443E-4746-A65F-E087C0A43D84}"/>
              </a:ext>
            </a:extLst>
          </p:cNvPr>
          <p:cNvSpPr>
            <a:spLocks noGrp="1"/>
          </p:cNvSpPr>
          <p:nvPr>
            <p:ph type="title"/>
          </p:nvPr>
        </p:nvSpPr>
        <p:spPr/>
        <p:txBody>
          <a:bodyPr/>
          <a:lstStyle/>
          <a:p>
            <a:r>
              <a:rPr lang="en-US"/>
              <a:t>Click to edit Master title style</a:t>
            </a:r>
            <a:endParaRPr lang="es-CO"/>
          </a:p>
        </p:txBody>
      </p:sp>
      <p:sp>
        <p:nvSpPr>
          <p:cNvPr id="3" name="Content Placeholder 2">
            <a:extLst>
              <a:ext uri="{FF2B5EF4-FFF2-40B4-BE49-F238E27FC236}">
                <a16:creationId xmlns:a16="http://schemas.microsoft.com/office/drawing/2014/main" id="{114477D9-A47B-4436-8B16-5BB9047A66F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s-CO"/>
          </a:p>
        </p:txBody>
      </p:sp>
    </p:spTree>
    <p:extLst>
      <p:ext uri="{BB962C8B-B14F-4D97-AF65-F5344CB8AC3E}">
        <p14:creationId xmlns:p14="http://schemas.microsoft.com/office/powerpoint/2010/main" val="29118443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C2F7BF-1244-4313-A956-D8657B88E0B6}"/>
              </a:ext>
            </a:extLst>
          </p:cNvPr>
          <p:cNvSpPr>
            <a:spLocks noGrp="1"/>
          </p:cNvSpPr>
          <p:nvPr>
            <p:ph type="ctrTitle"/>
          </p:nvPr>
        </p:nvSpPr>
        <p:spPr>
          <a:xfrm>
            <a:off x="1524003" y="1122363"/>
            <a:ext cx="9144000" cy="2387600"/>
          </a:xfrm>
        </p:spPr>
        <p:txBody>
          <a:bodyPr anchor="b"/>
          <a:lstStyle>
            <a:lvl1pPr algn="ctr">
              <a:defRPr sz="6000"/>
            </a:lvl1pPr>
          </a:lstStyle>
          <a:p>
            <a:r>
              <a:rPr lang="es-ES"/>
              <a:t>Haga clic para modificar el estilo de título del patrón</a:t>
            </a:r>
            <a:endParaRPr lang="es-CO"/>
          </a:p>
        </p:txBody>
      </p:sp>
      <p:sp>
        <p:nvSpPr>
          <p:cNvPr id="3" name="Subtítulo 2">
            <a:extLst>
              <a:ext uri="{FF2B5EF4-FFF2-40B4-BE49-F238E27FC236}">
                <a16:creationId xmlns:a16="http://schemas.microsoft.com/office/drawing/2014/main" id="{7ACA34F7-D5EA-41BC-A525-6FC78B45F910}"/>
              </a:ext>
            </a:extLst>
          </p:cNvPr>
          <p:cNvSpPr>
            <a:spLocks noGrp="1"/>
          </p:cNvSpPr>
          <p:nvPr>
            <p:ph type="subTitle" idx="1"/>
          </p:nvPr>
        </p:nvSpPr>
        <p:spPr>
          <a:xfrm>
            <a:off x="1524003" y="3602038"/>
            <a:ext cx="9144000" cy="1655762"/>
          </a:xfrm>
        </p:spPr>
        <p:txBody>
          <a:bodyPr/>
          <a:lstStyle>
            <a:lvl1pPr marL="0" indent="0" algn="ctr">
              <a:buNone/>
              <a:defRPr sz="2400"/>
            </a:lvl1pPr>
            <a:lvl2pPr marL="457206" indent="0" algn="ctr">
              <a:buNone/>
              <a:defRPr sz="2000"/>
            </a:lvl2pPr>
            <a:lvl3pPr marL="914413" indent="0" algn="ctr">
              <a:buNone/>
              <a:defRPr sz="1800"/>
            </a:lvl3pPr>
            <a:lvl4pPr marL="1371620" indent="0" algn="ctr">
              <a:buNone/>
              <a:defRPr sz="1600"/>
            </a:lvl4pPr>
            <a:lvl5pPr marL="1828827" indent="0" algn="ctr">
              <a:buNone/>
              <a:defRPr sz="1600"/>
            </a:lvl5pPr>
            <a:lvl6pPr marL="2286033" indent="0" algn="ctr">
              <a:buNone/>
              <a:defRPr sz="1600"/>
            </a:lvl6pPr>
            <a:lvl7pPr marL="2743240" indent="0" algn="ctr">
              <a:buNone/>
              <a:defRPr sz="1600"/>
            </a:lvl7pPr>
            <a:lvl8pPr marL="3200446" indent="0" algn="ctr">
              <a:buNone/>
              <a:defRPr sz="1600"/>
            </a:lvl8pPr>
            <a:lvl9pPr marL="3657654" indent="0" algn="ctr">
              <a:buNone/>
              <a:defRPr sz="1600"/>
            </a:lvl9pPr>
          </a:lstStyle>
          <a:p>
            <a:r>
              <a:rPr lang="es-ES"/>
              <a:t>Haga clic para modificar el estilo de subtítulo del patrón</a:t>
            </a:r>
            <a:endParaRPr lang="es-CO"/>
          </a:p>
        </p:txBody>
      </p:sp>
      <p:sp>
        <p:nvSpPr>
          <p:cNvPr id="4" name="Marcador de fecha 3">
            <a:extLst>
              <a:ext uri="{FF2B5EF4-FFF2-40B4-BE49-F238E27FC236}">
                <a16:creationId xmlns:a16="http://schemas.microsoft.com/office/drawing/2014/main" id="{CD09AB97-9F84-47DB-835A-44EEDBB121C2}"/>
              </a:ext>
            </a:extLst>
          </p:cNvPr>
          <p:cNvSpPr>
            <a:spLocks noGrp="1"/>
          </p:cNvSpPr>
          <p:nvPr>
            <p:ph type="dt" sz="half" idx="10"/>
          </p:nvPr>
        </p:nvSpPr>
        <p:spPr/>
        <p:txBody>
          <a:bodyPr/>
          <a:lstStyle/>
          <a:p>
            <a:fld id="{C54ADB0C-9C68-AF41-8C7F-CE234FA961A7}" type="datetimeFigureOut">
              <a:rPr lang="es-CO" smtClean="0">
                <a:solidFill>
                  <a:prstClr val="black">
                    <a:tint val="75000"/>
                  </a:prstClr>
                </a:solidFill>
                <a:latin typeface="Calibri"/>
              </a:rPr>
              <a:pPr/>
              <a:t>7/02/2021</a:t>
            </a:fld>
            <a:endParaRPr lang="es-CO">
              <a:solidFill>
                <a:prstClr val="black">
                  <a:tint val="75000"/>
                </a:prstClr>
              </a:solidFill>
              <a:latin typeface="Calibri"/>
            </a:endParaRPr>
          </a:p>
        </p:txBody>
      </p:sp>
      <p:sp>
        <p:nvSpPr>
          <p:cNvPr id="5" name="Marcador de pie de página 4">
            <a:extLst>
              <a:ext uri="{FF2B5EF4-FFF2-40B4-BE49-F238E27FC236}">
                <a16:creationId xmlns:a16="http://schemas.microsoft.com/office/drawing/2014/main" id="{D9E8192B-EAF5-4BFA-9C5E-2FD8060766EC}"/>
              </a:ext>
            </a:extLst>
          </p:cNvPr>
          <p:cNvSpPr>
            <a:spLocks noGrp="1"/>
          </p:cNvSpPr>
          <p:nvPr>
            <p:ph type="ftr" sz="quarter" idx="11"/>
          </p:nvPr>
        </p:nvSpPr>
        <p:spPr/>
        <p:txBody>
          <a:bodyPr/>
          <a:lstStyle/>
          <a:p>
            <a:endParaRPr lang="es-CO">
              <a:solidFill>
                <a:prstClr val="black">
                  <a:tint val="75000"/>
                </a:prstClr>
              </a:solidFill>
              <a:latin typeface="Calibri"/>
            </a:endParaRPr>
          </a:p>
        </p:txBody>
      </p:sp>
      <p:sp>
        <p:nvSpPr>
          <p:cNvPr id="6" name="Marcador de número de diapositiva 5">
            <a:extLst>
              <a:ext uri="{FF2B5EF4-FFF2-40B4-BE49-F238E27FC236}">
                <a16:creationId xmlns:a16="http://schemas.microsoft.com/office/drawing/2014/main" id="{29BBEE40-6480-417A-B0F9-4B05F97E3F09}"/>
              </a:ext>
            </a:extLst>
          </p:cNvPr>
          <p:cNvSpPr>
            <a:spLocks noGrp="1"/>
          </p:cNvSpPr>
          <p:nvPr>
            <p:ph type="sldNum" sz="quarter" idx="12"/>
          </p:nvPr>
        </p:nvSpPr>
        <p:spPr/>
        <p:txBody>
          <a:bodyPr/>
          <a:lstStyle/>
          <a:p>
            <a:fld id="{29A51821-8F00-2341-AEDC-23BA330731A3}" type="slidenum">
              <a:rPr lang="es-CO" smtClean="0">
                <a:solidFill>
                  <a:prstClr val="black">
                    <a:tint val="75000"/>
                  </a:prstClr>
                </a:solidFill>
                <a:latin typeface="Calibri"/>
              </a:rPr>
              <a:pPr/>
              <a:t>‹Nº›</a:t>
            </a:fld>
            <a:endParaRPr lang="es-CO">
              <a:solidFill>
                <a:prstClr val="black">
                  <a:tint val="75000"/>
                </a:prstClr>
              </a:solidFill>
              <a:latin typeface="Calibri"/>
            </a:endParaRPr>
          </a:p>
        </p:txBody>
      </p:sp>
    </p:spTree>
    <p:extLst>
      <p:ext uri="{BB962C8B-B14F-4D97-AF65-F5344CB8AC3E}">
        <p14:creationId xmlns:p14="http://schemas.microsoft.com/office/powerpoint/2010/main" val="32404056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35705189"/>
              </p:ext>
            </p:ext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B1BD27B-DA0D-4005-880D-6F36CC0E8F7A}"/>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s-CO" sz="3265" b="0"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23" name="Imagen 7">
            <a:extLst>
              <a:ext uri="{FF2B5EF4-FFF2-40B4-BE49-F238E27FC236}">
                <a16:creationId xmlns:a16="http://schemas.microsoft.com/office/drawing/2014/main" id="{3E07FF20-6D9C-430B-B0A9-077587E6CC06}"/>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2"/>
            <a:ext cx="12428776" cy="6997297"/>
          </a:xfrm>
          <a:prstGeom prst="rect">
            <a:avLst/>
          </a:prstGeom>
        </p:spPr>
      </p:pic>
      <p:sp>
        <p:nvSpPr>
          <p:cNvPr id="5" name="doc id" hidden="1"/>
          <p:cNvSpPr txBox="1">
            <a:spLocks noChangeArrowheads="1"/>
          </p:cNvSpPr>
          <p:nvPr userDrawn="1"/>
        </p:nvSpPr>
        <p:spPr bwMode="auto">
          <a:xfrm>
            <a:off x="11595907"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es-CO" sz="1089" baseline="0" noProof="0" dirty="0">
              <a:solidFill>
                <a:srgbClr val="482A06"/>
              </a:solidFill>
              <a:latin typeface="+mn-lt"/>
            </a:endParaRPr>
          </a:p>
        </p:txBody>
      </p:sp>
      <p:grpSp>
        <p:nvGrpSpPr>
          <p:cNvPr id="15" name="LogoImage" hidden="1">
            <a:extLst>
              <a:ext uri="{FF2B5EF4-FFF2-40B4-BE49-F238E27FC236}">
                <a16:creationId xmlns:a16="http://schemas.microsoft.com/office/drawing/2014/main" id="{EAB2229D-6370-488C-937F-1A93CFBD709A}"/>
              </a:ext>
            </a:extLst>
          </p:cNvPr>
          <p:cNvGrpSpPr>
            <a:grpSpLocks/>
          </p:cNvGrpSpPr>
          <p:nvPr userDrawn="1"/>
        </p:nvGrpSpPr>
        <p:grpSpPr bwMode="auto">
          <a:xfrm>
            <a:off x="3090573" y="263459"/>
            <a:ext cx="1741648" cy="553873"/>
            <a:chOff x="0" y="973"/>
            <a:chExt cx="7680" cy="2374"/>
          </a:xfrm>
        </p:grpSpPr>
        <p:sp>
          <p:nvSpPr>
            <p:cNvPr id="16" name="AutoShape 3" hidden="1">
              <a:extLst>
                <a:ext uri="{FF2B5EF4-FFF2-40B4-BE49-F238E27FC236}">
                  <a16:creationId xmlns:a16="http://schemas.microsoft.com/office/drawing/2014/main" id="{8E86CEE8-2C1E-45F7-BFA1-BEDA55D35732}"/>
                </a:ext>
              </a:extLst>
            </p:cNvPr>
            <p:cNvSpPr>
              <a:spLocks noChangeAspect="1" noChangeArrowheads="1" noTextEdit="1"/>
            </p:cNvSpPr>
            <p:nvPr userDrawn="1"/>
          </p:nvSpPr>
          <p:spPr bwMode="auto">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CO" sz="1837" dirty="0">
                <a:latin typeface="+mn-lt"/>
              </a:endParaRPr>
            </a:p>
          </p:txBody>
        </p:sp>
        <p:sp>
          <p:nvSpPr>
            <p:cNvPr id="17" name="Freeform 5" hidden="1">
              <a:extLst>
                <a:ext uri="{FF2B5EF4-FFF2-40B4-BE49-F238E27FC236}">
                  <a16:creationId xmlns:a16="http://schemas.microsoft.com/office/drawing/2014/main" id="{EB2102CC-8FC1-437F-921D-FAB1EA6588EC}"/>
                </a:ext>
              </a:extLst>
            </p:cNvPr>
            <p:cNvSpPr>
              <a:spLocks noEditPoints="1"/>
            </p:cNvSpPr>
            <p:nvPr userDrawn="1"/>
          </p:nvSpPr>
          <p:spPr bwMode="auto">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CO" sz="1837" dirty="0">
                <a:latin typeface="+mn-lt"/>
              </a:endParaRPr>
            </a:p>
          </p:txBody>
        </p:sp>
      </p:grpSp>
      <p:sp>
        <p:nvSpPr>
          <p:cNvPr id="29" name="Isosceles Triangle 28">
            <a:extLst>
              <a:ext uri="{FF2B5EF4-FFF2-40B4-BE49-F238E27FC236}">
                <a16:creationId xmlns:a16="http://schemas.microsoft.com/office/drawing/2014/main" id="{EFCD2F8A-3DC4-421F-A722-D929B41B3219}"/>
              </a:ext>
            </a:extLst>
          </p:cNvPr>
          <p:cNvSpPr/>
          <p:nvPr userDrawn="1"/>
        </p:nvSpPr>
        <p:spPr>
          <a:xfrm rot="5400000">
            <a:off x="-301147" y="4206675"/>
            <a:ext cx="1870184" cy="1267892"/>
          </a:xfrm>
          <a:prstGeom prst="triangle">
            <a:avLst>
              <a:gd name="adj" fmla="val 5804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837" dirty="0">
              <a:solidFill>
                <a:schemeClr val="tx1"/>
              </a:solidFill>
            </a:endParaRPr>
          </a:p>
        </p:txBody>
      </p:sp>
      <p:sp>
        <p:nvSpPr>
          <p:cNvPr id="4" name="Working Draft Text" hidden="1"/>
          <p:cNvSpPr txBox="1">
            <a:spLocks noChangeArrowheads="1"/>
          </p:cNvSpPr>
          <p:nvPr userDrawn="1"/>
        </p:nvSpPr>
        <p:spPr bwMode="black">
          <a:xfrm>
            <a:off x="367394" y="121512"/>
            <a:ext cx="90049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s-CO" sz="816" b="1" baseline="0" noProof="0" dirty="0">
                <a:solidFill>
                  <a:schemeClr val="bg1"/>
                </a:solidFill>
                <a:latin typeface="+mn-lt"/>
              </a:rPr>
              <a:t>WORKING DRAFT</a:t>
            </a:r>
          </a:p>
        </p:txBody>
      </p:sp>
      <p:sp>
        <p:nvSpPr>
          <p:cNvPr id="6" name="Working Draft" hidden="1"/>
          <p:cNvSpPr txBox="1">
            <a:spLocks noChangeArrowheads="1"/>
          </p:cNvSpPr>
          <p:nvPr userDrawn="1"/>
        </p:nvSpPr>
        <p:spPr bwMode="black">
          <a:xfrm>
            <a:off x="367395" y="247124"/>
            <a:ext cx="381578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816" baseline="0" noProof="0">
                <a:solidFill>
                  <a:schemeClr val="bg1"/>
                </a:solidFill>
                <a:latin typeface="+mn-lt"/>
              </a:rPr>
              <a:t>Last Modified 10/10/2019 3:29 p.m. SA Pacific Standard Time</a:t>
            </a:r>
            <a:endParaRPr lang="es-CO" sz="816" baseline="0" noProof="0" dirty="0">
              <a:solidFill>
                <a:schemeClr val="bg1"/>
              </a:solidFill>
              <a:latin typeface="+mn-lt"/>
            </a:endParaRPr>
          </a:p>
        </p:txBody>
      </p:sp>
      <p:sp>
        <p:nvSpPr>
          <p:cNvPr id="7" name="Printed" hidden="1"/>
          <p:cNvSpPr txBox="1">
            <a:spLocks noChangeArrowheads="1"/>
          </p:cNvSpPr>
          <p:nvPr userDrawn="1"/>
        </p:nvSpPr>
        <p:spPr bwMode="black">
          <a:xfrm>
            <a:off x="367396" y="372737"/>
            <a:ext cx="3618996"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s-CO" sz="816" baseline="0" noProof="0" dirty="0" err="1">
                <a:solidFill>
                  <a:schemeClr val="bg1"/>
                </a:solidFill>
                <a:latin typeface="+mn-lt"/>
              </a:rPr>
              <a:t>Printed</a:t>
            </a:r>
            <a:endParaRPr lang="es-CO" sz="816" baseline="0" noProof="0" dirty="0">
              <a:solidFill>
                <a:schemeClr val="bg1"/>
              </a:solidFill>
              <a:latin typeface="+mn-lt"/>
            </a:endParaRPr>
          </a:p>
        </p:txBody>
      </p:sp>
      <p:sp>
        <p:nvSpPr>
          <p:cNvPr id="13314" name="Title"/>
          <p:cNvSpPr>
            <a:spLocks noGrp="1" noChangeArrowheads="1"/>
          </p:cNvSpPr>
          <p:nvPr userDrawn="1">
            <p:ph type="ctrTitle"/>
          </p:nvPr>
        </p:nvSpPr>
        <p:spPr bwMode="gray">
          <a:xfrm>
            <a:off x="390893" y="747982"/>
            <a:ext cx="6357712" cy="502445"/>
          </a:xfrm>
          <a:prstGeom prst="rect">
            <a:avLst/>
          </a:prstGeom>
        </p:spPr>
        <p:txBody>
          <a:bodyPr/>
          <a:lstStyle>
            <a:lvl1pPr>
              <a:defRPr sz="3265" b="0" baseline="0">
                <a:solidFill>
                  <a:schemeClr val="bg1"/>
                </a:solidFill>
                <a:latin typeface="+mj-lt"/>
                <a:ea typeface="+mj-ea"/>
              </a:defRPr>
            </a:lvl1pPr>
          </a:lstStyle>
          <a:p>
            <a:pPr lvl="0" latinLnBrk="0"/>
            <a:r>
              <a:rPr lang="es-CO" noProof="0" dirty="0" err="1"/>
              <a:t>Click</a:t>
            </a:r>
            <a:r>
              <a:rPr lang="es-CO" noProof="0" dirty="0"/>
              <a:t> </a:t>
            </a:r>
            <a:r>
              <a:rPr lang="es-CO" noProof="0" dirty="0" err="1"/>
              <a:t>to</a:t>
            </a:r>
            <a:r>
              <a:rPr lang="es-CO" noProof="0" dirty="0"/>
              <a:t> </a:t>
            </a:r>
            <a:r>
              <a:rPr lang="es-CO" noProof="0" dirty="0" err="1"/>
              <a:t>edit</a:t>
            </a:r>
            <a:r>
              <a:rPr lang="es-CO" noProof="0" dirty="0"/>
              <a:t> Master </a:t>
            </a:r>
            <a:r>
              <a:rPr lang="es-CO" noProof="0" dirty="0" err="1"/>
              <a:t>title</a:t>
            </a:r>
            <a:r>
              <a:rPr lang="es-CO" noProof="0" dirty="0"/>
              <a:t> </a:t>
            </a:r>
            <a:r>
              <a:rPr lang="es-CO" noProof="0" dirty="0" err="1"/>
              <a:t>style</a:t>
            </a:r>
            <a:endParaRPr lang="es-CO" noProof="0" dirty="0"/>
          </a:p>
        </p:txBody>
      </p:sp>
      <p:sp>
        <p:nvSpPr>
          <p:cNvPr id="13315" name="Subtitle"/>
          <p:cNvSpPr>
            <a:spLocks noGrp="1" noChangeArrowheads="1"/>
          </p:cNvSpPr>
          <p:nvPr userDrawn="1">
            <p:ph type="subTitle" idx="1"/>
          </p:nvPr>
        </p:nvSpPr>
        <p:spPr bwMode="gray">
          <a:xfrm>
            <a:off x="390893" y="2628591"/>
            <a:ext cx="3720470" cy="219820"/>
          </a:xfrm>
          <a:prstGeom prst="rect">
            <a:avLst/>
          </a:prstGeom>
        </p:spPr>
        <p:txBody>
          <a:bodyPr wrap="square">
            <a:spAutoFit/>
          </a:bodyPr>
          <a:lstStyle>
            <a:lvl1pPr>
              <a:defRPr sz="1428" cap="all" baseline="0">
                <a:solidFill>
                  <a:schemeClr val="bg1"/>
                </a:solidFill>
                <a:latin typeface="+mn-lt"/>
                <a:ea typeface="+mn-ea"/>
              </a:defRPr>
            </a:lvl1pPr>
          </a:lstStyle>
          <a:p>
            <a:pPr lvl="0" latinLnBrk="0"/>
            <a:r>
              <a:rPr lang="es-CO" noProof="0" dirty="0" err="1"/>
              <a:t>Click</a:t>
            </a:r>
            <a:r>
              <a:rPr lang="es-CO" noProof="0" dirty="0"/>
              <a:t> </a:t>
            </a:r>
            <a:r>
              <a:rPr lang="es-CO" noProof="0" dirty="0" err="1"/>
              <a:t>to</a:t>
            </a:r>
            <a:r>
              <a:rPr lang="es-CO" noProof="0" dirty="0"/>
              <a:t> </a:t>
            </a:r>
            <a:r>
              <a:rPr lang="es-CO" noProof="0" dirty="0" err="1"/>
              <a:t>edit</a:t>
            </a:r>
            <a:r>
              <a:rPr lang="es-CO" noProof="0" dirty="0"/>
              <a:t> Master </a:t>
            </a:r>
            <a:r>
              <a:rPr lang="es-CO" noProof="0" dirty="0" err="1"/>
              <a:t>subtitle</a:t>
            </a:r>
            <a:r>
              <a:rPr lang="es-CO" noProof="0" dirty="0"/>
              <a:t> </a:t>
            </a:r>
            <a:r>
              <a:rPr lang="es-CO" noProof="0" dirty="0" err="1"/>
              <a:t>style</a:t>
            </a:r>
            <a:endParaRPr lang="es-CO" noProof="0" dirty="0"/>
          </a:p>
        </p:txBody>
      </p:sp>
      <p:sp>
        <p:nvSpPr>
          <p:cNvPr id="57" name="Document type" hidden="1"/>
          <p:cNvSpPr txBox="1">
            <a:spLocks noChangeArrowheads="1"/>
          </p:cNvSpPr>
          <p:nvPr userDrawn="1"/>
        </p:nvSpPr>
        <p:spPr bwMode="gray">
          <a:xfrm>
            <a:off x="390893" y="3098719"/>
            <a:ext cx="3720470"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s-CO" sz="1428" baseline="0" noProof="0" dirty="0">
                <a:solidFill>
                  <a:schemeClr val="bg1"/>
                </a:solidFill>
                <a:latin typeface="+mn-lt"/>
              </a:rPr>
              <a:t>Tipo de Documento | Fecha</a:t>
            </a:r>
          </a:p>
        </p:txBody>
      </p:sp>
      <p:sp>
        <p:nvSpPr>
          <p:cNvPr id="26" name="Disclaimer-Spanish (Spain Traditional Sort)" hidden="1"/>
          <p:cNvSpPr>
            <a:spLocks noChangeArrowheads="1"/>
          </p:cNvSpPr>
          <p:nvPr userDrawn="1"/>
        </p:nvSpPr>
        <p:spPr bwMode="black">
          <a:xfrm>
            <a:off x="147169" y="6494736"/>
            <a:ext cx="2943404" cy="256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p>
            <a:pPr defTabSz="1094990" eaLnBrk="0" hangingPunct="0"/>
            <a:r>
              <a:rPr lang="es-CO" sz="816" baseline="0" dirty="0">
                <a:solidFill>
                  <a:schemeClr val="bg1"/>
                </a:solidFill>
                <a:latin typeface="+mn-lt"/>
              </a:rPr>
              <a:t>DOCUMENTO CONFIDENCIAL</a:t>
            </a:r>
          </a:p>
          <a:p>
            <a:pPr defTabSz="1094990" eaLnBrk="0" hangingPunct="0"/>
            <a:r>
              <a:rPr lang="es-CO" sz="816" baseline="0" dirty="0">
                <a:solidFill>
                  <a:schemeClr val="bg1"/>
                </a:solidFill>
                <a:latin typeface="+mn-lt"/>
              </a:rPr>
              <a:t>Queda prohibido su uso y distribución sin autorización expresa</a:t>
            </a:r>
          </a:p>
        </p:txBody>
      </p:sp>
    </p:spTree>
    <p:extLst>
      <p:ext uri="{BB962C8B-B14F-4D97-AF65-F5344CB8AC3E}">
        <p14:creationId xmlns:p14="http://schemas.microsoft.com/office/powerpoint/2010/main" val="18759159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AEB706C-6E23-41E1-A0FC-A1EA374CB6FA}"/>
              </a:ext>
            </a:extLst>
          </p:cNvPr>
          <p:cNvGraphicFramePr>
            <a:graphicFrameLocks noChangeAspect="1"/>
          </p:cNvGraphicFramePr>
          <p:nvPr userDrawn="1">
            <p:custDataLst>
              <p:tags r:id="rId1"/>
            </p:custDataLst>
            <p:extLst>
              <p:ext uri="{D42A27DB-BD31-4B8C-83A1-F6EECF244321}">
                <p14:modId xmlns:p14="http://schemas.microsoft.com/office/powerpoint/2010/main" val="2560798376"/>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Diapositiva de think-cell" r:id="rId5" imgW="473" imgH="473" progId="TCLayout.ActiveDocument.1">
                  <p:embed/>
                </p:oleObj>
              </mc:Choice>
              <mc:Fallback>
                <p:oleObj name="Diapositiva de think-cell" r:id="rId5" imgW="473" imgH="473" progId="TCLayout.ActiveDocument.1">
                  <p:embed/>
                  <p:pic>
                    <p:nvPicPr>
                      <p:cNvPr id="7" name="Object 6" hidden="1">
                        <a:extLst>
                          <a:ext uri="{FF2B5EF4-FFF2-40B4-BE49-F238E27FC236}">
                            <a16:creationId xmlns:a16="http://schemas.microsoft.com/office/drawing/2014/main" id="{9AEB706C-6E23-41E1-A0FC-A1EA374CB6FA}"/>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A6B4CC7-D319-4F9B-A303-D6AFC249F2B0}"/>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s-CO" sz="2041"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p:txBody>
          <a:bodyPr/>
          <a:lstStyle/>
          <a:p>
            <a:r>
              <a:rPr lang="es-CO" dirty="0" err="1"/>
              <a:t>Click</a:t>
            </a:r>
            <a:r>
              <a:rPr lang="es-CO" dirty="0"/>
              <a:t> </a:t>
            </a:r>
            <a:r>
              <a:rPr lang="es-CO" dirty="0" err="1"/>
              <a:t>to</a:t>
            </a:r>
            <a:r>
              <a:rPr lang="es-CO" dirty="0"/>
              <a:t> </a:t>
            </a:r>
            <a:r>
              <a:rPr lang="es-CO" dirty="0" err="1"/>
              <a:t>edit</a:t>
            </a:r>
            <a:r>
              <a:rPr lang="es-CO" dirty="0"/>
              <a:t> Master </a:t>
            </a:r>
            <a:r>
              <a:rPr lang="es-CO" dirty="0" err="1"/>
              <a:t>title</a:t>
            </a:r>
            <a:r>
              <a:rPr lang="es-CO" dirty="0"/>
              <a:t> </a:t>
            </a:r>
            <a:r>
              <a:rPr lang="es-CO" dirty="0" err="1"/>
              <a:t>style</a:t>
            </a:r>
            <a:endParaRPr lang="es-CO" dirty="0"/>
          </a:p>
        </p:txBody>
      </p:sp>
      <p:sp>
        <p:nvSpPr>
          <p:cNvPr id="8" name="Slide Number"/>
          <p:cNvSpPr txBox="1">
            <a:spLocks/>
          </p:cNvSpPr>
          <p:nvPr userDrawn="1"/>
        </p:nvSpPr>
        <p:spPr bwMode="gray">
          <a:xfrm>
            <a:off x="11652053" y="6409991"/>
            <a:ext cx="188093" cy="128097"/>
          </a:xfrm>
          <a:prstGeom prst="rect">
            <a:avLst/>
          </a:prstGeom>
        </p:spPr>
        <p:txBody>
          <a:bodyPr vert="horz" wrap="none" lIns="0" tIns="0" rIns="0" bIns="0" rtlCol="0" anchor="ctr">
            <a:spAutoFit/>
          </a:bodyPr>
          <a:lstStyle>
            <a:defPPr>
              <a:defRPr lang="es-ES"/>
            </a:defPPr>
            <a:lvl1pPr>
              <a:defRPr sz="1000" baseline="0">
                <a:latin typeface="+mn-lt"/>
              </a:defRPr>
            </a:lvl1pPr>
          </a:lstStyle>
          <a:p>
            <a:pPr lvl="0"/>
            <a:fld id="{42C328C1-A84F-4A39-A664-DBA00541A8C6}" type="slidenum">
              <a:rPr lang="es-CO" sz="816" smtClean="0">
                <a:solidFill>
                  <a:schemeClr val="accent6"/>
                </a:solidFill>
              </a:rPr>
              <a:pPr lvl="0"/>
              <a:t>‹Nº›</a:t>
            </a:fld>
            <a:endParaRPr lang="es-CO" sz="816" dirty="0">
              <a:solidFill>
                <a:schemeClr val="accent6"/>
              </a:solidFill>
            </a:endParaRPr>
          </a:p>
        </p:txBody>
      </p:sp>
      <p:sp>
        <p:nvSpPr>
          <p:cNvPr id="9" name="SlideLogoText" hidden="1"/>
          <p:cNvSpPr>
            <a:spLocks noChangeArrowheads="1"/>
          </p:cNvSpPr>
          <p:nvPr userDrawn="1">
            <p:custDataLst>
              <p:tags r:id="rId3"/>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s-CO" sz="816" baseline="0" noProof="0" dirty="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s-CO" sz="612" baseline="0" noProof="0" dirty="0">
              <a:solidFill>
                <a:schemeClr val="accent6"/>
              </a:solidFill>
              <a:latin typeface="+mn-lt"/>
              <a:ea typeface="+mn-ea"/>
            </a:endParaRPr>
          </a:p>
        </p:txBody>
      </p:sp>
      <p:pic>
        <p:nvPicPr>
          <p:cNvPr id="6" name="Imagen 5">
            <a:extLst>
              <a:ext uri="{FF2B5EF4-FFF2-40B4-BE49-F238E27FC236}">
                <a16:creationId xmlns:a16="http://schemas.microsoft.com/office/drawing/2014/main" id="{8BD4377D-3D28-4068-BD37-5FDE5350B1B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0017" t="13966" r="12683" b="29231"/>
          <a:stretch/>
        </p:blipFill>
        <p:spPr>
          <a:xfrm>
            <a:off x="10088738" y="6155680"/>
            <a:ext cx="1356174" cy="610399"/>
          </a:xfrm>
          <a:prstGeom prst="rect">
            <a:avLst/>
          </a:prstGeom>
        </p:spPr>
      </p:pic>
      <p:cxnSp>
        <p:nvCxnSpPr>
          <p:cNvPr id="4" name="Straight Connector 3">
            <a:extLst>
              <a:ext uri="{FF2B5EF4-FFF2-40B4-BE49-F238E27FC236}">
                <a16:creationId xmlns:a16="http://schemas.microsoft.com/office/drawing/2014/main" id="{9C256ADF-7EE7-4BD6-BAD6-E17061C626F9}"/>
              </a:ext>
            </a:extLst>
          </p:cNvPr>
          <p:cNvCxnSpPr/>
          <p:nvPr userDrawn="1"/>
        </p:nvCxnSpPr>
        <p:spPr>
          <a:xfrm>
            <a:off x="11493879" y="6321217"/>
            <a:ext cx="0" cy="305644"/>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2FF67A-19B3-4143-937B-376342A39852}"/>
              </a:ext>
            </a:extLst>
          </p:cNvPr>
          <p:cNvCxnSpPr/>
          <p:nvPr userDrawn="1"/>
        </p:nvCxnSpPr>
        <p:spPr>
          <a:xfrm>
            <a:off x="10777293" y="6321217"/>
            <a:ext cx="0" cy="305644"/>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9316030"/>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2D0DCE-CDCF-4279-9C42-4592E8D9FAB3}"/>
              </a:ext>
            </a:extLst>
          </p:cNvPr>
          <p:cNvGraphicFramePr>
            <a:graphicFrameLocks noChangeAspect="1"/>
          </p:cNvGraphicFramePr>
          <p:nvPr userDrawn="1">
            <p:custDataLst>
              <p:tags r:id="rId1"/>
            </p:custDataLst>
            <p:extLst>
              <p:ext uri="{D42A27DB-BD31-4B8C-83A1-F6EECF244321}">
                <p14:modId xmlns:p14="http://schemas.microsoft.com/office/powerpoint/2010/main" val="160838546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Diapositiva de think-cell" r:id="rId5" imgW="386" imgH="386" progId="TCLayout.ActiveDocument.1">
                  <p:embed/>
                </p:oleObj>
              </mc:Choice>
              <mc:Fallback>
                <p:oleObj name="Diapositiva de think-cell" r:id="rId5" imgW="386" imgH="386" progId="TCLayout.ActiveDocument.1">
                  <p:embed/>
                  <p:pic>
                    <p:nvPicPr>
                      <p:cNvPr id="3" name="Object 2" hidden="1">
                        <a:extLst>
                          <a:ext uri="{FF2B5EF4-FFF2-40B4-BE49-F238E27FC236}">
                            <a16:creationId xmlns:a16="http://schemas.microsoft.com/office/drawing/2014/main" id="{9C2D0DCE-CDCF-4279-9C42-4592E8D9FAB3}"/>
                          </a:ext>
                        </a:extLst>
                      </p:cNvPr>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6935DEC-47F0-49DB-96EC-E2391B556E11}"/>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s-CO" sz="3571"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12" name="Freeform: Shape 11">
            <a:extLst>
              <a:ext uri="{FF2B5EF4-FFF2-40B4-BE49-F238E27FC236}">
                <a16:creationId xmlns:a16="http://schemas.microsoft.com/office/drawing/2014/main" id="{FB3C6511-9021-4F94-B9FB-6664A8A5B8CC}"/>
              </a:ext>
            </a:extLst>
          </p:cNvPr>
          <p:cNvSpPr/>
          <p:nvPr userDrawn="1"/>
        </p:nvSpPr>
        <p:spPr>
          <a:xfrm>
            <a:off x="0" y="0"/>
            <a:ext cx="5864858" cy="3484012"/>
          </a:xfrm>
          <a:custGeom>
            <a:avLst/>
            <a:gdLst>
              <a:gd name="connsiteX0" fmla="*/ 0 w 10220960"/>
              <a:gd name="connsiteY0" fmla="*/ 0 h 5130800"/>
              <a:gd name="connsiteX1" fmla="*/ 0 w 10220960"/>
              <a:gd name="connsiteY1" fmla="*/ 3759200 h 5130800"/>
              <a:gd name="connsiteX2" fmla="*/ 1666240 w 10220960"/>
              <a:gd name="connsiteY2" fmla="*/ 5130800 h 5130800"/>
              <a:gd name="connsiteX3" fmla="*/ 10220960 w 10220960"/>
              <a:gd name="connsiteY3" fmla="*/ 20320 h 5130800"/>
              <a:gd name="connsiteX4" fmla="*/ 0 w 10220960"/>
              <a:gd name="connsiteY4" fmla="*/ 0 h 5130800"/>
              <a:gd name="connsiteX0" fmla="*/ 0 w 10220960"/>
              <a:gd name="connsiteY0" fmla="*/ 0 h 5130800"/>
              <a:gd name="connsiteX1" fmla="*/ 0 w 10220960"/>
              <a:gd name="connsiteY1" fmla="*/ 3759200 h 5130800"/>
              <a:gd name="connsiteX2" fmla="*/ 1666240 w 10220960"/>
              <a:gd name="connsiteY2" fmla="*/ 5130800 h 5130800"/>
              <a:gd name="connsiteX3" fmla="*/ 10220960 w 10220960"/>
              <a:gd name="connsiteY3" fmla="*/ 10160 h 5130800"/>
              <a:gd name="connsiteX4" fmla="*/ 0 w 10220960"/>
              <a:gd name="connsiteY4" fmla="*/ 0 h 5130800"/>
              <a:gd name="connsiteX0" fmla="*/ 0 w 10231120"/>
              <a:gd name="connsiteY0" fmla="*/ 0 h 5130800"/>
              <a:gd name="connsiteX1" fmla="*/ 0 w 10231120"/>
              <a:gd name="connsiteY1" fmla="*/ 3759200 h 5130800"/>
              <a:gd name="connsiteX2" fmla="*/ 1666240 w 10231120"/>
              <a:gd name="connsiteY2" fmla="*/ 5130800 h 5130800"/>
              <a:gd name="connsiteX3" fmla="*/ 10231120 w 10231120"/>
              <a:gd name="connsiteY3" fmla="*/ 0 h 5130800"/>
              <a:gd name="connsiteX4" fmla="*/ 0 w 10231120"/>
              <a:gd name="connsiteY4" fmla="*/ 0 h 5130800"/>
              <a:gd name="connsiteX0" fmla="*/ 0 w 10231120"/>
              <a:gd name="connsiteY0" fmla="*/ 0 h 5310929"/>
              <a:gd name="connsiteX1" fmla="*/ 0 w 10231120"/>
              <a:gd name="connsiteY1" fmla="*/ 3759200 h 5310929"/>
              <a:gd name="connsiteX2" fmla="*/ 1598692 w 10231120"/>
              <a:gd name="connsiteY2" fmla="*/ 5310929 h 5310929"/>
              <a:gd name="connsiteX3" fmla="*/ 10231120 w 10231120"/>
              <a:gd name="connsiteY3" fmla="*/ 0 h 5310929"/>
              <a:gd name="connsiteX4" fmla="*/ 0 w 10231120"/>
              <a:gd name="connsiteY4" fmla="*/ 0 h 5310929"/>
              <a:gd name="connsiteX0" fmla="*/ 0 w 10231120"/>
              <a:gd name="connsiteY0" fmla="*/ 0 h 5142149"/>
              <a:gd name="connsiteX1" fmla="*/ 0 w 10231120"/>
              <a:gd name="connsiteY1" fmla="*/ 3759200 h 5142149"/>
              <a:gd name="connsiteX2" fmla="*/ 1857628 w 10231120"/>
              <a:gd name="connsiteY2" fmla="*/ 5142149 h 5142149"/>
              <a:gd name="connsiteX3" fmla="*/ 10231120 w 10231120"/>
              <a:gd name="connsiteY3" fmla="*/ 0 h 5142149"/>
              <a:gd name="connsiteX4" fmla="*/ 0 w 10231120"/>
              <a:gd name="connsiteY4" fmla="*/ 0 h 5142149"/>
              <a:gd name="connsiteX0" fmla="*/ 0 w 10231120"/>
              <a:gd name="connsiteY0" fmla="*/ 0 h 5209661"/>
              <a:gd name="connsiteX1" fmla="*/ 0 w 10231120"/>
              <a:gd name="connsiteY1" fmla="*/ 3759200 h 5209661"/>
              <a:gd name="connsiteX2" fmla="*/ 1722531 w 10231120"/>
              <a:gd name="connsiteY2" fmla="*/ 5209661 h 5209661"/>
              <a:gd name="connsiteX3" fmla="*/ 10231120 w 10231120"/>
              <a:gd name="connsiteY3" fmla="*/ 0 h 5209661"/>
              <a:gd name="connsiteX4" fmla="*/ 0 w 10231120"/>
              <a:gd name="connsiteY4" fmla="*/ 0 h 5209661"/>
              <a:gd name="connsiteX0" fmla="*/ 0 w 10231120"/>
              <a:gd name="connsiteY0" fmla="*/ 0 h 6074571"/>
              <a:gd name="connsiteX1" fmla="*/ 0 w 10231120"/>
              <a:gd name="connsiteY1" fmla="*/ 3759200 h 6074571"/>
              <a:gd name="connsiteX2" fmla="*/ 2741756 w 10231120"/>
              <a:gd name="connsiteY2" fmla="*/ 6074571 h 6074571"/>
              <a:gd name="connsiteX3" fmla="*/ 10231120 w 10231120"/>
              <a:gd name="connsiteY3" fmla="*/ 0 h 6074571"/>
              <a:gd name="connsiteX4" fmla="*/ 0 w 10231120"/>
              <a:gd name="connsiteY4" fmla="*/ 0 h 6074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31120" h="6074571">
                <a:moveTo>
                  <a:pt x="0" y="0"/>
                </a:moveTo>
                <a:lnTo>
                  <a:pt x="0" y="3759200"/>
                </a:lnTo>
                <a:lnTo>
                  <a:pt x="2741756" y="6074571"/>
                </a:lnTo>
                <a:lnTo>
                  <a:pt x="10231120" y="0"/>
                </a:lnTo>
                <a:lnTo>
                  <a:pt x="0" y="0"/>
                </a:lnTo>
                <a:close/>
              </a:path>
            </a:pathLst>
          </a:custGeom>
          <a:solidFill>
            <a:schemeClr val="tx2">
              <a:alpha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lvl="0" algn="ctr"/>
            <a:endParaRPr lang="es-CO" sz="1837" dirty="0">
              <a:solidFill>
                <a:schemeClr val="tx1"/>
              </a:solidFill>
            </a:endParaRPr>
          </a:p>
        </p:txBody>
      </p:sp>
      <p:sp>
        <p:nvSpPr>
          <p:cNvPr id="13" name="Isosceles Triangle 12">
            <a:extLst>
              <a:ext uri="{FF2B5EF4-FFF2-40B4-BE49-F238E27FC236}">
                <a16:creationId xmlns:a16="http://schemas.microsoft.com/office/drawing/2014/main" id="{51C5CF7B-3EBA-404B-AD28-C33560F6373D}"/>
              </a:ext>
            </a:extLst>
          </p:cNvPr>
          <p:cNvSpPr/>
          <p:nvPr userDrawn="1"/>
        </p:nvSpPr>
        <p:spPr>
          <a:xfrm rot="5400000">
            <a:off x="-452077" y="2975662"/>
            <a:ext cx="2242800" cy="1338646"/>
          </a:xfrm>
          <a:prstGeom prst="triangle">
            <a:avLst>
              <a:gd name="adj" fmla="val 51521"/>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837" dirty="0">
              <a:solidFill>
                <a:schemeClr val="tx1"/>
              </a:solidFill>
            </a:endParaRPr>
          </a:p>
        </p:txBody>
      </p:sp>
      <p:sp>
        <p:nvSpPr>
          <p:cNvPr id="2" name="Title 1"/>
          <p:cNvSpPr>
            <a:spLocks noGrp="1"/>
          </p:cNvSpPr>
          <p:nvPr userDrawn="1">
            <p:ph type="title"/>
          </p:nvPr>
        </p:nvSpPr>
        <p:spPr>
          <a:xfrm>
            <a:off x="520917" y="234865"/>
            <a:ext cx="11366553" cy="549549"/>
          </a:xfrm>
        </p:spPr>
        <p:txBody>
          <a:bodyPr/>
          <a:lstStyle>
            <a:lvl1pPr>
              <a:defRPr sz="3571">
                <a:solidFill>
                  <a:schemeClr val="bg1"/>
                </a:solidFill>
              </a:defRPr>
            </a:lvl1pPr>
          </a:lstStyle>
          <a:p>
            <a:r>
              <a:rPr lang="es-CO" dirty="0" err="1"/>
              <a:t>Click</a:t>
            </a:r>
            <a:r>
              <a:rPr lang="es-CO" dirty="0"/>
              <a:t> </a:t>
            </a:r>
            <a:r>
              <a:rPr lang="es-CO" dirty="0" err="1"/>
              <a:t>to</a:t>
            </a:r>
            <a:r>
              <a:rPr lang="es-CO" dirty="0"/>
              <a:t> </a:t>
            </a:r>
            <a:r>
              <a:rPr lang="es-CO" dirty="0" err="1"/>
              <a:t>edit</a:t>
            </a:r>
            <a:r>
              <a:rPr lang="es-CO" dirty="0"/>
              <a:t> Master </a:t>
            </a:r>
            <a:r>
              <a:rPr lang="es-CO" dirty="0" err="1"/>
              <a:t>title</a:t>
            </a:r>
            <a:r>
              <a:rPr lang="es-CO" dirty="0"/>
              <a:t> </a:t>
            </a:r>
            <a:r>
              <a:rPr lang="es-CO" dirty="0" err="1"/>
              <a:t>style</a:t>
            </a:r>
            <a:endParaRPr lang="es-CO" dirty="0"/>
          </a:p>
        </p:txBody>
      </p:sp>
      <p:sp>
        <p:nvSpPr>
          <p:cNvPr id="10" name="SlideLogoText" hidden="1"/>
          <p:cNvSpPr>
            <a:spLocks noChangeArrowheads="1"/>
          </p:cNvSpPr>
          <p:nvPr userDrawn="1">
            <p:custDataLst>
              <p:tags r:id="rId3"/>
            </p:custDataLst>
          </p:nvPr>
        </p:nvSpPr>
        <p:spPr bwMode="black">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s-CO" sz="816" baseline="0" noProof="0" dirty="0">
                <a:solidFill>
                  <a:schemeClr val="bg1"/>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s-CO" sz="612" baseline="0" noProof="0" dirty="0">
              <a:solidFill>
                <a:schemeClr val="accent6"/>
              </a:solidFill>
              <a:latin typeface="+mn-lt"/>
              <a:ea typeface="+mn-ea"/>
            </a:endParaRPr>
          </a:p>
        </p:txBody>
      </p:sp>
      <p:pic>
        <p:nvPicPr>
          <p:cNvPr id="18" name="Imagen 5">
            <a:extLst>
              <a:ext uri="{FF2B5EF4-FFF2-40B4-BE49-F238E27FC236}">
                <a16:creationId xmlns:a16="http://schemas.microsoft.com/office/drawing/2014/main" id="{65174F25-BF49-48CC-A0E9-3A858A266FF3}"/>
              </a:ext>
            </a:extLst>
          </p:cNvPr>
          <p:cNvPicPr>
            <a:picLocks noChangeAspect="1"/>
          </p:cNvPicPr>
          <p:nvPr userDrawn="1"/>
        </p:nvPicPr>
        <p:blipFill rotWithShape="1">
          <a:blip r:embed="rId7" cstate="screen">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a:ext>
            </a:extLst>
          </a:blip>
          <a:srcRect l="10017" t="13966" r="12683" b="29231"/>
          <a:stretch/>
        </p:blipFill>
        <p:spPr>
          <a:xfrm>
            <a:off x="520918" y="1634523"/>
            <a:ext cx="1974585" cy="888739"/>
          </a:xfrm>
          <a:prstGeom prst="rect">
            <a:avLst/>
          </a:prstGeom>
        </p:spPr>
      </p:pic>
      <p:sp>
        <p:nvSpPr>
          <p:cNvPr id="22" name="Freeform: Shape 21">
            <a:extLst>
              <a:ext uri="{FF2B5EF4-FFF2-40B4-BE49-F238E27FC236}">
                <a16:creationId xmlns:a16="http://schemas.microsoft.com/office/drawing/2014/main" id="{A23135CA-97A1-4085-A6F2-CECBD884991E}"/>
              </a:ext>
            </a:extLst>
          </p:cNvPr>
          <p:cNvSpPr/>
          <p:nvPr userDrawn="1"/>
        </p:nvSpPr>
        <p:spPr>
          <a:xfrm rot="10800000">
            <a:off x="9648737" y="5347174"/>
            <a:ext cx="2543263" cy="1510823"/>
          </a:xfrm>
          <a:custGeom>
            <a:avLst/>
            <a:gdLst>
              <a:gd name="connsiteX0" fmla="*/ 0 w 10220960"/>
              <a:gd name="connsiteY0" fmla="*/ 0 h 5130800"/>
              <a:gd name="connsiteX1" fmla="*/ 0 w 10220960"/>
              <a:gd name="connsiteY1" fmla="*/ 3759200 h 5130800"/>
              <a:gd name="connsiteX2" fmla="*/ 1666240 w 10220960"/>
              <a:gd name="connsiteY2" fmla="*/ 5130800 h 5130800"/>
              <a:gd name="connsiteX3" fmla="*/ 10220960 w 10220960"/>
              <a:gd name="connsiteY3" fmla="*/ 20320 h 5130800"/>
              <a:gd name="connsiteX4" fmla="*/ 0 w 10220960"/>
              <a:gd name="connsiteY4" fmla="*/ 0 h 5130800"/>
              <a:gd name="connsiteX0" fmla="*/ 0 w 10220960"/>
              <a:gd name="connsiteY0" fmla="*/ 0 h 5130800"/>
              <a:gd name="connsiteX1" fmla="*/ 0 w 10220960"/>
              <a:gd name="connsiteY1" fmla="*/ 3759200 h 5130800"/>
              <a:gd name="connsiteX2" fmla="*/ 1666240 w 10220960"/>
              <a:gd name="connsiteY2" fmla="*/ 5130800 h 5130800"/>
              <a:gd name="connsiteX3" fmla="*/ 10220960 w 10220960"/>
              <a:gd name="connsiteY3" fmla="*/ 10160 h 5130800"/>
              <a:gd name="connsiteX4" fmla="*/ 0 w 10220960"/>
              <a:gd name="connsiteY4" fmla="*/ 0 h 5130800"/>
              <a:gd name="connsiteX0" fmla="*/ 0 w 10231120"/>
              <a:gd name="connsiteY0" fmla="*/ 0 h 5130800"/>
              <a:gd name="connsiteX1" fmla="*/ 0 w 10231120"/>
              <a:gd name="connsiteY1" fmla="*/ 3759200 h 5130800"/>
              <a:gd name="connsiteX2" fmla="*/ 1666240 w 10231120"/>
              <a:gd name="connsiteY2" fmla="*/ 5130800 h 5130800"/>
              <a:gd name="connsiteX3" fmla="*/ 10231120 w 10231120"/>
              <a:gd name="connsiteY3" fmla="*/ 0 h 5130800"/>
              <a:gd name="connsiteX4" fmla="*/ 0 w 10231120"/>
              <a:gd name="connsiteY4" fmla="*/ 0 h 5130800"/>
              <a:gd name="connsiteX0" fmla="*/ 0 w 10231120"/>
              <a:gd name="connsiteY0" fmla="*/ 0 h 5310929"/>
              <a:gd name="connsiteX1" fmla="*/ 0 w 10231120"/>
              <a:gd name="connsiteY1" fmla="*/ 3759200 h 5310929"/>
              <a:gd name="connsiteX2" fmla="*/ 1598692 w 10231120"/>
              <a:gd name="connsiteY2" fmla="*/ 5310929 h 5310929"/>
              <a:gd name="connsiteX3" fmla="*/ 10231120 w 10231120"/>
              <a:gd name="connsiteY3" fmla="*/ 0 h 5310929"/>
              <a:gd name="connsiteX4" fmla="*/ 0 w 10231120"/>
              <a:gd name="connsiteY4" fmla="*/ 0 h 5310929"/>
              <a:gd name="connsiteX0" fmla="*/ 0 w 10231120"/>
              <a:gd name="connsiteY0" fmla="*/ 0 h 5142149"/>
              <a:gd name="connsiteX1" fmla="*/ 0 w 10231120"/>
              <a:gd name="connsiteY1" fmla="*/ 3759200 h 5142149"/>
              <a:gd name="connsiteX2" fmla="*/ 1857628 w 10231120"/>
              <a:gd name="connsiteY2" fmla="*/ 5142149 h 5142149"/>
              <a:gd name="connsiteX3" fmla="*/ 10231120 w 10231120"/>
              <a:gd name="connsiteY3" fmla="*/ 0 h 5142149"/>
              <a:gd name="connsiteX4" fmla="*/ 0 w 10231120"/>
              <a:gd name="connsiteY4" fmla="*/ 0 h 5142149"/>
              <a:gd name="connsiteX0" fmla="*/ 0 w 10231120"/>
              <a:gd name="connsiteY0" fmla="*/ 0 h 5209661"/>
              <a:gd name="connsiteX1" fmla="*/ 0 w 10231120"/>
              <a:gd name="connsiteY1" fmla="*/ 3759200 h 5209661"/>
              <a:gd name="connsiteX2" fmla="*/ 1722531 w 10231120"/>
              <a:gd name="connsiteY2" fmla="*/ 5209661 h 5209661"/>
              <a:gd name="connsiteX3" fmla="*/ 10231120 w 10231120"/>
              <a:gd name="connsiteY3" fmla="*/ 0 h 5209661"/>
              <a:gd name="connsiteX4" fmla="*/ 0 w 10231120"/>
              <a:gd name="connsiteY4" fmla="*/ 0 h 5209661"/>
              <a:gd name="connsiteX0" fmla="*/ 0 w 10231120"/>
              <a:gd name="connsiteY0" fmla="*/ 0 h 6074571"/>
              <a:gd name="connsiteX1" fmla="*/ 0 w 10231120"/>
              <a:gd name="connsiteY1" fmla="*/ 3759200 h 6074571"/>
              <a:gd name="connsiteX2" fmla="*/ 2741756 w 10231120"/>
              <a:gd name="connsiteY2" fmla="*/ 6074571 h 6074571"/>
              <a:gd name="connsiteX3" fmla="*/ 10231120 w 10231120"/>
              <a:gd name="connsiteY3" fmla="*/ 0 h 6074571"/>
              <a:gd name="connsiteX4" fmla="*/ 0 w 10231120"/>
              <a:gd name="connsiteY4" fmla="*/ 0 h 6074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31120" h="6074571">
                <a:moveTo>
                  <a:pt x="0" y="0"/>
                </a:moveTo>
                <a:lnTo>
                  <a:pt x="0" y="3759200"/>
                </a:lnTo>
                <a:lnTo>
                  <a:pt x="2741756" y="6074571"/>
                </a:lnTo>
                <a:lnTo>
                  <a:pt x="10231120" y="0"/>
                </a:lnTo>
                <a:lnTo>
                  <a:pt x="0" y="0"/>
                </a:lnTo>
                <a:close/>
              </a:path>
            </a:pathLst>
          </a:custGeom>
          <a:solidFill>
            <a:schemeClr val="tx2">
              <a:alpha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lvl="0" algn="ctr"/>
            <a:endParaRPr lang="es-CO" sz="1837" dirty="0">
              <a:solidFill>
                <a:schemeClr val="tx1"/>
              </a:solidFill>
            </a:endParaRPr>
          </a:p>
        </p:txBody>
      </p:sp>
      <p:sp>
        <p:nvSpPr>
          <p:cNvPr id="23" name="Isosceles Triangle 22">
            <a:extLst>
              <a:ext uri="{FF2B5EF4-FFF2-40B4-BE49-F238E27FC236}">
                <a16:creationId xmlns:a16="http://schemas.microsoft.com/office/drawing/2014/main" id="{A6299710-8558-4D8F-B2F7-688E18B94C4C}"/>
              </a:ext>
            </a:extLst>
          </p:cNvPr>
          <p:cNvSpPr/>
          <p:nvPr userDrawn="1"/>
        </p:nvSpPr>
        <p:spPr>
          <a:xfrm rot="16200000">
            <a:off x="11415464" y="4987120"/>
            <a:ext cx="972579" cy="580497"/>
          </a:xfrm>
          <a:prstGeom prst="triangle">
            <a:avLst>
              <a:gd name="adj" fmla="val 51521"/>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lvl="0" algn="ctr"/>
            <a:endParaRPr lang="es-CO" sz="1837" dirty="0">
              <a:solidFill>
                <a:schemeClr val="tx1"/>
              </a:solidFill>
            </a:endParaRPr>
          </a:p>
        </p:txBody>
      </p:sp>
      <p:sp>
        <p:nvSpPr>
          <p:cNvPr id="9" name="Slide Number"/>
          <p:cNvSpPr txBox="1">
            <a:spLocks/>
          </p:cNvSpPr>
          <p:nvPr userDrawn="1"/>
        </p:nvSpPr>
        <p:spPr bwMode="black">
          <a:xfrm>
            <a:off x="11652053" y="6409991"/>
            <a:ext cx="188093" cy="128097"/>
          </a:xfrm>
          <a:prstGeom prst="rect">
            <a:avLst/>
          </a:prstGeom>
        </p:spPr>
        <p:txBody>
          <a:bodyPr vert="horz" wrap="none" lIns="0" tIns="0" rIns="0" bIns="0" rtlCol="0" anchor="ctr">
            <a:spAutoFit/>
          </a:bodyPr>
          <a:lstStyle>
            <a:defPPr>
              <a:defRPr lang="es-ES"/>
            </a:defPPr>
            <a:lvl1pPr>
              <a:defRPr sz="1000" baseline="0">
                <a:latin typeface="+mn-lt"/>
              </a:defRPr>
            </a:lvl1pPr>
          </a:lstStyle>
          <a:p>
            <a:pPr lvl="0"/>
            <a:fld id="{42C328C1-A84F-4A39-A664-DBA00541A8C6}" type="slidenum">
              <a:rPr lang="es-CO" sz="816" smtClean="0">
                <a:solidFill>
                  <a:schemeClr val="bg1"/>
                </a:solidFill>
              </a:rPr>
              <a:pPr lvl="0"/>
              <a:t>‹Nº›</a:t>
            </a:fld>
            <a:endParaRPr lang="es-CO" sz="816" dirty="0">
              <a:solidFill>
                <a:schemeClr val="bg1"/>
              </a:solidFill>
            </a:endParaRPr>
          </a:p>
        </p:txBody>
      </p:sp>
      <p:cxnSp>
        <p:nvCxnSpPr>
          <p:cNvPr id="19" name="Straight Connector 18">
            <a:extLst>
              <a:ext uri="{FF2B5EF4-FFF2-40B4-BE49-F238E27FC236}">
                <a16:creationId xmlns:a16="http://schemas.microsoft.com/office/drawing/2014/main" id="{B253CD2E-1E01-4C1C-B0D0-9E4FFF45EE74}"/>
              </a:ext>
            </a:extLst>
          </p:cNvPr>
          <p:cNvCxnSpPr/>
          <p:nvPr userDrawn="1"/>
        </p:nvCxnSpPr>
        <p:spPr>
          <a:xfrm>
            <a:off x="11493879" y="6321217"/>
            <a:ext cx="0" cy="305644"/>
          </a:xfrm>
          <a:prstGeom prst="line">
            <a:avLst/>
          </a:prstGeom>
          <a:ln w="635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7195882"/>
      </p:ext>
    </p:extLst>
  </p:cSld>
  <p:clrMapOvr>
    <a:masterClrMapping/>
  </p:clrMapOvr>
  <p:extLst>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3E59E5-4B1C-40DC-8510-FA08329A095F}"/>
              </a:ext>
            </a:extLst>
          </p:cNvPr>
          <p:cNvGraphicFramePr>
            <a:graphicFrameLocks noChangeAspect="1"/>
          </p:cNvGraphicFramePr>
          <p:nvPr userDrawn="1">
            <p:custDataLst>
              <p:tags r:id="rId1"/>
            </p:custDataLst>
            <p:extLst>
              <p:ext uri="{D42A27DB-BD31-4B8C-83A1-F6EECF244321}">
                <p14:modId xmlns:p14="http://schemas.microsoft.com/office/powerpoint/2010/main" val="4239118715"/>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Diapositiva de think-cell" r:id="rId4" imgW="473" imgH="473" progId="TCLayout.ActiveDocument.1">
                  <p:embed/>
                </p:oleObj>
              </mc:Choice>
              <mc:Fallback>
                <p:oleObj name="Diapositiva de think-cell" r:id="rId4" imgW="473" imgH="473" progId="TCLayout.ActiveDocument.1">
                  <p:embed/>
                  <p:pic>
                    <p:nvPicPr>
                      <p:cNvPr id="5" name="Object 4" hidden="1">
                        <a:extLst>
                          <a:ext uri="{FF2B5EF4-FFF2-40B4-BE49-F238E27FC236}">
                            <a16:creationId xmlns:a16="http://schemas.microsoft.com/office/drawing/2014/main" id="{6B3E59E5-4B1C-40DC-8510-FA08329A095F}"/>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BD6EF5-00AA-4D2D-8CED-F0C79739D96E}"/>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s-CO" sz="2041"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FF20723D-443E-4746-A65F-E087C0A43D84}"/>
              </a:ext>
            </a:extLst>
          </p:cNvPr>
          <p:cNvSpPr>
            <a:spLocks noGrp="1"/>
          </p:cNvSpPr>
          <p:nvPr>
            <p:ph type="title"/>
          </p:nvPr>
        </p:nvSpPr>
        <p:spPr/>
        <p:txBody>
          <a:bodyPr/>
          <a:lstStyle/>
          <a:p>
            <a:r>
              <a:rPr lang="es-CO" dirty="0" err="1"/>
              <a:t>Click</a:t>
            </a:r>
            <a:r>
              <a:rPr lang="es-CO" dirty="0"/>
              <a:t> </a:t>
            </a:r>
            <a:r>
              <a:rPr lang="es-CO" dirty="0" err="1"/>
              <a:t>to</a:t>
            </a:r>
            <a:r>
              <a:rPr lang="es-CO" dirty="0"/>
              <a:t> </a:t>
            </a:r>
            <a:r>
              <a:rPr lang="es-CO" dirty="0" err="1"/>
              <a:t>edit</a:t>
            </a:r>
            <a:r>
              <a:rPr lang="es-CO" dirty="0"/>
              <a:t> Master </a:t>
            </a:r>
            <a:r>
              <a:rPr lang="es-CO" dirty="0" err="1"/>
              <a:t>title</a:t>
            </a:r>
            <a:r>
              <a:rPr lang="es-CO" dirty="0"/>
              <a:t> </a:t>
            </a:r>
            <a:r>
              <a:rPr lang="es-CO" dirty="0" err="1"/>
              <a:t>style</a:t>
            </a:r>
            <a:endParaRPr lang="es-CO" dirty="0"/>
          </a:p>
        </p:txBody>
      </p:sp>
      <p:sp>
        <p:nvSpPr>
          <p:cNvPr id="6" name="Slide Number">
            <a:extLst>
              <a:ext uri="{FF2B5EF4-FFF2-40B4-BE49-F238E27FC236}">
                <a16:creationId xmlns:a16="http://schemas.microsoft.com/office/drawing/2014/main" id="{D8B39B6A-CBB6-44D4-B5E9-8E7324A398CD}"/>
              </a:ext>
            </a:extLst>
          </p:cNvPr>
          <p:cNvSpPr txBox="1">
            <a:spLocks/>
          </p:cNvSpPr>
          <p:nvPr userDrawn="1"/>
        </p:nvSpPr>
        <p:spPr bwMode="gray">
          <a:xfrm>
            <a:off x="11652053" y="6409991"/>
            <a:ext cx="188093" cy="128097"/>
          </a:xfrm>
          <a:prstGeom prst="rect">
            <a:avLst/>
          </a:prstGeom>
        </p:spPr>
        <p:txBody>
          <a:bodyPr vert="horz" wrap="none" lIns="0" tIns="0" rIns="0" bIns="0" rtlCol="0" anchor="ctr">
            <a:spAutoFit/>
          </a:bodyPr>
          <a:lstStyle>
            <a:defPPr>
              <a:defRPr lang="es-ES"/>
            </a:defPPr>
            <a:lvl1pPr>
              <a:defRPr sz="1000" baseline="0">
                <a:latin typeface="+mn-lt"/>
              </a:defRPr>
            </a:lvl1pPr>
          </a:lstStyle>
          <a:p>
            <a:pPr lvl="0"/>
            <a:fld id="{42C328C1-A84F-4A39-A664-DBA00541A8C6}" type="slidenum">
              <a:rPr lang="es-CO" sz="816" smtClean="0">
                <a:solidFill>
                  <a:schemeClr val="accent6"/>
                </a:solidFill>
              </a:rPr>
              <a:pPr lvl="0"/>
              <a:t>‹Nº›</a:t>
            </a:fld>
            <a:endParaRPr lang="es-CO" sz="816" dirty="0">
              <a:solidFill>
                <a:schemeClr val="accent6"/>
              </a:solidFill>
            </a:endParaRPr>
          </a:p>
        </p:txBody>
      </p:sp>
    </p:spTree>
    <p:extLst>
      <p:ext uri="{BB962C8B-B14F-4D97-AF65-F5344CB8AC3E}">
        <p14:creationId xmlns:p14="http://schemas.microsoft.com/office/powerpoint/2010/main" val="27932755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3E59E5-4B1C-40DC-8510-FA08329A095F}"/>
              </a:ext>
            </a:extLst>
          </p:cNvPr>
          <p:cNvGraphicFramePr>
            <a:graphicFrameLocks noChangeAspect="1"/>
          </p:cNvGraphicFramePr>
          <p:nvPr userDrawn="1">
            <p:custDataLst>
              <p:tags r:id="rId1"/>
            </p:custDataLst>
            <p:extLst>
              <p:ext uri="{D42A27DB-BD31-4B8C-83A1-F6EECF244321}">
                <p14:modId xmlns:p14="http://schemas.microsoft.com/office/powerpoint/2010/main" val="2147219059"/>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Diapositiva de think-cell" r:id="rId4" imgW="473" imgH="473" progId="TCLayout.ActiveDocument.1">
                  <p:embed/>
                </p:oleObj>
              </mc:Choice>
              <mc:Fallback>
                <p:oleObj name="Diapositiva de think-cell" r:id="rId4" imgW="473" imgH="473" progId="TCLayout.ActiveDocument.1">
                  <p:embed/>
                  <p:pic>
                    <p:nvPicPr>
                      <p:cNvPr id="5" name="Object 4" hidden="1">
                        <a:extLst>
                          <a:ext uri="{FF2B5EF4-FFF2-40B4-BE49-F238E27FC236}">
                            <a16:creationId xmlns:a16="http://schemas.microsoft.com/office/drawing/2014/main" id="{6B3E59E5-4B1C-40DC-8510-FA08329A095F}"/>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0BD6EF5-00AA-4D2D-8CED-F0C79739D96E}"/>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s-CO" sz="2041" b="0"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10" name="Picture 9">
            <a:extLst>
              <a:ext uri="{FF2B5EF4-FFF2-40B4-BE49-F238E27FC236}">
                <a16:creationId xmlns:a16="http://schemas.microsoft.com/office/drawing/2014/main" id="{B5101621-7632-4BAE-B715-BF99380CA6C4}"/>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47456" b="28120"/>
          <a:stretch/>
        </p:blipFill>
        <p:spPr>
          <a:xfrm>
            <a:off x="0" y="1"/>
            <a:ext cx="12188758" cy="2232651"/>
          </a:xfrm>
          <a:prstGeom prst="rect">
            <a:avLst/>
          </a:prstGeom>
        </p:spPr>
      </p:pic>
      <p:sp>
        <p:nvSpPr>
          <p:cNvPr id="11" name="Rectangle 10">
            <a:extLst>
              <a:ext uri="{FF2B5EF4-FFF2-40B4-BE49-F238E27FC236}">
                <a16:creationId xmlns:a16="http://schemas.microsoft.com/office/drawing/2014/main" id="{8FB1663F-8E86-42E3-AEC8-D3B15834F966}"/>
              </a:ext>
            </a:extLst>
          </p:cNvPr>
          <p:cNvSpPr/>
          <p:nvPr userDrawn="1"/>
        </p:nvSpPr>
        <p:spPr>
          <a:xfrm>
            <a:off x="0" y="240668"/>
            <a:ext cx="5224727" cy="70005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837" dirty="0">
              <a:solidFill>
                <a:schemeClr val="tx1"/>
              </a:solidFill>
            </a:endParaRPr>
          </a:p>
        </p:txBody>
      </p:sp>
      <p:sp>
        <p:nvSpPr>
          <p:cNvPr id="2" name="Title 1">
            <a:extLst>
              <a:ext uri="{FF2B5EF4-FFF2-40B4-BE49-F238E27FC236}">
                <a16:creationId xmlns:a16="http://schemas.microsoft.com/office/drawing/2014/main" id="{FF20723D-443E-4746-A65F-E087C0A43D84}"/>
              </a:ext>
            </a:extLst>
          </p:cNvPr>
          <p:cNvSpPr>
            <a:spLocks noGrp="1"/>
          </p:cNvSpPr>
          <p:nvPr>
            <p:ph type="title"/>
          </p:nvPr>
        </p:nvSpPr>
        <p:spPr>
          <a:xfrm>
            <a:off x="161987" y="513725"/>
            <a:ext cx="11725484" cy="314028"/>
          </a:xfrm>
        </p:spPr>
        <p:txBody>
          <a:bodyPr/>
          <a:lstStyle/>
          <a:p>
            <a:r>
              <a:rPr lang="es-CO" dirty="0" err="1"/>
              <a:t>Click</a:t>
            </a:r>
            <a:r>
              <a:rPr lang="es-CO" dirty="0"/>
              <a:t> </a:t>
            </a:r>
            <a:r>
              <a:rPr lang="es-CO" dirty="0" err="1"/>
              <a:t>to</a:t>
            </a:r>
            <a:r>
              <a:rPr lang="es-CO" dirty="0"/>
              <a:t> </a:t>
            </a:r>
            <a:r>
              <a:rPr lang="es-CO" dirty="0" err="1"/>
              <a:t>edit</a:t>
            </a:r>
            <a:r>
              <a:rPr lang="es-CO" dirty="0"/>
              <a:t> Master </a:t>
            </a:r>
            <a:r>
              <a:rPr lang="es-CO" dirty="0" err="1"/>
              <a:t>title</a:t>
            </a:r>
            <a:r>
              <a:rPr lang="es-CO" dirty="0"/>
              <a:t> </a:t>
            </a:r>
            <a:r>
              <a:rPr lang="es-CO" dirty="0" err="1"/>
              <a:t>style</a:t>
            </a:r>
            <a:endParaRPr lang="es-CO" dirty="0"/>
          </a:p>
        </p:txBody>
      </p:sp>
      <p:sp>
        <p:nvSpPr>
          <p:cNvPr id="6" name="Slide Number">
            <a:extLst>
              <a:ext uri="{FF2B5EF4-FFF2-40B4-BE49-F238E27FC236}">
                <a16:creationId xmlns:a16="http://schemas.microsoft.com/office/drawing/2014/main" id="{D8B39B6A-CBB6-44D4-B5E9-8E7324A398CD}"/>
              </a:ext>
            </a:extLst>
          </p:cNvPr>
          <p:cNvSpPr txBox="1">
            <a:spLocks/>
          </p:cNvSpPr>
          <p:nvPr userDrawn="1"/>
        </p:nvSpPr>
        <p:spPr bwMode="gray">
          <a:xfrm>
            <a:off x="11652053" y="6409991"/>
            <a:ext cx="188093" cy="128097"/>
          </a:xfrm>
          <a:prstGeom prst="rect">
            <a:avLst/>
          </a:prstGeom>
        </p:spPr>
        <p:txBody>
          <a:bodyPr vert="horz" wrap="none" lIns="0" tIns="0" rIns="0" bIns="0" rtlCol="0" anchor="ctr">
            <a:spAutoFit/>
          </a:bodyPr>
          <a:lstStyle>
            <a:defPPr>
              <a:defRPr lang="es-ES"/>
            </a:defPPr>
            <a:lvl1pPr>
              <a:defRPr sz="1000" baseline="0">
                <a:latin typeface="+mn-lt"/>
              </a:defRPr>
            </a:lvl1pPr>
          </a:lstStyle>
          <a:p>
            <a:pPr lvl="0"/>
            <a:fld id="{42C328C1-A84F-4A39-A664-DBA00541A8C6}" type="slidenum">
              <a:rPr lang="es-CO" sz="816" smtClean="0">
                <a:solidFill>
                  <a:schemeClr val="accent6"/>
                </a:solidFill>
              </a:rPr>
              <a:pPr lvl="0"/>
              <a:t>‹Nº›</a:t>
            </a:fld>
            <a:endParaRPr lang="es-CO" sz="816" dirty="0">
              <a:solidFill>
                <a:schemeClr val="accent6"/>
              </a:solidFill>
            </a:endParaRPr>
          </a:p>
        </p:txBody>
      </p:sp>
    </p:spTree>
    <p:extLst>
      <p:ext uri="{BB962C8B-B14F-4D97-AF65-F5344CB8AC3E}">
        <p14:creationId xmlns:p14="http://schemas.microsoft.com/office/powerpoint/2010/main" val="24904769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ido1">
    <p:spTree>
      <p:nvGrpSpPr>
        <p:cNvPr id="1" name=""/>
        <p:cNvGrpSpPr/>
        <p:nvPr/>
      </p:nvGrpSpPr>
      <p:grpSpPr>
        <a:xfrm>
          <a:off x="0" y="0"/>
          <a:ext cx="0" cy="0"/>
          <a:chOff x="0" y="0"/>
          <a:chExt cx="0" cy="0"/>
        </a:xfrm>
      </p:grpSpPr>
      <p:sp>
        <p:nvSpPr>
          <p:cNvPr id="2" name="2. Slide Title"/>
          <p:cNvSpPr>
            <a:spLocks noGrp="1"/>
          </p:cNvSpPr>
          <p:nvPr>
            <p:ph type="title" hasCustomPrompt="1"/>
          </p:nvPr>
        </p:nvSpPr>
        <p:spPr>
          <a:xfrm>
            <a:off x="330506" y="234865"/>
            <a:ext cx="11530988" cy="668518"/>
          </a:xfrm>
          <a:prstGeom prst="rect">
            <a:avLst/>
          </a:prstGeom>
        </p:spPr>
        <p:txBody>
          <a:bodyPr/>
          <a:lstStyle>
            <a:lvl1pPr>
              <a:defRPr sz="2000"/>
            </a:lvl1pPr>
          </a:lstStyle>
          <a:p>
            <a:r>
              <a:rPr lang="es-ES_tradnl"/>
              <a:t>Título de la diapositiva (Arial, 20, Azul)</a:t>
            </a:r>
          </a:p>
        </p:txBody>
      </p:sp>
      <p:sp>
        <p:nvSpPr>
          <p:cNvPr id="5" name="SlideLogoSeparator" hidden="1"/>
          <p:cNvSpPr>
            <a:spLocks noChangeArrowheads="1"/>
          </p:cNvSpPr>
          <p:nvPr>
            <p:custDataLst>
              <p:tags r:id="rId1"/>
            </p:custDataLst>
          </p:nvPr>
        </p:nvSpPr>
        <p:spPr bwMode="auto">
          <a:xfrm>
            <a:off x="11454169" y="6534054"/>
            <a:ext cx="54523"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685145"/>
            <a:r>
              <a:rPr lang="es-ES_tradnl" sz="918">
                <a:solidFill>
                  <a:srgbClr val="000000"/>
                </a:solidFill>
                <a:latin typeface="Arial"/>
              </a:rPr>
              <a:t>|</a:t>
            </a:r>
          </a:p>
        </p:txBody>
      </p:sp>
      <p:sp>
        <p:nvSpPr>
          <p:cNvPr id="7" name="Marcador de número de diapositiva 5"/>
          <p:cNvSpPr>
            <a:spLocks noGrp="1"/>
          </p:cNvSpPr>
          <p:nvPr>
            <p:ph type="sldNum" sz="quarter" idx="4"/>
          </p:nvPr>
        </p:nvSpPr>
        <p:spPr>
          <a:xfrm>
            <a:off x="11344876" y="6406123"/>
            <a:ext cx="847124" cy="365125"/>
          </a:xfrm>
          <a:prstGeom prst="rect">
            <a:avLst/>
          </a:prstGeom>
        </p:spPr>
        <p:txBody>
          <a:bodyPr/>
          <a:lstStyle>
            <a:lvl1pPr algn="ctr">
              <a:defRPr sz="1200" b="1">
                <a:solidFill>
                  <a:srgbClr val="25546D"/>
                </a:solidFill>
              </a:defRPr>
            </a:lvl1pPr>
          </a:lstStyle>
          <a:p>
            <a:fld id="{02F25750-4209-4357-A72F-45445C8044EF}" type="slidenum">
              <a:rPr lang="es-CO" smtClean="0"/>
              <a:pPr/>
              <a:t>‹Nº›</a:t>
            </a:fld>
            <a:endParaRPr lang="es-CO"/>
          </a:p>
        </p:txBody>
      </p:sp>
      <p:cxnSp>
        <p:nvCxnSpPr>
          <p:cNvPr id="8" name="Straight Connector 6"/>
          <p:cNvCxnSpPr/>
          <p:nvPr/>
        </p:nvCxnSpPr>
        <p:spPr>
          <a:xfrm>
            <a:off x="11344876" y="6315773"/>
            <a:ext cx="0" cy="327998"/>
          </a:xfrm>
          <a:prstGeom prst="line">
            <a:avLst/>
          </a:prstGeom>
          <a:noFill/>
          <a:ln w="3175">
            <a:solidFill>
              <a:srgbClr val="33779D"/>
            </a:solidFill>
          </a:ln>
        </p:spPr>
        <p:style>
          <a:lnRef idx="2">
            <a:schemeClr val="accent1">
              <a:shade val="50000"/>
            </a:schemeClr>
          </a:lnRef>
          <a:fillRef idx="1">
            <a:schemeClr val="accent1"/>
          </a:fillRef>
          <a:effectRef idx="0">
            <a:schemeClr val="accent1"/>
          </a:effectRef>
          <a:fontRef idx="minor">
            <a:schemeClr val="lt1"/>
          </a:fontRef>
        </p:style>
      </p:cxnSp>
      <p:sp>
        <p:nvSpPr>
          <p:cNvPr id="10" name="Marcador de contenido 2"/>
          <p:cNvSpPr>
            <a:spLocks noGrp="1"/>
          </p:cNvSpPr>
          <p:nvPr>
            <p:ph sz="quarter" idx="10"/>
          </p:nvPr>
        </p:nvSpPr>
        <p:spPr>
          <a:xfrm>
            <a:off x="330506" y="1068636"/>
            <a:ext cx="11530988" cy="5144839"/>
          </a:xfrm>
          <a:prstGeom prst="rect">
            <a:avLst/>
          </a:prstGeom>
        </p:spPr>
        <p:txBody>
          <a:bodyPr/>
          <a:lstStyle>
            <a:lvl1pPr>
              <a:defRPr sz="1800"/>
            </a:lvl1pPr>
            <a:lvl2pPr marL="148205" indent="-146990">
              <a:buFont typeface="Arial" panose="020B0604020202020204" pitchFamily="34" charset="0"/>
              <a:buChar char="•"/>
              <a:defRPr sz="1800"/>
            </a:lvl2pPr>
            <a:lvl3pPr>
              <a:defRPr sz="1600"/>
            </a:lvl3pPr>
            <a:lvl4pPr marL="470126" indent="-119050">
              <a:buFont typeface="Courier New" panose="02070309020205020404" pitchFamily="49" charset="0"/>
              <a:buChar char="o"/>
              <a:defRPr sz="1400"/>
            </a:lvl4pPr>
            <a:lvl5pPr>
              <a:defRPr sz="1400"/>
            </a:lvl5pPr>
          </a:lstStyle>
          <a:p>
            <a:pPr lvl="0"/>
            <a:r>
              <a:rPr lang="es-ES"/>
              <a:t>Editar el estilo de texto del patrón</a:t>
            </a:r>
          </a:p>
          <a:p>
            <a:pPr lvl="1"/>
            <a:r>
              <a:rPr lang="es-ES"/>
              <a:t>Segundo nivel</a:t>
            </a:r>
          </a:p>
          <a:p>
            <a:pPr lvl="2"/>
            <a:r>
              <a:rPr lang="es-ES"/>
              <a:t>Tercer nivel</a:t>
            </a:r>
          </a:p>
          <a:p>
            <a:pPr lvl="3"/>
            <a:r>
              <a:rPr lang="es-ES"/>
              <a:t>Cuarto nivel</a:t>
            </a:r>
          </a:p>
        </p:txBody>
      </p:sp>
    </p:spTree>
    <p:extLst>
      <p:ext uri="{BB962C8B-B14F-4D97-AF65-F5344CB8AC3E}">
        <p14:creationId xmlns:p14="http://schemas.microsoft.com/office/powerpoint/2010/main" val="28849951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ido2">
    <p:spTree>
      <p:nvGrpSpPr>
        <p:cNvPr id="1" name=""/>
        <p:cNvGrpSpPr/>
        <p:nvPr/>
      </p:nvGrpSpPr>
      <p:grpSpPr>
        <a:xfrm>
          <a:off x="0" y="0"/>
          <a:ext cx="0" cy="0"/>
          <a:chOff x="0" y="0"/>
          <a:chExt cx="0" cy="0"/>
        </a:xfrm>
      </p:grpSpPr>
      <p:sp>
        <p:nvSpPr>
          <p:cNvPr id="3" name="Marcador de número de diapositiva 2"/>
          <p:cNvSpPr>
            <a:spLocks noGrp="1"/>
          </p:cNvSpPr>
          <p:nvPr>
            <p:ph type="sldNum" sz="quarter" idx="10"/>
          </p:nvPr>
        </p:nvSpPr>
        <p:spPr/>
        <p:txBody>
          <a:bodyPr/>
          <a:lstStyle/>
          <a:p>
            <a:fld id="{02F25750-4209-4357-A72F-45445C8044EF}" type="slidenum">
              <a:rPr lang="es-CO" smtClean="0"/>
              <a:pPr/>
              <a:t>‹Nº›</a:t>
            </a:fld>
            <a:endParaRPr lang="es-CO"/>
          </a:p>
        </p:txBody>
      </p:sp>
      <p:sp>
        <p:nvSpPr>
          <p:cNvPr id="4" name="2. Slide Title"/>
          <p:cNvSpPr>
            <a:spLocks noGrp="1"/>
          </p:cNvSpPr>
          <p:nvPr>
            <p:ph type="title" hasCustomPrompt="1"/>
          </p:nvPr>
        </p:nvSpPr>
        <p:spPr>
          <a:xfrm>
            <a:off x="330506" y="234865"/>
            <a:ext cx="11530988" cy="668518"/>
          </a:xfrm>
          <a:prstGeom prst="rect">
            <a:avLst/>
          </a:prstGeom>
        </p:spPr>
        <p:txBody>
          <a:bodyPr/>
          <a:lstStyle>
            <a:lvl1pPr>
              <a:defRPr sz="2000"/>
            </a:lvl1pPr>
          </a:lstStyle>
          <a:p>
            <a:r>
              <a:rPr lang="es-ES_tradnl"/>
              <a:t>Título de la diapositiva (Arial, 20, Azul)</a:t>
            </a:r>
          </a:p>
        </p:txBody>
      </p:sp>
      <p:sp>
        <p:nvSpPr>
          <p:cNvPr id="6" name="Marcador de contenido 5"/>
          <p:cNvSpPr>
            <a:spLocks noGrp="1"/>
          </p:cNvSpPr>
          <p:nvPr>
            <p:ph sz="quarter" idx="11"/>
          </p:nvPr>
        </p:nvSpPr>
        <p:spPr>
          <a:xfrm>
            <a:off x="330506" y="1162756"/>
            <a:ext cx="5667375" cy="4752622"/>
          </a:xfrm>
          <a:prstGeom prst="rect">
            <a:avLst/>
          </a:prstGeom>
        </p:spPr>
        <p:txBody>
          <a:bodyPr/>
          <a:lstStyle>
            <a:lvl1pPr>
              <a:defRPr sz="1800"/>
            </a:lvl1pPr>
            <a:lvl2pPr>
              <a:defRPr sz="1800"/>
            </a:lvl2pPr>
            <a:lvl3pPr>
              <a:defRPr sz="1800"/>
            </a:lvl3pPr>
            <a:lvl4pPr>
              <a:defRPr sz="1800"/>
            </a:lvl4pPr>
            <a:lvl5pPr>
              <a:defRPr sz="1800"/>
            </a:lvl5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Marcador de contenido 5"/>
          <p:cNvSpPr>
            <a:spLocks noGrp="1"/>
          </p:cNvSpPr>
          <p:nvPr>
            <p:ph sz="quarter" idx="12"/>
          </p:nvPr>
        </p:nvSpPr>
        <p:spPr>
          <a:xfrm>
            <a:off x="6194119" y="1162756"/>
            <a:ext cx="5667375" cy="4752622"/>
          </a:xfrm>
          <a:prstGeom prst="rect">
            <a:avLst/>
          </a:prstGeom>
        </p:spPr>
        <p:txBody>
          <a:bodyPr/>
          <a:lstStyle>
            <a:lvl1pPr>
              <a:defRPr sz="1800"/>
            </a:lvl1pPr>
            <a:lvl2pPr>
              <a:defRPr sz="1800"/>
            </a:lvl2pPr>
            <a:lvl3pPr>
              <a:defRPr sz="1800"/>
            </a:lvl3pPr>
            <a:lvl4pPr>
              <a:defRPr sz="1800"/>
            </a:lvl4pPr>
            <a:lvl5pPr>
              <a:defRPr sz="1800"/>
            </a:lvl5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Tree>
    <p:extLst>
      <p:ext uri="{BB962C8B-B14F-4D97-AF65-F5344CB8AC3E}">
        <p14:creationId xmlns:p14="http://schemas.microsoft.com/office/powerpoint/2010/main" val="2859756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211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329B7-5B88-CC41-8991-D88408B32CDE}"/>
              </a:ext>
            </a:extLst>
          </p:cNvPr>
          <p:cNvSpPr>
            <a:spLocks noGrp="1"/>
          </p:cNvSpPr>
          <p:nvPr>
            <p:ph type="title"/>
          </p:nvPr>
        </p:nvSpPr>
        <p:spPr/>
        <p:txBody>
          <a:bodyPr/>
          <a:lstStyle/>
          <a:p>
            <a:r>
              <a:rPr lang="en-GB"/>
              <a:t>Click to edit Master title style</a:t>
            </a:r>
            <a:endParaRPr lang="es-ES_tradnl"/>
          </a:p>
        </p:txBody>
      </p:sp>
      <p:sp>
        <p:nvSpPr>
          <p:cNvPr id="3" name="Content Placeholder 2">
            <a:extLst>
              <a:ext uri="{FF2B5EF4-FFF2-40B4-BE49-F238E27FC236}">
                <a16:creationId xmlns:a16="http://schemas.microsoft.com/office/drawing/2014/main" id="{6CBA3371-5127-5446-8196-249F0AD4CA8A}"/>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s-ES_tradnl"/>
          </a:p>
        </p:txBody>
      </p:sp>
      <p:sp>
        <p:nvSpPr>
          <p:cNvPr id="4" name="Date Placeholder 3">
            <a:extLst>
              <a:ext uri="{FF2B5EF4-FFF2-40B4-BE49-F238E27FC236}">
                <a16:creationId xmlns:a16="http://schemas.microsoft.com/office/drawing/2014/main" id="{DE101898-25FC-4C43-89DD-D41CE6F9BD12}"/>
              </a:ext>
            </a:extLst>
          </p:cNvPr>
          <p:cNvSpPr>
            <a:spLocks noGrp="1"/>
          </p:cNvSpPr>
          <p:nvPr>
            <p:ph type="dt" sz="half" idx="10"/>
          </p:nvPr>
        </p:nvSpPr>
        <p:spPr/>
        <p:txBody>
          <a:bodyPr/>
          <a:lstStyle/>
          <a:p>
            <a:fld id="{F2116FDB-40E5-F744-A407-CCA15F7D9349}" type="datetimeFigureOut">
              <a:rPr lang="es-ES_tradnl" smtClean="0"/>
              <a:t>07/02/2021</a:t>
            </a:fld>
            <a:endParaRPr lang="es-ES_tradnl"/>
          </a:p>
        </p:txBody>
      </p:sp>
      <p:sp>
        <p:nvSpPr>
          <p:cNvPr id="5" name="Footer Placeholder 4">
            <a:extLst>
              <a:ext uri="{FF2B5EF4-FFF2-40B4-BE49-F238E27FC236}">
                <a16:creationId xmlns:a16="http://schemas.microsoft.com/office/drawing/2014/main" id="{F0E162C0-FCAB-074E-A9D6-4D25F292D593}"/>
              </a:ext>
            </a:extLst>
          </p:cNvPr>
          <p:cNvSpPr>
            <a:spLocks noGrp="1"/>
          </p:cNvSpPr>
          <p:nvPr>
            <p:ph type="ftr" sz="quarter" idx="11"/>
          </p:nvPr>
        </p:nvSpPr>
        <p:spPr/>
        <p:txBody>
          <a:bodyPr/>
          <a:lstStyle/>
          <a:p>
            <a:endParaRPr lang="es-ES_tradnl"/>
          </a:p>
        </p:txBody>
      </p:sp>
      <p:sp>
        <p:nvSpPr>
          <p:cNvPr id="6" name="Slide Number Placeholder 5">
            <a:extLst>
              <a:ext uri="{FF2B5EF4-FFF2-40B4-BE49-F238E27FC236}">
                <a16:creationId xmlns:a16="http://schemas.microsoft.com/office/drawing/2014/main" id="{03967365-EFE7-6542-B2CA-AF3655FAD3B7}"/>
              </a:ext>
            </a:extLst>
          </p:cNvPr>
          <p:cNvSpPr>
            <a:spLocks noGrp="1"/>
          </p:cNvSpPr>
          <p:nvPr>
            <p:ph type="sldNum" sz="quarter" idx="12"/>
          </p:nvPr>
        </p:nvSpPr>
        <p:spPr/>
        <p:txBody>
          <a:bodyPr/>
          <a:lstStyle/>
          <a:p>
            <a:fld id="{17DD57BF-6487-F840-AF2A-7FB0C751C27B}" type="slidenum">
              <a:rPr lang="es-ES_tradnl" smtClean="0"/>
              <a:t>‹Nº›</a:t>
            </a:fld>
            <a:endParaRPr lang="es-ES_tradnl"/>
          </a:p>
        </p:txBody>
      </p:sp>
    </p:spTree>
    <p:extLst>
      <p:ext uri="{BB962C8B-B14F-4D97-AF65-F5344CB8AC3E}">
        <p14:creationId xmlns:p14="http://schemas.microsoft.com/office/powerpoint/2010/main" val="26051776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Contenido1">
    <p:spTree>
      <p:nvGrpSpPr>
        <p:cNvPr id="1" name=""/>
        <p:cNvGrpSpPr/>
        <p:nvPr/>
      </p:nvGrpSpPr>
      <p:grpSpPr>
        <a:xfrm>
          <a:off x="0" y="0"/>
          <a:ext cx="0" cy="0"/>
          <a:chOff x="0" y="0"/>
          <a:chExt cx="0" cy="0"/>
        </a:xfrm>
      </p:grpSpPr>
      <p:sp>
        <p:nvSpPr>
          <p:cNvPr id="5" name="SlideLogoSeparator" hidden="1"/>
          <p:cNvSpPr>
            <a:spLocks noChangeArrowheads="1"/>
          </p:cNvSpPr>
          <p:nvPr>
            <p:custDataLst>
              <p:tags r:id="rId1"/>
            </p:custDataLst>
          </p:nvPr>
        </p:nvSpPr>
        <p:spPr bwMode="auto">
          <a:xfrm>
            <a:off x="11454169" y="6534054"/>
            <a:ext cx="54523"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685145"/>
            <a:r>
              <a:rPr lang="es-ES_tradnl" sz="918">
                <a:solidFill>
                  <a:srgbClr val="000000"/>
                </a:solidFill>
              </a:rPr>
              <a:t>|</a:t>
            </a:r>
          </a:p>
        </p:txBody>
      </p:sp>
    </p:spTree>
    <p:extLst>
      <p:ext uri="{BB962C8B-B14F-4D97-AF65-F5344CB8AC3E}">
        <p14:creationId xmlns:p14="http://schemas.microsoft.com/office/powerpoint/2010/main" val="5908758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3" Type="http://schemas.openxmlformats.org/officeDocument/2006/relationships/slideLayout" Target="../slideLayouts/slideLayout2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 Type="http://schemas.openxmlformats.org/officeDocument/2006/relationships/slideLayout" Target="../slideLayouts/slideLayout25.xml"/><Relationship Id="rId16" Type="http://schemas.openxmlformats.org/officeDocument/2006/relationships/tags" Target="../tags/tag19.xml"/><Relationship Id="rId20" Type="http://schemas.openxmlformats.org/officeDocument/2006/relationships/tags" Target="../tags/tag23.xml"/><Relationship Id="rId1" Type="http://schemas.openxmlformats.org/officeDocument/2006/relationships/slideLayout" Target="../slideLayouts/slideLayout2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image" Target="../media/image1.emf"/><Relationship Id="rId5" Type="http://schemas.openxmlformats.org/officeDocument/2006/relationships/theme" Target="../theme/theme3.xml"/><Relationship Id="rId15" Type="http://schemas.openxmlformats.org/officeDocument/2006/relationships/tags" Target="../tags/tag18.xml"/><Relationship Id="rId23" Type="http://schemas.openxmlformats.org/officeDocument/2006/relationships/oleObject" Target="../embeddings/oleObject6.bin"/><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slideLayout" Target="../slideLayouts/slideLayout2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tags" Target="../tags/tag44.xml"/><Relationship Id="rId3" Type="http://schemas.openxmlformats.org/officeDocument/2006/relationships/slideLayout" Target="../slideLayouts/slideLayout30.xml"/><Relationship Id="rId21" Type="http://schemas.openxmlformats.org/officeDocument/2006/relationships/tags" Target="../tags/tag47.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 Type="http://schemas.openxmlformats.org/officeDocument/2006/relationships/slideLayout" Target="../slideLayouts/slideLayout29.xml"/><Relationship Id="rId16" Type="http://schemas.openxmlformats.org/officeDocument/2006/relationships/tags" Target="../tags/tag42.xml"/><Relationship Id="rId20" Type="http://schemas.openxmlformats.org/officeDocument/2006/relationships/tags" Target="../tags/tag46.xml"/><Relationship Id="rId1" Type="http://schemas.openxmlformats.org/officeDocument/2006/relationships/slideLayout" Target="../slideLayouts/slideLayout28.x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image" Target="../media/image1.emf"/><Relationship Id="rId5" Type="http://schemas.openxmlformats.org/officeDocument/2006/relationships/theme" Target="../theme/theme4.xml"/><Relationship Id="rId15" Type="http://schemas.openxmlformats.org/officeDocument/2006/relationships/tags" Target="../tags/tag41.xml"/><Relationship Id="rId23" Type="http://schemas.openxmlformats.org/officeDocument/2006/relationships/oleObject" Target="../embeddings/oleObject9.bin"/><Relationship Id="rId10" Type="http://schemas.openxmlformats.org/officeDocument/2006/relationships/tags" Target="../tags/tag36.xml"/><Relationship Id="rId19" Type="http://schemas.openxmlformats.org/officeDocument/2006/relationships/tags" Target="../tags/tag45.xml"/><Relationship Id="rId4" Type="http://schemas.openxmlformats.org/officeDocument/2006/relationships/slideLayout" Target="../slideLayouts/slideLayout31.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tags" Target="../tags/tag66.xml"/><Relationship Id="rId3" Type="http://schemas.openxmlformats.org/officeDocument/2006/relationships/slideLayout" Target="../slideLayouts/slideLayout34.xml"/><Relationship Id="rId21" Type="http://schemas.openxmlformats.org/officeDocument/2006/relationships/tags" Target="../tags/tag69.xm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tags" Target="../tags/tag65.xml"/><Relationship Id="rId25" Type="http://schemas.openxmlformats.org/officeDocument/2006/relationships/image" Target="../media/image1.emf"/><Relationship Id="rId2" Type="http://schemas.openxmlformats.org/officeDocument/2006/relationships/slideLayout" Target="../slideLayouts/slideLayout33.xml"/><Relationship Id="rId16" Type="http://schemas.openxmlformats.org/officeDocument/2006/relationships/tags" Target="../tags/tag64.xml"/><Relationship Id="rId20" Type="http://schemas.openxmlformats.org/officeDocument/2006/relationships/tags" Target="../tags/tag68.xml"/><Relationship Id="rId1" Type="http://schemas.openxmlformats.org/officeDocument/2006/relationships/slideLayout" Target="../slideLayouts/slideLayout32.xml"/><Relationship Id="rId6" Type="http://schemas.openxmlformats.org/officeDocument/2006/relationships/theme" Target="../theme/theme5.xml"/><Relationship Id="rId11" Type="http://schemas.openxmlformats.org/officeDocument/2006/relationships/tags" Target="../tags/tag59.xml"/><Relationship Id="rId24" Type="http://schemas.openxmlformats.org/officeDocument/2006/relationships/oleObject" Target="../embeddings/oleObject12.bin"/><Relationship Id="rId5" Type="http://schemas.openxmlformats.org/officeDocument/2006/relationships/slideLayout" Target="../slideLayouts/slideLayout36.xml"/><Relationship Id="rId15" Type="http://schemas.openxmlformats.org/officeDocument/2006/relationships/tags" Target="../tags/tag63.xml"/><Relationship Id="rId23" Type="http://schemas.openxmlformats.org/officeDocument/2006/relationships/tags" Target="../tags/tag71.xml"/><Relationship Id="rId10" Type="http://schemas.openxmlformats.org/officeDocument/2006/relationships/tags" Target="../tags/tag58.xml"/><Relationship Id="rId19" Type="http://schemas.openxmlformats.org/officeDocument/2006/relationships/tags" Target="../tags/tag67.xml"/><Relationship Id="rId4" Type="http://schemas.openxmlformats.org/officeDocument/2006/relationships/slideLayout" Target="../slideLayouts/slideLayout35.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tags" Target="../tags/tag70.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tags" Target="../tags/tag90.xml"/><Relationship Id="rId18" Type="http://schemas.openxmlformats.org/officeDocument/2006/relationships/tags" Target="../tags/tag95.xml"/><Relationship Id="rId3" Type="http://schemas.openxmlformats.org/officeDocument/2006/relationships/slideLayout" Target="../slideLayouts/slideLayout39.xml"/><Relationship Id="rId21" Type="http://schemas.openxmlformats.org/officeDocument/2006/relationships/tags" Target="../tags/tag98.xml"/><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tags" Target="../tags/tag94.xml"/><Relationship Id="rId25" Type="http://schemas.openxmlformats.org/officeDocument/2006/relationships/image" Target="../media/image1.emf"/><Relationship Id="rId2" Type="http://schemas.openxmlformats.org/officeDocument/2006/relationships/slideLayout" Target="../slideLayouts/slideLayout38.xml"/><Relationship Id="rId16" Type="http://schemas.openxmlformats.org/officeDocument/2006/relationships/tags" Target="../tags/tag93.xml"/><Relationship Id="rId20" Type="http://schemas.openxmlformats.org/officeDocument/2006/relationships/tags" Target="../tags/tag97.xml"/><Relationship Id="rId1" Type="http://schemas.openxmlformats.org/officeDocument/2006/relationships/slideLayout" Target="../slideLayouts/slideLayout37.xml"/><Relationship Id="rId6" Type="http://schemas.openxmlformats.org/officeDocument/2006/relationships/theme" Target="../theme/theme6.xml"/><Relationship Id="rId11" Type="http://schemas.openxmlformats.org/officeDocument/2006/relationships/tags" Target="../tags/tag88.xml"/><Relationship Id="rId24" Type="http://schemas.openxmlformats.org/officeDocument/2006/relationships/oleObject" Target="../embeddings/oleObject18.bin"/><Relationship Id="rId5" Type="http://schemas.openxmlformats.org/officeDocument/2006/relationships/slideLayout" Target="../slideLayouts/slideLayout41.xml"/><Relationship Id="rId15" Type="http://schemas.openxmlformats.org/officeDocument/2006/relationships/tags" Target="../tags/tag92.xml"/><Relationship Id="rId23" Type="http://schemas.openxmlformats.org/officeDocument/2006/relationships/tags" Target="../tags/tag100.xml"/><Relationship Id="rId10" Type="http://schemas.openxmlformats.org/officeDocument/2006/relationships/tags" Target="../tags/tag87.xml"/><Relationship Id="rId19" Type="http://schemas.openxmlformats.org/officeDocument/2006/relationships/tags" Target="../tags/tag96.xml"/><Relationship Id="rId4" Type="http://schemas.openxmlformats.org/officeDocument/2006/relationships/slideLayout" Target="../slideLayouts/slideLayout40.xml"/><Relationship Id="rId9" Type="http://schemas.openxmlformats.org/officeDocument/2006/relationships/tags" Target="../tags/tag86.xml"/><Relationship Id="rId14" Type="http://schemas.openxmlformats.org/officeDocument/2006/relationships/tags" Target="../tags/tag91.xml"/><Relationship Id="rId22" Type="http://schemas.openxmlformats.org/officeDocument/2006/relationships/tags" Target="../tags/tag99.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tags" Target="../tags/tag113.xml"/><Relationship Id="rId18" Type="http://schemas.openxmlformats.org/officeDocument/2006/relationships/tags" Target="../tags/tag118.xml"/><Relationship Id="rId3" Type="http://schemas.openxmlformats.org/officeDocument/2006/relationships/slideLayout" Target="../slideLayouts/slideLayout44.xml"/><Relationship Id="rId21" Type="http://schemas.openxmlformats.org/officeDocument/2006/relationships/tags" Target="../tags/tag121.xml"/><Relationship Id="rId7" Type="http://schemas.openxmlformats.org/officeDocument/2006/relationships/tags" Target="../tags/tag107.xml"/><Relationship Id="rId12" Type="http://schemas.openxmlformats.org/officeDocument/2006/relationships/tags" Target="../tags/tag112.xml"/><Relationship Id="rId17" Type="http://schemas.openxmlformats.org/officeDocument/2006/relationships/tags" Target="../tags/tag117.xml"/><Relationship Id="rId25" Type="http://schemas.openxmlformats.org/officeDocument/2006/relationships/image" Target="../media/image1.emf"/><Relationship Id="rId2" Type="http://schemas.openxmlformats.org/officeDocument/2006/relationships/slideLayout" Target="../slideLayouts/slideLayout43.xml"/><Relationship Id="rId16" Type="http://schemas.openxmlformats.org/officeDocument/2006/relationships/tags" Target="../tags/tag116.xml"/><Relationship Id="rId20" Type="http://schemas.openxmlformats.org/officeDocument/2006/relationships/tags" Target="../tags/tag120.xml"/><Relationship Id="rId1" Type="http://schemas.openxmlformats.org/officeDocument/2006/relationships/slideLayout" Target="../slideLayouts/slideLayout42.xml"/><Relationship Id="rId6" Type="http://schemas.openxmlformats.org/officeDocument/2006/relationships/theme" Target="../theme/theme7.xml"/><Relationship Id="rId11" Type="http://schemas.openxmlformats.org/officeDocument/2006/relationships/tags" Target="../tags/tag111.xml"/><Relationship Id="rId24" Type="http://schemas.openxmlformats.org/officeDocument/2006/relationships/oleObject" Target="../embeddings/oleObject21.bin"/><Relationship Id="rId5" Type="http://schemas.openxmlformats.org/officeDocument/2006/relationships/slideLayout" Target="../slideLayouts/slideLayout46.xml"/><Relationship Id="rId15" Type="http://schemas.openxmlformats.org/officeDocument/2006/relationships/tags" Target="../tags/tag115.xml"/><Relationship Id="rId23" Type="http://schemas.openxmlformats.org/officeDocument/2006/relationships/tags" Target="../tags/tag123.xml"/><Relationship Id="rId10" Type="http://schemas.openxmlformats.org/officeDocument/2006/relationships/tags" Target="../tags/tag110.xml"/><Relationship Id="rId19" Type="http://schemas.openxmlformats.org/officeDocument/2006/relationships/tags" Target="../tags/tag119.xml"/><Relationship Id="rId4" Type="http://schemas.openxmlformats.org/officeDocument/2006/relationships/slideLayout" Target="../slideLayouts/slideLayout45.xml"/><Relationship Id="rId9" Type="http://schemas.openxmlformats.org/officeDocument/2006/relationships/tags" Target="../tags/tag109.xml"/><Relationship Id="rId14" Type="http://schemas.openxmlformats.org/officeDocument/2006/relationships/tags" Target="../tags/tag114.xml"/><Relationship Id="rId22" Type="http://schemas.openxmlformats.org/officeDocument/2006/relationships/tags" Target="../tags/tag1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Diapositiva de think-cell" r:id="rId15" imgW="270" imgH="270" progId="TCLayout.ActiveDocument.1">
                  <p:embed/>
                </p:oleObj>
              </mc:Choice>
              <mc:Fallback>
                <p:oleObj name="Diapositiva de think-cell" r:id="rId15" imgW="270" imgH="270" progId="TCLayout.ActiveDocument.1">
                  <p:embed/>
                  <p:pic>
                    <p:nvPicPr>
                      <p:cNvPr id="2" name="Object 1" hidden="1"/>
                      <p:cNvPicPr/>
                      <p:nvPr/>
                    </p:nvPicPr>
                    <p:blipFill>
                      <a:blip r:embed="rId16"/>
                      <a:stretch>
                        <a:fillRect/>
                      </a:stretch>
                    </p:blipFill>
                    <p:spPr>
                      <a:xfrm>
                        <a:off x="0" y="0"/>
                        <a:ext cx="215979" cy="161974"/>
                      </a:xfrm>
                      <a:prstGeom prst="rect">
                        <a:avLst/>
                      </a:prstGeom>
                    </p:spPr>
                  </p:pic>
                </p:oleObj>
              </mc:Fallback>
            </mc:AlternateContent>
          </a:graphicData>
        </a:graphic>
      </p:graphicFrame>
      <p:sp>
        <p:nvSpPr>
          <p:cNvPr id="21" name="SlideBottomBar"/>
          <p:cNvSpPr>
            <a:spLocks noChangeArrowheads="1"/>
          </p:cNvSpPr>
          <p:nvPr/>
        </p:nvSpPr>
        <p:spPr bwMode="auto">
          <a:xfrm>
            <a:off x="0" y="6315773"/>
            <a:ext cx="12192000" cy="543848"/>
          </a:xfrm>
          <a:prstGeom prst="rect">
            <a:avLst/>
          </a:prstGeom>
          <a:solidFill>
            <a:srgbClr val="C3DDEB"/>
          </a:solidFill>
          <a:ln>
            <a:noFill/>
          </a:ln>
          <a:effectLst/>
        </p:spPr>
        <p:txBody>
          <a:bodyPr wrap="none" anchor="ctr"/>
          <a:lstStyle/>
          <a:p>
            <a:endParaRPr lang="es-ES_tradnl" sz="1378">
              <a:solidFill>
                <a:srgbClr val="000000"/>
              </a:solidFill>
              <a:latin typeface="Arial"/>
            </a:endParaRPr>
          </a:p>
        </p:txBody>
      </p:sp>
      <p:sp>
        <p:nvSpPr>
          <p:cNvPr id="1033" name="doc id"/>
          <p:cNvSpPr>
            <a:spLocks noChangeArrowheads="1"/>
          </p:cNvSpPr>
          <p:nvPr/>
        </p:nvSpPr>
        <p:spPr bwMode="auto">
          <a:xfrm>
            <a:off x="1099547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s-ES_tradnl" sz="612">
              <a:solidFill>
                <a:srgbClr val="000000"/>
              </a:solidFill>
            </a:endParaRPr>
          </a:p>
        </p:txBody>
      </p:sp>
      <p:sp>
        <p:nvSpPr>
          <p:cNvPr id="1034" name="Working Draft" hidden="1"/>
          <p:cNvSpPr txBox="1">
            <a:spLocks noChangeArrowheads="1"/>
          </p:cNvSpPr>
          <p:nvPr/>
        </p:nvSpPr>
        <p:spPr bwMode="auto">
          <a:xfrm rot="5400000">
            <a:off x="11297870" y="1991783"/>
            <a:ext cx="1598194"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9">
                <a:solidFill>
                  <a:srgbClr val="000000"/>
                </a:solidFill>
              </a:rPr>
              <a:t>Last Modified 31/10/2016 3:14 p. m. SA Pacific Standard Time</a:t>
            </a:r>
            <a:endParaRPr lang="es-ES_tradnl" sz="1224">
              <a:solidFill>
                <a:srgbClr val="000000"/>
              </a:solidFill>
            </a:endParaRPr>
          </a:p>
        </p:txBody>
      </p:sp>
      <p:sp>
        <p:nvSpPr>
          <p:cNvPr id="1035" name="Printed" hidden="1"/>
          <p:cNvSpPr txBox="1">
            <a:spLocks noChangeArrowheads="1"/>
          </p:cNvSpPr>
          <p:nvPr/>
        </p:nvSpPr>
        <p:spPr bwMode="auto">
          <a:xfrm rot="5400000">
            <a:off x="12005598" y="4209763"/>
            <a:ext cx="182742"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s-ES_tradnl" sz="459" err="1">
                <a:solidFill>
                  <a:srgbClr val="000000"/>
                </a:solidFill>
              </a:rPr>
              <a:t>Printed</a:t>
            </a:r>
            <a:endParaRPr lang="es-ES_tradnl" sz="1224">
              <a:solidFill>
                <a:srgbClr val="000000"/>
              </a:solidFill>
            </a:endParaRPr>
          </a:p>
        </p:txBody>
      </p:sp>
      <p:sp>
        <p:nvSpPr>
          <p:cNvPr id="11" name="1. On-page tracker" hidden="1"/>
          <p:cNvSpPr>
            <a:spLocks noChangeArrowheads="1"/>
          </p:cNvSpPr>
          <p:nvPr/>
        </p:nvSpPr>
        <p:spPr bwMode="auto">
          <a:xfrm>
            <a:off x="161987" y="27537"/>
            <a:ext cx="655629" cy="16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s-ES_tradnl" sz="1071" err="1">
                <a:solidFill>
                  <a:srgbClr val="808080"/>
                </a:solidFill>
                <a:latin typeface="Arial"/>
              </a:rPr>
              <a:t>TRACKER</a:t>
            </a:r>
            <a:endParaRPr lang="es-ES_tradnl" sz="1071">
              <a:solidFill>
                <a:srgbClr val="808080"/>
              </a:solidFill>
              <a:latin typeface="Arial"/>
            </a:endParaRPr>
          </a:p>
        </p:txBody>
      </p:sp>
      <p:sp>
        <p:nvSpPr>
          <p:cNvPr id="12" name="3. Unit of measure" hidden="1"/>
          <p:cNvSpPr txBox="1">
            <a:spLocks noChangeArrowheads="1"/>
          </p:cNvSpPr>
          <p:nvPr/>
        </p:nvSpPr>
        <p:spPr bwMode="auto">
          <a:xfrm>
            <a:off x="161984" y="542618"/>
            <a:ext cx="1172548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s-ES_tradnl" sz="1224" err="1">
                <a:solidFill>
                  <a:srgbClr val="808080"/>
                </a:solidFill>
              </a:rPr>
              <a:t>Unit</a:t>
            </a:r>
            <a:r>
              <a:rPr lang="es-ES_tradnl" sz="1224">
                <a:solidFill>
                  <a:srgbClr val="808080"/>
                </a:solidFill>
              </a:rPr>
              <a:t> of </a:t>
            </a:r>
            <a:r>
              <a:rPr lang="es-ES_tradnl" sz="1224" err="1">
                <a:solidFill>
                  <a:srgbClr val="808080"/>
                </a:solidFill>
              </a:rPr>
              <a:t>measure</a:t>
            </a:r>
            <a:endParaRPr lang="es-ES_tradnl" sz="1224">
              <a:solidFill>
                <a:srgbClr val="808080"/>
              </a:solidFill>
            </a:endParaRPr>
          </a:p>
        </p:txBody>
      </p:sp>
      <p:grpSp>
        <p:nvGrpSpPr>
          <p:cNvPr id="13" name="Slide Elements" hidden="1"/>
          <p:cNvGrpSpPr>
            <a:grpSpLocks/>
          </p:cNvGrpSpPr>
          <p:nvPr/>
        </p:nvGrpSpPr>
        <p:grpSpPr bwMode="auto">
          <a:xfrm>
            <a:off x="161986" y="6240885"/>
            <a:ext cx="11630455" cy="476206"/>
            <a:chOff x="75" y="3853"/>
            <a:chExt cx="5385" cy="294"/>
          </a:xfrm>
        </p:grpSpPr>
        <p:sp>
          <p:nvSpPr>
            <p:cNvPr id="14" name="4. Footnote"/>
            <p:cNvSpPr txBox="1">
              <a:spLocks noChangeArrowheads="1"/>
            </p:cNvSpPr>
            <p:nvPr/>
          </p:nvSpPr>
          <p:spPr bwMode="auto">
            <a:xfrm>
              <a:off x="75" y="3853"/>
              <a:ext cx="5385" cy="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s-ES_tradnl" sz="765">
                  <a:solidFill>
                    <a:srgbClr val="000000"/>
                  </a:solidFill>
                  <a:latin typeface="Arial"/>
                </a:rPr>
                <a:t>1 Nota al pie</a:t>
              </a:r>
            </a:p>
          </p:txBody>
        </p:sp>
        <p:sp>
          <p:nvSpPr>
            <p:cNvPr id="15" name="5. Source"/>
            <p:cNvSpPr>
              <a:spLocks noChangeArrowheads="1"/>
            </p:cNvSpPr>
            <p:nvPr/>
          </p:nvSpPr>
          <p:spPr bwMode="auto">
            <a:xfrm>
              <a:off x="75" y="4074"/>
              <a:ext cx="4323" cy="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466481" indent="-466481" defTabSz="685145">
                <a:tabLst>
                  <a:tab pos="468911" algn="l"/>
                </a:tabLst>
              </a:pPr>
              <a:r>
                <a:rPr lang="es-ES_tradnl" sz="765">
                  <a:solidFill>
                    <a:srgbClr val="000000"/>
                  </a:solidFill>
                  <a:latin typeface="Arial"/>
                </a:rPr>
                <a:t>FUENTE: Análisis equipo de trabajo</a:t>
              </a:r>
            </a:p>
          </p:txBody>
        </p:sp>
      </p:grpSp>
      <p:grpSp>
        <p:nvGrpSpPr>
          <p:cNvPr id="16" name="ACET" hidden="1"/>
          <p:cNvGrpSpPr>
            <a:grpSpLocks/>
          </p:cNvGrpSpPr>
          <p:nvPr/>
        </p:nvGrpSpPr>
        <p:grpSpPr bwMode="auto">
          <a:xfrm>
            <a:off x="1976208" y="1226146"/>
            <a:ext cx="5801189" cy="442190"/>
            <a:chOff x="915" y="757"/>
            <a:chExt cx="2686" cy="273"/>
          </a:xfrm>
        </p:grpSpPr>
        <p:cxnSp>
          <p:nvCxnSpPr>
            <p:cNvPr id="17" name="AutoShape 249"/>
            <p:cNvCxnSpPr>
              <a:cxnSpLocks noChangeShapeType="1"/>
              <a:stCxn id="18" idx="4"/>
              <a:endCxn id="18"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57"/>
              <a:ext cx="2686" cy="2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s-ES_tradnl" sz="1378" b="1" err="1">
                  <a:solidFill>
                    <a:srgbClr val="000000"/>
                  </a:solidFill>
                </a:rPr>
                <a:t>Title</a:t>
              </a:r>
              <a:endParaRPr lang="es-ES_tradnl" sz="1378" b="1">
                <a:solidFill>
                  <a:srgbClr val="000000"/>
                </a:solidFill>
              </a:endParaRPr>
            </a:p>
            <a:p>
              <a:r>
                <a:rPr lang="es-ES_tradnl" sz="1378" err="1">
                  <a:solidFill>
                    <a:srgbClr val="808080"/>
                  </a:solidFill>
                </a:rPr>
                <a:t>Unit</a:t>
              </a:r>
              <a:r>
                <a:rPr lang="es-ES_tradnl" sz="1378">
                  <a:solidFill>
                    <a:srgbClr val="808080"/>
                  </a:solidFill>
                </a:rPr>
                <a:t> of </a:t>
              </a:r>
              <a:r>
                <a:rPr lang="es-ES_tradnl" sz="1378" err="1">
                  <a:solidFill>
                    <a:srgbClr val="808080"/>
                  </a:solidFill>
                </a:rPr>
                <a:t>measure</a:t>
              </a:r>
              <a:endParaRPr lang="es-ES_tradnl" sz="1378">
                <a:solidFill>
                  <a:srgbClr val="808080"/>
                </a:solidFill>
              </a:endParaRPr>
            </a:p>
          </p:txBody>
        </p:sp>
      </p:grpSp>
      <p:sp>
        <p:nvSpPr>
          <p:cNvPr id="23" name="1. On-page tracker" hidden="1"/>
          <p:cNvSpPr>
            <a:spLocks noChangeArrowheads="1"/>
          </p:cNvSpPr>
          <p:nvPr/>
        </p:nvSpPr>
        <p:spPr bwMode="auto">
          <a:xfrm>
            <a:off x="161987" y="27537"/>
            <a:ext cx="655629" cy="16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s-ES_tradnl" sz="1071" err="1">
                <a:solidFill>
                  <a:srgbClr val="808080"/>
                </a:solidFill>
                <a:latin typeface="Arial"/>
              </a:rPr>
              <a:t>TRACKER</a:t>
            </a:r>
            <a:endParaRPr lang="es-ES_tradnl" sz="1071">
              <a:solidFill>
                <a:srgbClr val="808080"/>
              </a:solidFill>
              <a:latin typeface="Arial"/>
            </a:endParaRPr>
          </a:p>
        </p:txBody>
      </p:sp>
      <p:sp>
        <p:nvSpPr>
          <p:cNvPr id="24" name="3. Unit of measure" hidden="1"/>
          <p:cNvSpPr txBox="1">
            <a:spLocks noChangeArrowheads="1"/>
          </p:cNvSpPr>
          <p:nvPr/>
        </p:nvSpPr>
        <p:spPr bwMode="auto">
          <a:xfrm>
            <a:off x="161984" y="542618"/>
            <a:ext cx="1172548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s-ES_tradnl" sz="1224" err="1">
                <a:solidFill>
                  <a:srgbClr val="808080"/>
                </a:solidFill>
                <a:latin typeface="Arial"/>
              </a:rPr>
              <a:t>Unit</a:t>
            </a:r>
            <a:r>
              <a:rPr lang="es-ES_tradnl" sz="1224">
                <a:solidFill>
                  <a:srgbClr val="808080"/>
                </a:solidFill>
                <a:latin typeface="Arial"/>
              </a:rPr>
              <a:t> of </a:t>
            </a:r>
            <a:r>
              <a:rPr lang="es-ES_tradnl" sz="1224" err="1">
                <a:solidFill>
                  <a:srgbClr val="808080"/>
                </a:solidFill>
                <a:latin typeface="Arial"/>
              </a:rPr>
              <a:t>measure</a:t>
            </a:r>
            <a:endParaRPr lang="es-ES_tradnl" sz="1224">
              <a:solidFill>
                <a:srgbClr val="808080"/>
              </a:solidFill>
              <a:latin typeface="Arial"/>
            </a:endParaRPr>
          </a:p>
        </p:txBody>
      </p:sp>
      <p:grpSp>
        <p:nvGrpSpPr>
          <p:cNvPr id="25" name="Slide Elements" hidden="1"/>
          <p:cNvGrpSpPr>
            <a:grpSpLocks/>
          </p:cNvGrpSpPr>
          <p:nvPr/>
        </p:nvGrpSpPr>
        <p:grpSpPr bwMode="auto">
          <a:xfrm>
            <a:off x="161986" y="6240884"/>
            <a:ext cx="11630455" cy="463248"/>
            <a:chOff x="75" y="3853"/>
            <a:chExt cx="5385" cy="286"/>
          </a:xfrm>
        </p:grpSpPr>
        <p:sp>
          <p:nvSpPr>
            <p:cNvPr id="26" name="4. Footnote"/>
            <p:cNvSpPr txBox="1">
              <a:spLocks noChangeArrowheads="1"/>
            </p:cNvSpPr>
            <p:nvPr/>
          </p:nvSpPr>
          <p:spPr bwMode="auto">
            <a:xfrm>
              <a:off x="75" y="3853"/>
              <a:ext cx="5385" cy="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s-ES_tradnl" sz="765">
                  <a:solidFill>
                    <a:srgbClr val="000000"/>
                  </a:solidFill>
                  <a:latin typeface="Arial"/>
                </a:rPr>
                <a:t>1 </a:t>
              </a:r>
              <a:r>
                <a:rPr lang="es-ES_tradnl" sz="765" err="1">
                  <a:solidFill>
                    <a:srgbClr val="000000"/>
                  </a:solidFill>
                  <a:latin typeface="Arial"/>
                </a:rPr>
                <a:t>Footnote</a:t>
              </a:r>
              <a:endParaRPr lang="es-ES_tradnl" sz="765">
                <a:solidFill>
                  <a:srgbClr val="000000"/>
                </a:solidFill>
                <a:latin typeface="Arial"/>
              </a:endParaRPr>
            </a:p>
          </p:txBody>
        </p:sp>
        <p:sp>
          <p:nvSpPr>
            <p:cNvPr id="27" name="5. Source"/>
            <p:cNvSpPr>
              <a:spLocks noChangeArrowheads="1"/>
            </p:cNvSpPr>
            <p:nvPr/>
          </p:nvSpPr>
          <p:spPr bwMode="auto">
            <a:xfrm>
              <a:off x="75" y="4066"/>
              <a:ext cx="4323" cy="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466481" indent="-466481" defTabSz="685145">
                <a:tabLst>
                  <a:tab pos="468911" algn="l"/>
                </a:tabLst>
              </a:pPr>
              <a:r>
                <a:rPr lang="es-ES_tradnl" sz="765" err="1">
                  <a:solidFill>
                    <a:srgbClr val="000000"/>
                  </a:solidFill>
                  <a:latin typeface="Arial"/>
                </a:rPr>
                <a:t>SOURCE</a:t>
              </a:r>
              <a:r>
                <a:rPr lang="es-ES_tradnl" sz="765">
                  <a:solidFill>
                    <a:srgbClr val="000000"/>
                  </a:solidFill>
                  <a:latin typeface="Arial"/>
                </a:rPr>
                <a:t>: </a:t>
              </a:r>
              <a:r>
                <a:rPr lang="es-ES_tradnl" sz="765" err="1">
                  <a:solidFill>
                    <a:srgbClr val="000000"/>
                  </a:solidFill>
                  <a:latin typeface="Arial"/>
                </a:rPr>
                <a:t>Source</a:t>
              </a:r>
              <a:endParaRPr lang="es-ES_tradnl" sz="765">
                <a:solidFill>
                  <a:srgbClr val="000000"/>
                </a:solidFill>
                <a:latin typeface="Arial"/>
              </a:endParaRPr>
            </a:p>
          </p:txBody>
        </p:sp>
      </p:grpSp>
      <p:grpSp>
        <p:nvGrpSpPr>
          <p:cNvPr id="28" name="ACET" hidden="1"/>
          <p:cNvGrpSpPr>
            <a:grpSpLocks/>
          </p:cNvGrpSpPr>
          <p:nvPr/>
        </p:nvGrpSpPr>
        <p:grpSpPr bwMode="auto">
          <a:xfrm>
            <a:off x="1976208" y="1226146"/>
            <a:ext cx="5801189" cy="442190"/>
            <a:chOff x="915" y="757"/>
            <a:chExt cx="2686" cy="273"/>
          </a:xfrm>
        </p:grpSpPr>
        <p:cxnSp>
          <p:nvCxnSpPr>
            <p:cNvPr id="29"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AutoShape 250"/>
            <p:cNvSpPr>
              <a:spLocks noChangeArrowheads="1"/>
            </p:cNvSpPr>
            <p:nvPr/>
          </p:nvSpPr>
          <p:spPr bwMode="auto">
            <a:xfrm>
              <a:off x="915" y="757"/>
              <a:ext cx="2686" cy="2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s-ES_tradnl" sz="1378" b="1" err="1">
                  <a:solidFill>
                    <a:srgbClr val="000000"/>
                  </a:solidFill>
                  <a:latin typeface="Arial"/>
                </a:rPr>
                <a:t>Title</a:t>
              </a:r>
              <a:endParaRPr lang="es-ES_tradnl" sz="1378" b="1">
                <a:solidFill>
                  <a:srgbClr val="000000"/>
                </a:solidFill>
                <a:latin typeface="Arial"/>
              </a:endParaRPr>
            </a:p>
            <a:p>
              <a:r>
                <a:rPr lang="es-ES_tradnl" sz="1378" err="1">
                  <a:solidFill>
                    <a:srgbClr val="808080"/>
                  </a:solidFill>
                  <a:latin typeface="Arial"/>
                </a:rPr>
                <a:t>Unit</a:t>
              </a:r>
              <a:r>
                <a:rPr lang="es-ES_tradnl" sz="1378">
                  <a:solidFill>
                    <a:srgbClr val="808080"/>
                  </a:solidFill>
                  <a:latin typeface="Arial"/>
                </a:rPr>
                <a:t> of </a:t>
              </a:r>
              <a:r>
                <a:rPr lang="es-ES_tradnl" sz="1378" err="1">
                  <a:solidFill>
                    <a:srgbClr val="808080"/>
                  </a:solidFill>
                  <a:latin typeface="Arial"/>
                </a:rPr>
                <a:t>measure</a:t>
              </a:r>
              <a:endParaRPr lang="es-ES_tradnl" sz="1378">
                <a:solidFill>
                  <a:srgbClr val="808080"/>
                </a:solidFill>
                <a:latin typeface="Arial"/>
              </a:endParaRPr>
            </a:p>
          </p:txBody>
        </p:sp>
      </p:grpSp>
      <p:sp>
        <p:nvSpPr>
          <p:cNvPr id="33" name="1. On-page tracker" hidden="1"/>
          <p:cNvSpPr>
            <a:spLocks noChangeArrowheads="1"/>
          </p:cNvSpPr>
          <p:nvPr/>
        </p:nvSpPr>
        <p:spPr bwMode="auto">
          <a:xfrm>
            <a:off x="161987" y="27537"/>
            <a:ext cx="655629" cy="16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s-ES_tradnl" sz="1071" err="1">
                <a:solidFill>
                  <a:srgbClr val="808080"/>
                </a:solidFill>
                <a:latin typeface="Arial"/>
              </a:rPr>
              <a:t>TRACKER</a:t>
            </a:r>
            <a:endParaRPr lang="es-ES_tradnl" sz="1071">
              <a:solidFill>
                <a:srgbClr val="808080"/>
              </a:solidFill>
              <a:latin typeface="Arial"/>
            </a:endParaRPr>
          </a:p>
        </p:txBody>
      </p:sp>
      <p:sp>
        <p:nvSpPr>
          <p:cNvPr id="34" name="3. Unit of measure" hidden="1"/>
          <p:cNvSpPr txBox="1">
            <a:spLocks noChangeArrowheads="1"/>
          </p:cNvSpPr>
          <p:nvPr/>
        </p:nvSpPr>
        <p:spPr bwMode="auto">
          <a:xfrm>
            <a:off x="161984" y="542618"/>
            <a:ext cx="1172548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s-ES_tradnl" sz="1224" err="1">
                <a:solidFill>
                  <a:srgbClr val="808080"/>
                </a:solidFill>
                <a:latin typeface="Arial"/>
              </a:rPr>
              <a:t>Unit</a:t>
            </a:r>
            <a:r>
              <a:rPr lang="es-ES_tradnl" sz="1224">
                <a:solidFill>
                  <a:srgbClr val="808080"/>
                </a:solidFill>
                <a:latin typeface="Arial"/>
              </a:rPr>
              <a:t> of </a:t>
            </a:r>
            <a:r>
              <a:rPr lang="es-ES_tradnl" sz="1224" err="1">
                <a:solidFill>
                  <a:srgbClr val="808080"/>
                </a:solidFill>
                <a:latin typeface="Arial"/>
              </a:rPr>
              <a:t>measure</a:t>
            </a:r>
            <a:endParaRPr lang="es-ES_tradnl" sz="1224">
              <a:solidFill>
                <a:srgbClr val="808080"/>
              </a:solidFill>
              <a:latin typeface="Arial"/>
            </a:endParaRPr>
          </a:p>
        </p:txBody>
      </p:sp>
      <p:grpSp>
        <p:nvGrpSpPr>
          <p:cNvPr id="35" name="Slide Elements" hidden="1"/>
          <p:cNvGrpSpPr>
            <a:grpSpLocks/>
          </p:cNvGrpSpPr>
          <p:nvPr/>
        </p:nvGrpSpPr>
        <p:grpSpPr bwMode="auto">
          <a:xfrm>
            <a:off x="161986" y="6240884"/>
            <a:ext cx="11630455" cy="463248"/>
            <a:chOff x="75" y="3853"/>
            <a:chExt cx="5385" cy="286"/>
          </a:xfrm>
        </p:grpSpPr>
        <p:sp>
          <p:nvSpPr>
            <p:cNvPr id="36" name="4. Footnote"/>
            <p:cNvSpPr txBox="1">
              <a:spLocks noChangeArrowheads="1"/>
            </p:cNvSpPr>
            <p:nvPr/>
          </p:nvSpPr>
          <p:spPr bwMode="auto">
            <a:xfrm>
              <a:off x="75" y="3853"/>
              <a:ext cx="5385" cy="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s-ES_tradnl" sz="765">
                  <a:solidFill>
                    <a:srgbClr val="000000"/>
                  </a:solidFill>
                  <a:latin typeface="Arial"/>
                </a:rPr>
                <a:t>1 </a:t>
              </a:r>
              <a:r>
                <a:rPr lang="es-ES_tradnl" sz="765" err="1">
                  <a:solidFill>
                    <a:srgbClr val="000000"/>
                  </a:solidFill>
                  <a:latin typeface="Arial"/>
                </a:rPr>
                <a:t>Footnote</a:t>
              </a:r>
              <a:endParaRPr lang="es-ES_tradnl" sz="765">
                <a:solidFill>
                  <a:srgbClr val="000000"/>
                </a:solidFill>
                <a:latin typeface="Arial"/>
              </a:endParaRPr>
            </a:p>
          </p:txBody>
        </p:sp>
        <p:sp>
          <p:nvSpPr>
            <p:cNvPr id="37" name="5. Source"/>
            <p:cNvSpPr>
              <a:spLocks noChangeArrowheads="1"/>
            </p:cNvSpPr>
            <p:nvPr/>
          </p:nvSpPr>
          <p:spPr bwMode="auto">
            <a:xfrm>
              <a:off x="75" y="4066"/>
              <a:ext cx="4323" cy="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466481" indent="-466481" defTabSz="685145">
                <a:tabLst>
                  <a:tab pos="468911" algn="l"/>
                </a:tabLst>
              </a:pPr>
              <a:r>
                <a:rPr lang="es-ES_tradnl" sz="765" err="1">
                  <a:solidFill>
                    <a:srgbClr val="000000"/>
                  </a:solidFill>
                  <a:latin typeface="Arial"/>
                </a:rPr>
                <a:t>SOURCE</a:t>
              </a:r>
              <a:r>
                <a:rPr lang="es-ES_tradnl" sz="765">
                  <a:solidFill>
                    <a:srgbClr val="000000"/>
                  </a:solidFill>
                  <a:latin typeface="Arial"/>
                </a:rPr>
                <a:t>: </a:t>
              </a:r>
              <a:r>
                <a:rPr lang="es-ES_tradnl" sz="765" err="1">
                  <a:solidFill>
                    <a:srgbClr val="000000"/>
                  </a:solidFill>
                  <a:latin typeface="Arial"/>
                </a:rPr>
                <a:t>Source</a:t>
              </a:r>
              <a:endParaRPr lang="es-ES_tradnl" sz="765">
                <a:solidFill>
                  <a:srgbClr val="000000"/>
                </a:solidFill>
                <a:latin typeface="Arial"/>
              </a:endParaRPr>
            </a:p>
          </p:txBody>
        </p:sp>
      </p:grpSp>
      <p:grpSp>
        <p:nvGrpSpPr>
          <p:cNvPr id="38" name="ACET" hidden="1"/>
          <p:cNvGrpSpPr>
            <a:grpSpLocks/>
          </p:cNvGrpSpPr>
          <p:nvPr/>
        </p:nvGrpSpPr>
        <p:grpSpPr bwMode="auto">
          <a:xfrm>
            <a:off x="1976208" y="1226146"/>
            <a:ext cx="5801189" cy="442190"/>
            <a:chOff x="915" y="757"/>
            <a:chExt cx="2686" cy="273"/>
          </a:xfrm>
        </p:grpSpPr>
        <p:cxnSp>
          <p:nvCxnSpPr>
            <p:cNvPr id="39"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0" name="AutoShape 250"/>
            <p:cNvSpPr>
              <a:spLocks noChangeArrowheads="1"/>
            </p:cNvSpPr>
            <p:nvPr/>
          </p:nvSpPr>
          <p:spPr bwMode="auto">
            <a:xfrm>
              <a:off x="915" y="757"/>
              <a:ext cx="2686" cy="2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s-ES_tradnl" sz="1378" b="1" err="1">
                  <a:solidFill>
                    <a:srgbClr val="000000"/>
                  </a:solidFill>
                  <a:latin typeface="Arial"/>
                </a:rPr>
                <a:t>Title</a:t>
              </a:r>
              <a:endParaRPr lang="es-ES_tradnl" sz="1378" b="1">
                <a:solidFill>
                  <a:srgbClr val="000000"/>
                </a:solidFill>
                <a:latin typeface="Arial"/>
              </a:endParaRPr>
            </a:p>
            <a:p>
              <a:r>
                <a:rPr lang="es-ES_tradnl" sz="1378" err="1">
                  <a:solidFill>
                    <a:srgbClr val="808080"/>
                  </a:solidFill>
                  <a:latin typeface="Arial"/>
                </a:rPr>
                <a:t>Unit</a:t>
              </a:r>
              <a:r>
                <a:rPr lang="es-ES_tradnl" sz="1378">
                  <a:solidFill>
                    <a:srgbClr val="808080"/>
                  </a:solidFill>
                  <a:latin typeface="Arial"/>
                </a:rPr>
                <a:t> of </a:t>
              </a:r>
              <a:r>
                <a:rPr lang="es-ES_tradnl" sz="1378" err="1">
                  <a:solidFill>
                    <a:srgbClr val="808080"/>
                  </a:solidFill>
                  <a:latin typeface="Arial"/>
                </a:rPr>
                <a:t>measure</a:t>
              </a:r>
              <a:endParaRPr lang="es-ES_tradnl" sz="1378">
                <a:solidFill>
                  <a:srgbClr val="808080"/>
                </a:solidFill>
                <a:latin typeface="Arial"/>
              </a:endParaRPr>
            </a:p>
          </p:txBody>
        </p:sp>
      </p:grpSp>
      <p:sp>
        <p:nvSpPr>
          <p:cNvPr id="41" name="SlideLogoText" hidden="1"/>
          <p:cNvSpPr>
            <a:spLocks noChangeArrowheads="1"/>
          </p:cNvSpPr>
          <p:nvPr>
            <p:custDataLst>
              <p:tags r:id="rId14"/>
            </p:custDataLst>
          </p:nvPr>
        </p:nvSpPr>
        <p:spPr bwMode="auto">
          <a:xfrm>
            <a:off x="10368511" y="6585333"/>
            <a:ext cx="968214" cy="117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685145"/>
            <a:r>
              <a:rPr lang="es-ES_tradnl" sz="765">
                <a:solidFill>
                  <a:srgbClr val="000000"/>
                </a:solidFill>
                <a:latin typeface="Arial"/>
              </a:rPr>
              <a:t>McKinsey &amp; Company</a:t>
            </a:r>
          </a:p>
        </p:txBody>
      </p:sp>
      <p:sp>
        <p:nvSpPr>
          <p:cNvPr id="43" name="1. On-page tracker" hidden="1"/>
          <p:cNvSpPr>
            <a:spLocks noChangeArrowheads="1"/>
          </p:cNvSpPr>
          <p:nvPr/>
        </p:nvSpPr>
        <p:spPr bwMode="auto">
          <a:xfrm>
            <a:off x="161987" y="27537"/>
            <a:ext cx="655629" cy="16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71">
                <a:solidFill>
                  <a:srgbClr val="808080"/>
                </a:solidFill>
                <a:latin typeface="Arial"/>
              </a:rPr>
              <a:t>TRACKER</a:t>
            </a:r>
          </a:p>
        </p:txBody>
      </p:sp>
      <p:sp>
        <p:nvSpPr>
          <p:cNvPr id="44" name="3. Unit of measure" hidden="1"/>
          <p:cNvSpPr txBox="1">
            <a:spLocks noChangeArrowheads="1"/>
          </p:cNvSpPr>
          <p:nvPr/>
        </p:nvSpPr>
        <p:spPr bwMode="auto">
          <a:xfrm>
            <a:off x="161984" y="542618"/>
            <a:ext cx="1172548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224">
                <a:solidFill>
                  <a:srgbClr val="808080"/>
                </a:solidFill>
                <a:latin typeface="Arial"/>
              </a:rPr>
              <a:t>Unit of measure</a:t>
            </a:r>
          </a:p>
        </p:txBody>
      </p:sp>
      <p:grpSp>
        <p:nvGrpSpPr>
          <p:cNvPr id="45" name="Slide Elements" hidden="1"/>
          <p:cNvGrpSpPr>
            <a:grpSpLocks/>
          </p:cNvGrpSpPr>
          <p:nvPr/>
        </p:nvGrpSpPr>
        <p:grpSpPr bwMode="auto">
          <a:xfrm>
            <a:off x="161986" y="6240884"/>
            <a:ext cx="11630455" cy="463248"/>
            <a:chOff x="75" y="3853"/>
            <a:chExt cx="5385" cy="286"/>
          </a:xfrm>
        </p:grpSpPr>
        <p:sp>
          <p:nvSpPr>
            <p:cNvPr id="46" name="4. Footnote"/>
            <p:cNvSpPr txBox="1">
              <a:spLocks noChangeArrowheads="1"/>
            </p:cNvSpPr>
            <p:nvPr/>
          </p:nvSpPr>
          <p:spPr bwMode="auto">
            <a:xfrm>
              <a:off x="75" y="3853"/>
              <a:ext cx="5385" cy="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765">
                  <a:solidFill>
                    <a:srgbClr val="000000"/>
                  </a:solidFill>
                  <a:latin typeface="Arial"/>
                </a:rPr>
                <a:t>1 Footnote</a:t>
              </a:r>
            </a:p>
          </p:txBody>
        </p:sp>
        <p:sp>
          <p:nvSpPr>
            <p:cNvPr id="47" name="5. Source"/>
            <p:cNvSpPr>
              <a:spLocks noChangeArrowheads="1"/>
            </p:cNvSpPr>
            <p:nvPr/>
          </p:nvSpPr>
          <p:spPr bwMode="auto">
            <a:xfrm>
              <a:off x="75" y="4066"/>
              <a:ext cx="4323" cy="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466481" indent="-466481" defTabSz="685145">
                <a:tabLst>
                  <a:tab pos="468911" algn="l"/>
                </a:tabLst>
              </a:pPr>
              <a:r>
                <a:rPr lang="en-US" sz="765">
                  <a:solidFill>
                    <a:srgbClr val="000000"/>
                  </a:solidFill>
                  <a:latin typeface="Arial"/>
                </a:rPr>
                <a:t>SOURCE: Source</a:t>
              </a:r>
            </a:p>
          </p:txBody>
        </p:sp>
      </p:grpSp>
      <p:grpSp>
        <p:nvGrpSpPr>
          <p:cNvPr id="48" name="ACET" hidden="1"/>
          <p:cNvGrpSpPr>
            <a:grpSpLocks/>
          </p:cNvGrpSpPr>
          <p:nvPr/>
        </p:nvGrpSpPr>
        <p:grpSpPr bwMode="auto">
          <a:xfrm>
            <a:off x="1976208" y="1226146"/>
            <a:ext cx="5801189" cy="442190"/>
            <a:chOff x="915" y="757"/>
            <a:chExt cx="2686" cy="273"/>
          </a:xfrm>
        </p:grpSpPr>
        <p:cxnSp>
          <p:nvCxnSpPr>
            <p:cNvPr id="49"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AutoShape 250"/>
            <p:cNvSpPr>
              <a:spLocks noChangeArrowheads="1"/>
            </p:cNvSpPr>
            <p:nvPr/>
          </p:nvSpPr>
          <p:spPr bwMode="auto">
            <a:xfrm>
              <a:off x="915" y="757"/>
              <a:ext cx="2686" cy="2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378" b="1">
                  <a:solidFill>
                    <a:srgbClr val="000000"/>
                  </a:solidFill>
                  <a:latin typeface="Arial"/>
                </a:rPr>
                <a:t>Title</a:t>
              </a:r>
            </a:p>
            <a:p>
              <a:r>
                <a:rPr lang="en-US" sz="1378">
                  <a:solidFill>
                    <a:srgbClr val="808080"/>
                  </a:solidFill>
                  <a:latin typeface="Arial"/>
                </a:rPr>
                <a:t>Unit of measure</a:t>
              </a:r>
            </a:p>
          </p:txBody>
        </p:sp>
      </p:grpSp>
      <p:cxnSp>
        <p:nvCxnSpPr>
          <p:cNvPr id="52" name="Straight Connector 6"/>
          <p:cNvCxnSpPr/>
          <p:nvPr/>
        </p:nvCxnSpPr>
        <p:spPr>
          <a:xfrm>
            <a:off x="11344876" y="6315773"/>
            <a:ext cx="0" cy="327998"/>
          </a:xfrm>
          <a:prstGeom prst="line">
            <a:avLst/>
          </a:prstGeom>
          <a:noFill/>
          <a:ln w="3175">
            <a:solidFill>
              <a:srgbClr val="33779D"/>
            </a:solidFill>
          </a:ln>
        </p:spPr>
        <p:style>
          <a:lnRef idx="2">
            <a:schemeClr val="accent1">
              <a:shade val="50000"/>
            </a:schemeClr>
          </a:lnRef>
          <a:fillRef idx="1">
            <a:schemeClr val="accent1"/>
          </a:fillRef>
          <a:effectRef idx="0">
            <a:schemeClr val="accent1"/>
          </a:effectRef>
          <a:fontRef idx="minor">
            <a:schemeClr val="lt1"/>
          </a:fontRef>
        </p:style>
      </p:cxnSp>
      <p:pic>
        <p:nvPicPr>
          <p:cNvPr id="53" name="Imagen 52"/>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0523811" y="6359097"/>
            <a:ext cx="652928" cy="457200"/>
          </a:xfrm>
          <a:prstGeom prst="rect">
            <a:avLst/>
          </a:prstGeom>
        </p:spPr>
      </p:pic>
      <p:sp>
        <p:nvSpPr>
          <p:cNvPr id="54" name="Marcador de número de diapositiva 5"/>
          <p:cNvSpPr>
            <a:spLocks noGrp="1"/>
          </p:cNvSpPr>
          <p:nvPr>
            <p:ph type="sldNum" sz="quarter" idx="4"/>
          </p:nvPr>
        </p:nvSpPr>
        <p:spPr>
          <a:xfrm>
            <a:off x="11344876" y="6406123"/>
            <a:ext cx="847124" cy="365125"/>
          </a:xfrm>
          <a:prstGeom prst="rect">
            <a:avLst/>
          </a:prstGeom>
        </p:spPr>
        <p:txBody>
          <a:bodyPr/>
          <a:lstStyle>
            <a:lvl1pPr algn="ctr">
              <a:defRPr sz="1200" b="1">
                <a:solidFill>
                  <a:srgbClr val="25546D"/>
                </a:solidFill>
              </a:defRPr>
            </a:lvl1pPr>
          </a:lstStyle>
          <a:p>
            <a:fld id="{02F25750-4209-4357-A72F-45445C8044EF}" type="slidenum">
              <a:rPr lang="es-CO" smtClean="0"/>
              <a:pPr/>
              <a:t>‹Nº›</a:t>
            </a:fld>
            <a:endParaRPr lang="es-CO"/>
          </a:p>
        </p:txBody>
      </p:sp>
    </p:spTree>
    <p:extLst>
      <p:ext uri="{BB962C8B-B14F-4D97-AF65-F5344CB8AC3E}">
        <p14:creationId xmlns:p14="http://schemas.microsoft.com/office/powerpoint/2010/main" val="261295459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742" r:id="rId11"/>
  </p:sldLayoutIdLst>
  <p:hf hdr="0" ftr="0" dt="0"/>
  <p:txStyles>
    <p:titleStyle>
      <a:lvl1pPr algn="l" defTabSz="685145" rtl="0" eaLnBrk="1" fontAlgn="base" hangingPunct="1">
        <a:spcBef>
          <a:spcPct val="0"/>
        </a:spcBef>
        <a:spcAft>
          <a:spcPct val="0"/>
        </a:spcAft>
        <a:tabLst>
          <a:tab pos="273329" algn="l"/>
        </a:tabLst>
        <a:defRPr sz="1454" b="1">
          <a:solidFill>
            <a:schemeClr val="tx2"/>
          </a:solidFill>
          <a:latin typeface="+mj-lt"/>
          <a:ea typeface="+mj-ea"/>
          <a:cs typeface="+mj-cs"/>
        </a:defRPr>
      </a:lvl1pPr>
      <a:lvl2pPr algn="l" defTabSz="685145" rtl="0" eaLnBrk="1" fontAlgn="base" hangingPunct="1">
        <a:spcBef>
          <a:spcPct val="0"/>
        </a:spcBef>
        <a:spcAft>
          <a:spcPct val="0"/>
        </a:spcAft>
        <a:defRPr sz="1454" b="1">
          <a:solidFill>
            <a:schemeClr val="tx2"/>
          </a:solidFill>
          <a:latin typeface="Arial" charset="0"/>
        </a:defRPr>
      </a:lvl2pPr>
      <a:lvl3pPr algn="l" defTabSz="685145" rtl="0" eaLnBrk="1" fontAlgn="base" hangingPunct="1">
        <a:spcBef>
          <a:spcPct val="0"/>
        </a:spcBef>
        <a:spcAft>
          <a:spcPct val="0"/>
        </a:spcAft>
        <a:defRPr sz="1454" b="1">
          <a:solidFill>
            <a:schemeClr val="tx2"/>
          </a:solidFill>
          <a:latin typeface="Arial" charset="0"/>
        </a:defRPr>
      </a:lvl3pPr>
      <a:lvl4pPr algn="l" defTabSz="685145" rtl="0" eaLnBrk="1" fontAlgn="base" hangingPunct="1">
        <a:spcBef>
          <a:spcPct val="0"/>
        </a:spcBef>
        <a:spcAft>
          <a:spcPct val="0"/>
        </a:spcAft>
        <a:defRPr sz="1454" b="1">
          <a:solidFill>
            <a:schemeClr val="tx2"/>
          </a:solidFill>
          <a:latin typeface="Arial" charset="0"/>
        </a:defRPr>
      </a:lvl4pPr>
      <a:lvl5pPr algn="l" defTabSz="685145" rtl="0" eaLnBrk="1" fontAlgn="base" hangingPunct="1">
        <a:spcBef>
          <a:spcPct val="0"/>
        </a:spcBef>
        <a:spcAft>
          <a:spcPct val="0"/>
        </a:spcAft>
        <a:defRPr sz="1454" b="1">
          <a:solidFill>
            <a:schemeClr val="tx2"/>
          </a:solidFill>
          <a:latin typeface="Arial" charset="0"/>
        </a:defRPr>
      </a:lvl5pPr>
      <a:lvl6pPr marL="349861" algn="l" defTabSz="685145" rtl="0" eaLnBrk="1" fontAlgn="base" hangingPunct="1">
        <a:spcBef>
          <a:spcPct val="0"/>
        </a:spcBef>
        <a:spcAft>
          <a:spcPct val="0"/>
        </a:spcAft>
        <a:defRPr sz="1454" b="1">
          <a:solidFill>
            <a:schemeClr val="tx2"/>
          </a:solidFill>
          <a:latin typeface="Arial" charset="0"/>
        </a:defRPr>
      </a:lvl6pPr>
      <a:lvl7pPr marL="699722" algn="l" defTabSz="685145" rtl="0" eaLnBrk="1" fontAlgn="base" hangingPunct="1">
        <a:spcBef>
          <a:spcPct val="0"/>
        </a:spcBef>
        <a:spcAft>
          <a:spcPct val="0"/>
        </a:spcAft>
        <a:defRPr sz="1454" b="1">
          <a:solidFill>
            <a:schemeClr val="tx2"/>
          </a:solidFill>
          <a:latin typeface="Arial" charset="0"/>
        </a:defRPr>
      </a:lvl7pPr>
      <a:lvl8pPr marL="1049582" algn="l" defTabSz="685145" rtl="0" eaLnBrk="1" fontAlgn="base" hangingPunct="1">
        <a:spcBef>
          <a:spcPct val="0"/>
        </a:spcBef>
        <a:spcAft>
          <a:spcPct val="0"/>
        </a:spcAft>
        <a:defRPr sz="1454" b="1">
          <a:solidFill>
            <a:schemeClr val="tx2"/>
          </a:solidFill>
          <a:latin typeface="Arial" charset="0"/>
        </a:defRPr>
      </a:lvl8pPr>
      <a:lvl9pPr marL="1399444" algn="l" defTabSz="685145" rtl="0" eaLnBrk="1" fontAlgn="base" hangingPunct="1">
        <a:spcBef>
          <a:spcPct val="0"/>
        </a:spcBef>
        <a:spcAft>
          <a:spcPct val="0"/>
        </a:spcAft>
        <a:defRPr sz="1454" b="1">
          <a:solidFill>
            <a:schemeClr val="tx2"/>
          </a:solidFill>
          <a:latin typeface="Arial" charset="0"/>
        </a:defRPr>
      </a:lvl9pPr>
    </p:titleStyle>
    <p:bodyStyle>
      <a:lvl1pPr marL="0" indent="0" algn="l" defTabSz="685145" rtl="0" eaLnBrk="1" fontAlgn="base" hangingPunct="1">
        <a:spcBef>
          <a:spcPct val="0"/>
        </a:spcBef>
        <a:spcAft>
          <a:spcPct val="0"/>
        </a:spcAft>
        <a:buClr>
          <a:schemeClr val="tx2"/>
        </a:buClr>
        <a:defRPr sz="1224">
          <a:solidFill>
            <a:schemeClr val="tx1"/>
          </a:solidFill>
          <a:latin typeface="+mn-lt"/>
          <a:ea typeface="+mn-ea"/>
          <a:cs typeface="+mn-cs"/>
        </a:defRPr>
      </a:lvl1pPr>
      <a:lvl2pPr marL="148205" indent="-146990" algn="l" defTabSz="685145" rtl="0" eaLnBrk="1" fontAlgn="base" hangingPunct="1">
        <a:spcBef>
          <a:spcPct val="0"/>
        </a:spcBef>
        <a:spcAft>
          <a:spcPct val="0"/>
        </a:spcAft>
        <a:buClr>
          <a:schemeClr val="tx2"/>
        </a:buClr>
        <a:buSzPct val="125000"/>
        <a:buFont typeface="Arial" charset="0"/>
        <a:buChar char="▪"/>
        <a:defRPr sz="1224">
          <a:solidFill>
            <a:schemeClr val="tx1"/>
          </a:solidFill>
          <a:latin typeface="+mn-lt"/>
        </a:defRPr>
      </a:lvl2pPr>
      <a:lvl3pPr marL="349861" indent="-200441" algn="l" defTabSz="685145" rtl="0" eaLnBrk="1" fontAlgn="base" hangingPunct="1">
        <a:spcBef>
          <a:spcPct val="0"/>
        </a:spcBef>
        <a:spcAft>
          <a:spcPct val="0"/>
        </a:spcAft>
        <a:buClr>
          <a:schemeClr val="tx2"/>
        </a:buClr>
        <a:buSzPct val="120000"/>
        <a:buFont typeface="Arial" charset="0"/>
        <a:buChar char="–"/>
        <a:defRPr sz="1224">
          <a:solidFill>
            <a:schemeClr val="tx1"/>
          </a:solidFill>
          <a:latin typeface="+mn-lt"/>
        </a:defRPr>
      </a:lvl3pPr>
      <a:lvl4pPr marL="470126" indent="-119050" algn="l" defTabSz="685145" rtl="0" eaLnBrk="1" fontAlgn="base" hangingPunct="1">
        <a:spcBef>
          <a:spcPct val="0"/>
        </a:spcBef>
        <a:spcAft>
          <a:spcPct val="0"/>
        </a:spcAft>
        <a:buClr>
          <a:schemeClr val="tx2"/>
        </a:buClr>
        <a:buSzPct val="120000"/>
        <a:buFont typeface="Arial" charset="0"/>
        <a:buChar char="▫"/>
        <a:defRPr sz="1224">
          <a:solidFill>
            <a:schemeClr val="tx1"/>
          </a:solidFill>
          <a:latin typeface="+mn-lt"/>
        </a:defRPr>
      </a:lvl4pPr>
      <a:lvl5pPr marL="573772" indent="-99614" algn="l" defTabSz="685145" rtl="0" eaLnBrk="1" fontAlgn="base" hangingPunct="1">
        <a:spcBef>
          <a:spcPct val="0"/>
        </a:spcBef>
        <a:spcAft>
          <a:spcPct val="0"/>
        </a:spcAft>
        <a:buClr>
          <a:schemeClr val="tx2"/>
        </a:buClr>
        <a:buSzPct val="89000"/>
        <a:buFont typeface="Arial" charset="0"/>
        <a:buChar char="-"/>
        <a:defRPr sz="1224">
          <a:solidFill>
            <a:schemeClr val="tx1"/>
          </a:solidFill>
          <a:latin typeface="+mn-lt"/>
        </a:defRPr>
      </a:lvl5pPr>
      <a:lvl6pPr marL="573772" indent="-99614" algn="l" defTabSz="685145" rtl="0" eaLnBrk="1" fontAlgn="base" hangingPunct="1">
        <a:spcBef>
          <a:spcPct val="0"/>
        </a:spcBef>
        <a:spcAft>
          <a:spcPct val="0"/>
        </a:spcAft>
        <a:buClr>
          <a:schemeClr val="tx2"/>
        </a:buClr>
        <a:buSzPct val="89000"/>
        <a:buFont typeface="Arial" charset="0"/>
        <a:buChar char="-"/>
        <a:defRPr sz="1224">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sz="1224">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sz="1224">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sz="1224">
          <a:solidFill>
            <a:schemeClr val="tx1"/>
          </a:solidFill>
          <a:latin typeface="+mn-lt"/>
        </a:defRPr>
      </a:lvl9pPr>
    </p:bodyStyle>
    <p:otherStyle>
      <a:defPPr>
        <a:defRPr lang="en-US"/>
      </a:defPPr>
      <a:lvl1pPr marL="0" algn="l" defTabSz="699722" rtl="0" eaLnBrk="1" latinLnBrk="0" hangingPunct="1">
        <a:defRPr sz="1378" kern="1200">
          <a:solidFill>
            <a:schemeClr val="tx1"/>
          </a:solidFill>
          <a:latin typeface="+mn-lt"/>
          <a:ea typeface="+mn-ea"/>
          <a:cs typeface="+mn-cs"/>
        </a:defRPr>
      </a:lvl1pPr>
      <a:lvl2pPr marL="349861" algn="l" defTabSz="699722" rtl="0" eaLnBrk="1" latinLnBrk="0" hangingPunct="1">
        <a:defRPr sz="1378" kern="1200">
          <a:solidFill>
            <a:schemeClr val="tx1"/>
          </a:solidFill>
          <a:latin typeface="+mn-lt"/>
          <a:ea typeface="+mn-ea"/>
          <a:cs typeface="+mn-cs"/>
        </a:defRPr>
      </a:lvl2pPr>
      <a:lvl3pPr marL="699722" algn="l" defTabSz="699722" rtl="0" eaLnBrk="1" latinLnBrk="0" hangingPunct="1">
        <a:defRPr sz="1378" kern="1200">
          <a:solidFill>
            <a:schemeClr val="tx1"/>
          </a:solidFill>
          <a:latin typeface="+mn-lt"/>
          <a:ea typeface="+mn-ea"/>
          <a:cs typeface="+mn-cs"/>
        </a:defRPr>
      </a:lvl3pPr>
      <a:lvl4pPr marL="1049582" algn="l" defTabSz="699722" rtl="0" eaLnBrk="1" latinLnBrk="0" hangingPunct="1">
        <a:defRPr sz="1378" kern="1200">
          <a:solidFill>
            <a:schemeClr val="tx1"/>
          </a:solidFill>
          <a:latin typeface="+mn-lt"/>
          <a:ea typeface="+mn-ea"/>
          <a:cs typeface="+mn-cs"/>
        </a:defRPr>
      </a:lvl4pPr>
      <a:lvl5pPr marL="1399444" algn="l" defTabSz="699722" rtl="0" eaLnBrk="1" latinLnBrk="0" hangingPunct="1">
        <a:defRPr sz="1378" kern="1200">
          <a:solidFill>
            <a:schemeClr val="tx1"/>
          </a:solidFill>
          <a:latin typeface="+mn-lt"/>
          <a:ea typeface="+mn-ea"/>
          <a:cs typeface="+mn-cs"/>
        </a:defRPr>
      </a:lvl5pPr>
      <a:lvl6pPr marL="1749305" algn="l" defTabSz="699722" rtl="0" eaLnBrk="1" latinLnBrk="0" hangingPunct="1">
        <a:defRPr sz="1378" kern="1200">
          <a:solidFill>
            <a:schemeClr val="tx1"/>
          </a:solidFill>
          <a:latin typeface="+mn-lt"/>
          <a:ea typeface="+mn-ea"/>
          <a:cs typeface="+mn-cs"/>
        </a:defRPr>
      </a:lvl6pPr>
      <a:lvl7pPr marL="2099165" algn="l" defTabSz="699722" rtl="0" eaLnBrk="1" latinLnBrk="0" hangingPunct="1">
        <a:defRPr sz="1378" kern="1200">
          <a:solidFill>
            <a:schemeClr val="tx1"/>
          </a:solidFill>
          <a:latin typeface="+mn-lt"/>
          <a:ea typeface="+mn-ea"/>
          <a:cs typeface="+mn-cs"/>
        </a:defRPr>
      </a:lvl7pPr>
      <a:lvl8pPr marL="2449026" algn="l" defTabSz="699722" rtl="0" eaLnBrk="1" latinLnBrk="0" hangingPunct="1">
        <a:defRPr sz="1378" kern="1200">
          <a:solidFill>
            <a:schemeClr val="tx1"/>
          </a:solidFill>
          <a:latin typeface="+mn-lt"/>
          <a:ea typeface="+mn-ea"/>
          <a:cs typeface="+mn-cs"/>
        </a:defRPr>
      </a:lvl8pPr>
      <a:lvl9pPr marL="2798887" algn="l" defTabSz="699722" rtl="0" eaLnBrk="1" latinLnBrk="0" hangingPunct="1">
        <a:defRPr sz="1378"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9AD902B8-55C1-4278-A86B-6A98FA31314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O"/>
          </a:p>
        </p:txBody>
      </p:sp>
      <p:sp>
        <p:nvSpPr>
          <p:cNvPr id="3" name="Marcador de texto 2">
            <a:extLst>
              <a:ext uri="{FF2B5EF4-FFF2-40B4-BE49-F238E27FC236}">
                <a16:creationId xmlns:a16="http://schemas.microsoft.com/office/drawing/2014/main" id="{214CE6F3-988A-44E4-A56D-6989F4B3C1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a:extLst>
              <a:ext uri="{FF2B5EF4-FFF2-40B4-BE49-F238E27FC236}">
                <a16:creationId xmlns:a16="http://schemas.microsoft.com/office/drawing/2014/main" id="{C0957870-A081-4459-8A6F-CA8B2BC221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85393CC-A1E3-46BF-8B50-8C9CD2C8FA82}" type="datetimeFigureOut">
              <a:rPr lang="es-CO" smtClean="0"/>
              <a:t>7/02/2021</a:t>
            </a:fld>
            <a:endParaRPr lang="es-CO"/>
          </a:p>
        </p:txBody>
      </p:sp>
      <p:sp>
        <p:nvSpPr>
          <p:cNvPr id="5" name="Marcador de pie de página 4">
            <a:extLst>
              <a:ext uri="{FF2B5EF4-FFF2-40B4-BE49-F238E27FC236}">
                <a16:creationId xmlns:a16="http://schemas.microsoft.com/office/drawing/2014/main" id="{319CA791-CCEA-434F-BC61-123A4C7C6E9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O"/>
          </a:p>
        </p:txBody>
      </p:sp>
      <p:sp>
        <p:nvSpPr>
          <p:cNvPr id="6" name="Marcador de número de diapositiva 5">
            <a:extLst>
              <a:ext uri="{FF2B5EF4-FFF2-40B4-BE49-F238E27FC236}">
                <a16:creationId xmlns:a16="http://schemas.microsoft.com/office/drawing/2014/main" id="{72168022-F52F-4571-A9E6-6C7D67EA70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166FB0D-522B-4FA9-BA1F-502792A6F2F4}" type="slidenum">
              <a:rPr lang="es-CO" smtClean="0"/>
              <a:t>‹Nº›</a:t>
            </a:fld>
            <a:endParaRPr lang="es-CO"/>
          </a:p>
        </p:txBody>
      </p:sp>
    </p:spTree>
    <p:extLst>
      <p:ext uri="{BB962C8B-B14F-4D97-AF65-F5344CB8AC3E}">
        <p14:creationId xmlns:p14="http://schemas.microsoft.com/office/powerpoint/2010/main" val="256674193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1"/>
          <a:ext cx="215979" cy="161974"/>
        </p:xfrm>
        <a:graphic>
          <a:graphicData uri="http://schemas.openxmlformats.org/presentationml/2006/ole">
            <mc:AlternateContent xmlns:mc="http://schemas.openxmlformats.org/markup-compatibility/2006">
              <mc:Choice xmlns:v="urn:schemas-microsoft-com:vml" Requires="v">
                <p:oleObj name="Diapositiva de think-cell" r:id="rId23" imgW="270" imgH="270" progId="TCLayout.ActiveDocument.1">
                  <p:embed/>
                </p:oleObj>
              </mc:Choice>
              <mc:Fallback>
                <p:oleObj name="Diapositiva de think-cell" r:id="rId23" imgW="270" imgH="270" progId="TCLayout.ActiveDocument.1">
                  <p:embed/>
                  <p:pic>
                    <p:nvPicPr>
                      <p:cNvPr id="2" name="Object 1" hidden="1"/>
                      <p:cNvPicPr/>
                      <p:nvPr/>
                    </p:nvPicPr>
                    <p:blipFill>
                      <a:blip r:embed="rId24"/>
                      <a:stretch>
                        <a:fillRect/>
                      </a:stretch>
                    </p:blipFill>
                    <p:spPr>
                      <a:xfrm>
                        <a:off x="0" y="1"/>
                        <a:ext cx="215979"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1"/>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s-ES" sz="1705"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658002" y="51835"/>
            <a:ext cx="1231563" cy="73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54342"/>
            <a:endParaRPr lang="es-ES" sz="480"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1366803" y="1990181"/>
            <a:ext cx="1460336" cy="73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480" baseline="0" noProof="0">
                <a:solidFill>
                  <a:schemeClr val="accent6"/>
                </a:solidFill>
                <a:latin typeface="+mn-lt"/>
                <a:ea typeface="+mn-ea"/>
              </a:rPr>
              <a:t>Last Modified 8/27/2019 06:39 Central Standard Time</a:t>
            </a:r>
            <a:endParaRPr lang="es-ES" sz="480"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1999187" y="4208162"/>
            <a:ext cx="195566" cy="73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s-ES" sz="480" baseline="0" noProof="0" dirty="0">
                <a:solidFill>
                  <a:schemeClr val="accent6"/>
                </a:solidFill>
                <a:latin typeface="+mn-lt"/>
                <a:ea typeface="+mn-ea"/>
              </a:rPr>
              <a:t>Printed</a:t>
            </a:r>
          </a:p>
        </p:txBody>
      </p:sp>
      <p:sp>
        <p:nvSpPr>
          <p:cNvPr id="19" name="Title Placeholder 2"/>
          <p:cNvSpPr>
            <a:spLocks noGrp="1" noChangeArrowheads="1"/>
          </p:cNvSpPr>
          <p:nvPr>
            <p:ph type="title"/>
          </p:nvPr>
        </p:nvSpPr>
        <p:spPr bwMode="gray">
          <a:xfrm>
            <a:off x="161988" y="234866"/>
            <a:ext cx="11725484" cy="2460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s-ES" noProof="0" dirty="0"/>
          </a:p>
        </p:txBody>
      </p:sp>
      <p:sp>
        <p:nvSpPr>
          <p:cNvPr id="10" name="1. On-page tracker" hidden="1"/>
          <p:cNvSpPr>
            <a:spLocks noChangeArrowheads="1"/>
          </p:cNvSpPr>
          <p:nvPr/>
        </p:nvSpPr>
        <p:spPr bwMode="gray">
          <a:xfrm>
            <a:off x="161988" y="77303"/>
            <a:ext cx="490519" cy="122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s-ES" sz="799" cap="all" baseline="0" noProof="0" dirty="0">
                <a:solidFill>
                  <a:schemeClr val="accent2"/>
                </a:solidFill>
                <a:latin typeface="+mn-lt"/>
                <a:ea typeface="+mn-ea"/>
              </a:rPr>
              <a:t>Tracker</a:t>
            </a:r>
          </a:p>
        </p:txBody>
      </p:sp>
      <p:sp>
        <p:nvSpPr>
          <p:cNvPr id="11" name="3. Unit of measure" hidden="1"/>
          <p:cNvSpPr txBox="1">
            <a:spLocks noChangeArrowheads="1"/>
          </p:cNvSpPr>
          <p:nvPr/>
        </p:nvSpPr>
        <p:spPr bwMode="gray">
          <a:xfrm>
            <a:off x="161988" y="566137"/>
            <a:ext cx="11725484" cy="1968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s-ES" sz="1279" baseline="0" noProof="0" dirty="0">
                <a:solidFill>
                  <a:schemeClr val="accent2"/>
                </a:solidFill>
                <a:latin typeface="+mn-lt"/>
                <a:ea typeface="+mn-ea"/>
              </a:rPr>
              <a:t>NOMBRE DEL CLIENTE</a:t>
            </a:r>
          </a:p>
        </p:txBody>
      </p:sp>
      <p:sp>
        <p:nvSpPr>
          <p:cNvPr id="13" name="4. Footnote" hidden="1"/>
          <p:cNvSpPr txBox="1">
            <a:spLocks noChangeArrowheads="1"/>
          </p:cNvSpPr>
          <p:nvPr/>
        </p:nvSpPr>
        <p:spPr bwMode="gray">
          <a:xfrm>
            <a:off x="161988" y="6461882"/>
            <a:ext cx="9830693" cy="98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68527" indent="-68527">
              <a:defRPr/>
            </a:pPr>
            <a:r>
              <a:rPr lang="es-ES" sz="640" baseline="0" noProof="0" dirty="0">
                <a:solidFill>
                  <a:schemeClr val="accent6"/>
                </a:solidFill>
                <a:latin typeface="+mn-lt"/>
                <a:ea typeface="+mn-ea"/>
              </a:rPr>
              <a:t>1 Nota al pie</a:t>
            </a:r>
          </a:p>
        </p:txBody>
      </p:sp>
      <p:sp>
        <p:nvSpPr>
          <p:cNvPr id="14" name="5. Source" hidden="1"/>
          <p:cNvSpPr>
            <a:spLocks noChangeArrowheads="1"/>
          </p:cNvSpPr>
          <p:nvPr/>
        </p:nvSpPr>
        <p:spPr bwMode="gray">
          <a:xfrm>
            <a:off x="161988" y="6667591"/>
            <a:ext cx="9830693" cy="984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94662" indent="-394662" defTabSz="954342">
              <a:tabLst/>
            </a:pPr>
            <a:r>
              <a:rPr lang="es-ES" sz="640" baseline="0" noProof="0" dirty="0">
                <a:solidFill>
                  <a:schemeClr val="accent6"/>
                </a:solidFill>
                <a:latin typeface="+mn-lt"/>
                <a:ea typeface="+mn-ea"/>
              </a:rPr>
              <a:t>FUENTE: Fuente</a:t>
            </a:r>
          </a:p>
        </p:txBody>
      </p:sp>
      <p:grpSp>
        <p:nvGrpSpPr>
          <p:cNvPr id="15" name="ACET" hidden="1"/>
          <p:cNvGrpSpPr>
            <a:grpSpLocks/>
          </p:cNvGrpSpPr>
          <p:nvPr/>
        </p:nvGrpSpPr>
        <p:grpSpPr bwMode="gray">
          <a:xfrm>
            <a:off x="1976207" y="1390209"/>
            <a:ext cx="5801188" cy="411416"/>
            <a:chOff x="915" y="776"/>
            <a:chExt cx="2686" cy="254"/>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76"/>
              <a:ext cx="2686" cy="25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s-ES" sz="1279" b="1" baseline="0" noProof="0" dirty="0">
                  <a:latin typeface="+mn-lt"/>
                  <a:ea typeface="+mn-ea"/>
                </a:rPr>
                <a:t>Título</a:t>
              </a:r>
            </a:p>
            <a:p>
              <a:r>
                <a:rPr lang="es-ES" sz="1279" baseline="0" noProof="0" dirty="0">
                  <a:solidFill>
                    <a:schemeClr val="accent6"/>
                  </a:solidFill>
                  <a:latin typeface="+mn-lt"/>
                  <a:ea typeface="+mn-ea"/>
                </a:rPr>
                <a:t>Unit of measure</a:t>
              </a:r>
            </a:p>
          </p:txBody>
        </p:sp>
      </p:grpSp>
      <p:grpSp>
        <p:nvGrpSpPr>
          <p:cNvPr id="17" name="Sticker" hidden="1"/>
          <p:cNvGrpSpPr/>
          <p:nvPr/>
        </p:nvGrpSpPr>
        <p:grpSpPr bwMode="gray">
          <a:xfrm>
            <a:off x="11505474" y="291553"/>
            <a:ext cx="381963" cy="126188"/>
            <a:chOff x="8460021" y="285750"/>
            <a:chExt cx="280754" cy="123677"/>
          </a:xfrm>
        </p:grpSpPr>
        <p:sp>
          <p:nvSpPr>
            <p:cNvPr id="20" name="StickerRectangle"/>
            <p:cNvSpPr>
              <a:spLocks noChangeArrowheads="1"/>
            </p:cNvSpPr>
            <p:nvPr/>
          </p:nvSpPr>
          <p:spPr bwMode="gray">
            <a:xfrm>
              <a:off x="8460021" y="285750"/>
              <a:ext cx="280754" cy="12367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54342">
                <a:buClr>
                  <a:schemeClr val="tx2"/>
                </a:buClr>
              </a:pPr>
              <a:r>
                <a:rPr lang="es-ES" sz="64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460021" y="285750"/>
              <a:ext cx="0" cy="12367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460021" y="409427"/>
              <a:ext cx="28075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p:nvGrpSpPr>
        <p:grpSpPr bwMode="gray">
          <a:xfrm>
            <a:off x="11108179" y="285077"/>
            <a:ext cx="672738" cy="1004242"/>
            <a:chOff x="7835905" y="279400"/>
            <a:chExt cx="659337" cy="984251"/>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279"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279"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279"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279" baseline="0" dirty="0">
                <a:latin typeface="+mn-lt"/>
                <a:ea typeface="+mn-ea"/>
              </a:endParaRPr>
            </a:p>
          </p:txBody>
        </p:sp>
        <p:sp>
          <p:nvSpPr>
            <p:cNvPr id="28" name="Legend1"/>
            <p:cNvSpPr>
              <a:spLocks noChangeArrowheads="1"/>
            </p:cNvSpPr>
            <p:nvPr/>
          </p:nvSpPr>
          <p:spPr bwMode="gray">
            <a:xfrm>
              <a:off x="8089905" y="279400"/>
              <a:ext cx="405336" cy="144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15721">
                <a:buClr>
                  <a:schemeClr val="tx2"/>
                </a:buClr>
              </a:pPr>
              <a:r>
                <a:rPr lang="es-ES" sz="959" baseline="0" dirty="0">
                  <a:latin typeface="+mn-lt"/>
                  <a:ea typeface="+mn-ea"/>
                </a:rPr>
                <a:t>Legend</a:t>
              </a:r>
            </a:p>
          </p:txBody>
        </p:sp>
        <p:sp>
          <p:nvSpPr>
            <p:cNvPr id="29" name="Legend2"/>
            <p:cNvSpPr>
              <a:spLocks noChangeArrowheads="1"/>
            </p:cNvSpPr>
            <p:nvPr/>
          </p:nvSpPr>
          <p:spPr bwMode="gray">
            <a:xfrm>
              <a:off x="8089905" y="549275"/>
              <a:ext cx="405337" cy="144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15721">
                <a:buClr>
                  <a:schemeClr val="tx2"/>
                </a:buClr>
              </a:pPr>
              <a:r>
                <a:rPr lang="es-ES" sz="959" baseline="0" dirty="0">
                  <a:latin typeface="+mn-lt"/>
                  <a:ea typeface="+mn-ea"/>
                </a:rPr>
                <a:t>Legend</a:t>
              </a:r>
            </a:p>
          </p:txBody>
        </p:sp>
        <p:sp>
          <p:nvSpPr>
            <p:cNvPr id="30" name="Legend3"/>
            <p:cNvSpPr>
              <a:spLocks noChangeArrowheads="1"/>
            </p:cNvSpPr>
            <p:nvPr/>
          </p:nvSpPr>
          <p:spPr bwMode="gray">
            <a:xfrm>
              <a:off x="8089905" y="820738"/>
              <a:ext cx="405337" cy="144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15721">
                <a:buClr>
                  <a:schemeClr val="tx2"/>
                </a:buClr>
              </a:pPr>
              <a:r>
                <a:rPr lang="es-ES" sz="959" baseline="0" dirty="0">
                  <a:latin typeface="+mn-lt"/>
                  <a:ea typeface="+mn-ea"/>
                </a:rPr>
                <a:t>Legend</a:t>
              </a:r>
            </a:p>
          </p:txBody>
        </p:sp>
        <p:sp>
          <p:nvSpPr>
            <p:cNvPr id="31" name="Legend4"/>
            <p:cNvSpPr>
              <a:spLocks noChangeArrowheads="1"/>
            </p:cNvSpPr>
            <p:nvPr/>
          </p:nvSpPr>
          <p:spPr bwMode="gray">
            <a:xfrm>
              <a:off x="8089905" y="1092201"/>
              <a:ext cx="405337" cy="144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15721">
                <a:buClr>
                  <a:schemeClr val="tx2"/>
                </a:buClr>
              </a:pPr>
              <a:r>
                <a:rPr lang="es-ES" sz="959" baseline="0" dirty="0">
                  <a:latin typeface="+mn-lt"/>
                  <a:ea typeface="+mn-ea"/>
                </a:rPr>
                <a:t>Legend</a:t>
              </a:r>
            </a:p>
          </p:txBody>
        </p:sp>
      </p:grpSp>
      <p:grpSp>
        <p:nvGrpSpPr>
          <p:cNvPr id="32" name="LegendLines" hidden="1"/>
          <p:cNvGrpSpPr/>
          <p:nvPr/>
        </p:nvGrpSpPr>
        <p:grpSpPr bwMode="gray">
          <a:xfrm>
            <a:off x="10794119" y="285076"/>
            <a:ext cx="986972" cy="704798"/>
            <a:chOff x="7540629" y="279400"/>
            <a:chExt cx="967311" cy="690768"/>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s-ES" sz="1279"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s-ES" sz="1279"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s-ES" sz="1279" baseline="0" dirty="0">
                <a:latin typeface="+mn-lt"/>
                <a:ea typeface="+mn-ea"/>
              </a:endParaRPr>
            </a:p>
          </p:txBody>
        </p:sp>
        <p:sp>
          <p:nvSpPr>
            <p:cNvPr id="36" name="Legend1"/>
            <p:cNvSpPr>
              <a:spLocks noChangeArrowheads="1"/>
            </p:cNvSpPr>
            <p:nvPr/>
          </p:nvSpPr>
          <p:spPr bwMode="gray">
            <a:xfrm>
              <a:off x="8102604" y="279400"/>
              <a:ext cx="405336" cy="144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15721">
                <a:buClr>
                  <a:schemeClr val="tx2"/>
                </a:buClr>
              </a:pPr>
              <a:r>
                <a:rPr lang="es-ES" sz="959" baseline="0" dirty="0">
                  <a:latin typeface="+mn-lt"/>
                  <a:ea typeface="+mn-ea"/>
                </a:rPr>
                <a:t>Legend</a:t>
              </a:r>
            </a:p>
          </p:txBody>
        </p:sp>
        <p:sp>
          <p:nvSpPr>
            <p:cNvPr id="37" name="Legend2"/>
            <p:cNvSpPr>
              <a:spLocks noChangeArrowheads="1"/>
            </p:cNvSpPr>
            <p:nvPr/>
          </p:nvSpPr>
          <p:spPr bwMode="gray">
            <a:xfrm>
              <a:off x="8102604" y="546100"/>
              <a:ext cx="405336" cy="144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15721">
                <a:buClr>
                  <a:schemeClr val="tx2"/>
                </a:buClr>
              </a:pPr>
              <a:r>
                <a:rPr lang="es-ES" sz="959" baseline="0" dirty="0">
                  <a:latin typeface="+mn-lt"/>
                  <a:ea typeface="+mn-ea"/>
                </a:rPr>
                <a:t>Legend</a:t>
              </a:r>
            </a:p>
          </p:txBody>
        </p:sp>
        <p:sp>
          <p:nvSpPr>
            <p:cNvPr id="38" name="Legend3"/>
            <p:cNvSpPr>
              <a:spLocks noChangeArrowheads="1"/>
            </p:cNvSpPr>
            <p:nvPr/>
          </p:nvSpPr>
          <p:spPr bwMode="gray">
            <a:xfrm>
              <a:off x="8102604" y="825501"/>
              <a:ext cx="405336" cy="144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15721">
                <a:buClr>
                  <a:schemeClr val="tx2"/>
                </a:buClr>
              </a:pPr>
              <a:r>
                <a:rPr lang="es-ES" sz="959" baseline="0" dirty="0">
                  <a:latin typeface="+mn-lt"/>
                  <a:ea typeface="+mn-ea"/>
                </a:rPr>
                <a:t>Legend</a:t>
              </a:r>
            </a:p>
          </p:txBody>
        </p:sp>
      </p:grpSp>
      <p:grpSp>
        <p:nvGrpSpPr>
          <p:cNvPr id="39" name="LegendMoons" hidden="1"/>
          <p:cNvGrpSpPr/>
          <p:nvPr/>
        </p:nvGrpSpPr>
        <p:grpSpPr bwMode="gray">
          <a:xfrm>
            <a:off x="11040149" y="255920"/>
            <a:ext cx="740768" cy="1333053"/>
            <a:chOff x="7769225" y="250825"/>
            <a:chExt cx="726012" cy="1306516"/>
          </a:xfrm>
        </p:grpSpPr>
        <p:grpSp>
          <p:nvGrpSpPr>
            <p:cNvPr id="40" name="MoonLegend1"/>
            <p:cNvGrpSpPr>
              <a:grpSpLocks noChangeAspect="1"/>
            </p:cNvGrpSpPr>
            <p:nvPr>
              <p:custDataLst>
                <p:tags r:id="rId8"/>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279" baseline="0" dirty="0">
                  <a:latin typeface="+mn-lt"/>
                  <a:ea typeface="+mn-ea"/>
                </a:endParaRPr>
              </a:p>
            </p:txBody>
          </p:sp>
          <p:sp>
            <p:nvSpPr>
              <p:cNvPr id="59"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279" baseline="0" dirty="0">
                  <a:latin typeface="+mn-lt"/>
                  <a:ea typeface="+mn-ea"/>
                </a:endParaRPr>
              </a:p>
            </p:txBody>
          </p:sp>
        </p:grpSp>
        <p:grpSp>
          <p:nvGrpSpPr>
            <p:cNvPr id="41" name="MoonLegend2"/>
            <p:cNvGrpSpPr>
              <a:grpSpLocks noChangeAspect="1"/>
            </p:cNvGrpSpPr>
            <p:nvPr>
              <p:custDataLst>
                <p:tags r:id="rId9"/>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279" baseline="0" dirty="0">
                  <a:latin typeface="+mn-lt"/>
                  <a:ea typeface="+mn-ea"/>
                </a:endParaRPr>
              </a:p>
            </p:txBody>
          </p:sp>
          <p:sp>
            <p:nvSpPr>
              <p:cNvPr id="57" name="Arc 42"/>
              <p:cNvSpPr>
                <a:spLocks noChangeAspect="1"/>
              </p:cNvSpPr>
              <p:nvPr>
                <p:custDataLst>
                  <p:tags r:id="rId20"/>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279" baseline="0" dirty="0">
                  <a:latin typeface="+mn-lt"/>
                  <a:ea typeface="+mn-ea"/>
                </a:endParaRPr>
              </a:p>
            </p:txBody>
          </p:sp>
        </p:grpSp>
        <p:grpSp>
          <p:nvGrpSpPr>
            <p:cNvPr id="42"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279" baseline="0" dirty="0">
                  <a:latin typeface="+mn-lt"/>
                  <a:ea typeface="+mn-ea"/>
                </a:endParaRPr>
              </a:p>
            </p:txBody>
          </p:sp>
          <p:sp>
            <p:nvSpPr>
              <p:cNvPr id="55"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279" baseline="0" dirty="0">
                  <a:latin typeface="+mn-lt"/>
                  <a:ea typeface="+mn-ea"/>
                </a:endParaRPr>
              </a:p>
            </p:txBody>
          </p:sp>
        </p:grpSp>
        <p:grpSp>
          <p:nvGrpSpPr>
            <p:cNvPr id="43"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279" baseline="0" dirty="0">
                  <a:latin typeface="+mn-lt"/>
                  <a:ea typeface="+mn-ea"/>
                </a:endParaRPr>
              </a:p>
            </p:txBody>
          </p:sp>
          <p:sp>
            <p:nvSpPr>
              <p:cNvPr id="53"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279" baseline="0" dirty="0">
                  <a:latin typeface="+mn-lt"/>
                  <a:ea typeface="+mn-ea"/>
                </a:endParaRPr>
              </a:p>
            </p:txBody>
          </p:sp>
        </p:grpSp>
        <p:grpSp>
          <p:nvGrpSpPr>
            <p:cNvPr id="44" name="MoonLegend3"/>
            <p:cNvGrpSpPr>
              <a:grpSpLocks noChangeAspect="1"/>
            </p:cNvGrpSpPr>
            <p:nvPr>
              <p:custDataLst>
                <p:tags r:id="rId12"/>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279" baseline="0" dirty="0">
                  <a:latin typeface="+mn-lt"/>
                  <a:ea typeface="+mn-ea"/>
                </a:endParaRPr>
              </a:p>
            </p:txBody>
          </p:sp>
          <p:sp>
            <p:nvSpPr>
              <p:cNvPr id="51"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279" baseline="0" dirty="0">
                  <a:latin typeface="+mn-lt"/>
                  <a:ea typeface="+mn-ea"/>
                </a:endParaRPr>
              </a:p>
            </p:txBody>
          </p:sp>
        </p:grpSp>
        <p:sp>
          <p:nvSpPr>
            <p:cNvPr id="45" name="Legend1"/>
            <p:cNvSpPr>
              <a:spLocks noChangeArrowheads="1"/>
            </p:cNvSpPr>
            <p:nvPr/>
          </p:nvSpPr>
          <p:spPr bwMode="gray">
            <a:xfrm>
              <a:off x="8089900" y="263525"/>
              <a:ext cx="405336" cy="14466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15721">
                <a:buClr>
                  <a:schemeClr val="tx2"/>
                </a:buClr>
              </a:pPr>
              <a:r>
                <a:rPr lang="es-ES" sz="959" baseline="0" dirty="0">
                  <a:latin typeface="+mn-lt"/>
                  <a:ea typeface="+mn-ea"/>
                </a:rPr>
                <a:t>Legend</a:t>
              </a:r>
            </a:p>
          </p:txBody>
        </p:sp>
        <p:sp>
          <p:nvSpPr>
            <p:cNvPr id="46" name="Legend2"/>
            <p:cNvSpPr>
              <a:spLocks noChangeArrowheads="1"/>
            </p:cNvSpPr>
            <p:nvPr/>
          </p:nvSpPr>
          <p:spPr bwMode="gray">
            <a:xfrm>
              <a:off x="8089900" y="538163"/>
              <a:ext cx="405337" cy="14466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15721">
                <a:buClr>
                  <a:schemeClr val="tx2"/>
                </a:buClr>
              </a:pPr>
              <a:r>
                <a:rPr lang="es-ES" sz="959" baseline="0" dirty="0">
                  <a:latin typeface="+mn-lt"/>
                  <a:ea typeface="+mn-ea"/>
                </a:rPr>
                <a:t>Legend</a:t>
              </a:r>
            </a:p>
          </p:txBody>
        </p:sp>
        <p:sp>
          <p:nvSpPr>
            <p:cNvPr id="47" name="Legend3"/>
            <p:cNvSpPr>
              <a:spLocks noChangeArrowheads="1"/>
            </p:cNvSpPr>
            <p:nvPr/>
          </p:nvSpPr>
          <p:spPr bwMode="gray">
            <a:xfrm>
              <a:off x="8089900" y="812802"/>
              <a:ext cx="405337" cy="14466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15721">
                <a:buClr>
                  <a:schemeClr val="tx2"/>
                </a:buClr>
              </a:pPr>
              <a:r>
                <a:rPr lang="es-ES" sz="959" baseline="0" dirty="0">
                  <a:latin typeface="+mn-lt"/>
                  <a:ea typeface="+mn-ea"/>
                </a:rPr>
                <a:t>Legend</a:t>
              </a:r>
            </a:p>
          </p:txBody>
        </p:sp>
        <p:sp>
          <p:nvSpPr>
            <p:cNvPr id="48" name="Legend4"/>
            <p:cNvSpPr>
              <a:spLocks noChangeArrowheads="1"/>
            </p:cNvSpPr>
            <p:nvPr/>
          </p:nvSpPr>
          <p:spPr bwMode="gray">
            <a:xfrm>
              <a:off x="8089900" y="1084265"/>
              <a:ext cx="405337" cy="14466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15721">
                <a:buClr>
                  <a:schemeClr val="tx2"/>
                </a:buClr>
              </a:pPr>
              <a:r>
                <a:rPr lang="es-ES" sz="959" baseline="0" dirty="0">
                  <a:latin typeface="+mn-lt"/>
                  <a:ea typeface="+mn-ea"/>
                </a:rPr>
                <a:t>Legend</a:t>
              </a:r>
            </a:p>
          </p:txBody>
        </p:sp>
        <p:sp>
          <p:nvSpPr>
            <p:cNvPr id="49" name="Legend5"/>
            <p:cNvSpPr>
              <a:spLocks noChangeArrowheads="1"/>
            </p:cNvSpPr>
            <p:nvPr/>
          </p:nvSpPr>
          <p:spPr bwMode="gray">
            <a:xfrm>
              <a:off x="8089900" y="1360490"/>
              <a:ext cx="405337" cy="14466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715721">
                <a:buClr>
                  <a:schemeClr val="tx2"/>
                </a:buClr>
              </a:pPr>
              <a:r>
                <a:rPr lang="es-ES" sz="959" baseline="0" dirty="0">
                  <a:latin typeface="+mn-lt"/>
                  <a:ea typeface="+mn-ea"/>
                </a:rPr>
                <a:t>Legend</a:t>
              </a:r>
            </a:p>
          </p:txBody>
        </p:sp>
      </p:grpSp>
      <p:sp>
        <p:nvSpPr>
          <p:cNvPr id="60" name="SlideBottomBar" hidden="1"/>
          <p:cNvSpPr/>
          <p:nvPr/>
        </p:nvSpPr>
        <p:spPr>
          <a:xfrm>
            <a:off x="12003220" y="6639739"/>
            <a:ext cx="46648" cy="12633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279" baseline="0" dirty="0">
              <a:solidFill>
                <a:schemeClr val="tx1"/>
              </a:solidFill>
              <a:latin typeface="+mn-lt"/>
              <a:ea typeface="+mn-ea"/>
            </a:endParaRPr>
          </a:p>
        </p:txBody>
      </p:sp>
      <p:sp>
        <p:nvSpPr>
          <p:cNvPr id="61" name="Text Placeholder 2"/>
          <p:cNvSpPr>
            <a:spLocks noGrp="1"/>
          </p:cNvSpPr>
          <p:nvPr>
            <p:ph type="body" idx="1"/>
          </p:nvPr>
        </p:nvSpPr>
        <p:spPr bwMode="gray">
          <a:xfrm>
            <a:off x="1482093" y="1991017"/>
            <a:ext cx="4389573" cy="1346156"/>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s-ES" dirty="0"/>
          </a:p>
        </p:txBody>
      </p:sp>
    </p:spTree>
    <p:extLst>
      <p:ext uri="{BB962C8B-B14F-4D97-AF65-F5344CB8AC3E}">
        <p14:creationId xmlns:p14="http://schemas.microsoft.com/office/powerpoint/2010/main" val="3778172785"/>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Lst>
  <p:hf hdr="0" ftr="0" dt="0"/>
  <p:txStyles>
    <p:titleStyle>
      <a:lvl1pPr algn="l" defTabSz="954342" rtl="0" eaLnBrk="1" fontAlgn="base" hangingPunct="1">
        <a:spcBef>
          <a:spcPct val="0"/>
        </a:spcBef>
        <a:spcAft>
          <a:spcPct val="0"/>
        </a:spcAft>
        <a:tabLst>
          <a:tab pos="287656" algn="l"/>
        </a:tabLst>
        <a:defRPr sz="1599" b="0" baseline="0">
          <a:solidFill>
            <a:schemeClr val="tx2"/>
          </a:solidFill>
          <a:latin typeface="+mj-lt"/>
          <a:ea typeface="+mj-ea"/>
          <a:cs typeface="+mj-cs"/>
        </a:defRPr>
      </a:lvl1pPr>
      <a:lvl2pPr algn="l" defTabSz="954342" rtl="0" eaLnBrk="1" fontAlgn="base" hangingPunct="1">
        <a:spcBef>
          <a:spcPct val="0"/>
        </a:spcBef>
        <a:spcAft>
          <a:spcPct val="0"/>
        </a:spcAft>
        <a:defRPr sz="2025" b="1">
          <a:solidFill>
            <a:schemeClr val="tx2"/>
          </a:solidFill>
          <a:latin typeface="Arial" charset="0"/>
        </a:defRPr>
      </a:lvl2pPr>
      <a:lvl3pPr algn="l" defTabSz="954342" rtl="0" eaLnBrk="1" fontAlgn="base" hangingPunct="1">
        <a:spcBef>
          <a:spcPct val="0"/>
        </a:spcBef>
        <a:spcAft>
          <a:spcPct val="0"/>
        </a:spcAft>
        <a:defRPr sz="2025" b="1">
          <a:solidFill>
            <a:schemeClr val="tx2"/>
          </a:solidFill>
          <a:latin typeface="Arial" charset="0"/>
        </a:defRPr>
      </a:lvl3pPr>
      <a:lvl4pPr algn="l" defTabSz="954342" rtl="0" eaLnBrk="1" fontAlgn="base" hangingPunct="1">
        <a:spcBef>
          <a:spcPct val="0"/>
        </a:spcBef>
        <a:spcAft>
          <a:spcPct val="0"/>
        </a:spcAft>
        <a:defRPr sz="2025" b="1">
          <a:solidFill>
            <a:schemeClr val="tx2"/>
          </a:solidFill>
          <a:latin typeface="Arial" charset="0"/>
        </a:defRPr>
      </a:lvl4pPr>
      <a:lvl5pPr algn="l" defTabSz="954342" rtl="0" eaLnBrk="1" fontAlgn="base" hangingPunct="1">
        <a:spcBef>
          <a:spcPct val="0"/>
        </a:spcBef>
        <a:spcAft>
          <a:spcPct val="0"/>
        </a:spcAft>
        <a:defRPr sz="2025" b="1">
          <a:solidFill>
            <a:schemeClr val="tx2"/>
          </a:solidFill>
          <a:latin typeface="Arial" charset="0"/>
        </a:defRPr>
      </a:lvl5pPr>
      <a:lvl6pPr marL="487323" algn="l" defTabSz="954342" rtl="0" eaLnBrk="1" fontAlgn="base" hangingPunct="1">
        <a:spcBef>
          <a:spcPct val="0"/>
        </a:spcBef>
        <a:spcAft>
          <a:spcPct val="0"/>
        </a:spcAft>
        <a:defRPr sz="2025" b="1">
          <a:solidFill>
            <a:schemeClr val="tx2"/>
          </a:solidFill>
          <a:latin typeface="Arial" charset="0"/>
        </a:defRPr>
      </a:lvl6pPr>
      <a:lvl7pPr marL="974648" algn="l" defTabSz="954342" rtl="0" eaLnBrk="1" fontAlgn="base" hangingPunct="1">
        <a:spcBef>
          <a:spcPct val="0"/>
        </a:spcBef>
        <a:spcAft>
          <a:spcPct val="0"/>
        </a:spcAft>
        <a:defRPr sz="2025" b="1">
          <a:solidFill>
            <a:schemeClr val="tx2"/>
          </a:solidFill>
          <a:latin typeface="Arial" charset="0"/>
        </a:defRPr>
      </a:lvl7pPr>
      <a:lvl8pPr marL="1461971" algn="l" defTabSz="954342" rtl="0" eaLnBrk="1" fontAlgn="base" hangingPunct="1">
        <a:spcBef>
          <a:spcPct val="0"/>
        </a:spcBef>
        <a:spcAft>
          <a:spcPct val="0"/>
        </a:spcAft>
        <a:defRPr sz="2025" b="1">
          <a:solidFill>
            <a:schemeClr val="tx2"/>
          </a:solidFill>
          <a:latin typeface="Arial" charset="0"/>
        </a:defRPr>
      </a:lvl8pPr>
      <a:lvl9pPr marL="1949296" algn="l" defTabSz="954342" rtl="0" eaLnBrk="1" fontAlgn="base" hangingPunct="1">
        <a:spcBef>
          <a:spcPct val="0"/>
        </a:spcBef>
        <a:spcAft>
          <a:spcPct val="0"/>
        </a:spcAft>
        <a:defRPr sz="2025" b="1">
          <a:solidFill>
            <a:schemeClr val="tx2"/>
          </a:solidFill>
          <a:latin typeface="Arial" charset="0"/>
        </a:defRPr>
      </a:lvl9pPr>
    </p:titleStyle>
    <p:bodyStyle>
      <a:lvl1pPr marL="0" indent="0" algn="l" defTabSz="715721" rtl="0" eaLnBrk="1" fontAlgn="base" latinLnBrk="0" hangingPunct="1">
        <a:spcBef>
          <a:spcPct val="0"/>
        </a:spcBef>
        <a:spcAft>
          <a:spcPct val="0"/>
        </a:spcAft>
        <a:buClr>
          <a:schemeClr val="tx2"/>
        </a:buClr>
        <a:buSzPct val="100000"/>
        <a:defRPr lang="es-ES" sz="1279" baseline="0" dirty="0">
          <a:solidFill>
            <a:schemeClr val="tx1"/>
          </a:solidFill>
          <a:latin typeface="+mn-lt"/>
          <a:ea typeface="+mn-ea"/>
          <a:cs typeface="+mn-cs"/>
        </a:defRPr>
      </a:lvl1pPr>
      <a:lvl2pPr marL="155398" indent="-152521" algn="l" defTabSz="715721" rtl="0" eaLnBrk="1" fontAlgn="base" latinLnBrk="0" hangingPunct="1">
        <a:spcBef>
          <a:spcPct val="0"/>
        </a:spcBef>
        <a:spcAft>
          <a:spcPct val="0"/>
        </a:spcAft>
        <a:buClr>
          <a:schemeClr val="tx2"/>
        </a:buClr>
        <a:buSzPct val="125000"/>
        <a:buFont typeface="Arial" charset="0"/>
        <a:buChar char="▪"/>
        <a:defRPr lang="es-ES" sz="1279" baseline="0" dirty="0">
          <a:solidFill>
            <a:schemeClr val="tx1"/>
          </a:solidFill>
          <a:latin typeface="+mn-lt"/>
          <a:ea typeface="+mn-ea"/>
          <a:cs typeface="+mn-cs"/>
        </a:defRPr>
      </a:lvl2pPr>
      <a:lvl3pPr marL="356841" indent="-198565" algn="l" defTabSz="715721" rtl="0" eaLnBrk="1" fontAlgn="base" latinLnBrk="0" hangingPunct="1">
        <a:spcBef>
          <a:spcPct val="0"/>
        </a:spcBef>
        <a:spcAft>
          <a:spcPct val="0"/>
        </a:spcAft>
        <a:buClr>
          <a:schemeClr val="tx2"/>
        </a:buClr>
        <a:buSzPct val="120000"/>
        <a:buFont typeface="Arial" charset="0"/>
        <a:buChar char="–"/>
        <a:defRPr lang="es-ES" sz="1279" baseline="0" dirty="0">
          <a:solidFill>
            <a:schemeClr val="tx1"/>
          </a:solidFill>
          <a:latin typeface="+mn-lt"/>
          <a:ea typeface="+mn-ea"/>
          <a:cs typeface="+mn-cs"/>
        </a:defRPr>
      </a:lvl3pPr>
      <a:lvl4pPr marL="492096" indent="-123744" algn="l" defTabSz="715721" rtl="0" eaLnBrk="1" fontAlgn="base" latinLnBrk="0" hangingPunct="1">
        <a:spcBef>
          <a:spcPct val="0"/>
        </a:spcBef>
        <a:spcAft>
          <a:spcPct val="0"/>
        </a:spcAft>
        <a:buClr>
          <a:schemeClr val="tx2"/>
        </a:buClr>
        <a:buSzPct val="120000"/>
        <a:buFont typeface="Arial" charset="0"/>
        <a:buChar char="▫"/>
        <a:defRPr lang="es-ES" sz="1279" baseline="0" dirty="0">
          <a:solidFill>
            <a:schemeClr val="tx1"/>
          </a:solidFill>
          <a:latin typeface="+mn-lt"/>
          <a:ea typeface="+mn-ea"/>
          <a:cs typeface="+mn-cs"/>
        </a:defRPr>
      </a:lvl4pPr>
      <a:lvl5pPr marL="598573" indent="-103599" algn="l" defTabSz="715721" rtl="0" eaLnBrk="1" fontAlgn="base" latinLnBrk="0" hangingPunct="1">
        <a:spcBef>
          <a:spcPct val="0"/>
        </a:spcBef>
        <a:spcAft>
          <a:spcPct val="0"/>
        </a:spcAft>
        <a:buClr>
          <a:schemeClr val="tx2"/>
        </a:buClr>
        <a:buSzPct val="89000"/>
        <a:buFont typeface="Arial" charset="0"/>
        <a:buChar char="-"/>
        <a:defRPr lang="es-ES" sz="1279" baseline="0" dirty="0">
          <a:solidFill>
            <a:schemeClr val="tx1"/>
          </a:solidFill>
          <a:latin typeface="+mn-lt"/>
          <a:ea typeface="+mn-ea"/>
          <a:cs typeface="+mn-cs"/>
        </a:defRPr>
      </a:lvl5pPr>
      <a:lvl6pPr marL="799211" indent="-138751" algn="l" defTabSz="954342" rtl="0" eaLnBrk="1" fontAlgn="base" hangingPunct="1">
        <a:spcBef>
          <a:spcPct val="0"/>
        </a:spcBef>
        <a:spcAft>
          <a:spcPct val="0"/>
        </a:spcAft>
        <a:buClr>
          <a:schemeClr val="tx2"/>
        </a:buClr>
        <a:buSzPct val="89000"/>
        <a:buFont typeface="Arial" charset="0"/>
        <a:buChar char="-"/>
        <a:defRPr sz="1705" baseline="0">
          <a:solidFill>
            <a:schemeClr val="tx1"/>
          </a:solidFill>
          <a:latin typeface="+mn-lt"/>
        </a:defRPr>
      </a:lvl6pPr>
      <a:lvl7pPr marL="799211" indent="-138751" algn="l" defTabSz="954342" rtl="0" eaLnBrk="1" fontAlgn="base" hangingPunct="1">
        <a:spcBef>
          <a:spcPct val="0"/>
        </a:spcBef>
        <a:spcAft>
          <a:spcPct val="0"/>
        </a:spcAft>
        <a:buClr>
          <a:schemeClr val="tx2"/>
        </a:buClr>
        <a:buSzPct val="89000"/>
        <a:buFont typeface="Arial" charset="0"/>
        <a:buChar char="-"/>
        <a:defRPr sz="1705" baseline="0">
          <a:solidFill>
            <a:schemeClr val="tx1"/>
          </a:solidFill>
          <a:latin typeface="+mn-lt"/>
        </a:defRPr>
      </a:lvl7pPr>
      <a:lvl8pPr marL="799211" indent="-138751" algn="l" defTabSz="954342" rtl="0" eaLnBrk="1" fontAlgn="base" hangingPunct="1">
        <a:spcBef>
          <a:spcPct val="0"/>
        </a:spcBef>
        <a:spcAft>
          <a:spcPct val="0"/>
        </a:spcAft>
        <a:buClr>
          <a:schemeClr val="tx2"/>
        </a:buClr>
        <a:buSzPct val="89000"/>
        <a:buFont typeface="Arial" charset="0"/>
        <a:buChar char="-"/>
        <a:defRPr sz="1705" baseline="0">
          <a:solidFill>
            <a:schemeClr val="tx1"/>
          </a:solidFill>
          <a:latin typeface="+mn-lt"/>
        </a:defRPr>
      </a:lvl8pPr>
      <a:lvl9pPr marL="799211" indent="-138751" algn="l" defTabSz="954342" rtl="0" eaLnBrk="1" fontAlgn="base" hangingPunct="1">
        <a:spcBef>
          <a:spcPct val="0"/>
        </a:spcBef>
        <a:spcAft>
          <a:spcPct val="0"/>
        </a:spcAft>
        <a:buClr>
          <a:schemeClr val="tx2"/>
        </a:buClr>
        <a:buSzPct val="89000"/>
        <a:buFont typeface="Arial" charset="0"/>
        <a:buChar char="-"/>
        <a:defRPr sz="1705" baseline="0">
          <a:solidFill>
            <a:schemeClr val="tx1"/>
          </a:solidFill>
          <a:latin typeface="+mn-lt"/>
        </a:defRPr>
      </a:lvl9pPr>
    </p:bodyStyle>
    <p:otherStyle>
      <a:defPPr>
        <a:defRPr lang="es-ES"/>
      </a:defPPr>
      <a:lvl1pPr marL="0" algn="l" defTabSz="974648" rtl="0" eaLnBrk="1" latinLnBrk="0" hangingPunct="1">
        <a:defRPr sz="1918" kern="1200">
          <a:solidFill>
            <a:schemeClr val="tx1"/>
          </a:solidFill>
          <a:latin typeface="+mn-lt"/>
          <a:ea typeface="+mn-ea"/>
          <a:cs typeface="+mn-cs"/>
        </a:defRPr>
      </a:lvl1pPr>
      <a:lvl2pPr marL="487323" algn="l" defTabSz="974648" rtl="0" eaLnBrk="1" latinLnBrk="0" hangingPunct="1">
        <a:defRPr sz="1918" kern="1200">
          <a:solidFill>
            <a:schemeClr val="tx1"/>
          </a:solidFill>
          <a:latin typeface="+mn-lt"/>
          <a:ea typeface="+mn-ea"/>
          <a:cs typeface="+mn-cs"/>
        </a:defRPr>
      </a:lvl2pPr>
      <a:lvl3pPr marL="974648" algn="l" defTabSz="974648" rtl="0" eaLnBrk="1" latinLnBrk="0" hangingPunct="1">
        <a:defRPr sz="1918" kern="1200">
          <a:solidFill>
            <a:schemeClr val="tx1"/>
          </a:solidFill>
          <a:latin typeface="+mn-lt"/>
          <a:ea typeface="+mn-ea"/>
          <a:cs typeface="+mn-cs"/>
        </a:defRPr>
      </a:lvl3pPr>
      <a:lvl4pPr marL="1461971" algn="l" defTabSz="974648" rtl="0" eaLnBrk="1" latinLnBrk="0" hangingPunct="1">
        <a:defRPr sz="1918" kern="1200">
          <a:solidFill>
            <a:schemeClr val="tx1"/>
          </a:solidFill>
          <a:latin typeface="+mn-lt"/>
          <a:ea typeface="+mn-ea"/>
          <a:cs typeface="+mn-cs"/>
        </a:defRPr>
      </a:lvl4pPr>
      <a:lvl5pPr marL="1949296" algn="l" defTabSz="974648" rtl="0" eaLnBrk="1" latinLnBrk="0" hangingPunct="1">
        <a:defRPr sz="1918" kern="1200">
          <a:solidFill>
            <a:schemeClr val="tx1"/>
          </a:solidFill>
          <a:latin typeface="+mn-lt"/>
          <a:ea typeface="+mn-ea"/>
          <a:cs typeface="+mn-cs"/>
        </a:defRPr>
      </a:lvl5pPr>
      <a:lvl6pPr marL="2436619" algn="l" defTabSz="974648" rtl="0" eaLnBrk="1" latinLnBrk="0" hangingPunct="1">
        <a:defRPr sz="1918" kern="1200">
          <a:solidFill>
            <a:schemeClr val="tx1"/>
          </a:solidFill>
          <a:latin typeface="+mn-lt"/>
          <a:ea typeface="+mn-ea"/>
          <a:cs typeface="+mn-cs"/>
        </a:defRPr>
      </a:lvl6pPr>
      <a:lvl7pPr marL="2923943" algn="l" defTabSz="974648" rtl="0" eaLnBrk="1" latinLnBrk="0" hangingPunct="1">
        <a:defRPr sz="1918" kern="1200">
          <a:solidFill>
            <a:schemeClr val="tx1"/>
          </a:solidFill>
          <a:latin typeface="+mn-lt"/>
          <a:ea typeface="+mn-ea"/>
          <a:cs typeface="+mn-cs"/>
        </a:defRPr>
      </a:lvl7pPr>
      <a:lvl8pPr marL="3411267" algn="l" defTabSz="974648" rtl="0" eaLnBrk="1" latinLnBrk="0" hangingPunct="1">
        <a:defRPr sz="1918" kern="1200">
          <a:solidFill>
            <a:schemeClr val="tx1"/>
          </a:solidFill>
          <a:latin typeface="+mn-lt"/>
          <a:ea typeface="+mn-ea"/>
          <a:cs typeface="+mn-cs"/>
        </a:defRPr>
      </a:lvl8pPr>
      <a:lvl9pPr marL="3898590" algn="l" defTabSz="974648" rtl="0" eaLnBrk="1" latinLnBrk="0" hangingPunct="1">
        <a:defRPr sz="191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Diapositiva de think-cell" r:id="rId23" imgW="270" imgH="270" progId="TCLayout.ActiveDocument.1">
                  <p:embed/>
                </p:oleObj>
              </mc:Choice>
              <mc:Fallback>
                <p:oleObj name="Diapositiva de think-cell"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s-ES"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s-ES" sz="612" baseline="0" noProof="0">
              <a:solidFill>
                <a:schemeClr val="accent6"/>
              </a:solidFill>
              <a:latin typeface="+mn-lt"/>
              <a:ea typeface="+mn-ea"/>
            </a:endParaRPr>
          </a:p>
        </p:txBody>
      </p:sp>
      <p:sp>
        <p:nvSpPr>
          <p:cNvPr id="1034" name="Working Draft" hidden="1"/>
          <p:cNvSpPr txBox="1">
            <a:spLocks noChangeArrowheads="1"/>
          </p:cNvSpPr>
          <p:nvPr/>
        </p:nvSpPr>
        <p:spPr bwMode="gray">
          <a:xfrm rot="5400000">
            <a:off x="11145072" y="1979060"/>
            <a:ext cx="1903795"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a:solidFill>
                  <a:schemeClr val="accent6"/>
                </a:solidFill>
                <a:latin typeface="+mn-lt"/>
                <a:ea typeface="+mn-ea"/>
              </a:rPr>
              <a:t>Last Modified 8/27/2019 06:39 Central Standard Time</a:t>
            </a:r>
            <a:endParaRPr lang="es-ES" sz="612" baseline="0" noProof="0">
              <a:solidFill>
                <a:schemeClr val="accent6"/>
              </a:solidFill>
              <a:latin typeface="+mn-lt"/>
              <a:ea typeface="+mn-ea"/>
            </a:endParaRPr>
          </a:p>
        </p:txBody>
      </p:sp>
      <p:sp>
        <p:nvSpPr>
          <p:cNvPr id="1035" name="Printed" hidden="1"/>
          <p:cNvSpPr txBox="1">
            <a:spLocks noChangeArrowheads="1"/>
          </p:cNvSpPr>
          <p:nvPr/>
        </p:nvSpPr>
        <p:spPr bwMode="gray">
          <a:xfrm rot="5400000">
            <a:off x="11970213" y="4197040"/>
            <a:ext cx="253513"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s-ES" sz="612" baseline="0" noProof="0">
                <a:solidFill>
                  <a:schemeClr val="accent6"/>
                </a:solidFill>
                <a:latin typeface="+mn-lt"/>
                <a:ea typeface="+mn-ea"/>
              </a:rPr>
              <a:t>Printed</a:t>
            </a: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s-ES" noProof="0"/>
          </a:p>
        </p:txBody>
      </p:sp>
      <p:sp>
        <p:nvSpPr>
          <p:cNvPr id="10" name="1. On-page tracker" hidden="1"/>
          <p:cNvSpPr>
            <a:spLocks noChangeArrowheads="1"/>
          </p:cNvSpPr>
          <p:nvPr/>
        </p:nvSpPr>
        <p:spPr bwMode="gray">
          <a:xfrm>
            <a:off x="161986" y="77303"/>
            <a:ext cx="63624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s-ES" sz="1020" cap="all" baseline="0" noProof="0">
                <a:solidFill>
                  <a:schemeClr val="accent2"/>
                </a:solidFill>
                <a:latin typeface="+mn-lt"/>
                <a:ea typeface="+mn-ea"/>
              </a:rPr>
              <a:t>Tracker</a:t>
            </a:r>
          </a:p>
        </p:txBody>
      </p:sp>
      <p:sp>
        <p:nvSpPr>
          <p:cNvPr id="11" name="3. Unit of measure" hidden="1"/>
          <p:cNvSpPr txBox="1">
            <a:spLocks noChangeArrowheads="1"/>
          </p:cNvSpPr>
          <p:nvPr/>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s-ES" sz="1632" baseline="0" noProof="0">
                <a:solidFill>
                  <a:schemeClr val="accent2"/>
                </a:solidFill>
                <a:latin typeface="+mn-lt"/>
                <a:ea typeface="+mn-ea"/>
              </a:rPr>
              <a:t>NOMBRE DEL CLIENTE</a:t>
            </a:r>
          </a:p>
        </p:txBody>
      </p:sp>
      <p:sp>
        <p:nvSpPr>
          <p:cNvPr id="13" name="4. Footnote" hidden="1"/>
          <p:cNvSpPr txBox="1">
            <a:spLocks noChangeArrowheads="1"/>
          </p:cNvSpPr>
          <p:nvPr/>
        </p:nvSpPr>
        <p:spPr bwMode="gray">
          <a:xfrm>
            <a:off x="161986" y="6432273"/>
            <a:ext cx="9830692"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s-ES" sz="816" baseline="0" noProof="0">
                <a:solidFill>
                  <a:schemeClr val="accent6"/>
                </a:solidFill>
                <a:latin typeface="+mn-lt"/>
                <a:ea typeface="+mn-ea"/>
              </a:rPr>
              <a:t>1 Nota al pie</a:t>
            </a:r>
          </a:p>
        </p:txBody>
      </p:sp>
      <p:sp>
        <p:nvSpPr>
          <p:cNvPr id="14" name="5. Source" hidden="1"/>
          <p:cNvSpPr>
            <a:spLocks noChangeArrowheads="1"/>
          </p:cNvSpPr>
          <p:nvPr/>
        </p:nvSpPr>
        <p:spPr bwMode="gray">
          <a:xfrm>
            <a:off x="161986" y="6637982"/>
            <a:ext cx="9830692"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s-ES" sz="816" baseline="0" noProof="0">
                <a:solidFill>
                  <a:schemeClr val="accent6"/>
                </a:solidFill>
                <a:latin typeface="+mn-lt"/>
                <a:ea typeface="+mn-ea"/>
              </a:rPr>
              <a:t>FUENTE: Fuente</a:t>
            </a:r>
          </a:p>
        </p:txBody>
      </p:sp>
      <p:grpSp>
        <p:nvGrpSpPr>
          <p:cNvPr id="15" name="ACET" hidden="1"/>
          <p:cNvGrpSpPr>
            <a:grpSpLocks/>
          </p:cNvGrpSpPr>
          <p:nvPr/>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s-ES" sz="1632" b="1" baseline="0" noProof="0">
                  <a:latin typeface="+mn-lt"/>
                  <a:ea typeface="+mn-ea"/>
                </a:rPr>
                <a:t>Título</a:t>
              </a:r>
            </a:p>
            <a:p>
              <a:r>
                <a:rPr lang="es-ES" sz="1632" baseline="0" noProof="0">
                  <a:solidFill>
                    <a:schemeClr val="accent6"/>
                  </a:solidFill>
                  <a:latin typeface="+mn-lt"/>
                  <a:ea typeface="+mn-ea"/>
                </a:rPr>
                <a:t>Unit of measure</a:t>
              </a:r>
            </a:p>
          </p:txBody>
        </p:sp>
      </p:grpSp>
      <p:grpSp>
        <p:nvGrpSpPr>
          <p:cNvPr id="17" name="Sticker" hidden="1"/>
          <p:cNvGrpSpPr/>
          <p:nvPr/>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s-ES" sz="816" baseline="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p:nvGrpSpPr>
        <p:grpSpPr bwMode="gray">
          <a:xfrm>
            <a:off x="11108191" y="285075"/>
            <a:ext cx="789093" cy="1021522"/>
            <a:chOff x="7835905" y="279400"/>
            <a:chExt cx="773373" cy="1001186"/>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sp>
          <p:nvSpPr>
            <p:cNvPr id="28"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sp>
          <p:nvSpPr>
            <p:cNvPr id="29"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sp>
          <p:nvSpPr>
            <p:cNvPr id="30"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sp>
          <p:nvSpPr>
            <p:cNvPr id="31"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grpSp>
      <p:grpSp>
        <p:nvGrpSpPr>
          <p:cNvPr id="32" name="LegendLines" hidden="1"/>
          <p:cNvGrpSpPr/>
          <p:nvPr/>
        </p:nvGrpSpPr>
        <p:grpSpPr bwMode="gray">
          <a:xfrm>
            <a:off x="10794126" y="285075"/>
            <a:ext cx="1103328" cy="749405"/>
            <a:chOff x="7540629" y="279400"/>
            <a:chExt cx="1081348" cy="734486"/>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s-ES" sz="1837" baseline="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s-ES" sz="1837" baseline="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s-ES" sz="1837" baseline="0">
                <a:latin typeface="+mn-lt"/>
                <a:ea typeface="+mn-ea"/>
              </a:endParaRPr>
            </a:p>
          </p:txBody>
        </p:sp>
        <p:sp>
          <p:nvSpPr>
            <p:cNvPr id="36"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sp>
          <p:nvSpPr>
            <p:cNvPr id="37"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sp>
          <p:nvSpPr>
            <p:cNvPr id="38"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grpSp>
      <p:grpSp>
        <p:nvGrpSpPr>
          <p:cNvPr id="39" name="LegendMoons" hidden="1"/>
          <p:cNvGrpSpPr/>
          <p:nvPr/>
        </p:nvGrpSpPr>
        <p:grpSpPr bwMode="gray">
          <a:xfrm>
            <a:off x="11040160" y="255920"/>
            <a:ext cx="857123" cy="1333054"/>
            <a:chOff x="7769225" y="250825"/>
            <a:chExt cx="840048" cy="1306516"/>
          </a:xfrm>
        </p:grpSpPr>
        <p:grpSp>
          <p:nvGrpSpPr>
            <p:cNvPr id="40" name="MoonLegend1"/>
            <p:cNvGrpSpPr>
              <a:grpSpLocks noChangeAspect="1"/>
            </p:cNvGrpSpPr>
            <p:nvPr>
              <p:custDataLst>
                <p:tags r:id="rId8"/>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sp>
            <p:nvSpPr>
              <p:cNvPr id="59"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grpSp>
        <p:grpSp>
          <p:nvGrpSpPr>
            <p:cNvPr id="41" name="MoonLegend2"/>
            <p:cNvGrpSpPr>
              <a:grpSpLocks noChangeAspect="1"/>
            </p:cNvGrpSpPr>
            <p:nvPr>
              <p:custDataLst>
                <p:tags r:id="rId9"/>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sp>
            <p:nvSpPr>
              <p:cNvPr id="57" name="Arc 42"/>
              <p:cNvSpPr>
                <a:spLocks noChangeAspect="1"/>
              </p:cNvSpPr>
              <p:nvPr>
                <p:custDataLst>
                  <p:tags r:id="rId20"/>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grpSp>
        <p:grpSp>
          <p:nvGrpSpPr>
            <p:cNvPr id="42"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sp>
            <p:nvSpPr>
              <p:cNvPr id="55"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grpSp>
        <p:grpSp>
          <p:nvGrpSpPr>
            <p:cNvPr id="43"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sp>
            <p:nvSpPr>
              <p:cNvPr id="53"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grpSp>
        <p:grpSp>
          <p:nvGrpSpPr>
            <p:cNvPr id="44" name="MoonLegend3"/>
            <p:cNvGrpSpPr>
              <a:grpSpLocks noChangeAspect="1"/>
            </p:cNvGrpSpPr>
            <p:nvPr>
              <p:custDataLst>
                <p:tags r:id="rId12"/>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sp>
            <p:nvSpPr>
              <p:cNvPr id="51"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grpSp>
        <p:sp>
          <p:nvSpPr>
            <p:cNvPr id="45" name="Legend1"/>
            <p:cNvSpPr>
              <a:spLocks noChangeArrowheads="1"/>
            </p:cNvSpPr>
            <p:nvPr/>
          </p:nvSpPr>
          <p:spPr bwMode="gray">
            <a:xfrm>
              <a:off x="8089900" y="26352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sp>
          <p:nvSpPr>
            <p:cNvPr id="46" name="Legend2"/>
            <p:cNvSpPr>
              <a:spLocks noChangeArrowheads="1"/>
            </p:cNvSpPr>
            <p:nvPr/>
          </p:nvSpPr>
          <p:spPr bwMode="gray">
            <a:xfrm>
              <a:off x="8089900" y="538163"/>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sp>
          <p:nvSpPr>
            <p:cNvPr id="47" name="Legend3"/>
            <p:cNvSpPr>
              <a:spLocks noChangeArrowheads="1"/>
            </p:cNvSpPr>
            <p:nvPr/>
          </p:nvSpPr>
          <p:spPr bwMode="gray">
            <a:xfrm>
              <a:off x="8089900" y="812802"/>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sp>
          <p:nvSpPr>
            <p:cNvPr id="48" name="Legend4"/>
            <p:cNvSpPr>
              <a:spLocks noChangeArrowheads="1"/>
            </p:cNvSpPr>
            <p:nvPr/>
          </p:nvSpPr>
          <p:spPr bwMode="gray">
            <a:xfrm>
              <a:off x="8089900" y="108426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sp>
          <p:nvSpPr>
            <p:cNvPr id="49" name="Legend5"/>
            <p:cNvSpPr>
              <a:spLocks noChangeArrowheads="1"/>
            </p:cNvSpPr>
            <p:nvPr/>
          </p:nvSpPr>
          <p:spPr bwMode="gray">
            <a:xfrm>
              <a:off x="8089900" y="1360490"/>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grpSp>
      <p:sp>
        <p:nvSpPr>
          <p:cNvPr id="60" name="SlideBottomBar" hidden="1"/>
          <p:cNvSpPr/>
          <p:nvPr/>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37" baseline="0">
              <a:solidFill>
                <a:schemeClr val="tx1"/>
              </a:solidFill>
              <a:latin typeface="+mn-lt"/>
              <a:ea typeface="+mn-ea"/>
            </a:endParaRPr>
          </a:p>
        </p:txBody>
      </p:sp>
      <p:sp>
        <p:nvSpPr>
          <p:cNvPr id="61" name="Text Placeholder 2"/>
          <p:cNvSpPr>
            <a:spLocks noGrp="1"/>
          </p:cNvSpPr>
          <p:nvPr>
            <p:ph type="body" idx="1"/>
          </p:nvPr>
        </p:nvSpPr>
        <p:spPr bwMode="gray">
          <a:xfrm>
            <a:off x="1482091" y="1991016"/>
            <a:ext cx="4389573" cy="1346156"/>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s-ES"/>
          </a:p>
        </p:txBody>
      </p:sp>
    </p:spTree>
    <p:extLst>
      <p:ext uri="{BB962C8B-B14F-4D97-AF65-F5344CB8AC3E}">
        <p14:creationId xmlns:p14="http://schemas.microsoft.com/office/powerpoint/2010/main" val="3465719497"/>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Lst>
  <p:hf hdr="0" ftr="0" dt="0"/>
  <p:txStyles>
    <p:titleStyle>
      <a:lvl1pPr algn="l" defTabSz="1218095" rtl="0" eaLnBrk="1" fontAlgn="base" hangingPunct="1">
        <a:spcBef>
          <a:spcPct val="0"/>
        </a:spcBef>
        <a:spcAft>
          <a:spcPct val="0"/>
        </a:spcAft>
        <a:tabLst>
          <a:tab pos="367156" algn="l"/>
        </a:tabLst>
        <a:defRPr sz="2041" b="0" baseline="0">
          <a:solidFill>
            <a:schemeClr val="tx2"/>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s-E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s-ES" sz="1632" baseline="0" dirty="0">
          <a:solidFill>
            <a:schemeClr val="tx1"/>
          </a:solidFill>
          <a:latin typeface="+mn-lt"/>
          <a:ea typeface="+mn-ea"/>
          <a:cs typeface="+mn-cs"/>
        </a:defRPr>
      </a:lvl2pPr>
      <a:lvl3pPr marL="455462" indent="-253443" algn="l" defTabSz="913526" rtl="0" eaLnBrk="1" fontAlgn="base" latinLnBrk="0" hangingPunct="1">
        <a:spcBef>
          <a:spcPct val="0"/>
        </a:spcBef>
        <a:spcAft>
          <a:spcPct val="0"/>
        </a:spcAft>
        <a:buClr>
          <a:schemeClr val="tx2"/>
        </a:buClr>
        <a:buSzPct val="120000"/>
        <a:buFont typeface="Arial" charset="0"/>
        <a:buChar char="–"/>
        <a:defRPr lang="es-E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s-E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s-E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s-E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3570908967"/>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Diapositiva de think-cell" r:id="rId24" imgW="270" imgH="270" progId="TCLayout.ActiveDocument.1">
                  <p:embed/>
                </p:oleObj>
              </mc:Choice>
              <mc:Fallback>
                <p:oleObj name="Diapositiva de think-cell" r:id="rId24" imgW="270" imgH="270" progId="TCLayout.ActiveDocument.1">
                  <p:embed/>
                  <p:pic>
                    <p:nvPicPr>
                      <p:cNvPr id="2" name="Object 1" hidden="1"/>
                      <p:cNvPicPr/>
                      <p:nvPr/>
                    </p:nvPicPr>
                    <p:blipFill>
                      <a:blip r:embed="rId25"/>
                      <a:stretch>
                        <a:fillRect/>
                      </a:stretch>
                    </p:blipFill>
                    <p:spPr>
                      <a:xfrm>
                        <a:off x="0" y="0"/>
                        <a:ext cx="215979" cy="161974"/>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s-CO" sz="2176"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s-CO" sz="612"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1000326" y="1979060"/>
            <a:ext cx="219329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a:solidFill>
                  <a:schemeClr val="accent6"/>
                </a:solidFill>
                <a:latin typeface="+mn-lt"/>
                <a:ea typeface="+mn-ea"/>
              </a:rPr>
              <a:t>Last Modified 10/10/2019 3:29 p.m. SA Pacific Standard Time</a:t>
            </a:r>
            <a:endParaRPr lang="es-CO" sz="612"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1970213" y="4197040"/>
            <a:ext cx="253513"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s-CO" sz="612" baseline="0" noProof="0" dirty="0" err="1">
                <a:solidFill>
                  <a:schemeClr val="accent6"/>
                </a:solidFill>
                <a:latin typeface="+mn-lt"/>
                <a:ea typeface="+mn-ea"/>
              </a:rPr>
              <a:t>Printed</a:t>
            </a:r>
            <a:endParaRPr lang="es-CO" sz="612"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s-CO" noProof="0" dirty="0"/>
          </a:p>
        </p:txBody>
      </p:sp>
      <p:sp>
        <p:nvSpPr>
          <p:cNvPr id="10" name="1. On-page tracker" hidden="1"/>
          <p:cNvSpPr>
            <a:spLocks noChangeArrowheads="1"/>
          </p:cNvSpPr>
          <p:nvPr userDrawn="1"/>
        </p:nvSpPr>
        <p:spPr bwMode="gray">
          <a:xfrm>
            <a:off x="161986" y="77303"/>
            <a:ext cx="63624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s-CO" sz="1020" cap="all" baseline="0" noProof="0" dirty="0" err="1">
                <a:solidFill>
                  <a:schemeClr val="accent2"/>
                </a:solidFill>
                <a:latin typeface="+mn-lt"/>
                <a:ea typeface="+mn-ea"/>
              </a:rPr>
              <a:t>Tracker</a:t>
            </a:r>
            <a:endParaRPr lang="es-CO" sz="1020" cap="all" baseline="0" noProof="0" dirty="0">
              <a:solidFill>
                <a:schemeClr val="accent2"/>
              </a:solidFill>
              <a:latin typeface="+mn-lt"/>
              <a:ea typeface="+mn-ea"/>
            </a:endParaRPr>
          </a:p>
        </p:txBody>
      </p:sp>
      <p:sp>
        <p:nvSpPr>
          <p:cNvPr id="11" name="3. Unit of measure" hidden="1"/>
          <p:cNvSpPr txBox="1">
            <a:spLocks noChangeArrowheads="1"/>
          </p:cNvSpPr>
          <p:nvPr userDrawn="1"/>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s-CO" sz="1632" baseline="0" noProof="0" dirty="0">
                <a:solidFill>
                  <a:schemeClr val="accent2"/>
                </a:solidFill>
                <a:latin typeface="+mn-lt"/>
                <a:ea typeface="+mn-ea"/>
              </a:rPr>
              <a:t>NOMBRE DEL CLIENTE</a:t>
            </a:r>
          </a:p>
        </p:txBody>
      </p:sp>
      <p:sp>
        <p:nvSpPr>
          <p:cNvPr id="13" name="4. Footnote" hidden="1"/>
          <p:cNvSpPr txBox="1">
            <a:spLocks noChangeArrowheads="1"/>
          </p:cNvSpPr>
          <p:nvPr/>
        </p:nvSpPr>
        <p:spPr bwMode="gray">
          <a:xfrm>
            <a:off x="161986" y="6432273"/>
            <a:ext cx="9830692"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s-CO" sz="816" baseline="0" noProof="0" dirty="0">
                <a:solidFill>
                  <a:schemeClr val="accent6"/>
                </a:solidFill>
                <a:latin typeface="+mn-lt"/>
                <a:ea typeface="+mn-ea"/>
              </a:rPr>
              <a:t>1 Nota al pie</a:t>
            </a:r>
          </a:p>
        </p:txBody>
      </p:sp>
      <p:sp>
        <p:nvSpPr>
          <p:cNvPr id="14" name="5. Source" hidden="1"/>
          <p:cNvSpPr>
            <a:spLocks noChangeArrowheads="1"/>
          </p:cNvSpPr>
          <p:nvPr/>
        </p:nvSpPr>
        <p:spPr bwMode="gray">
          <a:xfrm>
            <a:off x="161986" y="6637982"/>
            <a:ext cx="9830692"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s-CO" sz="816" baseline="0" noProof="0" dirty="0">
                <a:solidFill>
                  <a:schemeClr val="accent6"/>
                </a:solidFill>
                <a:latin typeface="+mn-lt"/>
                <a:ea typeface="+mn-ea"/>
              </a:rPr>
              <a:t>FUENTE: Fuente</a:t>
            </a:r>
          </a:p>
        </p:txBody>
      </p:sp>
      <p:grpSp>
        <p:nvGrpSpPr>
          <p:cNvPr id="15" name="ACET" hidden="1"/>
          <p:cNvGrpSpPr>
            <a:grpSpLocks/>
          </p:cNvGrpSpPr>
          <p:nvPr userDrawn="1"/>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s-CO" sz="1632" b="1" baseline="0" noProof="0" dirty="0">
                  <a:latin typeface="+mn-lt"/>
                  <a:ea typeface="+mn-ea"/>
                </a:rPr>
                <a:t>Título</a:t>
              </a:r>
            </a:p>
            <a:p>
              <a:r>
                <a:rPr lang="es-CO" sz="1632" baseline="0" noProof="0" dirty="0" err="1">
                  <a:solidFill>
                    <a:schemeClr val="accent6"/>
                  </a:solidFill>
                  <a:latin typeface="+mn-lt"/>
                  <a:ea typeface="+mn-ea"/>
                </a:rPr>
                <a:t>Unit</a:t>
              </a:r>
              <a:r>
                <a:rPr lang="es-CO" sz="1632" baseline="0" noProof="0" dirty="0">
                  <a:solidFill>
                    <a:schemeClr val="accent6"/>
                  </a:solidFill>
                  <a:latin typeface="+mn-lt"/>
                  <a:ea typeface="+mn-ea"/>
                </a:rPr>
                <a:t> </a:t>
              </a:r>
              <a:r>
                <a:rPr lang="es-CO" sz="1632" baseline="0" noProof="0" dirty="0" err="1">
                  <a:solidFill>
                    <a:schemeClr val="accent6"/>
                  </a:solidFill>
                  <a:latin typeface="+mn-lt"/>
                  <a:ea typeface="+mn-ea"/>
                </a:rPr>
                <a:t>of</a:t>
              </a:r>
              <a:r>
                <a:rPr lang="es-CO" sz="1632" baseline="0" noProof="0" dirty="0">
                  <a:solidFill>
                    <a:schemeClr val="accent6"/>
                  </a:solidFill>
                  <a:latin typeface="+mn-lt"/>
                  <a:ea typeface="+mn-ea"/>
                </a:rPr>
                <a:t> </a:t>
              </a:r>
              <a:r>
                <a:rPr lang="es-CO" sz="1632" baseline="0" noProof="0" dirty="0" err="1">
                  <a:solidFill>
                    <a:schemeClr val="accent6"/>
                  </a:solidFill>
                  <a:latin typeface="+mn-lt"/>
                  <a:ea typeface="+mn-ea"/>
                </a:rPr>
                <a:t>measure</a:t>
              </a:r>
              <a:endParaRPr lang="es-CO" sz="1632" baseline="0" noProof="0" dirty="0">
                <a:solidFill>
                  <a:schemeClr val="accent6"/>
                </a:solidFill>
                <a:latin typeface="+mn-lt"/>
                <a:ea typeface="+mn-ea"/>
              </a:endParaRPr>
            </a:p>
          </p:txBody>
        </p:sp>
      </p:grpSp>
      <p:grpSp>
        <p:nvGrpSpPr>
          <p:cNvPr id="17" name="Sticker" hidden="1"/>
          <p:cNvGrpSpPr/>
          <p:nvPr userDrawn="1"/>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s-CO"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1108191" y="285075"/>
            <a:ext cx="789093" cy="1021522"/>
            <a:chOff x="7835905" y="279400"/>
            <a:chExt cx="773373" cy="1001186"/>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sp>
          <p:nvSpPr>
            <p:cNvPr id="28"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sp>
          <p:nvSpPr>
            <p:cNvPr id="29"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sp>
          <p:nvSpPr>
            <p:cNvPr id="30"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sp>
          <p:nvSpPr>
            <p:cNvPr id="31"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grpSp>
      <p:grpSp>
        <p:nvGrpSpPr>
          <p:cNvPr id="32" name="LegendLines" hidden="1"/>
          <p:cNvGrpSpPr/>
          <p:nvPr userDrawn="1"/>
        </p:nvGrpSpPr>
        <p:grpSpPr bwMode="gray">
          <a:xfrm>
            <a:off x="10794126" y="285075"/>
            <a:ext cx="1103328" cy="749405"/>
            <a:chOff x="7540629" y="279400"/>
            <a:chExt cx="1081348" cy="734486"/>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s-CO" sz="1837"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s-CO" sz="1837"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s-CO" sz="1837" baseline="0" dirty="0">
                <a:latin typeface="+mn-lt"/>
                <a:ea typeface="+mn-ea"/>
              </a:endParaRPr>
            </a:p>
          </p:txBody>
        </p:sp>
        <p:sp>
          <p:nvSpPr>
            <p:cNvPr id="36"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sp>
          <p:nvSpPr>
            <p:cNvPr id="37"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sp>
          <p:nvSpPr>
            <p:cNvPr id="38"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grpSp>
      <p:grpSp>
        <p:nvGrpSpPr>
          <p:cNvPr id="39" name="LegendMoons" hidden="1"/>
          <p:cNvGrpSpPr/>
          <p:nvPr userDrawn="1"/>
        </p:nvGrpSpPr>
        <p:grpSpPr bwMode="gray">
          <a:xfrm>
            <a:off x="11040160" y="255920"/>
            <a:ext cx="857123" cy="1333054"/>
            <a:chOff x="7769225" y="250825"/>
            <a:chExt cx="840048" cy="1306516"/>
          </a:xfrm>
        </p:grpSpPr>
        <p:grpSp>
          <p:nvGrpSpPr>
            <p:cNvPr id="40" name="MoonLegend1"/>
            <p:cNvGrpSpPr>
              <a:grpSpLocks noChangeAspect="1"/>
            </p:cNvGrpSpPr>
            <p:nvPr>
              <p:custDataLst>
                <p:tags r:id="rId9"/>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sp>
            <p:nvSpPr>
              <p:cNvPr id="59"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grpSp>
        <p:grpSp>
          <p:nvGrpSpPr>
            <p:cNvPr id="41" name="MoonLegend2"/>
            <p:cNvGrpSpPr>
              <a:grpSpLocks noChangeAspect="1"/>
            </p:cNvGrpSpPr>
            <p:nvPr>
              <p:custDataLst>
                <p:tags r:id="rId10"/>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sp>
            <p:nvSpPr>
              <p:cNvPr id="57" name="Arc 42"/>
              <p:cNvSpPr>
                <a:spLocks noChangeAspect="1"/>
              </p:cNvSpPr>
              <p:nvPr>
                <p:custDataLst>
                  <p:tags r:id="rId21"/>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grpSp>
        <p:grpSp>
          <p:nvGrpSpPr>
            <p:cNvPr id="42"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sp>
            <p:nvSpPr>
              <p:cNvPr id="55"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grpSp>
        <p:grpSp>
          <p:nvGrpSpPr>
            <p:cNvPr id="43"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sp>
            <p:nvSpPr>
              <p:cNvPr id="53"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grpSp>
        <p:grpSp>
          <p:nvGrpSpPr>
            <p:cNvPr id="44" name="MoonLegend3"/>
            <p:cNvGrpSpPr>
              <a:grpSpLocks noChangeAspect="1"/>
            </p:cNvGrpSpPr>
            <p:nvPr>
              <p:custDataLst>
                <p:tags r:id="rId13"/>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sp>
            <p:nvSpPr>
              <p:cNvPr id="51"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grpSp>
        <p:sp>
          <p:nvSpPr>
            <p:cNvPr id="45" name="Legend1"/>
            <p:cNvSpPr>
              <a:spLocks noChangeArrowheads="1"/>
            </p:cNvSpPr>
            <p:nvPr/>
          </p:nvSpPr>
          <p:spPr bwMode="gray">
            <a:xfrm>
              <a:off x="8089900" y="26352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sp>
          <p:nvSpPr>
            <p:cNvPr id="46" name="Legend2"/>
            <p:cNvSpPr>
              <a:spLocks noChangeArrowheads="1"/>
            </p:cNvSpPr>
            <p:nvPr/>
          </p:nvSpPr>
          <p:spPr bwMode="gray">
            <a:xfrm>
              <a:off x="8089900" y="538163"/>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sp>
          <p:nvSpPr>
            <p:cNvPr id="47" name="Legend3"/>
            <p:cNvSpPr>
              <a:spLocks noChangeArrowheads="1"/>
            </p:cNvSpPr>
            <p:nvPr/>
          </p:nvSpPr>
          <p:spPr bwMode="gray">
            <a:xfrm>
              <a:off x="8089900" y="812802"/>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sp>
          <p:nvSpPr>
            <p:cNvPr id="48" name="Legend4"/>
            <p:cNvSpPr>
              <a:spLocks noChangeArrowheads="1"/>
            </p:cNvSpPr>
            <p:nvPr/>
          </p:nvSpPr>
          <p:spPr bwMode="gray">
            <a:xfrm>
              <a:off x="8089900" y="108426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sp>
          <p:nvSpPr>
            <p:cNvPr id="49" name="Legend5"/>
            <p:cNvSpPr>
              <a:spLocks noChangeArrowheads="1"/>
            </p:cNvSpPr>
            <p:nvPr/>
          </p:nvSpPr>
          <p:spPr bwMode="gray">
            <a:xfrm>
              <a:off x="8089900" y="1360490"/>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grpSp>
      <p:sp>
        <p:nvSpPr>
          <p:cNvPr id="60" name="SlideBottomBar" hidden="1"/>
          <p:cNvSpPr/>
          <p:nvPr userDrawn="1"/>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837"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82091" y="1991016"/>
            <a:ext cx="4389573" cy="1346156"/>
          </a:xfrm>
          <a:prstGeom prst="rect">
            <a:avLst/>
          </a:prstGeom>
        </p:spPr>
        <p:txBody>
          <a:bodyPr vert="horz" lIns="0" tIns="0" rIns="0" bIns="0" rtlCol="0">
            <a:noAutofit/>
          </a:bodyPr>
          <a:lstStyle/>
          <a:p>
            <a:pPr lvl="0" latinLnBrk="0"/>
            <a:r>
              <a:rPr lang="es-CO" dirty="0" err="1"/>
              <a:t>Edit</a:t>
            </a:r>
            <a:r>
              <a:rPr lang="es-CO" dirty="0"/>
              <a:t> Master </a:t>
            </a:r>
            <a:r>
              <a:rPr lang="es-CO" dirty="0" err="1"/>
              <a:t>text</a:t>
            </a:r>
            <a:r>
              <a:rPr lang="es-CO" dirty="0"/>
              <a:t> </a:t>
            </a:r>
            <a:r>
              <a:rPr lang="es-CO" dirty="0" err="1"/>
              <a:t>styles</a:t>
            </a:r>
            <a:endParaRPr lang="es-CO" dirty="0"/>
          </a:p>
          <a:p>
            <a:pPr lvl="1" latinLnBrk="0"/>
            <a:r>
              <a:rPr lang="es-CO" dirty="0" err="1"/>
              <a:t>Second</a:t>
            </a:r>
            <a:r>
              <a:rPr lang="es-CO" dirty="0"/>
              <a:t> </a:t>
            </a:r>
            <a:r>
              <a:rPr lang="es-CO" dirty="0" err="1"/>
              <a:t>level</a:t>
            </a:r>
            <a:endParaRPr lang="es-CO" dirty="0"/>
          </a:p>
          <a:p>
            <a:pPr lvl="2" latinLnBrk="0"/>
            <a:r>
              <a:rPr lang="es-CO" dirty="0" err="1"/>
              <a:t>Third</a:t>
            </a:r>
            <a:r>
              <a:rPr lang="es-CO" dirty="0"/>
              <a:t> </a:t>
            </a:r>
            <a:r>
              <a:rPr lang="es-CO" dirty="0" err="1"/>
              <a:t>level</a:t>
            </a:r>
            <a:endParaRPr lang="es-CO" dirty="0"/>
          </a:p>
          <a:p>
            <a:pPr lvl="3" latinLnBrk="0"/>
            <a:r>
              <a:rPr lang="es-CO" dirty="0" err="1"/>
              <a:t>Fourth</a:t>
            </a:r>
            <a:r>
              <a:rPr lang="es-CO" dirty="0"/>
              <a:t> </a:t>
            </a:r>
            <a:r>
              <a:rPr lang="es-CO" dirty="0" err="1"/>
              <a:t>level</a:t>
            </a:r>
            <a:endParaRPr lang="es-CO" dirty="0"/>
          </a:p>
          <a:p>
            <a:pPr lvl="4" latinLnBrk="0"/>
            <a:r>
              <a:rPr lang="es-CO" dirty="0" err="1"/>
              <a:t>Fifth</a:t>
            </a:r>
            <a:r>
              <a:rPr lang="es-CO" dirty="0"/>
              <a:t> </a:t>
            </a:r>
            <a:r>
              <a:rPr lang="es-CO" dirty="0" err="1"/>
              <a:t>level</a:t>
            </a:r>
            <a:endParaRPr lang="es-CO" dirty="0"/>
          </a:p>
        </p:txBody>
      </p:sp>
    </p:spTree>
    <p:extLst>
      <p:ext uri="{BB962C8B-B14F-4D97-AF65-F5344CB8AC3E}">
        <p14:creationId xmlns:p14="http://schemas.microsoft.com/office/powerpoint/2010/main" val="499896592"/>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Lst>
  <p:hf hdr="0" ftr="0" dt="0"/>
  <p:txStyles>
    <p:titleStyle>
      <a:lvl1pPr algn="l" defTabSz="1218095" rtl="0" eaLnBrk="1" fontAlgn="base" hangingPunct="1">
        <a:spcBef>
          <a:spcPct val="0"/>
        </a:spcBef>
        <a:spcAft>
          <a:spcPct val="0"/>
        </a:spcAft>
        <a:tabLst>
          <a:tab pos="367156" algn="l"/>
        </a:tabLst>
        <a:defRPr sz="2041" b="0" baseline="0">
          <a:solidFill>
            <a:schemeClr val="tx2"/>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s-E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s-ES" sz="1632" baseline="0" dirty="0">
          <a:solidFill>
            <a:schemeClr val="tx1"/>
          </a:solidFill>
          <a:latin typeface="+mn-lt"/>
          <a:ea typeface="+mn-ea"/>
          <a:cs typeface="+mn-cs"/>
        </a:defRPr>
      </a:lvl2pPr>
      <a:lvl3pPr marL="455462" indent="-253443" algn="l" defTabSz="913526" rtl="0" eaLnBrk="1" fontAlgn="base" latinLnBrk="0" hangingPunct="1">
        <a:spcBef>
          <a:spcPct val="0"/>
        </a:spcBef>
        <a:spcAft>
          <a:spcPct val="0"/>
        </a:spcAft>
        <a:buClr>
          <a:schemeClr val="tx2"/>
        </a:buClr>
        <a:buSzPct val="120000"/>
        <a:buFont typeface="Arial" charset="0"/>
        <a:buChar char="–"/>
        <a:defRPr lang="es-E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s-E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s-E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s-E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Diapositiva de think-cell" r:id="rId24" imgW="270" imgH="270" progId="TCLayout.ActiveDocument.1">
                  <p:embed/>
                </p:oleObj>
              </mc:Choice>
              <mc:Fallback>
                <p:oleObj name="Diapositiva de think-cell" r:id="rId24" imgW="270" imgH="270" progId="TCLayout.ActiveDocument.1">
                  <p:embed/>
                  <p:pic>
                    <p:nvPicPr>
                      <p:cNvPr id="2" name="Object 1" hidden="1"/>
                      <p:cNvPicPr/>
                      <p:nvPr/>
                    </p:nvPicPr>
                    <p:blipFill>
                      <a:blip r:embed="rId25"/>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s-ES"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s-ES" sz="612" baseline="0" noProof="0">
              <a:solidFill>
                <a:schemeClr val="accent6"/>
              </a:solidFill>
              <a:latin typeface="+mn-lt"/>
              <a:ea typeface="+mn-ea"/>
            </a:endParaRPr>
          </a:p>
        </p:txBody>
      </p:sp>
      <p:sp>
        <p:nvSpPr>
          <p:cNvPr id="1034" name="Working Draft" hidden="1"/>
          <p:cNvSpPr txBox="1">
            <a:spLocks noChangeArrowheads="1"/>
          </p:cNvSpPr>
          <p:nvPr/>
        </p:nvSpPr>
        <p:spPr bwMode="gray">
          <a:xfrm rot="5400000">
            <a:off x="11145072" y="1979060"/>
            <a:ext cx="1903795"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a:solidFill>
                  <a:schemeClr val="accent6"/>
                </a:solidFill>
                <a:latin typeface="+mn-lt"/>
                <a:ea typeface="+mn-ea"/>
              </a:rPr>
              <a:t>Last Modified 8/27/2019 06:39 Central Standard Time</a:t>
            </a:r>
            <a:endParaRPr lang="es-ES" sz="612" baseline="0" noProof="0">
              <a:solidFill>
                <a:schemeClr val="accent6"/>
              </a:solidFill>
              <a:latin typeface="+mn-lt"/>
              <a:ea typeface="+mn-ea"/>
            </a:endParaRPr>
          </a:p>
        </p:txBody>
      </p:sp>
      <p:sp>
        <p:nvSpPr>
          <p:cNvPr id="1035" name="Printed" hidden="1"/>
          <p:cNvSpPr txBox="1">
            <a:spLocks noChangeArrowheads="1"/>
          </p:cNvSpPr>
          <p:nvPr/>
        </p:nvSpPr>
        <p:spPr bwMode="gray">
          <a:xfrm rot="5400000">
            <a:off x="11970213" y="4197040"/>
            <a:ext cx="253513"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s-ES" sz="612" baseline="0" noProof="0">
                <a:solidFill>
                  <a:schemeClr val="accent6"/>
                </a:solidFill>
                <a:latin typeface="+mn-lt"/>
                <a:ea typeface="+mn-ea"/>
              </a:rPr>
              <a:t>Printed</a:t>
            </a: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s-ES" noProof="0"/>
          </a:p>
        </p:txBody>
      </p:sp>
      <p:sp>
        <p:nvSpPr>
          <p:cNvPr id="10" name="1. On-page tracker" hidden="1"/>
          <p:cNvSpPr>
            <a:spLocks noChangeArrowheads="1"/>
          </p:cNvSpPr>
          <p:nvPr/>
        </p:nvSpPr>
        <p:spPr bwMode="gray">
          <a:xfrm>
            <a:off x="161986" y="77303"/>
            <a:ext cx="63624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s-ES" sz="1020" cap="all" baseline="0" noProof="0">
                <a:solidFill>
                  <a:schemeClr val="accent2"/>
                </a:solidFill>
                <a:latin typeface="+mn-lt"/>
                <a:ea typeface="+mn-ea"/>
              </a:rPr>
              <a:t>Tracker</a:t>
            </a:r>
          </a:p>
        </p:txBody>
      </p:sp>
      <p:sp>
        <p:nvSpPr>
          <p:cNvPr id="11" name="3. Unit of measure" hidden="1"/>
          <p:cNvSpPr txBox="1">
            <a:spLocks noChangeArrowheads="1"/>
          </p:cNvSpPr>
          <p:nvPr/>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s-ES" sz="1632" baseline="0" noProof="0">
                <a:solidFill>
                  <a:schemeClr val="accent2"/>
                </a:solidFill>
                <a:latin typeface="+mn-lt"/>
                <a:ea typeface="+mn-ea"/>
              </a:rPr>
              <a:t>NOMBRE DEL CLIENTE</a:t>
            </a:r>
          </a:p>
        </p:txBody>
      </p:sp>
      <p:sp>
        <p:nvSpPr>
          <p:cNvPr id="13" name="4. Footnote" hidden="1"/>
          <p:cNvSpPr txBox="1">
            <a:spLocks noChangeArrowheads="1"/>
          </p:cNvSpPr>
          <p:nvPr/>
        </p:nvSpPr>
        <p:spPr bwMode="gray">
          <a:xfrm>
            <a:off x="161986" y="6432273"/>
            <a:ext cx="9830692"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s-ES" sz="816" baseline="0" noProof="0">
                <a:solidFill>
                  <a:schemeClr val="accent6"/>
                </a:solidFill>
                <a:latin typeface="+mn-lt"/>
                <a:ea typeface="+mn-ea"/>
              </a:rPr>
              <a:t>1 Nota al pie</a:t>
            </a:r>
          </a:p>
        </p:txBody>
      </p:sp>
      <p:sp>
        <p:nvSpPr>
          <p:cNvPr id="14" name="5. Source" hidden="1"/>
          <p:cNvSpPr>
            <a:spLocks noChangeArrowheads="1"/>
          </p:cNvSpPr>
          <p:nvPr/>
        </p:nvSpPr>
        <p:spPr bwMode="gray">
          <a:xfrm>
            <a:off x="161986" y="6637982"/>
            <a:ext cx="9830692"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s-ES" sz="816" baseline="0" noProof="0">
                <a:solidFill>
                  <a:schemeClr val="accent6"/>
                </a:solidFill>
                <a:latin typeface="+mn-lt"/>
                <a:ea typeface="+mn-ea"/>
              </a:rPr>
              <a:t>FUENTE: Fuente</a:t>
            </a:r>
          </a:p>
        </p:txBody>
      </p:sp>
      <p:grpSp>
        <p:nvGrpSpPr>
          <p:cNvPr id="15" name="ACET" hidden="1"/>
          <p:cNvGrpSpPr>
            <a:grpSpLocks/>
          </p:cNvGrpSpPr>
          <p:nvPr/>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s-ES" sz="1632" b="1" baseline="0" noProof="0">
                  <a:latin typeface="+mn-lt"/>
                  <a:ea typeface="+mn-ea"/>
                </a:rPr>
                <a:t>Título</a:t>
              </a:r>
            </a:p>
            <a:p>
              <a:r>
                <a:rPr lang="es-ES" sz="1632" baseline="0" noProof="0">
                  <a:solidFill>
                    <a:schemeClr val="accent6"/>
                  </a:solidFill>
                  <a:latin typeface="+mn-lt"/>
                  <a:ea typeface="+mn-ea"/>
                </a:rPr>
                <a:t>Unit of measure</a:t>
              </a:r>
            </a:p>
          </p:txBody>
        </p:sp>
      </p:grpSp>
      <p:grpSp>
        <p:nvGrpSpPr>
          <p:cNvPr id="17" name="Sticker" hidden="1"/>
          <p:cNvGrpSpPr/>
          <p:nvPr/>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s-ES" sz="816" baseline="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p:nvGrpSpPr>
        <p:grpSpPr bwMode="gray">
          <a:xfrm>
            <a:off x="11108191" y="285075"/>
            <a:ext cx="789093" cy="1021522"/>
            <a:chOff x="7835905" y="279400"/>
            <a:chExt cx="773373" cy="1001186"/>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sp>
          <p:nvSpPr>
            <p:cNvPr id="28"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sp>
          <p:nvSpPr>
            <p:cNvPr id="29"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sp>
          <p:nvSpPr>
            <p:cNvPr id="30"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sp>
          <p:nvSpPr>
            <p:cNvPr id="31"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grpSp>
      <p:grpSp>
        <p:nvGrpSpPr>
          <p:cNvPr id="32" name="LegendLines" hidden="1"/>
          <p:cNvGrpSpPr/>
          <p:nvPr/>
        </p:nvGrpSpPr>
        <p:grpSpPr bwMode="gray">
          <a:xfrm>
            <a:off x="10794126" y="285075"/>
            <a:ext cx="1103328" cy="749405"/>
            <a:chOff x="7540629" y="279400"/>
            <a:chExt cx="1081348" cy="734486"/>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s-ES" sz="1837" baseline="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s-ES" sz="1837" baseline="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s-ES" sz="1837" baseline="0">
                <a:latin typeface="+mn-lt"/>
                <a:ea typeface="+mn-ea"/>
              </a:endParaRPr>
            </a:p>
          </p:txBody>
        </p:sp>
        <p:sp>
          <p:nvSpPr>
            <p:cNvPr id="36"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sp>
          <p:nvSpPr>
            <p:cNvPr id="37"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sp>
          <p:nvSpPr>
            <p:cNvPr id="38"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grpSp>
      <p:grpSp>
        <p:nvGrpSpPr>
          <p:cNvPr id="39" name="LegendMoons" hidden="1"/>
          <p:cNvGrpSpPr/>
          <p:nvPr/>
        </p:nvGrpSpPr>
        <p:grpSpPr bwMode="gray">
          <a:xfrm>
            <a:off x="11040160" y="255920"/>
            <a:ext cx="857123" cy="1333054"/>
            <a:chOff x="7769225" y="250825"/>
            <a:chExt cx="840048" cy="1306516"/>
          </a:xfrm>
        </p:grpSpPr>
        <p:grpSp>
          <p:nvGrpSpPr>
            <p:cNvPr id="40" name="MoonLegend1"/>
            <p:cNvGrpSpPr>
              <a:grpSpLocks noChangeAspect="1"/>
            </p:cNvGrpSpPr>
            <p:nvPr>
              <p:custDataLst>
                <p:tags r:id="rId9"/>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sp>
            <p:nvSpPr>
              <p:cNvPr id="59"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grpSp>
        <p:grpSp>
          <p:nvGrpSpPr>
            <p:cNvPr id="41" name="MoonLegend2"/>
            <p:cNvGrpSpPr>
              <a:grpSpLocks noChangeAspect="1"/>
            </p:cNvGrpSpPr>
            <p:nvPr>
              <p:custDataLst>
                <p:tags r:id="rId10"/>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sp>
            <p:nvSpPr>
              <p:cNvPr id="57" name="Arc 42"/>
              <p:cNvSpPr>
                <a:spLocks noChangeAspect="1"/>
              </p:cNvSpPr>
              <p:nvPr>
                <p:custDataLst>
                  <p:tags r:id="rId21"/>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grpSp>
        <p:grpSp>
          <p:nvGrpSpPr>
            <p:cNvPr id="42"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sp>
            <p:nvSpPr>
              <p:cNvPr id="55"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grpSp>
        <p:grpSp>
          <p:nvGrpSpPr>
            <p:cNvPr id="43"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sp>
            <p:nvSpPr>
              <p:cNvPr id="53"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grpSp>
        <p:grpSp>
          <p:nvGrpSpPr>
            <p:cNvPr id="44" name="MoonLegend3"/>
            <p:cNvGrpSpPr>
              <a:grpSpLocks noChangeAspect="1"/>
            </p:cNvGrpSpPr>
            <p:nvPr>
              <p:custDataLst>
                <p:tags r:id="rId13"/>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sp>
            <p:nvSpPr>
              <p:cNvPr id="51"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ES" sz="1837" baseline="0">
                  <a:latin typeface="+mn-lt"/>
                  <a:ea typeface="+mn-ea"/>
                </a:endParaRPr>
              </a:p>
            </p:txBody>
          </p:sp>
        </p:grpSp>
        <p:sp>
          <p:nvSpPr>
            <p:cNvPr id="45" name="Legend1"/>
            <p:cNvSpPr>
              <a:spLocks noChangeArrowheads="1"/>
            </p:cNvSpPr>
            <p:nvPr/>
          </p:nvSpPr>
          <p:spPr bwMode="gray">
            <a:xfrm>
              <a:off x="8089900" y="26352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sp>
          <p:nvSpPr>
            <p:cNvPr id="46" name="Legend2"/>
            <p:cNvSpPr>
              <a:spLocks noChangeArrowheads="1"/>
            </p:cNvSpPr>
            <p:nvPr/>
          </p:nvSpPr>
          <p:spPr bwMode="gray">
            <a:xfrm>
              <a:off x="8089900" y="538163"/>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sp>
          <p:nvSpPr>
            <p:cNvPr id="47" name="Legend3"/>
            <p:cNvSpPr>
              <a:spLocks noChangeArrowheads="1"/>
            </p:cNvSpPr>
            <p:nvPr/>
          </p:nvSpPr>
          <p:spPr bwMode="gray">
            <a:xfrm>
              <a:off x="8089900" y="812802"/>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sp>
          <p:nvSpPr>
            <p:cNvPr id="48" name="Legend4"/>
            <p:cNvSpPr>
              <a:spLocks noChangeArrowheads="1"/>
            </p:cNvSpPr>
            <p:nvPr/>
          </p:nvSpPr>
          <p:spPr bwMode="gray">
            <a:xfrm>
              <a:off x="8089900" y="108426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sp>
          <p:nvSpPr>
            <p:cNvPr id="49" name="Legend5"/>
            <p:cNvSpPr>
              <a:spLocks noChangeArrowheads="1"/>
            </p:cNvSpPr>
            <p:nvPr/>
          </p:nvSpPr>
          <p:spPr bwMode="gray">
            <a:xfrm>
              <a:off x="8089900" y="1360490"/>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ES" sz="1224" baseline="0">
                  <a:latin typeface="+mn-lt"/>
                  <a:ea typeface="+mn-ea"/>
                </a:rPr>
                <a:t>Legend</a:t>
              </a:r>
            </a:p>
          </p:txBody>
        </p:sp>
      </p:grpSp>
      <p:sp>
        <p:nvSpPr>
          <p:cNvPr id="60" name="SlideBottomBar" hidden="1"/>
          <p:cNvSpPr/>
          <p:nvPr/>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37" baseline="0">
              <a:solidFill>
                <a:schemeClr val="tx1"/>
              </a:solidFill>
              <a:latin typeface="+mn-lt"/>
              <a:ea typeface="+mn-ea"/>
            </a:endParaRPr>
          </a:p>
        </p:txBody>
      </p:sp>
      <p:sp>
        <p:nvSpPr>
          <p:cNvPr id="61" name="Text Placeholder 2"/>
          <p:cNvSpPr>
            <a:spLocks noGrp="1"/>
          </p:cNvSpPr>
          <p:nvPr>
            <p:ph type="body" idx="1"/>
          </p:nvPr>
        </p:nvSpPr>
        <p:spPr bwMode="gray">
          <a:xfrm>
            <a:off x="1482091" y="1991016"/>
            <a:ext cx="4389573" cy="1346156"/>
          </a:xfrm>
          <a:prstGeom prst="rect">
            <a:avLst/>
          </a:prstGeom>
        </p:spPr>
        <p:txBody>
          <a:bodyPr vert="horz" lIns="0" tIns="0" rIns="0" bIns="0" rtlCol="0">
            <a:no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s-ES"/>
          </a:p>
        </p:txBody>
      </p:sp>
    </p:spTree>
    <p:extLst>
      <p:ext uri="{BB962C8B-B14F-4D97-AF65-F5344CB8AC3E}">
        <p14:creationId xmlns:p14="http://schemas.microsoft.com/office/powerpoint/2010/main" val="1091507593"/>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5" r:id="rId5"/>
  </p:sldLayoutIdLst>
  <p:hf hdr="0" ftr="0" dt="0"/>
  <p:txStyles>
    <p:titleStyle>
      <a:lvl1pPr algn="l" defTabSz="1218095" rtl="0" eaLnBrk="1" fontAlgn="base" hangingPunct="1">
        <a:spcBef>
          <a:spcPct val="0"/>
        </a:spcBef>
        <a:spcAft>
          <a:spcPct val="0"/>
        </a:spcAft>
        <a:tabLst>
          <a:tab pos="367156" algn="l"/>
        </a:tabLst>
        <a:defRPr sz="2041" b="0" baseline="0">
          <a:solidFill>
            <a:schemeClr val="tx2"/>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s-E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s-ES" sz="1632" baseline="0" dirty="0">
          <a:solidFill>
            <a:schemeClr val="tx1"/>
          </a:solidFill>
          <a:latin typeface="+mn-lt"/>
          <a:ea typeface="+mn-ea"/>
          <a:cs typeface="+mn-cs"/>
        </a:defRPr>
      </a:lvl2pPr>
      <a:lvl3pPr marL="455462" indent="-253443" algn="l" defTabSz="913526" rtl="0" eaLnBrk="1" fontAlgn="base" latinLnBrk="0" hangingPunct="1">
        <a:spcBef>
          <a:spcPct val="0"/>
        </a:spcBef>
        <a:spcAft>
          <a:spcPct val="0"/>
        </a:spcAft>
        <a:buClr>
          <a:schemeClr val="tx2"/>
        </a:buClr>
        <a:buSzPct val="120000"/>
        <a:buFont typeface="Arial" charset="0"/>
        <a:buChar char="–"/>
        <a:defRPr lang="es-E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s-E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s-E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s-E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3438996378"/>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Diapositiva de think-cell" r:id="rId24" imgW="270" imgH="270" progId="TCLayout.ActiveDocument.1">
                  <p:embed/>
                </p:oleObj>
              </mc:Choice>
              <mc:Fallback>
                <p:oleObj name="Diapositiva de think-cell" r:id="rId24" imgW="270" imgH="270" progId="TCLayout.ActiveDocument.1">
                  <p:embed/>
                  <p:pic>
                    <p:nvPicPr>
                      <p:cNvPr id="2" name="Object 1" hidden="1"/>
                      <p:cNvPicPr/>
                      <p:nvPr/>
                    </p:nvPicPr>
                    <p:blipFill>
                      <a:blip r:embed="rId25"/>
                      <a:stretch>
                        <a:fillRect/>
                      </a:stretch>
                    </p:blipFill>
                    <p:spPr>
                      <a:xfrm>
                        <a:off x="0" y="0"/>
                        <a:ext cx="215979" cy="161974"/>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es-CO" sz="2176"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s-CO" sz="612"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11000326" y="1979060"/>
            <a:ext cx="2193290"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a:solidFill>
                  <a:schemeClr val="accent6"/>
                </a:solidFill>
                <a:latin typeface="+mn-lt"/>
                <a:ea typeface="+mn-ea"/>
              </a:rPr>
              <a:t>Last Modified 10/10/2019 3:29 p.m. SA Pacific Standard Time</a:t>
            </a:r>
            <a:endParaRPr lang="es-CO" sz="612"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11970213" y="4197040"/>
            <a:ext cx="253513"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s-CO" sz="612" baseline="0" noProof="0" dirty="0" err="1">
                <a:solidFill>
                  <a:schemeClr val="accent6"/>
                </a:solidFill>
                <a:latin typeface="+mn-lt"/>
                <a:ea typeface="+mn-ea"/>
              </a:rPr>
              <a:t>Printed</a:t>
            </a:r>
            <a:endParaRPr lang="es-CO" sz="612"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s-CO" noProof="0" dirty="0"/>
          </a:p>
        </p:txBody>
      </p:sp>
      <p:sp>
        <p:nvSpPr>
          <p:cNvPr id="10" name="1. On-page tracker" hidden="1"/>
          <p:cNvSpPr>
            <a:spLocks noChangeArrowheads="1"/>
          </p:cNvSpPr>
          <p:nvPr userDrawn="1"/>
        </p:nvSpPr>
        <p:spPr bwMode="gray">
          <a:xfrm>
            <a:off x="161986" y="77303"/>
            <a:ext cx="63624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s-CO" sz="1020" cap="all" baseline="0" noProof="0" dirty="0" err="1">
                <a:solidFill>
                  <a:schemeClr val="accent2"/>
                </a:solidFill>
                <a:latin typeface="+mn-lt"/>
                <a:ea typeface="+mn-ea"/>
              </a:rPr>
              <a:t>Tracker</a:t>
            </a:r>
            <a:endParaRPr lang="es-CO" sz="1020" cap="all" baseline="0" noProof="0" dirty="0">
              <a:solidFill>
                <a:schemeClr val="accent2"/>
              </a:solidFill>
              <a:latin typeface="+mn-lt"/>
              <a:ea typeface="+mn-ea"/>
            </a:endParaRPr>
          </a:p>
        </p:txBody>
      </p:sp>
      <p:sp>
        <p:nvSpPr>
          <p:cNvPr id="11" name="3. Unit of measure" hidden="1"/>
          <p:cNvSpPr txBox="1">
            <a:spLocks noChangeArrowheads="1"/>
          </p:cNvSpPr>
          <p:nvPr userDrawn="1"/>
        </p:nvSpPr>
        <p:spPr bwMode="gray">
          <a:xfrm>
            <a:off x="161987" y="566136"/>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s-CO" sz="1632" baseline="0" noProof="0" dirty="0">
                <a:solidFill>
                  <a:schemeClr val="accent2"/>
                </a:solidFill>
                <a:latin typeface="+mn-lt"/>
                <a:ea typeface="+mn-ea"/>
              </a:rPr>
              <a:t>NOMBRE DEL CLIENTE</a:t>
            </a:r>
          </a:p>
        </p:txBody>
      </p:sp>
      <p:sp>
        <p:nvSpPr>
          <p:cNvPr id="13" name="4. Footnote" hidden="1"/>
          <p:cNvSpPr txBox="1">
            <a:spLocks noChangeArrowheads="1"/>
          </p:cNvSpPr>
          <p:nvPr/>
        </p:nvSpPr>
        <p:spPr bwMode="gray">
          <a:xfrm>
            <a:off x="161986" y="6432273"/>
            <a:ext cx="9830692"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7465" indent="-87465">
              <a:defRPr/>
            </a:pPr>
            <a:r>
              <a:rPr lang="es-CO" sz="816" baseline="0" noProof="0" dirty="0">
                <a:solidFill>
                  <a:schemeClr val="accent6"/>
                </a:solidFill>
                <a:latin typeface="+mn-lt"/>
                <a:ea typeface="+mn-ea"/>
              </a:rPr>
              <a:t>1 Nota al pie</a:t>
            </a:r>
          </a:p>
        </p:txBody>
      </p:sp>
      <p:sp>
        <p:nvSpPr>
          <p:cNvPr id="14" name="5. Source" hidden="1"/>
          <p:cNvSpPr>
            <a:spLocks noChangeArrowheads="1"/>
          </p:cNvSpPr>
          <p:nvPr/>
        </p:nvSpPr>
        <p:spPr bwMode="gray">
          <a:xfrm>
            <a:off x="161986" y="6637982"/>
            <a:ext cx="9830692"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03735" indent="-503735" defTabSz="1218095">
              <a:tabLst/>
            </a:pPr>
            <a:r>
              <a:rPr lang="es-CO" sz="816" baseline="0" noProof="0" dirty="0">
                <a:solidFill>
                  <a:schemeClr val="accent6"/>
                </a:solidFill>
                <a:latin typeface="+mn-lt"/>
                <a:ea typeface="+mn-ea"/>
              </a:rPr>
              <a:t>FUENTE: Fuente</a:t>
            </a:r>
          </a:p>
        </p:txBody>
      </p:sp>
      <p:grpSp>
        <p:nvGrpSpPr>
          <p:cNvPr id="15" name="ACET" hidden="1"/>
          <p:cNvGrpSpPr>
            <a:grpSpLocks/>
          </p:cNvGrpSpPr>
          <p:nvPr userDrawn="1"/>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s-CO" sz="1632" b="1" baseline="0" noProof="0" dirty="0">
                  <a:latin typeface="+mn-lt"/>
                  <a:ea typeface="+mn-ea"/>
                </a:rPr>
                <a:t>Título</a:t>
              </a:r>
            </a:p>
            <a:p>
              <a:r>
                <a:rPr lang="es-CO" sz="1632" baseline="0" noProof="0" dirty="0" err="1">
                  <a:solidFill>
                    <a:schemeClr val="accent6"/>
                  </a:solidFill>
                  <a:latin typeface="+mn-lt"/>
                  <a:ea typeface="+mn-ea"/>
                </a:rPr>
                <a:t>Unit</a:t>
              </a:r>
              <a:r>
                <a:rPr lang="es-CO" sz="1632" baseline="0" noProof="0" dirty="0">
                  <a:solidFill>
                    <a:schemeClr val="accent6"/>
                  </a:solidFill>
                  <a:latin typeface="+mn-lt"/>
                  <a:ea typeface="+mn-ea"/>
                </a:rPr>
                <a:t> </a:t>
              </a:r>
              <a:r>
                <a:rPr lang="es-CO" sz="1632" baseline="0" noProof="0" dirty="0" err="1">
                  <a:solidFill>
                    <a:schemeClr val="accent6"/>
                  </a:solidFill>
                  <a:latin typeface="+mn-lt"/>
                  <a:ea typeface="+mn-ea"/>
                </a:rPr>
                <a:t>of</a:t>
              </a:r>
              <a:r>
                <a:rPr lang="es-CO" sz="1632" baseline="0" noProof="0" dirty="0">
                  <a:solidFill>
                    <a:schemeClr val="accent6"/>
                  </a:solidFill>
                  <a:latin typeface="+mn-lt"/>
                  <a:ea typeface="+mn-ea"/>
                </a:rPr>
                <a:t> </a:t>
              </a:r>
              <a:r>
                <a:rPr lang="es-CO" sz="1632" baseline="0" noProof="0" dirty="0" err="1">
                  <a:solidFill>
                    <a:schemeClr val="accent6"/>
                  </a:solidFill>
                  <a:latin typeface="+mn-lt"/>
                  <a:ea typeface="+mn-ea"/>
                </a:rPr>
                <a:t>measure</a:t>
              </a:r>
              <a:endParaRPr lang="es-CO" sz="1632" baseline="0" noProof="0" dirty="0">
                <a:solidFill>
                  <a:schemeClr val="accent6"/>
                </a:solidFill>
                <a:latin typeface="+mn-lt"/>
                <a:ea typeface="+mn-ea"/>
              </a:endParaRPr>
            </a:p>
          </p:txBody>
        </p:sp>
      </p:grpSp>
      <p:grpSp>
        <p:nvGrpSpPr>
          <p:cNvPr id="17" name="Sticker" hidden="1"/>
          <p:cNvGrpSpPr/>
          <p:nvPr userDrawn="1"/>
        </p:nvGrpSpPr>
        <p:grpSpPr bwMode="gray">
          <a:xfrm>
            <a:off x="11394692" y="291554"/>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18095">
                <a:buClr>
                  <a:schemeClr val="tx2"/>
                </a:buClr>
              </a:pPr>
              <a:r>
                <a:rPr lang="es-CO"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11108191" y="285075"/>
            <a:ext cx="789093" cy="1021522"/>
            <a:chOff x="7835905" y="279400"/>
            <a:chExt cx="773373" cy="1001186"/>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sp>
          <p:nvSpPr>
            <p:cNvPr id="28"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sp>
          <p:nvSpPr>
            <p:cNvPr id="29"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sp>
          <p:nvSpPr>
            <p:cNvPr id="30"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sp>
          <p:nvSpPr>
            <p:cNvPr id="31"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grpSp>
      <p:grpSp>
        <p:nvGrpSpPr>
          <p:cNvPr id="32" name="LegendLines" hidden="1"/>
          <p:cNvGrpSpPr/>
          <p:nvPr userDrawn="1"/>
        </p:nvGrpSpPr>
        <p:grpSpPr bwMode="gray">
          <a:xfrm>
            <a:off x="10794126" y="285075"/>
            <a:ext cx="1103328" cy="749405"/>
            <a:chOff x="7540629" y="279400"/>
            <a:chExt cx="1081348" cy="734486"/>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s-CO" sz="1837"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s-CO" sz="1837"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s-CO" sz="1837" baseline="0" dirty="0">
                <a:latin typeface="+mn-lt"/>
                <a:ea typeface="+mn-ea"/>
              </a:endParaRPr>
            </a:p>
          </p:txBody>
        </p:sp>
        <p:sp>
          <p:nvSpPr>
            <p:cNvPr id="36"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sp>
          <p:nvSpPr>
            <p:cNvPr id="37"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sp>
          <p:nvSpPr>
            <p:cNvPr id="38"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grpSp>
      <p:grpSp>
        <p:nvGrpSpPr>
          <p:cNvPr id="39" name="LegendMoons" hidden="1"/>
          <p:cNvGrpSpPr/>
          <p:nvPr userDrawn="1"/>
        </p:nvGrpSpPr>
        <p:grpSpPr bwMode="gray">
          <a:xfrm>
            <a:off x="11040160" y="255920"/>
            <a:ext cx="857123" cy="1333054"/>
            <a:chOff x="7769225" y="250825"/>
            <a:chExt cx="840048" cy="1306516"/>
          </a:xfrm>
        </p:grpSpPr>
        <p:grpSp>
          <p:nvGrpSpPr>
            <p:cNvPr id="40" name="MoonLegend1"/>
            <p:cNvGrpSpPr>
              <a:grpSpLocks noChangeAspect="1"/>
            </p:cNvGrpSpPr>
            <p:nvPr>
              <p:custDataLst>
                <p:tags r:id="rId9"/>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sp>
            <p:nvSpPr>
              <p:cNvPr id="59"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grpSp>
        <p:grpSp>
          <p:nvGrpSpPr>
            <p:cNvPr id="41" name="MoonLegend2"/>
            <p:cNvGrpSpPr>
              <a:grpSpLocks noChangeAspect="1"/>
            </p:cNvGrpSpPr>
            <p:nvPr>
              <p:custDataLst>
                <p:tags r:id="rId10"/>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sp>
            <p:nvSpPr>
              <p:cNvPr id="57" name="Arc 42"/>
              <p:cNvSpPr>
                <a:spLocks noChangeAspect="1"/>
              </p:cNvSpPr>
              <p:nvPr>
                <p:custDataLst>
                  <p:tags r:id="rId21"/>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grpSp>
        <p:grpSp>
          <p:nvGrpSpPr>
            <p:cNvPr id="42"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sp>
            <p:nvSpPr>
              <p:cNvPr id="55"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grpSp>
        <p:grpSp>
          <p:nvGrpSpPr>
            <p:cNvPr id="43"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sp>
            <p:nvSpPr>
              <p:cNvPr id="53"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grpSp>
        <p:grpSp>
          <p:nvGrpSpPr>
            <p:cNvPr id="44" name="MoonLegend3"/>
            <p:cNvGrpSpPr>
              <a:grpSpLocks noChangeAspect="1"/>
            </p:cNvGrpSpPr>
            <p:nvPr>
              <p:custDataLst>
                <p:tags r:id="rId13"/>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sp>
            <p:nvSpPr>
              <p:cNvPr id="51"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s-CO" sz="1837" baseline="0" dirty="0">
                  <a:latin typeface="+mn-lt"/>
                  <a:ea typeface="+mn-ea"/>
                </a:endParaRPr>
              </a:p>
            </p:txBody>
          </p:sp>
        </p:grpSp>
        <p:sp>
          <p:nvSpPr>
            <p:cNvPr id="45" name="Legend1"/>
            <p:cNvSpPr>
              <a:spLocks noChangeArrowheads="1"/>
            </p:cNvSpPr>
            <p:nvPr/>
          </p:nvSpPr>
          <p:spPr bwMode="gray">
            <a:xfrm>
              <a:off x="8089900" y="26352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sp>
          <p:nvSpPr>
            <p:cNvPr id="46" name="Legend2"/>
            <p:cNvSpPr>
              <a:spLocks noChangeArrowheads="1"/>
            </p:cNvSpPr>
            <p:nvPr/>
          </p:nvSpPr>
          <p:spPr bwMode="gray">
            <a:xfrm>
              <a:off x="8089900" y="538163"/>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sp>
          <p:nvSpPr>
            <p:cNvPr id="47" name="Legend3"/>
            <p:cNvSpPr>
              <a:spLocks noChangeArrowheads="1"/>
            </p:cNvSpPr>
            <p:nvPr/>
          </p:nvSpPr>
          <p:spPr bwMode="gray">
            <a:xfrm>
              <a:off x="8089900" y="812802"/>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sp>
          <p:nvSpPr>
            <p:cNvPr id="48" name="Legend4"/>
            <p:cNvSpPr>
              <a:spLocks noChangeArrowheads="1"/>
            </p:cNvSpPr>
            <p:nvPr/>
          </p:nvSpPr>
          <p:spPr bwMode="gray">
            <a:xfrm>
              <a:off x="8089900" y="1084265"/>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sp>
          <p:nvSpPr>
            <p:cNvPr id="49" name="Legend5"/>
            <p:cNvSpPr>
              <a:spLocks noChangeArrowheads="1"/>
            </p:cNvSpPr>
            <p:nvPr/>
          </p:nvSpPr>
          <p:spPr bwMode="gray">
            <a:xfrm>
              <a:off x="8089900" y="1360490"/>
              <a:ext cx="519373"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s-CO" sz="1224" baseline="0" dirty="0" err="1">
                  <a:latin typeface="+mn-lt"/>
                  <a:ea typeface="+mn-ea"/>
                </a:rPr>
                <a:t>Legend</a:t>
              </a:r>
              <a:endParaRPr lang="es-CO" sz="1224" baseline="0" dirty="0">
                <a:latin typeface="+mn-lt"/>
                <a:ea typeface="+mn-ea"/>
              </a:endParaRPr>
            </a:p>
          </p:txBody>
        </p:sp>
      </p:grpSp>
      <p:sp>
        <p:nvSpPr>
          <p:cNvPr id="60" name="SlideBottomBar" hidden="1"/>
          <p:cNvSpPr/>
          <p:nvPr userDrawn="1"/>
        </p:nvSpPr>
        <p:spPr>
          <a:xfrm>
            <a:off x="12003218" y="6639739"/>
            <a:ext cx="46648"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837" baseline="0" dirty="0">
              <a:solidFill>
                <a:schemeClr val="tx1"/>
              </a:solidFill>
              <a:latin typeface="+mn-lt"/>
              <a:ea typeface="+mn-ea"/>
            </a:endParaRPr>
          </a:p>
        </p:txBody>
      </p:sp>
      <p:sp>
        <p:nvSpPr>
          <p:cNvPr id="61" name="Text Placeholder 2"/>
          <p:cNvSpPr>
            <a:spLocks noGrp="1"/>
          </p:cNvSpPr>
          <p:nvPr userDrawn="1">
            <p:ph type="body" idx="1"/>
          </p:nvPr>
        </p:nvSpPr>
        <p:spPr bwMode="gray">
          <a:xfrm>
            <a:off x="1482091" y="1991016"/>
            <a:ext cx="4389573" cy="1346156"/>
          </a:xfrm>
          <a:prstGeom prst="rect">
            <a:avLst/>
          </a:prstGeom>
        </p:spPr>
        <p:txBody>
          <a:bodyPr vert="horz" lIns="0" tIns="0" rIns="0" bIns="0" rtlCol="0">
            <a:noAutofit/>
          </a:bodyPr>
          <a:lstStyle/>
          <a:p>
            <a:pPr lvl="0" latinLnBrk="0"/>
            <a:r>
              <a:rPr lang="es-CO" dirty="0" err="1"/>
              <a:t>Edit</a:t>
            </a:r>
            <a:r>
              <a:rPr lang="es-CO" dirty="0"/>
              <a:t> Master </a:t>
            </a:r>
            <a:r>
              <a:rPr lang="es-CO" dirty="0" err="1"/>
              <a:t>text</a:t>
            </a:r>
            <a:r>
              <a:rPr lang="es-CO" dirty="0"/>
              <a:t> </a:t>
            </a:r>
            <a:r>
              <a:rPr lang="es-CO" dirty="0" err="1"/>
              <a:t>styles</a:t>
            </a:r>
            <a:endParaRPr lang="es-CO" dirty="0"/>
          </a:p>
          <a:p>
            <a:pPr lvl="1" latinLnBrk="0"/>
            <a:r>
              <a:rPr lang="es-CO" dirty="0" err="1"/>
              <a:t>Second</a:t>
            </a:r>
            <a:r>
              <a:rPr lang="es-CO" dirty="0"/>
              <a:t> </a:t>
            </a:r>
            <a:r>
              <a:rPr lang="es-CO" dirty="0" err="1"/>
              <a:t>level</a:t>
            </a:r>
            <a:endParaRPr lang="es-CO" dirty="0"/>
          </a:p>
          <a:p>
            <a:pPr lvl="2" latinLnBrk="0"/>
            <a:r>
              <a:rPr lang="es-CO" dirty="0" err="1"/>
              <a:t>Third</a:t>
            </a:r>
            <a:r>
              <a:rPr lang="es-CO" dirty="0"/>
              <a:t> </a:t>
            </a:r>
            <a:r>
              <a:rPr lang="es-CO" dirty="0" err="1"/>
              <a:t>level</a:t>
            </a:r>
            <a:endParaRPr lang="es-CO" dirty="0"/>
          </a:p>
          <a:p>
            <a:pPr lvl="3" latinLnBrk="0"/>
            <a:r>
              <a:rPr lang="es-CO" dirty="0" err="1"/>
              <a:t>Fourth</a:t>
            </a:r>
            <a:r>
              <a:rPr lang="es-CO" dirty="0"/>
              <a:t> </a:t>
            </a:r>
            <a:r>
              <a:rPr lang="es-CO" dirty="0" err="1"/>
              <a:t>level</a:t>
            </a:r>
            <a:endParaRPr lang="es-CO" dirty="0"/>
          </a:p>
          <a:p>
            <a:pPr lvl="4" latinLnBrk="0"/>
            <a:r>
              <a:rPr lang="es-CO" dirty="0" err="1"/>
              <a:t>Fifth</a:t>
            </a:r>
            <a:r>
              <a:rPr lang="es-CO" dirty="0"/>
              <a:t> </a:t>
            </a:r>
            <a:r>
              <a:rPr lang="es-CO" dirty="0" err="1"/>
              <a:t>level</a:t>
            </a:r>
            <a:endParaRPr lang="es-CO" dirty="0"/>
          </a:p>
        </p:txBody>
      </p:sp>
    </p:spTree>
    <p:extLst>
      <p:ext uri="{BB962C8B-B14F-4D97-AF65-F5344CB8AC3E}">
        <p14:creationId xmlns:p14="http://schemas.microsoft.com/office/powerpoint/2010/main" val="3446563673"/>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Lst>
  <p:hf hdr="0" ftr="0" dt="0"/>
  <p:txStyles>
    <p:titleStyle>
      <a:lvl1pPr algn="l" defTabSz="1218095" rtl="0" eaLnBrk="1" fontAlgn="base" hangingPunct="1">
        <a:spcBef>
          <a:spcPct val="0"/>
        </a:spcBef>
        <a:spcAft>
          <a:spcPct val="0"/>
        </a:spcAft>
        <a:tabLst>
          <a:tab pos="367156" algn="l"/>
        </a:tabLst>
        <a:defRPr sz="2041" b="0" baseline="0">
          <a:solidFill>
            <a:schemeClr val="tx2"/>
          </a:solidFill>
          <a:latin typeface="+mj-lt"/>
          <a:ea typeface="+mj-ea"/>
          <a:cs typeface="+mj-cs"/>
        </a:defRPr>
      </a:lvl1pPr>
      <a:lvl2pPr algn="l" defTabSz="1218095" rtl="0" eaLnBrk="1" fontAlgn="base" hangingPunct="1">
        <a:spcBef>
          <a:spcPct val="0"/>
        </a:spcBef>
        <a:spcAft>
          <a:spcPct val="0"/>
        </a:spcAft>
        <a:defRPr sz="2584" b="1">
          <a:solidFill>
            <a:schemeClr val="tx2"/>
          </a:solidFill>
          <a:latin typeface="Arial" charset="0"/>
        </a:defRPr>
      </a:lvl2pPr>
      <a:lvl3pPr algn="l" defTabSz="1218095" rtl="0" eaLnBrk="1" fontAlgn="base" hangingPunct="1">
        <a:spcBef>
          <a:spcPct val="0"/>
        </a:spcBef>
        <a:spcAft>
          <a:spcPct val="0"/>
        </a:spcAft>
        <a:defRPr sz="2584" b="1">
          <a:solidFill>
            <a:schemeClr val="tx2"/>
          </a:solidFill>
          <a:latin typeface="Arial" charset="0"/>
        </a:defRPr>
      </a:lvl3pPr>
      <a:lvl4pPr algn="l" defTabSz="1218095" rtl="0" eaLnBrk="1" fontAlgn="base" hangingPunct="1">
        <a:spcBef>
          <a:spcPct val="0"/>
        </a:spcBef>
        <a:spcAft>
          <a:spcPct val="0"/>
        </a:spcAft>
        <a:defRPr sz="2584" b="1">
          <a:solidFill>
            <a:schemeClr val="tx2"/>
          </a:solidFill>
          <a:latin typeface="Arial" charset="0"/>
        </a:defRPr>
      </a:lvl4pPr>
      <a:lvl5pPr algn="l" defTabSz="1218095" rtl="0" eaLnBrk="1" fontAlgn="base" hangingPunct="1">
        <a:spcBef>
          <a:spcPct val="0"/>
        </a:spcBef>
        <a:spcAft>
          <a:spcPct val="0"/>
        </a:spcAft>
        <a:defRPr sz="2584" b="1">
          <a:solidFill>
            <a:schemeClr val="tx2"/>
          </a:solidFill>
          <a:latin typeface="Arial" charset="0"/>
        </a:defRPr>
      </a:lvl5pPr>
      <a:lvl6pPr marL="622005" algn="l" defTabSz="1218095" rtl="0" eaLnBrk="1" fontAlgn="base" hangingPunct="1">
        <a:spcBef>
          <a:spcPct val="0"/>
        </a:spcBef>
        <a:spcAft>
          <a:spcPct val="0"/>
        </a:spcAft>
        <a:defRPr sz="2584" b="1">
          <a:solidFill>
            <a:schemeClr val="tx2"/>
          </a:solidFill>
          <a:latin typeface="Arial" charset="0"/>
        </a:defRPr>
      </a:lvl6pPr>
      <a:lvl7pPr marL="1244012" algn="l" defTabSz="1218095" rtl="0" eaLnBrk="1" fontAlgn="base" hangingPunct="1">
        <a:spcBef>
          <a:spcPct val="0"/>
        </a:spcBef>
        <a:spcAft>
          <a:spcPct val="0"/>
        </a:spcAft>
        <a:defRPr sz="2584" b="1">
          <a:solidFill>
            <a:schemeClr val="tx2"/>
          </a:solidFill>
          <a:latin typeface="Arial" charset="0"/>
        </a:defRPr>
      </a:lvl7pPr>
      <a:lvl8pPr marL="1866017" algn="l" defTabSz="1218095" rtl="0" eaLnBrk="1" fontAlgn="base" hangingPunct="1">
        <a:spcBef>
          <a:spcPct val="0"/>
        </a:spcBef>
        <a:spcAft>
          <a:spcPct val="0"/>
        </a:spcAft>
        <a:defRPr sz="2584" b="1">
          <a:solidFill>
            <a:schemeClr val="tx2"/>
          </a:solidFill>
          <a:latin typeface="Arial" charset="0"/>
        </a:defRPr>
      </a:lvl8pPr>
      <a:lvl9pPr marL="2488024" algn="l" defTabSz="1218095" rtl="0" eaLnBrk="1" fontAlgn="base" hangingPunct="1">
        <a:spcBef>
          <a:spcPct val="0"/>
        </a:spcBef>
        <a:spcAft>
          <a:spcPct val="0"/>
        </a:spcAft>
        <a:defRPr sz="2584" b="1">
          <a:solidFill>
            <a:schemeClr val="tx2"/>
          </a:solidFill>
          <a:latin typeface="Arial" charset="0"/>
        </a:defRPr>
      </a:lvl9pPr>
    </p:titleStyle>
    <p:bodyStyle>
      <a:lvl1pPr marL="0" indent="0" algn="l" defTabSz="913526" rtl="0" eaLnBrk="1" fontAlgn="base" latinLnBrk="0" hangingPunct="1">
        <a:spcBef>
          <a:spcPct val="0"/>
        </a:spcBef>
        <a:spcAft>
          <a:spcPct val="0"/>
        </a:spcAft>
        <a:buClr>
          <a:schemeClr val="tx2"/>
        </a:buClr>
        <a:buSzPct val="100000"/>
        <a:defRPr lang="es-ES" sz="1632" baseline="0" dirty="0">
          <a:solidFill>
            <a:schemeClr val="tx1"/>
          </a:solidFill>
          <a:latin typeface="+mn-lt"/>
          <a:ea typeface="+mn-ea"/>
          <a:cs typeface="+mn-cs"/>
        </a:defRPr>
      </a:lvl1pPr>
      <a:lvl2pPr marL="198346" indent="-194673" algn="l" defTabSz="913526" rtl="0" eaLnBrk="1" fontAlgn="base" latinLnBrk="0" hangingPunct="1">
        <a:spcBef>
          <a:spcPct val="0"/>
        </a:spcBef>
        <a:spcAft>
          <a:spcPct val="0"/>
        </a:spcAft>
        <a:buClr>
          <a:schemeClr val="tx2"/>
        </a:buClr>
        <a:buSzPct val="125000"/>
        <a:buFont typeface="Arial" charset="0"/>
        <a:buChar char="▪"/>
        <a:defRPr lang="es-ES" sz="1632" baseline="0" dirty="0">
          <a:solidFill>
            <a:schemeClr val="tx1"/>
          </a:solidFill>
          <a:latin typeface="+mn-lt"/>
          <a:ea typeface="+mn-ea"/>
          <a:cs typeface="+mn-cs"/>
        </a:defRPr>
      </a:lvl2pPr>
      <a:lvl3pPr marL="455462" indent="-253443" algn="l" defTabSz="913526" rtl="0" eaLnBrk="1" fontAlgn="base" latinLnBrk="0" hangingPunct="1">
        <a:spcBef>
          <a:spcPct val="0"/>
        </a:spcBef>
        <a:spcAft>
          <a:spcPct val="0"/>
        </a:spcAft>
        <a:buClr>
          <a:schemeClr val="tx2"/>
        </a:buClr>
        <a:buSzPct val="120000"/>
        <a:buFont typeface="Arial" charset="0"/>
        <a:buChar char="–"/>
        <a:defRPr lang="es-ES" sz="1632" baseline="0" dirty="0">
          <a:solidFill>
            <a:schemeClr val="tx1"/>
          </a:solidFill>
          <a:latin typeface="+mn-lt"/>
          <a:ea typeface="+mn-ea"/>
          <a:cs typeface="+mn-cs"/>
        </a:defRPr>
      </a:lvl3pPr>
      <a:lvl4pPr marL="628097" indent="-157942" algn="l" defTabSz="913526" rtl="0" eaLnBrk="1" fontAlgn="base" latinLnBrk="0" hangingPunct="1">
        <a:spcBef>
          <a:spcPct val="0"/>
        </a:spcBef>
        <a:spcAft>
          <a:spcPct val="0"/>
        </a:spcAft>
        <a:buClr>
          <a:schemeClr val="tx2"/>
        </a:buClr>
        <a:buSzPct val="120000"/>
        <a:buFont typeface="Arial" charset="0"/>
        <a:buChar char="▫"/>
        <a:defRPr lang="es-ES" sz="1632" baseline="0" dirty="0">
          <a:solidFill>
            <a:schemeClr val="tx1"/>
          </a:solidFill>
          <a:latin typeface="+mn-lt"/>
          <a:ea typeface="+mn-ea"/>
          <a:cs typeface="+mn-cs"/>
        </a:defRPr>
      </a:lvl4pPr>
      <a:lvl5pPr marL="764001" indent="-132231" algn="l" defTabSz="913526" rtl="0" eaLnBrk="1" fontAlgn="base" latinLnBrk="0" hangingPunct="1">
        <a:spcBef>
          <a:spcPct val="0"/>
        </a:spcBef>
        <a:spcAft>
          <a:spcPct val="0"/>
        </a:spcAft>
        <a:buClr>
          <a:schemeClr val="tx2"/>
        </a:buClr>
        <a:buSzPct val="89000"/>
        <a:buFont typeface="Arial" charset="0"/>
        <a:buChar char="-"/>
        <a:defRPr lang="es-ES" sz="1632" baseline="0" dirty="0">
          <a:solidFill>
            <a:schemeClr val="tx1"/>
          </a:solidFill>
          <a:latin typeface="+mn-lt"/>
          <a:ea typeface="+mn-ea"/>
          <a:cs typeface="+mn-cs"/>
        </a:defRPr>
      </a:lvl5pPr>
      <a:lvl6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6pPr>
      <a:lvl7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7pPr>
      <a:lvl8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8pPr>
      <a:lvl9pPr marL="1020090" indent="-177099" algn="l" defTabSz="1218095" rtl="0" eaLnBrk="1" fontAlgn="base" hangingPunct="1">
        <a:spcBef>
          <a:spcPct val="0"/>
        </a:spcBef>
        <a:spcAft>
          <a:spcPct val="0"/>
        </a:spcAft>
        <a:buClr>
          <a:schemeClr val="tx2"/>
        </a:buClr>
        <a:buSzPct val="89000"/>
        <a:buFont typeface="Arial" charset="0"/>
        <a:buChar char="-"/>
        <a:defRPr sz="2176" baseline="0">
          <a:solidFill>
            <a:schemeClr val="tx1"/>
          </a:solidFill>
          <a:latin typeface="+mn-lt"/>
        </a:defRPr>
      </a:lvl9pPr>
    </p:bodyStyle>
    <p:otherStyle>
      <a:defPPr>
        <a:defRPr lang="es-ES"/>
      </a:defPPr>
      <a:lvl1pPr marL="0" algn="l" defTabSz="1244012" rtl="0" eaLnBrk="1" latinLnBrk="0" hangingPunct="1">
        <a:defRPr sz="2449" kern="1200">
          <a:solidFill>
            <a:schemeClr val="tx1"/>
          </a:solidFill>
          <a:latin typeface="+mn-lt"/>
          <a:ea typeface="+mn-ea"/>
          <a:cs typeface="+mn-cs"/>
        </a:defRPr>
      </a:lvl1pPr>
      <a:lvl2pPr marL="622005" algn="l" defTabSz="1244012" rtl="0" eaLnBrk="1" latinLnBrk="0" hangingPunct="1">
        <a:defRPr sz="2449" kern="1200">
          <a:solidFill>
            <a:schemeClr val="tx1"/>
          </a:solidFill>
          <a:latin typeface="+mn-lt"/>
          <a:ea typeface="+mn-ea"/>
          <a:cs typeface="+mn-cs"/>
        </a:defRPr>
      </a:lvl2pPr>
      <a:lvl3pPr marL="1244012" algn="l" defTabSz="1244012" rtl="0" eaLnBrk="1" latinLnBrk="0" hangingPunct="1">
        <a:defRPr sz="2449" kern="1200">
          <a:solidFill>
            <a:schemeClr val="tx1"/>
          </a:solidFill>
          <a:latin typeface="+mn-lt"/>
          <a:ea typeface="+mn-ea"/>
          <a:cs typeface="+mn-cs"/>
        </a:defRPr>
      </a:lvl3pPr>
      <a:lvl4pPr marL="1866017" algn="l" defTabSz="1244012" rtl="0" eaLnBrk="1" latinLnBrk="0" hangingPunct="1">
        <a:defRPr sz="2449" kern="1200">
          <a:solidFill>
            <a:schemeClr val="tx1"/>
          </a:solidFill>
          <a:latin typeface="+mn-lt"/>
          <a:ea typeface="+mn-ea"/>
          <a:cs typeface="+mn-cs"/>
        </a:defRPr>
      </a:lvl4pPr>
      <a:lvl5pPr marL="2488024" algn="l" defTabSz="1244012" rtl="0" eaLnBrk="1" latinLnBrk="0" hangingPunct="1">
        <a:defRPr sz="2449" kern="1200">
          <a:solidFill>
            <a:schemeClr val="tx1"/>
          </a:solidFill>
          <a:latin typeface="+mn-lt"/>
          <a:ea typeface="+mn-ea"/>
          <a:cs typeface="+mn-cs"/>
        </a:defRPr>
      </a:lvl5pPr>
      <a:lvl6pPr marL="3110029" algn="l" defTabSz="1244012" rtl="0" eaLnBrk="1" latinLnBrk="0" hangingPunct="1">
        <a:defRPr sz="2449" kern="1200">
          <a:solidFill>
            <a:schemeClr val="tx1"/>
          </a:solidFill>
          <a:latin typeface="+mn-lt"/>
          <a:ea typeface="+mn-ea"/>
          <a:cs typeface="+mn-cs"/>
        </a:defRPr>
      </a:lvl6pPr>
      <a:lvl7pPr marL="3732036" algn="l" defTabSz="1244012" rtl="0" eaLnBrk="1" latinLnBrk="0" hangingPunct="1">
        <a:defRPr sz="2449" kern="1200">
          <a:solidFill>
            <a:schemeClr val="tx1"/>
          </a:solidFill>
          <a:latin typeface="+mn-lt"/>
          <a:ea typeface="+mn-ea"/>
          <a:cs typeface="+mn-cs"/>
        </a:defRPr>
      </a:lvl7pPr>
      <a:lvl8pPr marL="4354041" algn="l" defTabSz="1244012" rtl="0" eaLnBrk="1" latinLnBrk="0" hangingPunct="1">
        <a:defRPr sz="2449" kern="1200">
          <a:solidFill>
            <a:schemeClr val="tx1"/>
          </a:solidFill>
          <a:latin typeface="+mn-lt"/>
          <a:ea typeface="+mn-ea"/>
          <a:cs typeface="+mn-cs"/>
        </a:defRPr>
      </a:lvl8pPr>
      <a:lvl9pPr marL="4976048" algn="l" defTabSz="1244012" rtl="0" eaLnBrk="1" latinLnBrk="0" hangingPunct="1">
        <a:defRPr sz="24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28.emf"/><Relationship Id="rId4" Type="http://schemas.openxmlformats.org/officeDocument/2006/relationships/oleObject" Target="../embeddings/oleObject28.bin"/></Relationships>
</file>

<file path=ppt/slides/_rels/slide1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image" Target="../media/image36.jpeg"/><Relationship Id="rId7" Type="http://schemas.openxmlformats.org/officeDocument/2006/relationships/image" Target="../media/image40.png"/><Relationship Id="rId2" Type="http://schemas.openxmlformats.org/officeDocument/2006/relationships/image" Target="../media/image35.png"/><Relationship Id="rId1" Type="http://schemas.openxmlformats.org/officeDocument/2006/relationships/slideLayout" Target="../slideLayouts/slideLayout9.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9.xml"/><Relationship Id="rId4" Type="http://schemas.openxmlformats.org/officeDocument/2006/relationships/image" Target="../media/image47.png"/></Relationships>
</file>

<file path=ppt/slides/_rels/slide1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0.xml"/><Relationship Id="rId4" Type="http://schemas.openxmlformats.org/officeDocument/2006/relationships/image" Target="../media/image17.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28.emf"/><Relationship Id="rId5" Type="http://schemas.openxmlformats.org/officeDocument/2006/relationships/oleObject" Target="../embeddings/oleObject29.bin"/><Relationship Id="rId4" Type="http://schemas.openxmlformats.org/officeDocument/2006/relationships/notesSlide" Target="../notesSlides/notesSlide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28.emf"/><Relationship Id="rId5" Type="http://schemas.openxmlformats.org/officeDocument/2006/relationships/oleObject" Target="../embeddings/oleObject30.bin"/><Relationship Id="rId4" Type="http://schemas.openxmlformats.org/officeDocument/2006/relationships/notesSlide" Target="../notesSlides/notesSlide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28.emf"/><Relationship Id="rId5" Type="http://schemas.openxmlformats.org/officeDocument/2006/relationships/oleObject" Target="../embeddings/oleObject31.bin"/><Relationship Id="rId4" Type="http://schemas.openxmlformats.org/officeDocument/2006/relationships/notesSlide" Target="../notesSlides/notesSlide4.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image" Target="../media/image28.emf"/><Relationship Id="rId5" Type="http://schemas.openxmlformats.org/officeDocument/2006/relationships/oleObject" Target="../embeddings/oleObject32.bin"/><Relationship Id="rId4" Type="http://schemas.openxmlformats.org/officeDocument/2006/relationships/notesSlide" Target="../notesSlides/notesSlide5.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28.emf"/><Relationship Id="rId5" Type="http://schemas.openxmlformats.org/officeDocument/2006/relationships/oleObject" Target="../embeddings/oleObject33.bin"/><Relationship Id="rId4" Type="http://schemas.openxmlformats.org/officeDocument/2006/relationships/notesSlide" Target="../notesSlides/notesSlide6.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28.emf"/><Relationship Id="rId5" Type="http://schemas.openxmlformats.org/officeDocument/2006/relationships/oleObject" Target="../embeddings/oleObject34.bin"/><Relationship Id="rId4" Type="http://schemas.openxmlformats.org/officeDocument/2006/relationships/notesSlide" Target="../notesSlides/notesSlide7.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28.emf"/><Relationship Id="rId5" Type="http://schemas.openxmlformats.org/officeDocument/2006/relationships/oleObject" Target="../embeddings/oleObject35.bin"/><Relationship Id="rId4" Type="http://schemas.openxmlformats.org/officeDocument/2006/relationships/notesSlide" Target="../notesSlides/notesSlide8.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 Id="rId5" Type="http://schemas.openxmlformats.org/officeDocument/2006/relationships/image" Target="../media/image21.png"/><Relationship Id="rId4" Type="http://schemas.openxmlformats.org/officeDocument/2006/relationships/image" Target="../media/image20.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28.emf"/><Relationship Id="rId5" Type="http://schemas.openxmlformats.org/officeDocument/2006/relationships/oleObject" Target="../embeddings/oleObject36.bin"/><Relationship Id="rId4" Type="http://schemas.openxmlformats.org/officeDocument/2006/relationships/notesSlide" Target="../notesSlides/notesSlide9.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28.emf"/><Relationship Id="rId5" Type="http://schemas.openxmlformats.org/officeDocument/2006/relationships/oleObject" Target="../embeddings/oleObject37.bin"/><Relationship Id="rId4" Type="http://schemas.openxmlformats.org/officeDocument/2006/relationships/notesSlide" Target="../notesSlides/notesSlide10.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28.emf"/><Relationship Id="rId5" Type="http://schemas.openxmlformats.org/officeDocument/2006/relationships/oleObject" Target="../embeddings/oleObject38.bin"/><Relationship Id="rId4" Type="http://schemas.openxmlformats.org/officeDocument/2006/relationships/notesSlide" Target="../notesSlides/notesSlide11.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image" Target="../media/image28.emf"/><Relationship Id="rId5" Type="http://schemas.openxmlformats.org/officeDocument/2006/relationships/oleObject" Target="../embeddings/oleObject39.bin"/><Relationship Id="rId4" Type="http://schemas.openxmlformats.org/officeDocument/2006/relationships/notesSlide" Target="../notesSlides/notesSlide12.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28.emf"/><Relationship Id="rId5" Type="http://schemas.openxmlformats.org/officeDocument/2006/relationships/oleObject" Target="../embeddings/oleObject40.bin"/><Relationship Id="rId4" Type="http://schemas.openxmlformats.org/officeDocument/2006/relationships/notesSlide" Target="../notesSlides/notesSlide13.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image" Target="../media/image28.emf"/><Relationship Id="rId5" Type="http://schemas.openxmlformats.org/officeDocument/2006/relationships/oleObject" Target="../embeddings/oleObject41.bin"/><Relationship Id="rId4" Type="http://schemas.openxmlformats.org/officeDocument/2006/relationships/notesSlide" Target="../notesSlides/notesSlide14.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28.emf"/><Relationship Id="rId5" Type="http://schemas.openxmlformats.org/officeDocument/2006/relationships/oleObject" Target="../embeddings/oleObject42.bin"/><Relationship Id="rId4" Type="http://schemas.openxmlformats.org/officeDocument/2006/relationships/notesSlide" Target="../notesSlides/notesSlide15.xml"/></Relationships>
</file>

<file path=ppt/slides/_rels/slide3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9.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22.png"/></Relationships>
</file>

<file path=ppt/slides/_rels/slide40.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tags" Target="../tags/tag170.xml"/><Relationship Id="rId7" Type="http://schemas.openxmlformats.org/officeDocument/2006/relationships/image" Target="../media/image57.svg"/><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56.png"/><Relationship Id="rId5" Type="http://schemas.openxmlformats.org/officeDocument/2006/relationships/notesSlide" Target="../notesSlides/notesSlide16.xml"/><Relationship Id="rId4" Type="http://schemas.openxmlformats.org/officeDocument/2006/relationships/slideLayout" Target="../slideLayouts/slideLayout4.xml"/><Relationship Id="rId9" Type="http://schemas.openxmlformats.org/officeDocument/2006/relationships/image" Target="../media/image59.svg"/></Relationships>
</file>

<file path=ppt/slides/_rels/slide4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62.png"/></Relationships>
</file>

<file path=ppt/slides/_rels/slide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10.xml"/><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28.emf"/><Relationship Id="rId4" Type="http://schemas.openxmlformats.org/officeDocument/2006/relationships/oleObject" Target="../embeddings/oleObject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grass, sitting, small, plane&#10;&#10;Description automatically generated">
            <a:extLst>
              <a:ext uri="{FF2B5EF4-FFF2-40B4-BE49-F238E27FC236}">
                <a16:creationId xmlns:a16="http://schemas.microsoft.com/office/drawing/2014/main" id="{C6562ECF-1AA1-E74B-9CEB-3FBAB0EB4C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4931"/>
            <a:ext cx="12173964" cy="6858000"/>
          </a:xfrm>
          <a:prstGeom prst="rect">
            <a:avLst/>
          </a:prstGeom>
        </p:spPr>
      </p:pic>
      <p:sp>
        <p:nvSpPr>
          <p:cNvPr id="4" name="Título 1">
            <a:extLst>
              <a:ext uri="{FF2B5EF4-FFF2-40B4-BE49-F238E27FC236}">
                <a16:creationId xmlns:a16="http://schemas.microsoft.com/office/drawing/2014/main" id="{4D5F0815-E5B4-4E74-8145-A182522C6A3D}"/>
              </a:ext>
            </a:extLst>
          </p:cNvPr>
          <p:cNvSpPr txBox="1">
            <a:spLocks/>
          </p:cNvSpPr>
          <p:nvPr/>
        </p:nvSpPr>
        <p:spPr>
          <a:xfrm>
            <a:off x="367158" y="269823"/>
            <a:ext cx="6544829" cy="2152664"/>
          </a:xfrm>
          <a:prstGeom prst="rect">
            <a:avLst/>
          </a:prstGeom>
        </p:spPr>
        <p:txBody>
          <a:bodyPr/>
          <a:lstStyle>
            <a:lvl1pPr algn="l" defTabSz="685145" rtl="0" eaLnBrk="1" fontAlgn="base" hangingPunct="1">
              <a:spcBef>
                <a:spcPct val="0"/>
              </a:spcBef>
              <a:spcAft>
                <a:spcPct val="0"/>
              </a:spcAft>
              <a:tabLst>
                <a:tab pos="273329" algn="l"/>
              </a:tabLst>
              <a:defRPr sz="2400" b="0">
                <a:solidFill>
                  <a:schemeClr val="bg2"/>
                </a:solidFill>
                <a:latin typeface="+mj-lt"/>
                <a:ea typeface="+mj-ea"/>
                <a:cs typeface="+mj-cs"/>
              </a:defRPr>
            </a:lvl1pPr>
            <a:lvl2pPr algn="l" defTabSz="685145" rtl="0" eaLnBrk="1" fontAlgn="base" hangingPunct="1">
              <a:spcBef>
                <a:spcPct val="0"/>
              </a:spcBef>
              <a:spcAft>
                <a:spcPct val="0"/>
              </a:spcAft>
              <a:defRPr sz="1454" b="1">
                <a:solidFill>
                  <a:schemeClr val="tx2"/>
                </a:solidFill>
                <a:latin typeface="Arial" charset="0"/>
              </a:defRPr>
            </a:lvl2pPr>
            <a:lvl3pPr algn="l" defTabSz="685145" rtl="0" eaLnBrk="1" fontAlgn="base" hangingPunct="1">
              <a:spcBef>
                <a:spcPct val="0"/>
              </a:spcBef>
              <a:spcAft>
                <a:spcPct val="0"/>
              </a:spcAft>
              <a:defRPr sz="1454" b="1">
                <a:solidFill>
                  <a:schemeClr val="tx2"/>
                </a:solidFill>
                <a:latin typeface="Arial" charset="0"/>
              </a:defRPr>
            </a:lvl3pPr>
            <a:lvl4pPr algn="l" defTabSz="685145" rtl="0" eaLnBrk="1" fontAlgn="base" hangingPunct="1">
              <a:spcBef>
                <a:spcPct val="0"/>
              </a:spcBef>
              <a:spcAft>
                <a:spcPct val="0"/>
              </a:spcAft>
              <a:defRPr sz="1454" b="1">
                <a:solidFill>
                  <a:schemeClr val="tx2"/>
                </a:solidFill>
                <a:latin typeface="Arial" charset="0"/>
              </a:defRPr>
            </a:lvl4pPr>
            <a:lvl5pPr algn="l" defTabSz="685145" rtl="0" eaLnBrk="1" fontAlgn="base" hangingPunct="1">
              <a:spcBef>
                <a:spcPct val="0"/>
              </a:spcBef>
              <a:spcAft>
                <a:spcPct val="0"/>
              </a:spcAft>
              <a:defRPr sz="1454" b="1">
                <a:solidFill>
                  <a:schemeClr val="tx2"/>
                </a:solidFill>
                <a:latin typeface="Arial" charset="0"/>
              </a:defRPr>
            </a:lvl5pPr>
            <a:lvl6pPr marL="349861" algn="l" defTabSz="685145" rtl="0" eaLnBrk="1" fontAlgn="base" hangingPunct="1">
              <a:spcBef>
                <a:spcPct val="0"/>
              </a:spcBef>
              <a:spcAft>
                <a:spcPct val="0"/>
              </a:spcAft>
              <a:defRPr sz="1454" b="1">
                <a:solidFill>
                  <a:schemeClr val="tx2"/>
                </a:solidFill>
                <a:latin typeface="Arial" charset="0"/>
              </a:defRPr>
            </a:lvl6pPr>
            <a:lvl7pPr marL="699722" algn="l" defTabSz="685145" rtl="0" eaLnBrk="1" fontAlgn="base" hangingPunct="1">
              <a:spcBef>
                <a:spcPct val="0"/>
              </a:spcBef>
              <a:spcAft>
                <a:spcPct val="0"/>
              </a:spcAft>
              <a:defRPr sz="1454" b="1">
                <a:solidFill>
                  <a:schemeClr val="tx2"/>
                </a:solidFill>
                <a:latin typeface="Arial" charset="0"/>
              </a:defRPr>
            </a:lvl7pPr>
            <a:lvl8pPr marL="1049582" algn="l" defTabSz="685145" rtl="0" eaLnBrk="1" fontAlgn="base" hangingPunct="1">
              <a:spcBef>
                <a:spcPct val="0"/>
              </a:spcBef>
              <a:spcAft>
                <a:spcPct val="0"/>
              </a:spcAft>
              <a:defRPr sz="1454" b="1">
                <a:solidFill>
                  <a:schemeClr val="tx2"/>
                </a:solidFill>
                <a:latin typeface="Arial" charset="0"/>
              </a:defRPr>
            </a:lvl8pPr>
            <a:lvl9pPr marL="1399444" algn="l" defTabSz="685145" rtl="0" eaLnBrk="1" fontAlgn="base" hangingPunct="1">
              <a:spcBef>
                <a:spcPct val="0"/>
              </a:spcBef>
              <a:spcAft>
                <a:spcPct val="0"/>
              </a:spcAft>
              <a:defRPr sz="1454" b="1">
                <a:solidFill>
                  <a:schemeClr val="tx2"/>
                </a:solidFill>
                <a:latin typeface="Arial" charset="0"/>
              </a:defRPr>
            </a:lvl9pPr>
          </a:lstStyle>
          <a:p>
            <a:pPr marL="0" marR="0" lvl="0" indent="0" defTabSz="685145" rtl="0" eaLnBrk="1" fontAlgn="base" latinLnBrk="0" hangingPunct="1">
              <a:lnSpc>
                <a:spcPct val="100000"/>
              </a:lnSpc>
              <a:spcBef>
                <a:spcPct val="0"/>
              </a:spcBef>
              <a:spcAft>
                <a:spcPct val="0"/>
              </a:spcAft>
              <a:buClrTx/>
              <a:buSzTx/>
              <a:buFontTx/>
              <a:buNone/>
              <a:tabLst>
                <a:tab pos="273329" algn="l"/>
              </a:tabLst>
              <a:defRPr/>
            </a:pPr>
            <a:r>
              <a:rPr lang="es-419" sz="3200" b="1" dirty="0">
                <a:solidFill>
                  <a:schemeClr val="tx2"/>
                </a:solidFill>
              </a:rPr>
              <a:t>Vicepresidencia Finanzas, Estrategia y Nuevos Negocios</a:t>
            </a:r>
          </a:p>
          <a:p>
            <a:pPr marL="0" marR="0" lvl="0" indent="0" defTabSz="685145" rtl="0" eaLnBrk="1" fontAlgn="base" latinLnBrk="0" hangingPunct="1">
              <a:lnSpc>
                <a:spcPct val="100000"/>
              </a:lnSpc>
              <a:spcBef>
                <a:spcPct val="0"/>
              </a:spcBef>
              <a:spcAft>
                <a:spcPct val="0"/>
              </a:spcAft>
              <a:buClrTx/>
              <a:buSzTx/>
              <a:buFontTx/>
              <a:buNone/>
              <a:tabLst>
                <a:tab pos="273329" algn="l"/>
              </a:tabLst>
              <a:defRPr/>
            </a:pPr>
            <a:r>
              <a:rPr lang="es-ES" sz="2000" b="1" kern="0" dirty="0">
                <a:solidFill>
                  <a:schemeClr val="tx2"/>
                </a:solidFill>
                <a:latin typeface="Arial" panose="020B0604020202020204"/>
              </a:rPr>
              <a:t>Taller Proyecto de Gobierno Corporativo</a:t>
            </a:r>
          </a:p>
          <a:p>
            <a:pPr marL="0" marR="0" lvl="0" indent="0" defTabSz="685145" rtl="0" eaLnBrk="1" fontAlgn="base" latinLnBrk="0" hangingPunct="1">
              <a:lnSpc>
                <a:spcPct val="100000"/>
              </a:lnSpc>
              <a:spcBef>
                <a:spcPct val="0"/>
              </a:spcBef>
              <a:spcAft>
                <a:spcPct val="0"/>
              </a:spcAft>
              <a:buClrTx/>
              <a:buSzTx/>
              <a:buFontTx/>
              <a:buNone/>
              <a:tabLst>
                <a:tab pos="273329" algn="l"/>
              </a:tabLst>
              <a:defRPr/>
            </a:pPr>
            <a:endParaRPr lang="es-ES" sz="2000" b="1" kern="0" dirty="0">
              <a:solidFill>
                <a:schemeClr val="tx2"/>
              </a:solidFill>
              <a:latin typeface="Arial" panose="020B0604020202020204"/>
            </a:endParaRPr>
          </a:p>
          <a:p>
            <a:pPr marL="0" marR="0" lvl="0" indent="0" defTabSz="685145" rtl="0" eaLnBrk="1" fontAlgn="base" latinLnBrk="0" hangingPunct="1">
              <a:lnSpc>
                <a:spcPct val="100000"/>
              </a:lnSpc>
              <a:spcBef>
                <a:spcPct val="0"/>
              </a:spcBef>
              <a:spcAft>
                <a:spcPct val="0"/>
              </a:spcAft>
              <a:buClrTx/>
              <a:buSzTx/>
              <a:buFontTx/>
              <a:buNone/>
              <a:tabLst>
                <a:tab pos="273329" algn="l"/>
              </a:tabLst>
              <a:defRPr/>
            </a:pPr>
            <a:r>
              <a:rPr lang="es-ES" sz="2000" b="1" kern="0" dirty="0">
                <a:solidFill>
                  <a:schemeClr val="tx2"/>
                </a:solidFill>
                <a:latin typeface="Arial" panose="020B0604020202020204"/>
              </a:rPr>
              <a:t>Diciembre 2020</a:t>
            </a:r>
          </a:p>
        </p:txBody>
      </p:sp>
    </p:spTree>
    <p:extLst>
      <p:ext uri="{BB962C8B-B14F-4D97-AF65-F5344CB8AC3E}">
        <p14:creationId xmlns:p14="http://schemas.microsoft.com/office/powerpoint/2010/main" val="34315522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abla 7">
            <a:extLst>
              <a:ext uri="{FF2B5EF4-FFF2-40B4-BE49-F238E27FC236}">
                <a16:creationId xmlns:a16="http://schemas.microsoft.com/office/drawing/2014/main" id="{DCA44B8C-50B5-485F-809C-4361E59B3802}"/>
              </a:ext>
            </a:extLst>
          </p:cNvPr>
          <p:cNvGraphicFramePr>
            <a:graphicFrameLocks noGrp="1"/>
          </p:cNvGraphicFramePr>
          <p:nvPr/>
        </p:nvGraphicFramePr>
        <p:xfrm>
          <a:off x="192853" y="1660186"/>
          <a:ext cx="11761525" cy="838426"/>
        </p:xfrm>
        <a:graphic>
          <a:graphicData uri="http://schemas.openxmlformats.org/drawingml/2006/table">
            <a:tbl>
              <a:tblPr firstRow="1" bandRow="1">
                <a:tableStyleId>{5C22544A-7EE6-4342-B048-85BDC9FD1C3A}</a:tableStyleId>
              </a:tblPr>
              <a:tblGrid>
                <a:gridCol w="992897">
                  <a:extLst>
                    <a:ext uri="{9D8B030D-6E8A-4147-A177-3AD203B41FA5}">
                      <a16:colId xmlns:a16="http://schemas.microsoft.com/office/drawing/2014/main" val="2999560587"/>
                    </a:ext>
                  </a:extLst>
                </a:gridCol>
                <a:gridCol w="10768628">
                  <a:extLst>
                    <a:ext uri="{9D8B030D-6E8A-4147-A177-3AD203B41FA5}">
                      <a16:colId xmlns:a16="http://schemas.microsoft.com/office/drawing/2014/main" val="4052277780"/>
                    </a:ext>
                  </a:extLst>
                </a:gridCol>
              </a:tblGrid>
              <a:tr h="838426">
                <a:tc>
                  <a:txBody>
                    <a:bodyPr/>
                    <a:lstStyle/>
                    <a:p>
                      <a:r>
                        <a:rPr lang="es-CO" sz="1300" dirty="0">
                          <a:solidFill>
                            <a:schemeClr val="tx1"/>
                          </a:solidFill>
                        </a:rPr>
                        <a:t>Procesos </a:t>
                      </a:r>
                    </a:p>
                    <a:p>
                      <a:r>
                        <a:rPr lang="es-CO" sz="1300" dirty="0">
                          <a:solidFill>
                            <a:schemeClr val="tx1"/>
                          </a:solidFill>
                        </a:rPr>
                        <a:t>Nivel 1</a:t>
                      </a:r>
                    </a:p>
                  </a:txBody>
                  <a:tcPr marL="93401" marR="93401" marT="46703" marB="46703" anchor="ctr">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solidFill>
                      <a:schemeClr val="accent2"/>
                    </a:solidFill>
                  </a:tcPr>
                </a:tc>
                <a:tc>
                  <a:txBody>
                    <a:bodyPr/>
                    <a:lstStyle/>
                    <a:p>
                      <a:endParaRPr lang="es-CO" sz="1300" b="0" dirty="0">
                        <a:solidFill>
                          <a:schemeClr val="tx1"/>
                        </a:solidFill>
                      </a:endParaRPr>
                    </a:p>
                  </a:txBody>
                  <a:tcPr marL="93401" marR="93401" marT="46703" marB="46703">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extLst>
                  <a:ext uri="{0D108BD9-81ED-4DB2-BD59-A6C34878D82A}">
                    <a16:rowId xmlns:a16="http://schemas.microsoft.com/office/drawing/2014/main" val="2678991484"/>
                  </a:ext>
                </a:extLst>
              </a:tr>
            </a:tbl>
          </a:graphicData>
        </a:graphic>
      </p:graphicFrame>
      <p:graphicFrame>
        <p:nvGraphicFramePr>
          <p:cNvPr id="4" name="Objeto 3" hidden="1">
            <a:extLst>
              <a:ext uri="{FF2B5EF4-FFF2-40B4-BE49-F238E27FC236}">
                <a16:creationId xmlns:a16="http://schemas.microsoft.com/office/drawing/2014/main" id="{11A13A7E-FFDC-4688-8DB8-B00F2B91CAAA}"/>
              </a:ext>
            </a:extLst>
          </p:cNvPr>
          <p:cNvGraphicFramePr>
            <a:graphicFrameLocks noChangeAspect="1"/>
          </p:cNvGraphicFramePr>
          <p:nvPr>
            <p:custDataLst>
              <p:tags r:id="rId1"/>
            </p:custDataLst>
          </p:nvPr>
        </p:nvGraphicFramePr>
        <p:xfrm>
          <a:off x="1891" y="1723"/>
          <a:ext cx="1620" cy="1620"/>
        </p:xfrm>
        <a:graphic>
          <a:graphicData uri="http://schemas.openxmlformats.org/presentationml/2006/ole">
            <mc:AlternateContent xmlns:mc="http://schemas.openxmlformats.org/markup-compatibility/2006">
              <mc:Choice xmlns:v="urn:schemas-microsoft-com:vml" Requires="v">
                <p:oleObj name="Diapositiva de think-cell" r:id="rId4" imgW="421" imgH="423" progId="TCLayout.ActiveDocument.1">
                  <p:embed/>
                </p:oleObj>
              </mc:Choice>
              <mc:Fallback>
                <p:oleObj name="Diapositiva de think-cell" r:id="rId4" imgW="421" imgH="423" progId="TCLayout.ActiveDocument.1">
                  <p:embed/>
                  <p:pic>
                    <p:nvPicPr>
                      <p:cNvPr id="4" name="Objeto 3" hidden="1">
                        <a:extLst>
                          <a:ext uri="{FF2B5EF4-FFF2-40B4-BE49-F238E27FC236}">
                            <a16:creationId xmlns:a16="http://schemas.microsoft.com/office/drawing/2014/main" id="{11A13A7E-FFDC-4688-8DB8-B00F2B91CAAA}"/>
                          </a:ext>
                        </a:extLst>
                      </p:cNvPr>
                      <p:cNvPicPr/>
                      <p:nvPr/>
                    </p:nvPicPr>
                    <p:blipFill>
                      <a:blip r:embed="rId5"/>
                      <a:stretch>
                        <a:fillRect/>
                      </a:stretch>
                    </p:blipFill>
                    <p:spPr>
                      <a:xfrm>
                        <a:off x="1891" y="1723"/>
                        <a:ext cx="1620" cy="1620"/>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id="{7438A85D-0D1B-4278-B1AF-FFB971E0ED93}"/>
              </a:ext>
            </a:extLst>
          </p:cNvPr>
          <p:cNvSpPr/>
          <p:nvPr>
            <p:custDataLst>
              <p:tags r:id="rId2"/>
            </p:custDataLst>
          </p:nvPr>
        </p:nvSpPr>
        <p:spPr>
          <a:xfrm>
            <a:off x="272" y="104"/>
            <a:ext cx="161968" cy="161968"/>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32954" fontAlgn="base">
              <a:spcBef>
                <a:spcPct val="0"/>
              </a:spcBef>
              <a:spcAft>
                <a:spcPct val="0"/>
              </a:spcAft>
              <a:defRPr/>
            </a:pPr>
            <a:endParaRPr kumimoji="0" lang="es-CO" sz="2041" b="1" u="none" strike="noStrike" kern="1200" cap="none" spc="0" normalizeH="0" noProof="0" dirty="0" err="1">
              <a:ln>
                <a:noFill/>
              </a:ln>
              <a:solidFill>
                <a:srgbClr val="000000"/>
              </a:solidFill>
              <a:effectLst/>
              <a:uLnTx/>
              <a:uFillTx/>
              <a:latin typeface="Arial" panose="020B0604020202020204" pitchFamily="34" charset="0"/>
              <a:ea typeface="+mj-ea"/>
              <a:cs typeface="+mj-cs"/>
              <a:sym typeface="Arial" panose="020B0604020202020204" pitchFamily="34" charset="0"/>
            </a:endParaRPr>
          </a:p>
        </p:txBody>
      </p:sp>
      <p:sp>
        <p:nvSpPr>
          <p:cNvPr id="14" name="Title 1">
            <a:extLst>
              <a:ext uri="{FF2B5EF4-FFF2-40B4-BE49-F238E27FC236}">
                <a16:creationId xmlns:a16="http://schemas.microsoft.com/office/drawing/2014/main" id="{F8D15426-29DE-4884-815F-5CC281E0DDFC}"/>
              </a:ext>
            </a:extLst>
          </p:cNvPr>
          <p:cNvSpPr>
            <a:spLocks noGrp="1"/>
          </p:cNvSpPr>
          <p:nvPr>
            <p:ph type="title"/>
          </p:nvPr>
        </p:nvSpPr>
        <p:spPr bwMode="gray">
          <a:xfrm>
            <a:off x="244462" y="180370"/>
            <a:ext cx="11575364" cy="314023"/>
          </a:xfrm>
          <a:noFill/>
          <a:ln w="3175">
            <a:no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tabLst/>
            </a:pPr>
            <a:r>
              <a:rPr lang="es-CO" b="1" dirty="0">
                <a:solidFill>
                  <a:schemeClr val="accent4"/>
                </a:solidFill>
              </a:rPr>
              <a:t>Macroproceso Finanzas</a:t>
            </a:r>
          </a:p>
        </p:txBody>
      </p:sp>
      <p:graphicFrame>
        <p:nvGraphicFramePr>
          <p:cNvPr id="7" name="Tabla 7">
            <a:extLst>
              <a:ext uri="{FF2B5EF4-FFF2-40B4-BE49-F238E27FC236}">
                <a16:creationId xmlns:a16="http://schemas.microsoft.com/office/drawing/2014/main" id="{C6F21275-9EE6-4A4B-A157-C50FC5B75F82}"/>
              </a:ext>
            </a:extLst>
          </p:cNvPr>
          <p:cNvGraphicFramePr>
            <a:graphicFrameLocks noGrp="1"/>
          </p:cNvGraphicFramePr>
          <p:nvPr/>
        </p:nvGraphicFramePr>
        <p:xfrm>
          <a:off x="192853" y="1016646"/>
          <a:ext cx="11753992" cy="606732"/>
        </p:xfrm>
        <a:graphic>
          <a:graphicData uri="http://schemas.openxmlformats.org/drawingml/2006/table">
            <a:tbl>
              <a:tblPr firstRow="1" bandRow="1">
                <a:tableStyleId>{5C22544A-7EE6-4342-B048-85BDC9FD1C3A}</a:tableStyleId>
              </a:tblPr>
              <a:tblGrid>
                <a:gridCol w="991991">
                  <a:extLst>
                    <a:ext uri="{9D8B030D-6E8A-4147-A177-3AD203B41FA5}">
                      <a16:colId xmlns:a16="http://schemas.microsoft.com/office/drawing/2014/main" val="2999560587"/>
                    </a:ext>
                  </a:extLst>
                </a:gridCol>
                <a:gridCol w="10762001">
                  <a:extLst>
                    <a:ext uri="{9D8B030D-6E8A-4147-A177-3AD203B41FA5}">
                      <a16:colId xmlns:a16="http://schemas.microsoft.com/office/drawing/2014/main" val="4052277780"/>
                    </a:ext>
                  </a:extLst>
                </a:gridCol>
              </a:tblGrid>
              <a:tr h="606732">
                <a:tc>
                  <a:txBody>
                    <a:bodyPr/>
                    <a:lstStyle/>
                    <a:p>
                      <a:r>
                        <a:rPr lang="es-CO" sz="1300" b="1" dirty="0">
                          <a:solidFill>
                            <a:schemeClr val="tx1"/>
                          </a:solidFill>
                        </a:rPr>
                        <a:t>Objetivo</a:t>
                      </a:r>
                    </a:p>
                    <a:p>
                      <a:r>
                        <a:rPr lang="es-CO" sz="1300" b="1" dirty="0">
                          <a:solidFill>
                            <a:schemeClr val="tx1"/>
                          </a:solidFill>
                        </a:rPr>
                        <a:t>Nivel 0</a:t>
                      </a:r>
                    </a:p>
                  </a:txBody>
                  <a:tcPr marL="93593" marR="93593" marT="46799" marB="46799" anchor="ctr">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solidFill>
                      <a:schemeClr val="accent2"/>
                    </a:solidFill>
                  </a:tcPr>
                </a:tc>
                <a:tc>
                  <a:txBody>
                    <a:bodyPr/>
                    <a:lstStyle/>
                    <a:p>
                      <a:r>
                        <a:rPr lang="es-ES" sz="1100" b="0" kern="1200" dirty="0">
                          <a:solidFill>
                            <a:schemeClr val="tx1">
                              <a:lumMod val="85000"/>
                              <a:lumOff val="15000"/>
                            </a:schemeClr>
                          </a:solidFill>
                          <a:effectLst/>
                        </a:rPr>
                        <a:t>Asegurar la información financiera y recursos requeridos para la operación a través de la gestión eficiente y oportuna de las operaciones contables, definiciones tributarias y administración de los recursos financieros de liquidez, con el propósito de generar sostenibilidad financiera y contribuir al cumplimiento de los objetivos del negocio.</a:t>
                      </a:r>
                      <a:endParaRPr lang="es-CO" sz="1100" b="0" kern="1200" dirty="0">
                        <a:solidFill>
                          <a:schemeClr val="tx1">
                            <a:lumMod val="85000"/>
                            <a:lumOff val="15000"/>
                          </a:schemeClr>
                        </a:solidFill>
                        <a:effectLst/>
                        <a:latin typeface="+mn-lt"/>
                        <a:ea typeface="+mn-ea"/>
                        <a:cs typeface="+mn-cs"/>
                      </a:endParaRPr>
                    </a:p>
                  </a:txBody>
                  <a:tcPr marL="93593" marR="93593" marT="46799" marB="46799" anchor="ctr">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extLst>
                  <a:ext uri="{0D108BD9-81ED-4DB2-BD59-A6C34878D82A}">
                    <a16:rowId xmlns:a16="http://schemas.microsoft.com/office/drawing/2014/main" val="2678991484"/>
                  </a:ext>
                </a:extLst>
              </a:tr>
            </a:tbl>
          </a:graphicData>
        </a:graphic>
      </p:graphicFrame>
      <p:graphicFrame>
        <p:nvGraphicFramePr>
          <p:cNvPr id="19" name="Tabla 7">
            <a:extLst>
              <a:ext uri="{FF2B5EF4-FFF2-40B4-BE49-F238E27FC236}">
                <a16:creationId xmlns:a16="http://schemas.microsoft.com/office/drawing/2014/main" id="{CEA21B80-4DCD-4314-8EF4-BD3D1CAFE2A2}"/>
              </a:ext>
            </a:extLst>
          </p:cNvPr>
          <p:cNvGraphicFramePr>
            <a:graphicFrameLocks noGrp="1"/>
          </p:cNvGraphicFramePr>
          <p:nvPr/>
        </p:nvGraphicFramePr>
        <p:xfrm>
          <a:off x="192853" y="571713"/>
          <a:ext cx="11753992" cy="404006"/>
        </p:xfrm>
        <a:graphic>
          <a:graphicData uri="http://schemas.openxmlformats.org/drawingml/2006/table">
            <a:tbl>
              <a:tblPr firstRow="1" bandRow="1">
                <a:tableStyleId>{5C22544A-7EE6-4342-B048-85BDC9FD1C3A}</a:tableStyleId>
              </a:tblPr>
              <a:tblGrid>
                <a:gridCol w="992182">
                  <a:extLst>
                    <a:ext uri="{9D8B030D-6E8A-4147-A177-3AD203B41FA5}">
                      <a16:colId xmlns:a16="http://schemas.microsoft.com/office/drawing/2014/main" val="2999560587"/>
                    </a:ext>
                  </a:extLst>
                </a:gridCol>
                <a:gridCol w="10761810">
                  <a:extLst>
                    <a:ext uri="{9D8B030D-6E8A-4147-A177-3AD203B41FA5}">
                      <a16:colId xmlns:a16="http://schemas.microsoft.com/office/drawing/2014/main" val="4052277780"/>
                    </a:ext>
                  </a:extLst>
                </a:gridCol>
              </a:tblGrid>
              <a:tr h="404006">
                <a:tc>
                  <a:txBody>
                    <a:bodyPr/>
                    <a:lstStyle/>
                    <a:p>
                      <a:r>
                        <a:rPr lang="es-CO" sz="1400" dirty="0">
                          <a:solidFill>
                            <a:schemeClr val="tx1"/>
                          </a:solidFill>
                        </a:rPr>
                        <a:t>Nivel 0</a:t>
                      </a:r>
                      <a:endParaRPr lang="es-CO" sz="1400" dirty="0">
                        <a:solidFill>
                          <a:schemeClr val="tx1"/>
                        </a:solidFill>
                        <a:latin typeface="+mn-lt"/>
                      </a:endParaRPr>
                    </a:p>
                  </a:txBody>
                  <a:tcPr marL="99616" marR="99616" marT="49811" marB="49811" anchor="ctr">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solidFill>
                      <a:schemeClr val="accent2"/>
                    </a:solidFill>
                  </a:tcPr>
                </a:tc>
                <a:tc>
                  <a:txBody>
                    <a:bodyPr/>
                    <a:lstStyle/>
                    <a:p>
                      <a:r>
                        <a:rPr lang="es-CO" sz="1400" dirty="0">
                          <a:solidFill>
                            <a:schemeClr val="tx1">
                              <a:lumMod val="85000"/>
                              <a:lumOff val="15000"/>
                            </a:schemeClr>
                          </a:solidFill>
                        </a:rPr>
                        <a:t>Finanzas</a:t>
                      </a:r>
                      <a:endParaRPr lang="es-CO" sz="1400" b="0" dirty="0">
                        <a:solidFill>
                          <a:schemeClr val="tx1">
                            <a:lumMod val="85000"/>
                            <a:lumOff val="15000"/>
                          </a:schemeClr>
                        </a:solidFill>
                        <a:latin typeface="+mn-lt"/>
                      </a:endParaRPr>
                    </a:p>
                  </a:txBody>
                  <a:tcPr marL="99616" marR="99616" marT="49811" marB="49811" anchor="ctr">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extLst>
                  <a:ext uri="{0D108BD9-81ED-4DB2-BD59-A6C34878D82A}">
                    <a16:rowId xmlns:a16="http://schemas.microsoft.com/office/drawing/2014/main" val="2678991484"/>
                  </a:ext>
                </a:extLst>
              </a:tr>
            </a:tbl>
          </a:graphicData>
        </a:graphic>
      </p:graphicFrame>
      <p:sp>
        <p:nvSpPr>
          <p:cNvPr id="30" name="Freeform 153">
            <a:extLst>
              <a:ext uri="{FF2B5EF4-FFF2-40B4-BE49-F238E27FC236}">
                <a16:creationId xmlns:a16="http://schemas.microsoft.com/office/drawing/2014/main" id="{F463DD21-BEDC-4535-A01C-5D48EBE9BFC8}"/>
              </a:ext>
            </a:extLst>
          </p:cNvPr>
          <p:cNvSpPr/>
          <p:nvPr/>
        </p:nvSpPr>
        <p:spPr bwMode="auto">
          <a:xfrm>
            <a:off x="1288446" y="1704765"/>
            <a:ext cx="1910024" cy="73195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614796 w 1828800"/>
              <a:gd name="connsiteY3" fmla="*/ 914402 h 914402"/>
              <a:gd name="connsiteX4" fmla="*/ 0 w 1828800"/>
              <a:gd name="connsiteY4" fmla="*/ 914400 h 914402"/>
              <a:gd name="connsiteX5" fmla="*/ 214004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14796" y="0"/>
                </a:lnTo>
                <a:lnTo>
                  <a:pt x="1828800" y="457200"/>
                </a:lnTo>
                <a:lnTo>
                  <a:pt x="1614796" y="914402"/>
                </a:lnTo>
                <a:lnTo>
                  <a:pt x="0" y="914400"/>
                </a:lnTo>
                <a:lnTo>
                  <a:pt x="214004" y="457202"/>
                </a:lnTo>
                <a:close/>
              </a:path>
            </a:pathLst>
          </a:custGeom>
          <a:ln>
            <a:headEnd/>
            <a:tailEnd/>
          </a:ln>
        </p:spPr>
        <p:style>
          <a:lnRef idx="1">
            <a:schemeClr val="accent4"/>
          </a:lnRef>
          <a:fillRef idx="3">
            <a:schemeClr val="accent4"/>
          </a:fillRef>
          <a:effectRef idx="2">
            <a:schemeClr val="accent4"/>
          </a:effectRef>
          <a:fontRef idx="minor">
            <a:schemeClr val="lt1"/>
          </a:fontRef>
        </p:style>
        <p:txBody>
          <a:bodyPr vert="horz" wrap="square" lIns="323990" tIns="46649" rIns="93293" bIns="46649"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69265" rtl="0" eaLnBrk="1" fontAlgn="auto" latinLnBrk="0" hangingPunct="1">
              <a:lnSpc>
                <a:spcPct val="100000"/>
              </a:lnSpc>
              <a:spcBef>
                <a:spcPts val="0"/>
              </a:spcBef>
              <a:spcAft>
                <a:spcPts val="0"/>
              </a:spcAft>
              <a:buClrTx/>
              <a:buSzTx/>
              <a:buFontTx/>
              <a:buNone/>
              <a:tabLst/>
              <a:defRPr/>
            </a:pPr>
            <a:r>
              <a:rPr kumimoji="0" lang="es-CO" sz="1020" b="1" i="0" u="none" strike="noStrike" kern="1200" cap="none" spc="-1" normalizeH="0" baseline="0" noProof="0" dirty="0">
                <a:ln>
                  <a:noFill/>
                </a:ln>
                <a:solidFill>
                  <a:srgbClr val="FFFFFF"/>
                </a:solidFill>
                <a:effectLst/>
                <a:uLnTx/>
                <a:uFill>
                  <a:solidFill>
                    <a:srgbClr val="FFFFFF"/>
                  </a:solidFill>
                </a:uFill>
                <a:latin typeface="Arial"/>
                <a:ea typeface="+mn-ea"/>
                <a:cs typeface="+mn-cs"/>
              </a:rPr>
              <a:t>Gestión Contable</a:t>
            </a:r>
          </a:p>
        </p:txBody>
      </p:sp>
      <p:graphicFrame>
        <p:nvGraphicFramePr>
          <p:cNvPr id="33" name="Tabla 7">
            <a:extLst>
              <a:ext uri="{FF2B5EF4-FFF2-40B4-BE49-F238E27FC236}">
                <a16:creationId xmlns:a16="http://schemas.microsoft.com/office/drawing/2014/main" id="{9A365877-2D7F-454C-AB52-29BB309627C8}"/>
              </a:ext>
            </a:extLst>
          </p:cNvPr>
          <p:cNvGraphicFramePr>
            <a:graphicFrameLocks noGrp="1"/>
          </p:cNvGraphicFramePr>
          <p:nvPr/>
        </p:nvGraphicFramePr>
        <p:xfrm>
          <a:off x="192853" y="2534290"/>
          <a:ext cx="11779444" cy="939808"/>
        </p:xfrm>
        <a:graphic>
          <a:graphicData uri="http://schemas.openxmlformats.org/drawingml/2006/table">
            <a:tbl>
              <a:tblPr firstRow="1" bandRow="1">
                <a:tableStyleId>{5C22544A-7EE6-4342-B048-85BDC9FD1C3A}</a:tableStyleId>
              </a:tblPr>
              <a:tblGrid>
                <a:gridCol w="1008682">
                  <a:extLst>
                    <a:ext uri="{9D8B030D-6E8A-4147-A177-3AD203B41FA5}">
                      <a16:colId xmlns:a16="http://schemas.microsoft.com/office/drawing/2014/main" val="2999560587"/>
                    </a:ext>
                  </a:extLst>
                </a:gridCol>
                <a:gridCol w="1909342">
                  <a:extLst>
                    <a:ext uri="{9D8B030D-6E8A-4147-A177-3AD203B41FA5}">
                      <a16:colId xmlns:a16="http://schemas.microsoft.com/office/drawing/2014/main" val="4052277780"/>
                    </a:ext>
                  </a:extLst>
                </a:gridCol>
                <a:gridCol w="1772284">
                  <a:extLst>
                    <a:ext uri="{9D8B030D-6E8A-4147-A177-3AD203B41FA5}">
                      <a16:colId xmlns:a16="http://schemas.microsoft.com/office/drawing/2014/main" val="3757876569"/>
                    </a:ext>
                  </a:extLst>
                </a:gridCol>
                <a:gridCol w="1772284">
                  <a:extLst>
                    <a:ext uri="{9D8B030D-6E8A-4147-A177-3AD203B41FA5}">
                      <a16:colId xmlns:a16="http://schemas.microsoft.com/office/drawing/2014/main" val="529226714"/>
                    </a:ext>
                  </a:extLst>
                </a:gridCol>
                <a:gridCol w="1772284">
                  <a:extLst>
                    <a:ext uri="{9D8B030D-6E8A-4147-A177-3AD203B41FA5}">
                      <a16:colId xmlns:a16="http://schemas.microsoft.com/office/drawing/2014/main" val="159404353"/>
                    </a:ext>
                  </a:extLst>
                </a:gridCol>
                <a:gridCol w="1772284">
                  <a:extLst>
                    <a:ext uri="{9D8B030D-6E8A-4147-A177-3AD203B41FA5}">
                      <a16:colId xmlns:a16="http://schemas.microsoft.com/office/drawing/2014/main" val="4204823739"/>
                    </a:ext>
                  </a:extLst>
                </a:gridCol>
                <a:gridCol w="1772284">
                  <a:extLst>
                    <a:ext uri="{9D8B030D-6E8A-4147-A177-3AD203B41FA5}">
                      <a16:colId xmlns:a16="http://schemas.microsoft.com/office/drawing/2014/main" val="2575360536"/>
                    </a:ext>
                  </a:extLst>
                </a:gridCol>
              </a:tblGrid>
              <a:tr h="939808">
                <a:tc>
                  <a:txBody>
                    <a:bodyPr/>
                    <a:lstStyle/>
                    <a:p>
                      <a:pPr marL="0" algn="l" defTabSz="1219261" rtl="0" eaLnBrk="1" latinLnBrk="0" hangingPunct="1"/>
                      <a:r>
                        <a:rPr lang="es-CO" sz="1300" b="1" kern="1200" dirty="0">
                          <a:solidFill>
                            <a:schemeClr val="tx1"/>
                          </a:solidFill>
                          <a:latin typeface="+mn-lt"/>
                          <a:ea typeface="+mn-ea"/>
                          <a:cs typeface="+mn-cs"/>
                        </a:rPr>
                        <a:t>Objetivos procesos </a:t>
                      </a:r>
                    </a:p>
                    <a:p>
                      <a:pPr marL="0" algn="l" defTabSz="1219261" rtl="0" eaLnBrk="1" latinLnBrk="0" hangingPunct="1"/>
                      <a:r>
                        <a:rPr lang="es-CO" sz="1300" b="1" kern="1200" dirty="0">
                          <a:solidFill>
                            <a:schemeClr val="tx1"/>
                          </a:solidFill>
                          <a:latin typeface="+mn-lt"/>
                          <a:ea typeface="+mn-ea"/>
                          <a:cs typeface="+mn-cs"/>
                        </a:rPr>
                        <a:t>Nivel 1</a:t>
                      </a:r>
                    </a:p>
                  </a:txBody>
                  <a:tcPr marL="93482" marR="93482" marT="46744" marB="46744" anchor="ctr">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solidFill>
                      <a:schemeClr val="accent2"/>
                    </a:solidFill>
                  </a:tcPr>
                </a:tc>
                <a:tc>
                  <a:txBody>
                    <a:bodyPr/>
                    <a:lstStyle/>
                    <a:p>
                      <a:pPr marL="0" marR="0" lvl="0" indent="0" algn="l" defTabSz="1244012" rtl="0" eaLnBrk="1" fontAlgn="auto" latinLnBrk="0" hangingPunct="1">
                        <a:lnSpc>
                          <a:spcPct val="100000"/>
                        </a:lnSpc>
                        <a:spcBef>
                          <a:spcPts val="0"/>
                        </a:spcBef>
                        <a:spcAft>
                          <a:spcPts val="0"/>
                        </a:spcAft>
                        <a:buClrTx/>
                        <a:buSzTx/>
                        <a:buFontTx/>
                        <a:buNone/>
                        <a:tabLst/>
                        <a:defRPr/>
                      </a:pPr>
                      <a:r>
                        <a:rPr lang="es-ES" sz="900" b="0" dirty="0">
                          <a:solidFill>
                            <a:schemeClr val="tx1">
                              <a:lumMod val="85000"/>
                              <a:lumOff val="15000"/>
                            </a:schemeClr>
                          </a:solidFill>
                          <a:cs typeface="Calibri" panose="020F0502020204030204" pitchFamily="34" charset="0"/>
                        </a:rPr>
                        <a:t>Generar información confiable y razonable de hechos económicos y financieros de Cenit con el fin de conocer sus resultados, para la oportuna toma de decisiones.</a:t>
                      </a:r>
                    </a:p>
                  </a:txBody>
                  <a:tcPr marL="93482" marR="93482" marT="46744" marB="46744">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tc>
                  <a:txBody>
                    <a:bodyPr/>
                    <a:lstStyle/>
                    <a:p>
                      <a:r>
                        <a:rPr lang="es-ES" sz="900" b="0" i="0" kern="1200" dirty="0">
                          <a:solidFill>
                            <a:schemeClr val="tx1">
                              <a:lumMod val="85000"/>
                              <a:lumOff val="15000"/>
                            </a:schemeClr>
                          </a:solidFill>
                          <a:effectLst/>
                          <a:latin typeface="+mn-lt"/>
                          <a:ea typeface="+mn-ea"/>
                          <a:cs typeface="+mn-cs"/>
                        </a:rPr>
                        <a:t>Asegurar cumplimiento de la normatividad tributaria aplicable.</a:t>
                      </a:r>
                    </a:p>
                  </a:txBody>
                  <a:tcPr marL="93482" marR="93482" marT="46744" marB="46744">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tc>
                  <a:txBody>
                    <a:bodyPr/>
                    <a:lstStyle/>
                    <a:p>
                      <a:r>
                        <a:rPr lang="es-ES" sz="900" b="0" dirty="0">
                          <a:solidFill>
                            <a:schemeClr val="tx1">
                              <a:lumMod val="85000"/>
                              <a:lumOff val="15000"/>
                            </a:schemeClr>
                          </a:solidFill>
                        </a:rPr>
                        <a:t>Ejecutar y gestionar las operaciones de pagos y recaudo dentro del marco regulatorio, asegurando el cumplimiento de la normatividad vigente.</a:t>
                      </a:r>
                      <a:endParaRPr lang="es-CO" sz="900" b="0" dirty="0">
                        <a:solidFill>
                          <a:schemeClr val="tx1">
                            <a:lumMod val="85000"/>
                            <a:lumOff val="15000"/>
                          </a:schemeClr>
                        </a:solidFill>
                      </a:endParaRPr>
                    </a:p>
                  </a:txBody>
                  <a:tcPr marL="93482" marR="93482" marT="46744" marB="46744">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tc>
                  <a:txBody>
                    <a:bodyPr/>
                    <a:lstStyle/>
                    <a:p>
                      <a:pPr marL="0" marR="0" lvl="0" indent="0" algn="l" defTabSz="1244012" rtl="0" eaLnBrk="1" fontAlgn="auto" latinLnBrk="0" hangingPunct="1">
                        <a:lnSpc>
                          <a:spcPct val="100000"/>
                        </a:lnSpc>
                        <a:spcBef>
                          <a:spcPts val="0"/>
                        </a:spcBef>
                        <a:spcAft>
                          <a:spcPts val="0"/>
                        </a:spcAft>
                        <a:buClrTx/>
                        <a:buSzTx/>
                        <a:buFontTx/>
                        <a:buNone/>
                        <a:tabLst/>
                        <a:defRPr/>
                      </a:pPr>
                      <a:r>
                        <a:rPr lang="es-ES" sz="900" b="0" dirty="0">
                          <a:solidFill>
                            <a:schemeClr val="tx1">
                              <a:lumMod val="85000"/>
                              <a:lumOff val="15000"/>
                            </a:schemeClr>
                          </a:solidFill>
                          <a:cs typeface="Calibri" panose="020F0502020204030204" pitchFamily="34" charset="0"/>
                        </a:rPr>
                        <a:t>Asegurar la liquidez requerida de los recursos financieros para el cumplimiento de los objetivos estratégicos.</a:t>
                      </a:r>
                    </a:p>
                    <a:p>
                      <a:pPr marL="0" marR="0" lvl="0" indent="0" algn="l" defTabSz="1244012" rtl="0" eaLnBrk="1" fontAlgn="auto" latinLnBrk="0" hangingPunct="1">
                        <a:lnSpc>
                          <a:spcPct val="100000"/>
                        </a:lnSpc>
                        <a:spcBef>
                          <a:spcPts val="0"/>
                        </a:spcBef>
                        <a:spcAft>
                          <a:spcPts val="0"/>
                        </a:spcAft>
                        <a:buClrTx/>
                        <a:buSzTx/>
                        <a:buFontTx/>
                        <a:buNone/>
                        <a:tabLst/>
                        <a:defRPr/>
                      </a:pPr>
                      <a:endParaRPr lang="es-CO" sz="900" b="0" kern="1200" dirty="0">
                        <a:solidFill>
                          <a:schemeClr val="tx1">
                            <a:lumMod val="85000"/>
                            <a:lumOff val="15000"/>
                          </a:schemeClr>
                        </a:solidFill>
                        <a:latin typeface="+mn-lt"/>
                        <a:ea typeface="+mn-ea"/>
                        <a:cs typeface="Calibri" panose="020F0502020204030204" pitchFamily="34" charset="0"/>
                      </a:endParaRPr>
                    </a:p>
                  </a:txBody>
                  <a:tcPr marL="93482" marR="93482" marT="46744" marB="46744">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tc>
                  <a:txBody>
                    <a:bodyPr/>
                    <a:lstStyle/>
                    <a:p>
                      <a:pPr marL="0" marR="0" lvl="0" indent="0" algn="l" defTabSz="1244012" rtl="0" eaLnBrk="1" fontAlgn="auto" latinLnBrk="0" hangingPunct="1">
                        <a:lnSpc>
                          <a:spcPct val="100000"/>
                        </a:lnSpc>
                        <a:spcBef>
                          <a:spcPts val="0"/>
                        </a:spcBef>
                        <a:spcAft>
                          <a:spcPts val="0"/>
                        </a:spcAft>
                        <a:buClrTx/>
                        <a:buSzTx/>
                        <a:buFontTx/>
                        <a:buNone/>
                        <a:tabLst/>
                        <a:defRPr/>
                      </a:pPr>
                      <a:r>
                        <a:rPr lang="es-ES" sz="900" b="0" dirty="0">
                          <a:solidFill>
                            <a:schemeClr val="tx1">
                              <a:lumMod val="85000"/>
                              <a:lumOff val="15000"/>
                            </a:schemeClr>
                          </a:solidFill>
                          <a:cs typeface="Calibri" panose="020F0502020204030204" pitchFamily="34" charset="0"/>
                        </a:rPr>
                        <a:t>Asegurar la razonabilidad, consistencia y oportunidad del reporte de información financiera de CENIT y filiales.</a:t>
                      </a:r>
                    </a:p>
                    <a:p>
                      <a:pPr marL="0" marR="0" lvl="0" indent="0" algn="l" defTabSz="1244012" rtl="0" eaLnBrk="1" fontAlgn="auto" latinLnBrk="0" hangingPunct="1">
                        <a:lnSpc>
                          <a:spcPct val="100000"/>
                        </a:lnSpc>
                        <a:spcBef>
                          <a:spcPts val="0"/>
                        </a:spcBef>
                        <a:spcAft>
                          <a:spcPts val="0"/>
                        </a:spcAft>
                        <a:buClrTx/>
                        <a:buSzTx/>
                        <a:buFontTx/>
                        <a:buNone/>
                        <a:tabLst/>
                        <a:defRPr/>
                      </a:pPr>
                      <a:endParaRPr lang="es-CO" sz="900" b="0" kern="1200" dirty="0">
                        <a:solidFill>
                          <a:schemeClr val="tx1">
                            <a:lumMod val="85000"/>
                            <a:lumOff val="15000"/>
                          </a:schemeClr>
                        </a:solidFill>
                        <a:latin typeface="+mn-lt"/>
                        <a:ea typeface="+mn-ea"/>
                        <a:cs typeface="Calibri" panose="020F0502020204030204" pitchFamily="34" charset="0"/>
                      </a:endParaRPr>
                    </a:p>
                  </a:txBody>
                  <a:tcPr marL="93482" marR="93482" marT="46744" marB="46744">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tc>
                  <a:txBody>
                    <a:bodyPr/>
                    <a:lstStyle/>
                    <a:p>
                      <a:pPr marL="0" marR="0" lvl="0" indent="0" algn="l" defTabSz="1244012" rtl="0" eaLnBrk="1" fontAlgn="auto" latinLnBrk="0" hangingPunct="1">
                        <a:lnSpc>
                          <a:spcPct val="100000"/>
                        </a:lnSpc>
                        <a:spcBef>
                          <a:spcPts val="0"/>
                        </a:spcBef>
                        <a:spcAft>
                          <a:spcPts val="0"/>
                        </a:spcAft>
                        <a:buClrTx/>
                        <a:buSzTx/>
                        <a:buFontTx/>
                        <a:buNone/>
                        <a:tabLst/>
                        <a:defRPr/>
                      </a:pPr>
                      <a:r>
                        <a:rPr lang="es-ES" sz="900" b="0" dirty="0">
                          <a:solidFill>
                            <a:schemeClr val="tx1">
                              <a:lumMod val="85000"/>
                              <a:lumOff val="15000"/>
                            </a:schemeClr>
                          </a:solidFill>
                          <a:cs typeface="Calibri" panose="020F0502020204030204" pitchFamily="34" charset="0"/>
                        </a:rPr>
                        <a:t>Generar información confiable y razonable de hechos económicos y financieros de Cenit con el fin de conocer sus resultados, para la oportuna toma de decisiones.</a:t>
                      </a:r>
                      <a:endParaRPr lang="es-CO" sz="900" b="0" kern="1200" dirty="0">
                        <a:solidFill>
                          <a:schemeClr val="tx1">
                            <a:lumMod val="85000"/>
                            <a:lumOff val="15000"/>
                          </a:schemeClr>
                        </a:solidFill>
                        <a:latin typeface="+mn-lt"/>
                        <a:ea typeface="+mn-ea"/>
                        <a:cs typeface="Calibri" panose="020F0502020204030204" pitchFamily="34" charset="0"/>
                      </a:endParaRPr>
                    </a:p>
                  </a:txBody>
                  <a:tcPr marL="93482" marR="93482" marT="46744" marB="46744">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extLst>
                  <a:ext uri="{0D108BD9-81ED-4DB2-BD59-A6C34878D82A}">
                    <a16:rowId xmlns:a16="http://schemas.microsoft.com/office/drawing/2014/main" val="2678991484"/>
                  </a:ext>
                </a:extLst>
              </a:tr>
            </a:tbl>
          </a:graphicData>
        </a:graphic>
      </p:graphicFrame>
      <p:graphicFrame>
        <p:nvGraphicFramePr>
          <p:cNvPr id="34" name="Tabla 7">
            <a:extLst>
              <a:ext uri="{FF2B5EF4-FFF2-40B4-BE49-F238E27FC236}">
                <a16:creationId xmlns:a16="http://schemas.microsoft.com/office/drawing/2014/main" id="{55D728B3-5037-47B4-AC7A-DBD73CB87333}"/>
              </a:ext>
            </a:extLst>
          </p:cNvPr>
          <p:cNvGraphicFramePr>
            <a:graphicFrameLocks noGrp="1"/>
          </p:cNvGraphicFramePr>
          <p:nvPr/>
        </p:nvGraphicFramePr>
        <p:xfrm>
          <a:off x="180576" y="3514270"/>
          <a:ext cx="11776299" cy="3032205"/>
        </p:xfrm>
        <a:graphic>
          <a:graphicData uri="http://schemas.openxmlformats.org/drawingml/2006/table">
            <a:tbl>
              <a:tblPr firstRow="1" bandRow="1">
                <a:tableStyleId>{5C22544A-7EE6-4342-B048-85BDC9FD1C3A}</a:tableStyleId>
              </a:tblPr>
              <a:tblGrid>
                <a:gridCol w="1034834">
                  <a:extLst>
                    <a:ext uri="{9D8B030D-6E8A-4147-A177-3AD203B41FA5}">
                      <a16:colId xmlns:a16="http://schemas.microsoft.com/office/drawing/2014/main" val="2999560587"/>
                    </a:ext>
                  </a:extLst>
                </a:gridCol>
                <a:gridCol w="1891724">
                  <a:extLst>
                    <a:ext uri="{9D8B030D-6E8A-4147-A177-3AD203B41FA5}">
                      <a16:colId xmlns:a16="http://schemas.microsoft.com/office/drawing/2014/main" val="4052277780"/>
                    </a:ext>
                  </a:extLst>
                </a:gridCol>
                <a:gridCol w="1766512">
                  <a:extLst>
                    <a:ext uri="{9D8B030D-6E8A-4147-A177-3AD203B41FA5}">
                      <a16:colId xmlns:a16="http://schemas.microsoft.com/office/drawing/2014/main" val="3757876569"/>
                    </a:ext>
                  </a:extLst>
                </a:gridCol>
                <a:gridCol w="1767739">
                  <a:extLst>
                    <a:ext uri="{9D8B030D-6E8A-4147-A177-3AD203B41FA5}">
                      <a16:colId xmlns:a16="http://schemas.microsoft.com/office/drawing/2014/main" val="529226714"/>
                    </a:ext>
                  </a:extLst>
                </a:gridCol>
                <a:gridCol w="1767738">
                  <a:extLst>
                    <a:ext uri="{9D8B030D-6E8A-4147-A177-3AD203B41FA5}">
                      <a16:colId xmlns:a16="http://schemas.microsoft.com/office/drawing/2014/main" val="159404353"/>
                    </a:ext>
                  </a:extLst>
                </a:gridCol>
                <a:gridCol w="1780014">
                  <a:extLst>
                    <a:ext uri="{9D8B030D-6E8A-4147-A177-3AD203B41FA5}">
                      <a16:colId xmlns:a16="http://schemas.microsoft.com/office/drawing/2014/main" val="3432756851"/>
                    </a:ext>
                  </a:extLst>
                </a:gridCol>
                <a:gridCol w="1767738">
                  <a:extLst>
                    <a:ext uri="{9D8B030D-6E8A-4147-A177-3AD203B41FA5}">
                      <a16:colId xmlns:a16="http://schemas.microsoft.com/office/drawing/2014/main" val="895399995"/>
                    </a:ext>
                  </a:extLst>
                </a:gridCol>
              </a:tblGrid>
              <a:tr h="3032205">
                <a:tc>
                  <a:txBody>
                    <a:bodyPr/>
                    <a:lstStyle/>
                    <a:p>
                      <a:r>
                        <a:rPr lang="es-CO" sz="1300" dirty="0">
                          <a:solidFill>
                            <a:schemeClr val="tx1"/>
                          </a:solidFill>
                        </a:rPr>
                        <a:t>Procesos </a:t>
                      </a:r>
                    </a:p>
                    <a:p>
                      <a:r>
                        <a:rPr lang="es-CO" sz="1300" dirty="0">
                          <a:solidFill>
                            <a:schemeClr val="tx1"/>
                          </a:solidFill>
                        </a:rPr>
                        <a:t>Nivel 2</a:t>
                      </a:r>
                    </a:p>
                  </a:txBody>
                  <a:tcPr marL="93335" marR="93335" marT="46670" marB="46670" anchor="ctr">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solidFill>
                      <a:schemeClr val="accent2"/>
                    </a:solidFill>
                  </a:tcPr>
                </a:tc>
                <a:tc>
                  <a:txBody>
                    <a:bodyPr/>
                    <a:lstStyle/>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Gestión de central de cuentas y cuentas por pagar</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Gestión de ingresos</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Gestión de activos fijos</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Gestión contable (incluye cierre contable)</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Gestión de costos de abandono de propiedades y equipos P&amp;E</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Gestión de deterioro de propiedades y equipos P&amp;E (</a:t>
                      </a:r>
                      <a:r>
                        <a:rPr lang="es-ES" sz="900" b="0" kern="1200" dirty="0" err="1">
                          <a:solidFill>
                            <a:schemeClr val="tx1"/>
                          </a:solidFill>
                          <a:latin typeface="+mn-lt"/>
                          <a:ea typeface="+mn-ea"/>
                          <a:cs typeface="Calibri" panose="020F0502020204030204" pitchFamily="34" charset="0"/>
                        </a:rPr>
                        <a:t>Impairment</a:t>
                      </a:r>
                      <a:r>
                        <a:rPr lang="es-ES" sz="900" b="0" kern="1200" dirty="0">
                          <a:solidFill>
                            <a:schemeClr val="tx1"/>
                          </a:solidFill>
                          <a:latin typeface="+mn-lt"/>
                          <a:ea typeface="+mn-ea"/>
                          <a:cs typeface="Calibri" panose="020F0502020204030204" pitchFamily="34" charset="0"/>
                        </a:rPr>
                        <a:t>).</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CO" sz="900" b="0" kern="1200" dirty="0">
                        <a:solidFill>
                          <a:schemeClr val="tx1"/>
                        </a:solidFill>
                        <a:latin typeface="+mn-lt"/>
                        <a:ea typeface="+mn-ea"/>
                        <a:cs typeface="Calibri" panose="020F0502020204030204" pitchFamily="34" charset="0"/>
                      </a:endParaRPr>
                    </a:p>
                  </a:txBody>
                  <a:tcPr marL="93335" marR="93335" marT="46670" marB="46670">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tc>
                  <a:txBody>
                    <a:bodyPr/>
                    <a:lstStyle/>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Planeación tributaria y alineación de estrategia (alcance Cenit y sus filiales)</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Elaboración y presentación de declaraciones tributarias</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Elaboración y presentación de medios magnéticos</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Gestión de requerimientos a entidades de control</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Gestión de cierre tributario.</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CO" sz="900" b="0" kern="1200" dirty="0">
                        <a:solidFill>
                          <a:schemeClr val="tx1"/>
                        </a:solidFill>
                        <a:latin typeface="+mn-lt"/>
                        <a:ea typeface="+mn-ea"/>
                        <a:cs typeface="Calibri" panose="020F0502020204030204" pitchFamily="34" charset="0"/>
                      </a:endParaRPr>
                    </a:p>
                  </a:txBody>
                  <a:tcPr marL="93335" marR="93335" marT="46670" marB="46670">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tc>
                  <a:txBody>
                    <a:bodyPr/>
                    <a:lstStyle/>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Gestión de cuentas por cobrar</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Gestión de cartera</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Gestión de pagos</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Gestión cambiaria y monetización.</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txBody>
                  <a:tcPr marL="93335" marR="93335" marT="46670" marB="46670">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tc>
                  <a:txBody>
                    <a:bodyPr/>
                    <a:lstStyle/>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Gestión y monitoreo de flujo de caja</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Administración e inversión de excedentes de liquidez</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Planeación y aprobación de operaciones de financiamiento</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Ejecución de operaciones de financiamiento</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Administración y seguimiento de operaciones de financiamiento</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Administración de riesgos financieros.</a:t>
                      </a:r>
                    </a:p>
                    <a:p>
                      <a:pPr marL="0" indent="0" algn="l">
                        <a:buFont typeface="+mj-lt"/>
                        <a:buNone/>
                      </a:pPr>
                      <a:endParaRPr lang="es-CO" sz="900" b="0" dirty="0">
                        <a:solidFill>
                          <a:schemeClr val="tx1"/>
                        </a:solidFill>
                      </a:endParaRPr>
                    </a:p>
                  </a:txBody>
                  <a:tcPr marL="93335" marR="93335" marT="46670" marB="46670">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solidFill>
                      <a:schemeClr val="bg1"/>
                    </a:solidFill>
                  </a:tcPr>
                </a:tc>
                <a:tc>
                  <a:txBody>
                    <a:bodyPr/>
                    <a:lstStyle/>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Definición y/o alineación de políticas contables</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Consolidación y reporte de información financiera de segmento</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Reporte de información financiera a entes de control (Cenit y Segmento en caso de ser requerido)</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Elaboración y emisión de Estados Financieros y sus Notas (Consolidado y Separado)</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Gestión de operaciones recíprocas (Cenit y Filiales).</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txBody>
                  <a:tcPr marL="93335" marR="93335" marT="46670" marB="46670">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solidFill>
                      <a:schemeClr val="bg1"/>
                    </a:solidFill>
                  </a:tcPr>
                </a:tc>
                <a:tc>
                  <a:txBody>
                    <a:bodyPr/>
                    <a:lstStyle/>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Diseño de la estrategia y gestión de transferencia del riesgo</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Suscripción, monitoreo y administración del programa de seguros</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ES" sz="900" b="0" kern="1200" dirty="0">
                        <a:solidFill>
                          <a:schemeClr val="tx1"/>
                        </a:solidFill>
                        <a:latin typeface="+mn-lt"/>
                        <a:ea typeface="+mn-ea"/>
                        <a:cs typeface="Calibri" panose="020F0502020204030204" pitchFamily="34" charset="0"/>
                      </a:endParaRP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r>
                        <a:rPr lang="es-ES" sz="900" b="0" kern="1200" dirty="0">
                          <a:solidFill>
                            <a:schemeClr val="tx1"/>
                          </a:solidFill>
                          <a:latin typeface="+mn-lt"/>
                          <a:ea typeface="+mn-ea"/>
                          <a:cs typeface="Calibri" panose="020F0502020204030204" pitchFamily="34" charset="0"/>
                        </a:rPr>
                        <a:t>Gestión de reclamaciones.</a:t>
                      </a:r>
                    </a:p>
                    <a:p>
                      <a:pPr marL="177800" marR="0" lvl="0" indent="-177800" algn="l" defTabSz="1244012" rtl="0" eaLnBrk="1" fontAlgn="auto" latinLnBrk="0" hangingPunct="1">
                        <a:lnSpc>
                          <a:spcPct val="100000"/>
                        </a:lnSpc>
                        <a:spcBef>
                          <a:spcPts val="0"/>
                        </a:spcBef>
                        <a:spcAft>
                          <a:spcPts val="0"/>
                        </a:spcAft>
                        <a:buClrTx/>
                        <a:buSzTx/>
                        <a:buFont typeface="+mj-lt"/>
                        <a:buAutoNum type="arabicPeriod"/>
                        <a:tabLst/>
                        <a:defRPr/>
                      </a:pPr>
                      <a:endParaRPr lang="es-CO" sz="900" b="0" kern="1200" dirty="0">
                        <a:solidFill>
                          <a:schemeClr val="tx1"/>
                        </a:solidFill>
                        <a:latin typeface="+mn-lt"/>
                        <a:ea typeface="+mn-ea"/>
                        <a:cs typeface="Calibri" panose="020F0502020204030204" pitchFamily="34" charset="0"/>
                      </a:endParaRPr>
                    </a:p>
                  </a:txBody>
                  <a:tcPr marL="93335" marR="93335" marT="46670" marB="46670">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78991484"/>
                  </a:ext>
                </a:extLst>
              </a:tr>
            </a:tbl>
          </a:graphicData>
        </a:graphic>
      </p:graphicFrame>
      <p:sp>
        <p:nvSpPr>
          <p:cNvPr id="46" name="Freeform 153">
            <a:extLst>
              <a:ext uri="{FF2B5EF4-FFF2-40B4-BE49-F238E27FC236}">
                <a16:creationId xmlns:a16="http://schemas.microsoft.com/office/drawing/2014/main" id="{FD727DAF-E119-46A8-9047-855EBB3190F4}"/>
              </a:ext>
            </a:extLst>
          </p:cNvPr>
          <p:cNvSpPr/>
          <p:nvPr/>
        </p:nvSpPr>
        <p:spPr bwMode="auto">
          <a:xfrm>
            <a:off x="3035967" y="1705278"/>
            <a:ext cx="1910024" cy="73195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614796 w 1828800"/>
              <a:gd name="connsiteY3" fmla="*/ 914402 h 914402"/>
              <a:gd name="connsiteX4" fmla="*/ 0 w 1828800"/>
              <a:gd name="connsiteY4" fmla="*/ 914400 h 914402"/>
              <a:gd name="connsiteX5" fmla="*/ 214004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14796" y="0"/>
                </a:lnTo>
                <a:lnTo>
                  <a:pt x="1828800" y="457200"/>
                </a:lnTo>
                <a:lnTo>
                  <a:pt x="1614796" y="914402"/>
                </a:lnTo>
                <a:lnTo>
                  <a:pt x="0" y="914400"/>
                </a:lnTo>
                <a:lnTo>
                  <a:pt x="214004" y="457202"/>
                </a:lnTo>
                <a:close/>
              </a:path>
            </a:pathLst>
          </a:custGeom>
          <a:ln>
            <a:headEnd/>
            <a:tailEnd/>
          </a:ln>
        </p:spPr>
        <p:style>
          <a:lnRef idx="1">
            <a:schemeClr val="accent4"/>
          </a:lnRef>
          <a:fillRef idx="3">
            <a:schemeClr val="accent4"/>
          </a:fillRef>
          <a:effectRef idx="2">
            <a:schemeClr val="accent4"/>
          </a:effectRef>
          <a:fontRef idx="minor">
            <a:schemeClr val="lt1"/>
          </a:fontRef>
        </p:style>
        <p:txBody>
          <a:bodyPr vert="horz" wrap="square" lIns="323990" tIns="46649" rIns="93293" bIns="46649"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32958" rtl="0" eaLnBrk="1" fontAlgn="base" latinLnBrk="0" hangingPunct="1">
              <a:lnSpc>
                <a:spcPct val="100000"/>
              </a:lnSpc>
              <a:spcBef>
                <a:spcPct val="0"/>
              </a:spcBef>
              <a:spcAft>
                <a:spcPct val="0"/>
              </a:spcAft>
              <a:buClrTx/>
              <a:buSzTx/>
              <a:buFontTx/>
              <a:buNone/>
              <a:tabLst/>
              <a:defRPr/>
            </a:pPr>
            <a:r>
              <a:rPr kumimoji="0" lang="es-CO" sz="1020" b="1" i="0" u="none" strike="noStrike" kern="1200" cap="none" spc="-1" normalizeH="0" baseline="0" noProof="0" dirty="0">
                <a:ln>
                  <a:noFill/>
                </a:ln>
                <a:solidFill>
                  <a:srgbClr val="FFFFFF"/>
                </a:solidFill>
                <a:effectLst/>
                <a:uLnTx/>
                <a:uFill>
                  <a:solidFill>
                    <a:srgbClr val="FFFFFF"/>
                  </a:solidFill>
                </a:uFill>
                <a:latin typeface="Arial"/>
                <a:ea typeface="+mn-ea"/>
                <a:cs typeface="+mn-cs"/>
              </a:rPr>
              <a:t>Gestión Tributaria</a:t>
            </a:r>
          </a:p>
        </p:txBody>
      </p:sp>
      <p:sp>
        <p:nvSpPr>
          <p:cNvPr id="48" name="Freeform 153">
            <a:extLst>
              <a:ext uri="{FF2B5EF4-FFF2-40B4-BE49-F238E27FC236}">
                <a16:creationId xmlns:a16="http://schemas.microsoft.com/office/drawing/2014/main" id="{3BACDA33-7D1B-4CD3-8E0C-72EEF4764094}"/>
              </a:ext>
            </a:extLst>
          </p:cNvPr>
          <p:cNvSpPr/>
          <p:nvPr/>
        </p:nvSpPr>
        <p:spPr bwMode="auto">
          <a:xfrm>
            <a:off x="6529183" y="1704763"/>
            <a:ext cx="1910024" cy="73195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614796 w 1828800"/>
              <a:gd name="connsiteY3" fmla="*/ 914402 h 914402"/>
              <a:gd name="connsiteX4" fmla="*/ 0 w 1828800"/>
              <a:gd name="connsiteY4" fmla="*/ 914400 h 914402"/>
              <a:gd name="connsiteX5" fmla="*/ 214004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14796" y="0"/>
                </a:lnTo>
                <a:lnTo>
                  <a:pt x="1828800" y="457200"/>
                </a:lnTo>
                <a:lnTo>
                  <a:pt x="1614796" y="914402"/>
                </a:lnTo>
                <a:lnTo>
                  <a:pt x="0" y="914400"/>
                </a:lnTo>
                <a:lnTo>
                  <a:pt x="214004" y="457202"/>
                </a:lnTo>
                <a:close/>
              </a:path>
            </a:pathLst>
          </a:custGeom>
          <a:ln>
            <a:headEnd/>
            <a:tailEnd/>
          </a:ln>
        </p:spPr>
        <p:style>
          <a:lnRef idx="1">
            <a:schemeClr val="accent4"/>
          </a:lnRef>
          <a:fillRef idx="3">
            <a:schemeClr val="accent4"/>
          </a:fillRef>
          <a:effectRef idx="2">
            <a:schemeClr val="accent4"/>
          </a:effectRef>
          <a:fontRef idx="minor">
            <a:schemeClr val="lt1"/>
          </a:fontRef>
        </p:style>
        <p:txBody>
          <a:bodyPr vert="horz" wrap="square" lIns="323990" tIns="46649" rIns="93293" bIns="46649"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32958" rtl="0" eaLnBrk="1" fontAlgn="base" latinLnBrk="0" hangingPunct="1">
              <a:lnSpc>
                <a:spcPct val="100000"/>
              </a:lnSpc>
              <a:spcBef>
                <a:spcPct val="0"/>
              </a:spcBef>
              <a:spcAft>
                <a:spcPct val="0"/>
              </a:spcAft>
              <a:buClrTx/>
              <a:buSzTx/>
              <a:buFontTx/>
              <a:buNone/>
              <a:tabLst/>
              <a:defRPr/>
            </a:pPr>
            <a:r>
              <a:rPr kumimoji="0" lang="es-ES" sz="1020" b="1" i="0" u="none" strike="noStrike" kern="1200" cap="none" spc="-1" normalizeH="0" baseline="0" noProof="0" dirty="0">
                <a:ln>
                  <a:noFill/>
                </a:ln>
                <a:solidFill>
                  <a:srgbClr val="FFFFFF"/>
                </a:solidFill>
                <a:effectLst/>
                <a:uLnTx/>
                <a:uFill>
                  <a:solidFill>
                    <a:srgbClr val="FFFFFF"/>
                  </a:solidFill>
                </a:uFill>
                <a:latin typeface="Arial"/>
                <a:ea typeface="+mn-ea"/>
                <a:cs typeface="+mn-cs"/>
              </a:rPr>
              <a:t>Administración de Recursos Financieros y Liquidez</a:t>
            </a:r>
          </a:p>
        </p:txBody>
      </p:sp>
      <p:sp>
        <p:nvSpPr>
          <p:cNvPr id="49" name="Freeform 153">
            <a:extLst>
              <a:ext uri="{FF2B5EF4-FFF2-40B4-BE49-F238E27FC236}">
                <a16:creationId xmlns:a16="http://schemas.microsoft.com/office/drawing/2014/main" id="{C7A018C4-EAF0-4DD6-93E4-B345CA621969}"/>
              </a:ext>
            </a:extLst>
          </p:cNvPr>
          <p:cNvSpPr/>
          <p:nvPr/>
        </p:nvSpPr>
        <p:spPr bwMode="auto">
          <a:xfrm>
            <a:off x="8259036" y="1704762"/>
            <a:ext cx="1910024" cy="73195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614796 w 1828800"/>
              <a:gd name="connsiteY3" fmla="*/ 914402 h 914402"/>
              <a:gd name="connsiteX4" fmla="*/ 0 w 1828800"/>
              <a:gd name="connsiteY4" fmla="*/ 914400 h 914402"/>
              <a:gd name="connsiteX5" fmla="*/ 214004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14796" y="0"/>
                </a:lnTo>
                <a:lnTo>
                  <a:pt x="1828800" y="457200"/>
                </a:lnTo>
                <a:lnTo>
                  <a:pt x="1614796" y="914402"/>
                </a:lnTo>
                <a:lnTo>
                  <a:pt x="0" y="914400"/>
                </a:lnTo>
                <a:lnTo>
                  <a:pt x="214004" y="457202"/>
                </a:lnTo>
                <a:close/>
              </a:path>
            </a:pathLst>
          </a:custGeom>
          <a:ln>
            <a:headEnd/>
            <a:tailEnd/>
          </a:ln>
        </p:spPr>
        <p:style>
          <a:lnRef idx="1">
            <a:schemeClr val="accent4"/>
          </a:lnRef>
          <a:fillRef idx="3">
            <a:schemeClr val="accent4"/>
          </a:fillRef>
          <a:effectRef idx="2">
            <a:schemeClr val="accent4"/>
          </a:effectRef>
          <a:fontRef idx="minor">
            <a:schemeClr val="lt1"/>
          </a:fontRef>
        </p:style>
        <p:txBody>
          <a:bodyPr vert="horz" wrap="square" lIns="323990" tIns="46649" rIns="93293" bIns="46649"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32954" rtl="0" eaLnBrk="1" fontAlgn="base" latinLnBrk="0" hangingPunct="1">
              <a:lnSpc>
                <a:spcPct val="100000"/>
              </a:lnSpc>
              <a:spcBef>
                <a:spcPct val="0"/>
              </a:spcBef>
              <a:spcAft>
                <a:spcPct val="0"/>
              </a:spcAft>
              <a:buClrTx/>
              <a:buSzTx/>
              <a:buFontTx/>
              <a:buNone/>
              <a:tabLst/>
              <a:defRPr/>
            </a:pPr>
            <a:r>
              <a:rPr kumimoji="0" lang="es-ES" sz="1020" b="1" i="0" u="none" strike="noStrike" kern="1200" cap="none" spc="-1" normalizeH="0" baseline="0" noProof="0" dirty="0">
                <a:ln>
                  <a:noFill/>
                </a:ln>
                <a:solidFill>
                  <a:srgbClr val="FFFFFF"/>
                </a:solidFill>
                <a:effectLst/>
                <a:uLnTx/>
                <a:uFill>
                  <a:solidFill>
                    <a:srgbClr val="FFFFFF"/>
                  </a:solidFill>
                </a:uFill>
                <a:latin typeface="Arial"/>
                <a:ea typeface="+mn-ea"/>
                <a:cs typeface="+mn-cs"/>
              </a:rPr>
              <a:t>Consolidación y Aseguramiento de Reportes Financieros</a:t>
            </a:r>
          </a:p>
        </p:txBody>
      </p:sp>
      <p:sp>
        <p:nvSpPr>
          <p:cNvPr id="52" name="Freeform 153">
            <a:extLst>
              <a:ext uri="{FF2B5EF4-FFF2-40B4-BE49-F238E27FC236}">
                <a16:creationId xmlns:a16="http://schemas.microsoft.com/office/drawing/2014/main" id="{0D61439D-F4F7-439F-874D-6BC9F75CDB48}"/>
              </a:ext>
            </a:extLst>
          </p:cNvPr>
          <p:cNvSpPr/>
          <p:nvPr/>
        </p:nvSpPr>
        <p:spPr bwMode="auto">
          <a:xfrm>
            <a:off x="4775641" y="1704764"/>
            <a:ext cx="1910024" cy="73195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614796 w 1828800"/>
              <a:gd name="connsiteY3" fmla="*/ 914402 h 914402"/>
              <a:gd name="connsiteX4" fmla="*/ 0 w 1828800"/>
              <a:gd name="connsiteY4" fmla="*/ 914400 h 914402"/>
              <a:gd name="connsiteX5" fmla="*/ 214004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14796" y="0"/>
                </a:lnTo>
                <a:lnTo>
                  <a:pt x="1828800" y="457200"/>
                </a:lnTo>
                <a:lnTo>
                  <a:pt x="1614796" y="914402"/>
                </a:lnTo>
                <a:lnTo>
                  <a:pt x="0" y="914400"/>
                </a:lnTo>
                <a:lnTo>
                  <a:pt x="214004" y="457202"/>
                </a:lnTo>
                <a:close/>
              </a:path>
            </a:pathLst>
          </a:custGeom>
          <a:ln>
            <a:headEnd/>
            <a:tailEnd/>
          </a:ln>
        </p:spPr>
        <p:style>
          <a:lnRef idx="1">
            <a:schemeClr val="accent4"/>
          </a:lnRef>
          <a:fillRef idx="3">
            <a:schemeClr val="accent4"/>
          </a:fillRef>
          <a:effectRef idx="2">
            <a:schemeClr val="accent4"/>
          </a:effectRef>
          <a:fontRef idx="minor">
            <a:schemeClr val="lt1"/>
          </a:fontRef>
        </p:style>
        <p:txBody>
          <a:bodyPr vert="horz" wrap="square" lIns="323990" tIns="46649" rIns="93293" bIns="46649"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32958" rtl="0" eaLnBrk="1" fontAlgn="base" latinLnBrk="0" hangingPunct="1">
              <a:lnSpc>
                <a:spcPct val="100000"/>
              </a:lnSpc>
              <a:spcBef>
                <a:spcPct val="0"/>
              </a:spcBef>
              <a:spcAft>
                <a:spcPct val="0"/>
              </a:spcAft>
              <a:buClrTx/>
              <a:buSzTx/>
              <a:buFontTx/>
              <a:buNone/>
              <a:tabLst/>
              <a:defRPr/>
            </a:pPr>
            <a:r>
              <a:rPr kumimoji="0" lang="es-CO" sz="1020" b="1" i="0" u="none" strike="noStrike" kern="1200" cap="none" spc="-1" normalizeH="0" baseline="0" noProof="0" dirty="0">
                <a:ln>
                  <a:noFill/>
                </a:ln>
                <a:solidFill>
                  <a:srgbClr val="FFFFFF"/>
                </a:solidFill>
                <a:effectLst/>
                <a:uLnTx/>
                <a:uFill>
                  <a:solidFill>
                    <a:srgbClr val="FFFFFF"/>
                  </a:solidFill>
                </a:uFill>
                <a:latin typeface="Arial"/>
                <a:ea typeface="+mn-ea"/>
                <a:cs typeface="+mn-cs"/>
              </a:rPr>
              <a:t>Operaciones de Tesorería</a:t>
            </a:r>
          </a:p>
        </p:txBody>
      </p:sp>
      <p:sp>
        <p:nvSpPr>
          <p:cNvPr id="16" name="Freeform 153">
            <a:extLst>
              <a:ext uri="{FF2B5EF4-FFF2-40B4-BE49-F238E27FC236}">
                <a16:creationId xmlns:a16="http://schemas.microsoft.com/office/drawing/2014/main" id="{0E7296DF-2278-45D1-A5BC-4CCB6A124224}"/>
              </a:ext>
            </a:extLst>
          </p:cNvPr>
          <p:cNvSpPr/>
          <p:nvPr/>
        </p:nvSpPr>
        <p:spPr bwMode="auto">
          <a:xfrm>
            <a:off x="9991633" y="1702179"/>
            <a:ext cx="1910024" cy="73195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614796 w 1828800"/>
              <a:gd name="connsiteY3" fmla="*/ 914402 h 914402"/>
              <a:gd name="connsiteX4" fmla="*/ 0 w 1828800"/>
              <a:gd name="connsiteY4" fmla="*/ 914400 h 914402"/>
              <a:gd name="connsiteX5" fmla="*/ 214004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14796" y="0"/>
                </a:lnTo>
                <a:lnTo>
                  <a:pt x="1828800" y="457200"/>
                </a:lnTo>
                <a:lnTo>
                  <a:pt x="1614796" y="914402"/>
                </a:lnTo>
                <a:lnTo>
                  <a:pt x="0" y="914400"/>
                </a:lnTo>
                <a:lnTo>
                  <a:pt x="214004" y="457202"/>
                </a:lnTo>
                <a:close/>
              </a:path>
            </a:pathLst>
          </a:custGeom>
          <a:ln>
            <a:headEnd/>
            <a:tailEnd/>
          </a:ln>
        </p:spPr>
        <p:style>
          <a:lnRef idx="1">
            <a:schemeClr val="accent4"/>
          </a:lnRef>
          <a:fillRef idx="3">
            <a:schemeClr val="accent4"/>
          </a:fillRef>
          <a:effectRef idx="2">
            <a:schemeClr val="accent4"/>
          </a:effectRef>
          <a:fontRef idx="minor">
            <a:schemeClr val="lt1"/>
          </a:fontRef>
        </p:style>
        <p:txBody>
          <a:bodyPr vert="horz" wrap="square" lIns="323990" tIns="46649" rIns="93293" bIns="46649"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32958" rtl="0" eaLnBrk="1" fontAlgn="base" latinLnBrk="0" hangingPunct="1">
              <a:lnSpc>
                <a:spcPct val="100000"/>
              </a:lnSpc>
              <a:spcBef>
                <a:spcPct val="0"/>
              </a:spcBef>
              <a:spcAft>
                <a:spcPct val="0"/>
              </a:spcAft>
              <a:buClrTx/>
              <a:buSzTx/>
              <a:buFontTx/>
              <a:buNone/>
              <a:tabLst/>
              <a:defRPr/>
            </a:pPr>
            <a:r>
              <a:rPr kumimoji="0" lang="es-ES" sz="1020" b="1" i="0" u="none" strike="noStrike" kern="1200" cap="none" spc="-1" normalizeH="0" baseline="0" noProof="0" dirty="0">
                <a:ln>
                  <a:noFill/>
                </a:ln>
                <a:solidFill>
                  <a:srgbClr val="FFFFFF"/>
                </a:solidFill>
                <a:effectLst/>
                <a:uLnTx/>
                <a:uFill>
                  <a:solidFill>
                    <a:srgbClr val="FFFFFF"/>
                  </a:solidFill>
                </a:uFill>
                <a:latin typeface="Arial"/>
                <a:ea typeface="+mn-ea"/>
                <a:cs typeface="+mn-cs"/>
              </a:rPr>
              <a:t>Gestión de Retención y Transferencia del Riesgo</a:t>
            </a:r>
          </a:p>
        </p:txBody>
      </p:sp>
    </p:spTree>
    <p:extLst>
      <p:ext uri="{BB962C8B-B14F-4D97-AF65-F5344CB8AC3E}">
        <p14:creationId xmlns:p14="http://schemas.microsoft.com/office/powerpoint/2010/main" val="34625993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descr="A close up of a sign&#10;&#10;Description automatically generated">
            <a:extLst>
              <a:ext uri="{FF2B5EF4-FFF2-40B4-BE49-F238E27FC236}">
                <a16:creationId xmlns:a16="http://schemas.microsoft.com/office/drawing/2014/main" id="{52F0AC2F-4F50-514E-BAC5-40FB8FFE3B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2448" y="760150"/>
            <a:ext cx="10022541" cy="4946941"/>
          </a:xfrm>
          <a:prstGeom prst="rect">
            <a:avLst/>
          </a:prstGeom>
        </p:spPr>
      </p:pic>
      <p:sp>
        <p:nvSpPr>
          <p:cNvPr id="42" name="CuadroTexto 41">
            <a:extLst>
              <a:ext uri="{FF2B5EF4-FFF2-40B4-BE49-F238E27FC236}">
                <a16:creationId xmlns:a16="http://schemas.microsoft.com/office/drawing/2014/main" id="{8C6C9463-38E0-44BF-A606-AD2FAE25F4EF}"/>
              </a:ext>
            </a:extLst>
          </p:cNvPr>
          <p:cNvSpPr txBox="1"/>
          <p:nvPr/>
        </p:nvSpPr>
        <p:spPr>
          <a:xfrm>
            <a:off x="5649822" y="2827843"/>
            <a:ext cx="1353917" cy="523220"/>
          </a:xfrm>
          <a:prstGeom prst="rect">
            <a:avLst/>
          </a:prstGeom>
          <a:noFill/>
        </p:spPr>
        <p:txBody>
          <a:bodyPr wrap="square" rtlCol="0">
            <a:spAutoFit/>
          </a:bodyPr>
          <a:lstStyle/>
          <a:p>
            <a:pPr algn="ctr"/>
            <a:r>
              <a:rPr lang="es-ES" sz="1400" b="1">
                <a:solidFill>
                  <a:srgbClr val="07212E"/>
                </a:solidFill>
                <a:latin typeface="Century Gothic" panose="020B0502020202020204" pitchFamily="34" charset="0"/>
                <a:cs typeface="Arial" panose="020B0604020202020204" pitchFamily="34" charset="0"/>
              </a:rPr>
              <a:t>Gestión del Cambio</a:t>
            </a:r>
            <a:endParaRPr lang="es-CO" sz="1400" b="1">
              <a:solidFill>
                <a:srgbClr val="07212E"/>
              </a:solidFill>
              <a:latin typeface="Century Gothic" panose="020B0502020202020204" pitchFamily="34" charset="0"/>
              <a:cs typeface="Arial" panose="020B0604020202020204" pitchFamily="34" charset="0"/>
            </a:endParaRPr>
          </a:p>
        </p:txBody>
      </p:sp>
      <p:sp>
        <p:nvSpPr>
          <p:cNvPr id="48" name="CuadroTexto 47">
            <a:extLst>
              <a:ext uri="{FF2B5EF4-FFF2-40B4-BE49-F238E27FC236}">
                <a16:creationId xmlns:a16="http://schemas.microsoft.com/office/drawing/2014/main" id="{3D5B9A0C-A094-44A4-8CD7-BD8B7612947C}"/>
              </a:ext>
            </a:extLst>
          </p:cNvPr>
          <p:cNvSpPr txBox="1"/>
          <p:nvPr/>
        </p:nvSpPr>
        <p:spPr>
          <a:xfrm>
            <a:off x="2284656" y="1546355"/>
            <a:ext cx="1931851" cy="584775"/>
          </a:xfrm>
          <a:prstGeom prst="rect">
            <a:avLst/>
          </a:prstGeom>
          <a:noFill/>
          <a:ln>
            <a:noFill/>
          </a:ln>
        </p:spPr>
        <p:txBody>
          <a:bodyPr wrap="square" rtlCol="0">
            <a:spAutoFit/>
          </a:bodyPr>
          <a:lstStyle/>
          <a:p>
            <a:pPr algn="ctr"/>
            <a:r>
              <a:rPr lang="es-ES" sz="1600" b="1">
                <a:solidFill>
                  <a:schemeClr val="bg1"/>
                </a:solidFill>
                <a:latin typeface="Century Gothic" panose="020B0502020202020204" pitchFamily="34" charset="0"/>
                <a:cs typeface="Arial" panose="020B0604020202020204" pitchFamily="34" charset="0"/>
              </a:rPr>
              <a:t>Diagnóstico Documental</a:t>
            </a:r>
            <a:endParaRPr lang="es-CO" sz="1600" b="1">
              <a:solidFill>
                <a:schemeClr val="bg1"/>
              </a:solidFill>
              <a:latin typeface="Century Gothic" panose="020B0502020202020204" pitchFamily="34" charset="0"/>
              <a:cs typeface="Arial" panose="020B0604020202020204" pitchFamily="34" charset="0"/>
            </a:endParaRPr>
          </a:p>
        </p:txBody>
      </p:sp>
      <p:sp>
        <p:nvSpPr>
          <p:cNvPr id="50" name="CuadroTexto 49">
            <a:extLst>
              <a:ext uri="{FF2B5EF4-FFF2-40B4-BE49-F238E27FC236}">
                <a16:creationId xmlns:a16="http://schemas.microsoft.com/office/drawing/2014/main" id="{A92FB6B2-22A2-4568-A9CA-7C97419CC0A1}"/>
              </a:ext>
            </a:extLst>
          </p:cNvPr>
          <p:cNvSpPr txBox="1"/>
          <p:nvPr/>
        </p:nvSpPr>
        <p:spPr>
          <a:xfrm>
            <a:off x="1902739" y="4588511"/>
            <a:ext cx="1723086" cy="584774"/>
          </a:xfrm>
          <a:prstGeom prst="rect">
            <a:avLst/>
          </a:prstGeom>
          <a:noFill/>
        </p:spPr>
        <p:txBody>
          <a:bodyPr wrap="square" rtlCol="0">
            <a:spAutoFit/>
          </a:bodyPr>
          <a:lstStyle/>
          <a:p>
            <a:pPr algn="ctr"/>
            <a:r>
              <a:rPr lang="es-ES" sz="1600" b="1">
                <a:solidFill>
                  <a:schemeClr val="bg1"/>
                </a:solidFill>
                <a:latin typeface="Century Gothic" panose="020B0502020202020204" pitchFamily="34" charset="0"/>
                <a:cs typeface="Arial" panose="020B0604020202020204" pitchFamily="34" charset="0"/>
              </a:rPr>
              <a:t>Comités y Reuniones</a:t>
            </a:r>
            <a:endParaRPr lang="es-CO" sz="1600" b="1">
              <a:solidFill>
                <a:schemeClr val="bg1"/>
              </a:solidFill>
              <a:latin typeface="Century Gothic" panose="020B0502020202020204" pitchFamily="34" charset="0"/>
              <a:cs typeface="Arial" panose="020B0604020202020204" pitchFamily="34" charset="0"/>
            </a:endParaRPr>
          </a:p>
        </p:txBody>
      </p:sp>
      <p:sp>
        <p:nvSpPr>
          <p:cNvPr id="54" name="CuadroTexto 53">
            <a:extLst>
              <a:ext uri="{FF2B5EF4-FFF2-40B4-BE49-F238E27FC236}">
                <a16:creationId xmlns:a16="http://schemas.microsoft.com/office/drawing/2014/main" id="{CD2E0FE5-7403-40BC-BD69-19937EDD1C27}"/>
              </a:ext>
            </a:extLst>
          </p:cNvPr>
          <p:cNvSpPr txBox="1"/>
          <p:nvPr/>
        </p:nvSpPr>
        <p:spPr>
          <a:xfrm>
            <a:off x="8647525" y="4608003"/>
            <a:ext cx="2614478" cy="584775"/>
          </a:xfrm>
          <a:prstGeom prst="rect">
            <a:avLst/>
          </a:prstGeom>
          <a:noFill/>
        </p:spPr>
        <p:txBody>
          <a:bodyPr wrap="square" rtlCol="0">
            <a:spAutoFit/>
          </a:bodyPr>
          <a:lstStyle/>
          <a:p>
            <a:pPr algn="ctr"/>
            <a:r>
              <a:rPr lang="es-ES" sz="1600" b="1">
                <a:solidFill>
                  <a:schemeClr val="accent6">
                    <a:lumMod val="75000"/>
                  </a:schemeClr>
                </a:solidFill>
                <a:latin typeface="Century Gothic" panose="020B0502020202020204" pitchFamily="34" charset="0"/>
                <a:cs typeface="Arial" panose="020B0604020202020204" pitchFamily="34" charset="0"/>
              </a:rPr>
              <a:t>Manual de Delegación de Autoridad (MAD)</a:t>
            </a:r>
            <a:endParaRPr lang="es-CO" sz="1600" b="1">
              <a:solidFill>
                <a:schemeClr val="accent6">
                  <a:lumMod val="75000"/>
                </a:schemeClr>
              </a:solidFill>
              <a:latin typeface="Century Gothic" panose="020B0502020202020204" pitchFamily="34" charset="0"/>
              <a:cs typeface="Arial" panose="020B0604020202020204" pitchFamily="34" charset="0"/>
            </a:endParaRPr>
          </a:p>
        </p:txBody>
      </p:sp>
      <p:sp>
        <p:nvSpPr>
          <p:cNvPr id="60" name="CuadroTexto 59">
            <a:extLst>
              <a:ext uri="{FF2B5EF4-FFF2-40B4-BE49-F238E27FC236}">
                <a16:creationId xmlns:a16="http://schemas.microsoft.com/office/drawing/2014/main" id="{63D96A83-7AC3-44B6-B68B-2AB5BFE50843}"/>
              </a:ext>
            </a:extLst>
          </p:cNvPr>
          <p:cNvSpPr txBox="1"/>
          <p:nvPr/>
        </p:nvSpPr>
        <p:spPr>
          <a:xfrm>
            <a:off x="8306672" y="1570175"/>
            <a:ext cx="2081573" cy="584775"/>
          </a:xfrm>
          <a:prstGeom prst="rect">
            <a:avLst/>
          </a:prstGeom>
          <a:noFill/>
        </p:spPr>
        <p:txBody>
          <a:bodyPr wrap="square" rtlCol="0">
            <a:spAutoFit/>
          </a:bodyPr>
          <a:lstStyle/>
          <a:p>
            <a:pPr algn="ctr"/>
            <a:r>
              <a:rPr lang="es-ES" sz="1600" b="1">
                <a:solidFill>
                  <a:schemeClr val="bg1"/>
                </a:solidFill>
                <a:latin typeface="Century Gothic" panose="020B0502020202020204" pitchFamily="34" charset="0"/>
                <a:cs typeface="Arial" panose="020B0604020202020204" pitchFamily="34" charset="0"/>
              </a:rPr>
              <a:t>Modelo de Relacionamiento</a:t>
            </a:r>
            <a:endParaRPr lang="es-CO" sz="1600" b="1">
              <a:solidFill>
                <a:schemeClr val="bg1"/>
              </a:solidFill>
              <a:latin typeface="Century Gothic" panose="020B0502020202020204" pitchFamily="34" charset="0"/>
              <a:cs typeface="Arial" panose="020B0604020202020204" pitchFamily="34" charset="0"/>
            </a:endParaRPr>
          </a:p>
        </p:txBody>
      </p:sp>
      <p:pic>
        <p:nvPicPr>
          <p:cNvPr id="101" name="Imagen 100">
            <a:extLst>
              <a:ext uri="{FF2B5EF4-FFF2-40B4-BE49-F238E27FC236}">
                <a16:creationId xmlns:a16="http://schemas.microsoft.com/office/drawing/2014/main" id="{D30FAB84-6765-4EA7-8B2C-0B76621F31E4}"/>
              </a:ext>
            </a:extLst>
          </p:cNvPr>
          <p:cNvPicPr>
            <a:picLocks noChangeAspect="1"/>
          </p:cNvPicPr>
          <p:nvPr/>
        </p:nvPicPr>
        <p:blipFill>
          <a:blip r:embed="rId4"/>
          <a:stretch>
            <a:fillRect/>
          </a:stretch>
        </p:blipFill>
        <p:spPr>
          <a:xfrm>
            <a:off x="9355886" y="5232045"/>
            <a:ext cx="1006096" cy="1006096"/>
          </a:xfrm>
          <a:prstGeom prst="rect">
            <a:avLst/>
          </a:prstGeom>
        </p:spPr>
      </p:pic>
      <p:pic>
        <p:nvPicPr>
          <p:cNvPr id="103" name="Imagen 102" descr="Imagen que contiene dibujo, grafiti, señal, cuarto&#10;&#10;Descripción generada automáticamente">
            <a:extLst>
              <a:ext uri="{FF2B5EF4-FFF2-40B4-BE49-F238E27FC236}">
                <a16:creationId xmlns:a16="http://schemas.microsoft.com/office/drawing/2014/main" id="{7C64DD4C-B66D-4C04-B15D-EDBF75D4827D}"/>
              </a:ext>
            </a:extLst>
          </p:cNvPr>
          <p:cNvPicPr>
            <a:picLocks noChangeAspect="1"/>
          </p:cNvPicPr>
          <p:nvPr/>
        </p:nvPicPr>
        <p:blipFill>
          <a:blip r:embed="rId5"/>
          <a:stretch>
            <a:fillRect/>
          </a:stretch>
        </p:blipFill>
        <p:spPr>
          <a:xfrm>
            <a:off x="2320117" y="5365846"/>
            <a:ext cx="829496" cy="829496"/>
          </a:xfrm>
          <a:prstGeom prst="rect">
            <a:avLst/>
          </a:prstGeom>
        </p:spPr>
      </p:pic>
      <p:pic>
        <p:nvPicPr>
          <p:cNvPr id="105" name="Imagen 104" descr="Imagen que contiene sushi, ventana, grafiti, dibujo&#10;&#10;Descripción generada automáticamente">
            <a:extLst>
              <a:ext uri="{FF2B5EF4-FFF2-40B4-BE49-F238E27FC236}">
                <a16:creationId xmlns:a16="http://schemas.microsoft.com/office/drawing/2014/main" id="{D28A723D-BE5C-4CCD-BB55-26CC0939C143}"/>
              </a:ext>
            </a:extLst>
          </p:cNvPr>
          <p:cNvPicPr>
            <a:picLocks noChangeAspect="1"/>
          </p:cNvPicPr>
          <p:nvPr/>
        </p:nvPicPr>
        <p:blipFill>
          <a:blip r:embed="rId6"/>
          <a:stretch>
            <a:fillRect/>
          </a:stretch>
        </p:blipFill>
        <p:spPr>
          <a:xfrm>
            <a:off x="8891119" y="2505388"/>
            <a:ext cx="906126" cy="906126"/>
          </a:xfrm>
          <a:prstGeom prst="rect">
            <a:avLst/>
          </a:prstGeom>
        </p:spPr>
      </p:pic>
      <p:pic>
        <p:nvPicPr>
          <p:cNvPr id="107" name="Imagen 106">
            <a:extLst>
              <a:ext uri="{FF2B5EF4-FFF2-40B4-BE49-F238E27FC236}">
                <a16:creationId xmlns:a16="http://schemas.microsoft.com/office/drawing/2014/main" id="{DDDCB467-82D2-4906-8E14-265CD169797B}"/>
              </a:ext>
            </a:extLst>
          </p:cNvPr>
          <p:cNvPicPr>
            <a:picLocks noChangeAspect="1"/>
          </p:cNvPicPr>
          <p:nvPr/>
        </p:nvPicPr>
        <p:blipFill>
          <a:blip r:embed="rId7"/>
          <a:stretch>
            <a:fillRect/>
          </a:stretch>
        </p:blipFill>
        <p:spPr>
          <a:xfrm>
            <a:off x="2734865" y="2467669"/>
            <a:ext cx="928561" cy="928561"/>
          </a:xfrm>
          <a:prstGeom prst="rect">
            <a:avLst/>
          </a:prstGeom>
        </p:spPr>
      </p:pic>
      <p:pic>
        <p:nvPicPr>
          <p:cNvPr id="135" name="Imagen 134" descr="Imagen que contiene ventana&#10;&#10;Descripción generada automáticamente">
            <a:extLst>
              <a:ext uri="{FF2B5EF4-FFF2-40B4-BE49-F238E27FC236}">
                <a16:creationId xmlns:a16="http://schemas.microsoft.com/office/drawing/2014/main" id="{4E16E3A8-711F-4172-B56E-43B025F29A3E}"/>
              </a:ext>
            </a:extLst>
          </p:cNvPr>
          <p:cNvPicPr>
            <a:picLocks noChangeAspect="1"/>
          </p:cNvPicPr>
          <p:nvPr/>
        </p:nvPicPr>
        <p:blipFill>
          <a:blip r:embed="rId8"/>
          <a:stretch>
            <a:fillRect/>
          </a:stretch>
        </p:blipFill>
        <p:spPr>
          <a:xfrm>
            <a:off x="5915066" y="3967304"/>
            <a:ext cx="802653" cy="802653"/>
          </a:xfrm>
          <a:prstGeom prst="rect">
            <a:avLst/>
          </a:prstGeom>
        </p:spPr>
      </p:pic>
      <p:sp>
        <p:nvSpPr>
          <p:cNvPr id="17" name="CuadroTexto 16">
            <a:extLst>
              <a:ext uri="{FF2B5EF4-FFF2-40B4-BE49-F238E27FC236}">
                <a16:creationId xmlns:a16="http://schemas.microsoft.com/office/drawing/2014/main" id="{D90E3A1E-2F31-41DC-B883-AFD300F30ED5}"/>
              </a:ext>
            </a:extLst>
          </p:cNvPr>
          <p:cNvSpPr txBox="1"/>
          <p:nvPr/>
        </p:nvSpPr>
        <p:spPr>
          <a:xfrm>
            <a:off x="1035465" y="43512"/>
            <a:ext cx="10516020" cy="523220"/>
          </a:xfrm>
          <a:prstGeom prst="rect">
            <a:avLst/>
          </a:prstGeom>
          <a:noFill/>
        </p:spPr>
        <p:txBody>
          <a:bodyPr wrap="none" rtlCol="0">
            <a:spAutoFit/>
          </a:bodyPr>
          <a:lstStyle/>
          <a:p>
            <a:pPr algn="ctr"/>
            <a:r>
              <a:rPr lang="es-ES" sz="2800" b="1">
                <a:solidFill>
                  <a:srgbClr val="10476B"/>
                </a:solidFill>
                <a:latin typeface="Century Gothic" panose="020B0502020202020204" pitchFamily="34" charset="0"/>
                <a:cs typeface="Arial" panose="020B0604020202020204" pitchFamily="34" charset="0"/>
              </a:rPr>
              <a:t>FASES DEL PROYECTO Y ENTREGABLES POR MACROPROCESO</a:t>
            </a:r>
          </a:p>
        </p:txBody>
      </p:sp>
      <p:sp>
        <p:nvSpPr>
          <p:cNvPr id="20" name="CuadroTexto 19">
            <a:extLst>
              <a:ext uri="{FF2B5EF4-FFF2-40B4-BE49-F238E27FC236}">
                <a16:creationId xmlns:a16="http://schemas.microsoft.com/office/drawing/2014/main" id="{BA71CAB1-059A-4682-B7CE-73D93DC727F2}"/>
              </a:ext>
            </a:extLst>
          </p:cNvPr>
          <p:cNvSpPr txBox="1"/>
          <p:nvPr/>
        </p:nvSpPr>
        <p:spPr>
          <a:xfrm>
            <a:off x="2307942" y="4160817"/>
            <a:ext cx="912681" cy="400110"/>
          </a:xfrm>
          <a:prstGeom prst="rect">
            <a:avLst/>
          </a:prstGeom>
          <a:noFill/>
          <a:ln>
            <a:noFill/>
          </a:ln>
        </p:spPr>
        <p:txBody>
          <a:bodyPr wrap="square" rtlCol="0">
            <a:spAutoFit/>
          </a:bodyPr>
          <a:lstStyle>
            <a:defPPr>
              <a:defRPr lang="es-CO"/>
            </a:defPPr>
            <a:lvl1pPr algn="ctr">
              <a:defRPr sz="1400" b="1">
                <a:solidFill>
                  <a:srgbClr val="07212E"/>
                </a:solidFill>
                <a:latin typeface="Arial" panose="020B0604020202020204" pitchFamily="34" charset="0"/>
                <a:cs typeface="Arial" panose="020B0604020202020204" pitchFamily="34" charset="0"/>
              </a:defRPr>
            </a:lvl1pPr>
          </a:lstStyle>
          <a:p>
            <a:r>
              <a:rPr lang="es-ES" sz="2000">
                <a:solidFill>
                  <a:schemeClr val="bg1"/>
                </a:solidFill>
              </a:rPr>
              <a:t>100%</a:t>
            </a:r>
            <a:endParaRPr lang="es-CO" sz="2000">
              <a:solidFill>
                <a:schemeClr val="bg1"/>
              </a:solidFill>
            </a:endParaRPr>
          </a:p>
        </p:txBody>
      </p:sp>
      <p:sp>
        <p:nvSpPr>
          <p:cNvPr id="91" name="CuadroTexto 19">
            <a:extLst>
              <a:ext uri="{FF2B5EF4-FFF2-40B4-BE49-F238E27FC236}">
                <a16:creationId xmlns:a16="http://schemas.microsoft.com/office/drawing/2014/main" id="{07CBC177-9FC6-C343-A97F-7D9FD1AD4A40}"/>
              </a:ext>
            </a:extLst>
          </p:cNvPr>
          <p:cNvSpPr txBox="1"/>
          <p:nvPr/>
        </p:nvSpPr>
        <p:spPr>
          <a:xfrm>
            <a:off x="2844542" y="1045969"/>
            <a:ext cx="912681" cy="400110"/>
          </a:xfrm>
          <a:prstGeom prst="rect">
            <a:avLst/>
          </a:prstGeom>
          <a:noFill/>
          <a:ln>
            <a:noFill/>
          </a:ln>
        </p:spPr>
        <p:txBody>
          <a:bodyPr wrap="square" rtlCol="0">
            <a:spAutoFit/>
          </a:bodyPr>
          <a:lstStyle>
            <a:defPPr>
              <a:defRPr lang="es-CO"/>
            </a:defPPr>
            <a:lvl1pPr algn="ctr">
              <a:defRPr sz="1400" b="1">
                <a:solidFill>
                  <a:srgbClr val="07212E"/>
                </a:solidFill>
                <a:latin typeface="Arial" panose="020B0604020202020204" pitchFamily="34" charset="0"/>
                <a:cs typeface="Arial" panose="020B0604020202020204" pitchFamily="34" charset="0"/>
              </a:defRPr>
            </a:lvl1pPr>
          </a:lstStyle>
          <a:p>
            <a:r>
              <a:rPr lang="es-ES" sz="2000">
                <a:solidFill>
                  <a:schemeClr val="bg1"/>
                </a:solidFill>
              </a:rPr>
              <a:t>100%</a:t>
            </a:r>
            <a:endParaRPr lang="es-CO" sz="2000">
              <a:solidFill>
                <a:schemeClr val="bg1"/>
              </a:solidFill>
            </a:endParaRPr>
          </a:p>
        </p:txBody>
      </p:sp>
      <p:sp>
        <p:nvSpPr>
          <p:cNvPr id="93" name="CuadroTexto 19">
            <a:extLst>
              <a:ext uri="{FF2B5EF4-FFF2-40B4-BE49-F238E27FC236}">
                <a16:creationId xmlns:a16="http://schemas.microsoft.com/office/drawing/2014/main" id="{821B7FB2-45AC-7943-9211-8C5A56B0B1D0}"/>
              </a:ext>
            </a:extLst>
          </p:cNvPr>
          <p:cNvSpPr txBox="1"/>
          <p:nvPr/>
        </p:nvSpPr>
        <p:spPr>
          <a:xfrm>
            <a:off x="9498424" y="4151889"/>
            <a:ext cx="912681" cy="400110"/>
          </a:xfrm>
          <a:prstGeom prst="rect">
            <a:avLst/>
          </a:prstGeom>
          <a:noFill/>
          <a:ln>
            <a:noFill/>
          </a:ln>
        </p:spPr>
        <p:txBody>
          <a:bodyPr wrap="square" rtlCol="0">
            <a:spAutoFit/>
          </a:bodyPr>
          <a:lstStyle>
            <a:defPPr>
              <a:defRPr lang="es-CO"/>
            </a:defPPr>
            <a:lvl1pPr algn="ctr">
              <a:defRPr sz="1400" b="1">
                <a:solidFill>
                  <a:srgbClr val="07212E"/>
                </a:solidFill>
                <a:latin typeface="Arial" panose="020B0604020202020204" pitchFamily="34" charset="0"/>
                <a:cs typeface="Arial" panose="020B0604020202020204" pitchFamily="34" charset="0"/>
              </a:defRPr>
            </a:lvl1pPr>
          </a:lstStyle>
          <a:p>
            <a:r>
              <a:rPr lang="es-ES" sz="2000">
                <a:solidFill>
                  <a:schemeClr val="bg1"/>
                </a:solidFill>
              </a:rPr>
              <a:t>100%</a:t>
            </a:r>
            <a:endParaRPr lang="es-CO" sz="2000">
              <a:solidFill>
                <a:schemeClr val="bg1"/>
              </a:solidFill>
            </a:endParaRPr>
          </a:p>
        </p:txBody>
      </p:sp>
      <p:sp>
        <p:nvSpPr>
          <p:cNvPr id="94" name="CuadroTexto 19">
            <a:extLst>
              <a:ext uri="{FF2B5EF4-FFF2-40B4-BE49-F238E27FC236}">
                <a16:creationId xmlns:a16="http://schemas.microsoft.com/office/drawing/2014/main" id="{4B1C927A-9904-0645-BCA2-25CA2CAF52C5}"/>
              </a:ext>
            </a:extLst>
          </p:cNvPr>
          <p:cNvSpPr txBox="1"/>
          <p:nvPr/>
        </p:nvSpPr>
        <p:spPr>
          <a:xfrm>
            <a:off x="8891119" y="1040947"/>
            <a:ext cx="912681" cy="400110"/>
          </a:xfrm>
          <a:prstGeom prst="rect">
            <a:avLst/>
          </a:prstGeom>
          <a:noFill/>
          <a:ln>
            <a:noFill/>
          </a:ln>
        </p:spPr>
        <p:txBody>
          <a:bodyPr wrap="square" rtlCol="0">
            <a:spAutoFit/>
          </a:bodyPr>
          <a:lstStyle>
            <a:defPPr>
              <a:defRPr lang="es-CO"/>
            </a:defPPr>
            <a:lvl1pPr algn="ctr">
              <a:defRPr sz="1400" b="1">
                <a:solidFill>
                  <a:srgbClr val="07212E"/>
                </a:solidFill>
                <a:latin typeface="Arial" panose="020B0604020202020204" pitchFamily="34" charset="0"/>
                <a:cs typeface="Arial" panose="020B0604020202020204" pitchFamily="34" charset="0"/>
              </a:defRPr>
            </a:lvl1pPr>
          </a:lstStyle>
          <a:p>
            <a:r>
              <a:rPr lang="es-ES" sz="2000">
                <a:solidFill>
                  <a:schemeClr val="bg1"/>
                </a:solidFill>
              </a:rPr>
              <a:t>100%</a:t>
            </a:r>
            <a:endParaRPr lang="es-CO" sz="2000">
              <a:solidFill>
                <a:schemeClr val="bg1"/>
              </a:solidFill>
            </a:endParaRPr>
          </a:p>
        </p:txBody>
      </p:sp>
      <p:sp>
        <p:nvSpPr>
          <p:cNvPr id="99" name="Oval 98">
            <a:extLst>
              <a:ext uri="{FF2B5EF4-FFF2-40B4-BE49-F238E27FC236}">
                <a16:creationId xmlns:a16="http://schemas.microsoft.com/office/drawing/2014/main" id="{F7274B33-B192-4347-A044-6DC3E078F83D}"/>
              </a:ext>
            </a:extLst>
          </p:cNvPr>
          <p:cNvSpPr/>
          <p:nvPr/>
        </p:nvSpPr>
        <p:spPr>
          <a:xfrm>
            <a:off x="2460630" y="3625095"/>
            <a:ext cx="548470" cy="548470"/>
          </a:xfrm>
          <a:prstGeom prst="ellipse">
            <a:avLst/>
          </a:prstGeom>
          <a:solidFill>
            <a:schemeClr val="bg1"/>
          </a:solidFill>
          <a:ln>
            <a:solidFill>
              <a:srgbClr val="1047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O" sz="2400" b="1">
                <a:solidFill>
                  <a:schemeClr val="accent1">
                    <a:lumMod val="50000"/>
                  </a:schemeClr>
                </a:solidFill>
                <a:latin typeface="Century Gothic" panose="020B0502020202020204" pitchFamily="34" charset="0"/>
              </a:rPr>
              <a:t>2</a:t>
            </a:r>
          </a:p>
        </p:txBody>
      </p:sp>
      <p:sp>
        <p:nvSpPr>
          <p:cNvPr id="106" name="Oval 105">
            <a:extLst>
              <a:ext uri="{FF2B5EF4-FFF2-40B4-BE49-F238E27FC236}">
                <a16:creationId xmlns:a16="http://schemas.microsoft.com/office/drawing/2014/main" id="{88C01678-B2F7-1045-90CD-53A08DDEB55A}"/>
              </a:ext>
            </a:extLst>
          </p:cNvPr>
          <p:cNvSpPr/>
          <p:nvPr/>
        </p:nvSpPr>
        <p:spPr>
          <a:xfrm>
            <a:off x="2920370" y="548683"/>
            <a:ext cx="548470" cy="548470"/>
          </a:xfrm>
          <a:prstGeom prst="ellipse">
            <a:avLst/>
          </a:prstGeom>
          <a:solidFill>
            <a:schemeClr val="bg1"/>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O" sz="2400" b="1">
                <a:solidFill>
                  <a:schemeClr val="accent1">
                    <a:lumMod val="50000"/>
                  </a:schemeClr>
                </a:solidFill>
                <a:latin typeface="Century Gothic" panose="020B0502020202020204" pitchFamily="34" charset="0"/>
              </a:rPr>
              <a:t>1</a:t>
            </a:r>
          </a:p>
        </p:txBody>
      </p:sp>
      <p:sp>
        <p:nvSpPr>
          <p:cNvPr id="109" name="Oval 108">
            <a:extLst>
              <a:ext uri="{FF2B5EF4-FFF2-40B4-BE49-F238E27FC236}">
                <a16:creationId xmlns:a16="http://schemas.microsoft.com/office/drawing/2014/main" id="{DC6FE364-503B-7946-8E38-C2A6F34B3F59}"/>
              </a:ext>
            </a:extLst>
          </p:cNvPr>
          <p:cNvSpPr/>
          <p:nvPr/>
        </p:nvSpPr>
        <p:spPr>
          <a:xfrm>
            <a:off x="6100187" y="3379638"/>
            <a:ext cx="453186" cy="4531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O" sz="2400" b="1">
                <a:solidFill>
                  <a:schemeClr val="accent1">
                    <a:lumMod val="50000"/>
                  </a:schemeClr>
                </a:solidFill>
                <a:latin typeface="Century Gothic" panose="020B0502020202020204" pitchFamily="34" charset="0"/>
              </a:rPr>
              <a:t>5</a:t>
            </a:r>
          </a:p>
        </p:txBody>
      </p:sp>
      <p:sp>
        <p:nvSpPr>
          <p:cNvPr id="110" name="Oval 109">
            <a:extLst>
              <a:ext uri="{FF2B5EF4-FFF2-40B4-BE49-F238E27FC236}">
                <a16:creationId xmlns:a16="http://schemas.microsoft.com/office/drawing/2014/main" id="{86D16295-E7AA-AD4A-BBAC-9BD05EEA09B8}"/>
              </a:ext>
            </a:extLst>
          </p:cNvPr>
          <p:cNvSpPr/>
          <p:nvPr/>
        </p:nvSpPr>
        <p:spPr>
          <a:xfrm>
            <a:off x="9659591" y="3663842"/>
            <a:ext cx="548470" cy="548470"/>
          </a:xfrm>
          <a:prstGeom prst="ellipse">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O" sz="2400" b="1">
                <a:solidFill>
                  <a:schemeClr val="accent1">
                    <a:lumMod val="50000"/>
                  </a:schemeClr>
                </a:solidFill>
                <a:latin typeface="Century Gothic" panose="020B0502020202020204" pitchFamily="34" charset="0"/>
              </a:rPr>
              <a:t>3</a:t>
            </a:r>
          </a:p>
        </p:txBody>
      </p:sp>
      <p:sp>
        <p:nvSpPr>
          <p:cNvPr id="111" name="Oval 110">
            <a:extLst>
              <a:ext uri="{FF2B5EF4-FFF2-40B4-BE49-F238E27FC236}">
                <a16:creationId xmlns:a16="http://schemas.microsoft.com/office/drawing/2014/main" id="{C9BEE47A-869F-5147-B51D-BCF46C0AE4A1}"/>
              </a:ext>
            </a:extLst>
          </p:cNvPr>
          <p:cNvSpPr/>
          <p:nvPr/>
        </p:nvSpPr>
        <p:spPr>
          <a:xfrm>
            <a:off x="9078405" y="548683"/>
            <a:ext cx="548470" cy="548470"/>
          </a:xfrm>
          <a:prstGeom prst="ellipse">
            <a:avLst/>
          </a:prstGeom>
          <a:solidFill>
            <a:schemeClr val="bg1"/>
          </a:solidFill>
          <a:ln>
            <a:solidFill>
              <a:srgbClr val="4A83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O" sz="2400" b="1">
                <a:solidFill>
                  <a:schemeClr val="accent1">
                    <a:lumMod val="50000"/>
                  </a:schemeClr>
                </a:solidFill>
                <a:latin typeface="Century Gothic" panose="020B0502020202020204" pitchFamily="34" charset="0"/>
              </a:rPr>
              <a:t>4</a:t>
            </a:r>
          </a:p>
        </p:txBody>
      </p:sp>
    </p:spTree>
    <p:extLst>
      <p:ext uri="{BB962C8B-B14F-4D97-AF65-F5344CB8AC3E}">
        <p14:creationId xmlns:p14="http://schemas.microsoft.com/office/powerpoint/2010/main" val="10468010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66">
            <a:extLst>
              <a:ext uri="{FF2B5EF4-FFF2-40B4-BE49-F238E27FC236}">
                <a16:creationId xmlns:a16="http://schemas.microsoft.com/office/drawing/2014/main" id="{38EDB1DE-AF47-9D40-B81D-283FF4E6C2A4}"/>
              </a:ext>
            </a:extLst>
          </p:cNvPr>
          <p:cNvSpPr txBox="1"/>
          <p:nvPr/>
        </p:nvSpPr>
        <p:spPr>
          <a:xfrm>
            <a:off x="3308794" y="1802081"/>
            <a:ext cx="5732000" cy="353943"/>
          </a:xfrm>
          <a:prstGeom prst="rect">
            <a:avLst/>
          </a:prstGeom>
          <a:noFill/>
          <a:ln>
            <a:solidFill>
              <a:schemeClr val="bg2"/>
            </a:solidFill>
          </a:ln>
        </p:spPr>
        <p:txBody>
          <a:bodyPr wrap="square" rtlCol="0">
            <a:spAutoFit/>
          </a:bodyPr>
          <a:lstStyle/>
          <a:p>
            <a:pPr algn="just"/>
            <a:r>
              <a:rPr lang="es-ES" sz="1700" b="1">
                <a:solidFill>
                  <a:srgbClr val="10476B"/>
                </a:solidFill>
                <a:latin typeface="Arial" panose="020B0604020202020204" pitchFamily="34" charset="0"/>
                <a:cs typeface="Arial" panose="020B0604020202020204" pitchFamily="34" charset="0"/>
              </a:rPr>
              <a:t>Actualización</a:t>
            </a:r>
            <a:r>
              <a:rPr lang="es-ES" sz="1700">
                <a:solidFill>
                  <a:srgbClr val="10476B"/>
                </a:solidFill>
                <a:latin typeface="Arial" panose="020B0604020202020204" pitchFamily="34" charset="0"/>
                <a:cs typeface="Arial" panose="020B0604020202020204" pitchFamily="34" charset="0"/>
              </a:rPr>
              <a:t> documentos de gobierno de Cenit</a:t>
            </a:r>
            <a:endParaRPr lang="es-ES" sz="1700" b="1">
              <a:solidFill>
                <a:srgbClr val="10476B"/>
              </a:solidFill>
              <a:latin typeface="Arial" panose="020B0604020202020204" pitchFamily="34" charset="0"/>
              <a:cs typeface="Arial" panose="020B0604020202020204" pitchFamily="34" charset="0"/>
            </a:endParaRPr>
          </a:p>
        </p:txBody>
      </p:sp>
      <p:pic>
        <p:nvPicPr>
          <p:cNvPr id="3" name="Picture 6">
            <a:extLst>
              <a:ext uri="{FF2B5EF4-FFF2-40B4-BE49-F238E27FC236}">
                <a16:creationId xmlns:a16="http://schemas.microsoft.com/office/drawing/2014/main" id="{6B712A9A-A1B5-5C40-93E1-9889A908493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455" t="9212" r="73220" b="15975"/>
          <a:stretch/>
        </p:blipFill>
        <p:spPr bwMode="auto">
          <a:xfrm>
            <a:off x="9261172" y="1407853"/>
            <a:ext cx="538163" cy="53165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8">
            <a:extLst>
              <a:ext uri="{FF2B5EF4-FFF2-40B4-BE49-F238E27FC236}">
                <a16:creationId xmlns:a16="http://schemas.microsoft.com/office/drawing/2014/main" id="{4508CFCE-3704-BB45-8028-EF43011836A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986" t="17517" r="15609" b="17455"/>
          <a:stretch/>
        </p:blipFill>
        <p:spPr bwMode="auto">
          <a:xfrm>
            <a:off x="10061176" y="945563"/>
            <a:ext cx="601290" cy="56338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0">
            <a:extLst>
              <a:ext uri="{FF2B5EF4-FFF2-40B4-BE49-F238E27FC236}">
                <a16:creationId xmlns:a16="http://schemas.microsoft.com/office/drawing/2014/main" id="{18C1DFB3-692A-534F-AC32-C986A4BC3B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55973" y="1275969"/>
            <a:ext cx="779014" cy="333863"/>
          </a:xfrm>
          <a:prstGeom prst="rect">
            <a:avLst/>
          </a:prstGeom>
          <a:noFill/>
          <a:extLst>
            <a:ext uri="{909E8E84-426E-40DD-AFC4-6F175D3DCCD1}">
              <a14:hiddenFill xmlns:a14="http://schemas.microsoft.com/office/drawing/2010/main">
                <a:solidFill>
                  <a:srgbClr val="FFFFFF"/>
                </a:solidFill>
              </a14:hiddenFill>
            </a:ext>
          </a:extLst>
        </p:spPr>
      </p:pic>
      <p:sp>
        <p:nvSpPr>
          <p:cNvPr id="6" name="CuadroTexto 81">
            <a:extLst>
              <a:ext uri="{FF2B5EF4-FFF2-40B4-BE49-F238E27FC236}">
                <a16:creationId xmlns:a16="http://schemas.microsoft.com/office/drawing/2014/main" id="{0B95BECA-B91B-1947-B0D6-C4A401178577}"/>
              </a:ext>
            </a:extLst>
          </p:cNvPr>
          <p:cNvSpPr txBox="1"/>
          <p:nvPr/>
        </p:nvSpPr>
        <p:spPr>
          <a:xfrm>
            <a:off x="3308795" y="1116158"/>
            <a:ext cx="5732000" cy="615553"/>
          </a:xfrm>
          <a:prstGeom prst="rect">
            <a:avLst/>
          </a:prstGeom>
          <a:noFill/>
          <a:ln>
            <a:solidFill>
              <a:schemeClr val="bg2"/>
            </a:solidFill>
          </a:ln>
        </p:spPr>
        <p:txBody>
          <a:bodyPr wrap="square" rtlCol="0">
            <a:spAutoFit/>
          </a:bodyPr>
          <a:lstStyle/>
          <a:p>
            <a:pPr algn="just"/>
            <a:r>
              <a:rPr lang="es-ES" sz="1700">
                <a:solidFill>
                  <a:srgbClr val="10476B"/>
                </a:solidFill>
                <a:latin typeface="Arial" panose="020B0604020202020204" pitchFamily="34" charset="0"/>
                <a:cs typeface="Arial" panose="020B0604020202020204" pitchFamily="34" charset="0"/>
              </a:rPr>
              <a:t>Implementación de </a:t>
            </a:r>
            <a:r>
              <a:rPr lang="es-ES" sz="1700" b="1">
                <a:solidFill>
                  <a:srgbClr val="10476B"/>
                </a:solidFill>
                <a:latin typeface="Arial" panose="020B0604020202020204" pitchFamily="34" charset="0"/>
                <a:cs typeface="Arial" panose="020B0604020202020204" pitchFamily="34" charset="0"/>
              </a:rPr>
              <a:t>mejores prácticas </a:t>
            </a:r>
            <a:r>
              <a:rPr lang="es-ES" sz="1700">
                <a:solidFill>
                  <a:srgbClr val="10476B"/>
                </a:solidFill>
                <a:latin typeface="Arial" panose="020B0604020202020204" pitchFamily="34" charset="0"/>
                <a:cs typeface="Arial" panose="020B0604020202020204" pitchFamily="34" charset="0"/>
              </a:rPr>
              <a:t>de </a:t>
            </a:r>
            <a:r>
              <a:rPr lang="es-ES" sz="1700" b="1">
                <a:solidFill>
                  <a:srgbClr val="10476B"/>
                </a:solidFill>
                <a:latin typeface="Arial" panose="020B0604020202020204" pitchFamily="34" charset="0"/>
                <a:cs typeface="Arial" panose="020B0604020202020204" pitchFamily="34" charset="0"/>
              </a:rPr>
              <a:t>GC </a:t>
            </a:r>
            <a:r>
              <a:rPr lang="es-ES" sz="1700">
                <a:solidFill>
                  <a:srgbClr val="10476B"/>
                </a:solidFill>
                <a:latin typeface="Arial" panose="020B0604020202020204" pitchFamily="34" charset="0"/>
                <a:cs typeface="Arial" panose="020B0604020202020204" pitchFamily="34" charset="0"/>
              </a:rPr>
              <a:t>(5 estándares internacionales y los de GEE).</a:t>
            </a:r>
          </a:p>
        </p:txBody>
      </p:sp>
      <p:pic>
        <p:nvPicPr>
          <p:cNvPr id="7" name="Picture 4" descr="La OCDE realizará una evaluación externa de la actividad de la AIReF">
            <a:extLst>
              <a:ext uri="{FF2B5EF4-FFF2-40B4-BE49-F238E27FC236}">
                <a16:creationId xmlns:a16="http://schemas.microsoft.com/office/drawing/2014/main" id="{49282EF9-0542-D941-ADFB-971D99A7FB6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61175" y="1498763"/>
            <a:ext cx="601290" cy="417691"/>
          </a:xfrm>
          <a:prstGeom prst="rect">
            <a:avLst/>
          </a:prstGeom>
          <a:noFill/>
          <a:extLst>
            <a:ext uri="{909E8E84-426E-40DD-AFC4-6F175D3DCCD1}">
              <a14:hiddenFill xmlns:a14="http://schemas.microsoft.com/office/drawing/2010/main">
                <a:solidFill>
                  <a:srgbClr val="FFFFFF"/>
                </a:solidFill>
              </a14:hiddenFill>
            </a:ext>
          </a:extLst>
        </p:spPr>
      </p:pic>
      <p:pic>
        <p:nvPicPr>
          <p:cNvPr id="10" name="Imagen 2" descr="Imagen que contiene firmar, alimentos&#10;&#10;Descripción generada automáticamente">
            <a:extLst>
              <a:ext uri="{FF2B5EF4-FFF2-40B4-BE49-F238E27FC236}">
                <a16:creationId xmlns:a16="http://schemas.microsoft.com/office/drawing/2014/main" id="{59AD9CD2-8747-4542-95C9-8984CD45153A}"/>
              </a:ext>
            </a:extLst>
          </p:cNvPr>
          <p:cNvPicPr>
            <a:picLocks noChangeAspect="1"/>
          </p:cNvPicPr>
          <p:nvPr/>
        </p:nvPicPr>
        <p:blipFill rotWithShape="1">
          <a:blip r:embed="rId6"/>
          <a:srcRect t="1" r="71975" b="3009"/>
          <a:stretch/>
        </p:blipFill>
        <p:spPr>
          <a:xfrm>
            <a:off x="9261172" y="881363"/>
            <a:ext cx="655822" cy="453936"/>
          </a:xfrm>
          <a:prstGeom prst="rect">
            <a:avLst/>
          </a:prstGeom>
        </p:spPr>
      </p:pic>
      <p:sp>
        <p:nvSpPr>
          <p:cNvPr id="11" name="CuadroTexto 47">
            <a:extLst>
              <a:ext uri="{FF2B5EF4-FFF2-40B4-BE49-F238E27FC236}">
                <a16:creationId xmlns:a16="http://schemas.microsoft.com/office/drawing/2014/main" id="{B7555FB1-F363-8646-896F-4E2589A794C7}"/>
              </a:ext>
            </a:extLst>
          </p:cNvPr>
          <p:cNvSpPr txBox="1"/>
          <p:nvPr/>
        </p:nvSpPr>
        <p:spPr>
          <a:xfrm>
            <a:off x="2884686" y="207620"/>
            <a:ext cx="5138325" cy="523220"/>
          </a:xfrm>
          <a:prstGeom prst="rect">
            <a:avLst/>
          </a:prstGeom>
          <a:noFill/>
          <a:ln>
            <a:noFill/>
          </a:ln>
        </p:spPr>
        <p:txBody>
          <a:bodyPr wrap="square" rtlCol="0">
            <a:spAutoFit/>
          </a:bodyPr>
          <a:lstStyle/>
          <a:p>
            <a:pPr algn="ctr"/>
            <a:r>
              <a:rPr lang="es-ES" sz="2800" b="1">
                <a:solidFill>
                  <a:srgbClr val="10476B"/>
                </a:solidFill>
                <a:latin typeface="Century Gothic" panose="020B0502020202020204" pitchFamily="34" charset="0"/>
                <a:cs typeface="Arial" panose="020B0604020202020204" pitchFamily="34" charset="0"/>
              </a:rPr>
              <a:t>Diagnóstico Documental</a:t>
            </a:r>
            <a:endParaRPr lang="es-CO" sz="2800" b="1">
              <a:solidFill>
                <a:srgbClr val="10476B"/>
              </a:solidFill>
              <a:latin typeface="Century Gothic" panose="020B0502020202020204" pitchFamily="34" charset="0"/>
              <a:cs typeface="Arial" panose="020B0604020202020204" pitchFamily="34" charset="0"/>
            </a:endParaRPr>
          </a:p>
        </p:txBody>
      </p:sp>
      <p:pic>
        <p:nvPicPr>
          <p:cNvPr id="14" name="Picture 13" descr="A close up of a sign&#10;&#10;Description automatically generated">
            <a:extLst>
              <a:ext uri="{FF2B5EF4-FFF2-40B4-BE49-F238E27FC236}">
                <a16:creationId xmlns:a16="http://schemas.microsoft.com/office/drawing/2014/main" id="{183C7245-B99D-DB48-9D89-30411EEB42C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7013" y="178888"/>
            <a:ext cx="2562373" cy="2562373"/>
          </a:xfrm>
          <a:prstGeom prst="rect">
            <a:avLst/>
          </a:prstGeom>
        </p:spPr>
      </p:pic>
      <p:sp>
        <p:nvSpPr>
          <p:cNvPr id="13" name="CuadroTexto 66">
            <a:extLst>
              <a:ext uri="{FF2B5EF4-FFF2-40B4-BE49-F238E27FC236}">
                <a16:creationId xmlns:a16="http://schemas.microsoft.com/office/drawing/2014/main" id="{250199F8-A82E-4057-B60A-23CC702AD1C3}"/>
              </a:ext>
            </a:extLst>
          </p:cNvPr>
          <p:cNvSpPr txBox="1"/>
          <p:nvPr/>
        </p:nvSpPr>
        <p:spPr>
          <a:xfrm>
            <a:off x="3308793" y="2231787"/>
            <a:ext cx="5732000" cy="615553"/>
          </a:xfrm>
          <a:prstGeom prst="rect">
            <a:avLst/>
          </a:prstGeom>
          <a:noFill/>
          <a:ln>
            <a:solidFill>
              <a:schemeClr val="bg2"/>
            </a:solidFill>
          </a:ln>
        </p:spPr>
        <p:txBody>
          <a:bodyPr wrap="square" rtlCol="0">
            <a:spAutoFit/>
          </a:bodyPr>
          <a:lstStyle/>
          <a:p>
            <a:pPr algn="just"/>
            <a:r>
              <a:rPr lang="es-ES" sz="1700" b="1">
                <a:solidFill>
                  <a:srgbClr val="10476B"/>
                </a:solidFill>
                <a:latin typeface="Arial" panose="020B0604020202020204" pitchFamily="34" charset="0"/>
                <a:cs typeface="Arial" panose="020B0604020202020204" pitchFamily="34" charset="0"/>
              </a:rPr>
              <a:t>Cambios </a:t>
            </a:r>
            <a:r>
              <a:rPr lang="es-ES" sz="1700">
                <a:solidFill>
                  <a:srgbClr val="10476B"/>
                </a:solidFill>
                <a:latin typeface="Arial" panose="020B0604020202020204" pitchFamily="34" charset="0"/>
                <a:cs typeface="Arial" panose="020B0604020202020204" pitchFamily="34" charset="0"/>
              </a:rPr>
              <a:t>en el esquema de poderes generales a tono con la nueva Cenit 2020.</a:t>
            </a:r>
          </a:p>
        </p:txBody>
      </p:sp>
      <p:sp>
        <p:nvSpPr>
          <p:cNvPr id="17" name="CuadroTexto 16">
            <a:extLst>
              <a:ext uri="{FF2B5EF4-FFF2-40B4-BE49-F238E27FC236}">
                <a16:creationId xmlns:a16="http://schemas.microsoft.com/office/drawing/2014/main" id="{FC295B3A-2E5B-472E-B079-DF6D14178834}"/>
              </a:ext>
            </a:extLst>
          </p:cNvPr>
          <p:cNvSpPr txBox="1"/>
          <p:nvPr/>
        </p:nvSpPr>
        <p:spPr>
          <a:xfrm>
            <a:off x="1071416" y="4486071"/>
            <a:ext cx="5809673" cy="1661993"/>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342900" indent="-342900" algn="just">
              <a:buFont typeface="+mj-lt"/>
              <a:buAutoNum type="arabicPeriod" startAt="2"/>
            </a:pPr>
            <a:r>
              <a:rPr lang="es-ES" sz="1700">
                <a:solidFill>
                  <a:srgbClr val="10476B"/>
                </a:solidFill>
                <a:latin typeface="Arial" panose="020B0604020202020204" pitchFamily="34" charset="0"/>
                <a:cs typeface="Arial" panose="020B0604020202020204" pitchFamily="34" charset="0"/>
              </a:rPr>
              <a:t>Código de Buen Gobierno </a:t>
            </a:r>
          </a:p>
          <a:p>
            <a:pPr marL="342900" indent="-342900" algn="just">
              <a:buFont typeface="+mj-lt"/>
              <a:buAutoNum type="arabicPeriod" startAt="2"/>
            </a:pPr>
            <a:r>
              <a:rPr lang="es-ES" sz="1700">
                <a:solidFill>
                  <a:srgbClr val="10476B"/>
                </a:solidFill>
                <a:latin typeface="Arial" panose="020B0604020202020204" pitchFamily="34" charset="0"/>
                <a:cs typeface="Arial" panose="020B0604020202020204" pitchFamily="34" charset="0"/>
              </a:rPr>
              <a:t>Manual de Delegación de Autoridad y sus matrices </a:t>
            </a:r>
          </a:p>
          <a:p>
            <a:pPr marL="342900" indent="-342900" algn="just">
              <a:buFont typeface="+mj-lt"/>
              <a:buAutoNum type="arabicPeriod" startAt="2"/>
            </a:pPr>
            <a:r>
              <a:rPr lang="es-ES" sz="1700">
                <a:solidFill>
                  <a:srgbClr val="10476B"/>
                </a:solidFill>
                <a:latin typeface="Arial" panose="020B0604020202020204" pitchFamily="34" charset="0"/>
                <a:cs typeface="Arial" panose="020B0604020202020204" pitchFamily="34" charset="0"/>
              </a:rPr>
              <a:t>Reglamento de Asamblea General de Accionistas </a:t>
            </a:r>
          </a:p>
          <a:p>
            <a:pPr marL="342900" indent="-342900" algn="just">
              <a:buFont typeface="+mj-lt"/>
              <a:buAutoNum type="arabicPeriod" startAt="2"/>
            </a:pPr>
            <a:r>
              <a:rPr lang="es-ES" sz="1700">
                <a:solidFill>
                  <a:srgbClr val="10476B"/>
                </a:solidFill>
                <a:latin typeface="Arial" panose="020B0604020202020204" pitchFamily="34" charset="0"/>
                <a:cs typeface="Arial" panose="020B0604020202020204" pitchFamily="34" charset="0"/>
              </a:rPr>
              <a:t>Reglamento de Junta Directiva</a:t>
            </a:r>
          </a:p>
          <a:p>
            <a:pPr marL="342900" indent="-342900" algn="just">
              <a:buFont typeface="+mj-lt"/>
              <a:buAutoNum type="arabicPeriod" startAt="2"/>
            </a:pPr>
            <a:r>
              <a:rPr lang="es-ES" sz="1700">
                <a:solidFill>
                  <a:srgbClr val="10476B"/>
                </a:solidFill>
                <a:latin typeface="Arial" panose="020B0604020202020204" pitchFamily="34" charset="0"/>
                <a:cs typeface="Arial" panose="020B0604020202020204" pitchFamily="34" charset="0"/>
              </a:rPr>
              <a:t>Reglamento de Comité de Auditoría y Riesgos de la Junta Directiva</a:t>
            </a:r>
            <a:endParaRPr lang="es-ES" sz="1700" b="1">
              <a:solidFill>
                <a:srgbClr val="10476B"/>
              </a:solidFill>
              <a:latin typeface="Arial" panose="020B0604020202020204" pitchFamily="34" charset="0"/>
              <a:cs typeface="Arial" panose="020B0604020202020204" pitchFamily="34" charset="0"/>
            </a:endParaRPr>
          </a:p>
        </p:txBody>
      </p:sp>
      <p:sp>
        <p:nvSpPr>
          <p:cNvPr id="19" name="CuadroTexto 18">
            <a:extLst>
              <a:ext uri="{FF2B5EF4-FFF2-40B4-BE49-F238E27FC236}">
                <a16:creationId xmlns:a16="http://schemas.microsoft.com/office/drawing/2014/main" id="{40AE359A-F3FC-43A1-A0B0-9CFE10F12A5F}"/>
              </a:ext>
            </a:extLst>
          </p:cNvPr>
          <p:cNvSpPr txBox="1"/>
          <p:nvPr/>
        </p:nvSpPr>
        <p:spPr>
          <a:xfrm>
            <a:off x="7157172" y="3791333"/>
            <a:ext cx="3721425" cy="353943"/>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es-ES" sz="1700" b="1">
                <a:solidFill>
                  <a:srgbClr val="10476B"/>
                </a:solidFill>
                <a:latin typeface="Arial" panose="020B0604020202020204" pitchFamily="34" charset="0"/>
                <a:cs typeface="Arial" panose="020B0604020202020204" pitchFamily="34" charset="0"/>
              </a:rPr>
              <a:t>22 de Septiembre 2020</a:t>
            </a:r>
          </a:p>
        </p:txBody>
      </p:sp>
      <p:sp>
        <p:nvSpPr>
          <p:cNvPr id="21" name="CuadroTexto 20">
            <a:extLst>
              <a:ext uri="{FF2B5EF4-FFF2-40B4-BE49-F238E27FC236}">
                <a16:creationId xmlns:a16="http://schemas.microsoft.com/office/drawing/2014/main" id="{7DDB1B69-EC73-4DAD-B1E9-E36A9FA7700C}"/>
              </a:ext>
            </a:extLst>
          </p:cNvPr>
          <p:cNvSpPr txBox="1"/>
          <p:nvPr/>
        </p:nvSpPr>
        <p:spPr>
          <a:xfrm>
            <a:off x="7157172" y="5067684"/>
            <a:ext cx="3721425" cy="353943"/>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lgn="ctr"/>
            <a:r>
              <a:rPr lang="es-ES" sz="1700" b="1">
                <a:solidFill>
                  <a:srgbClr val="10476B"/>
                </a:solidFill>
                <a:latin typeface="Arial" panose="020B0604020202020204" pitchFamily="34" charset="0"/>
                <a:cs typeface="Arial" panose="020B0604020202020204" pitchFamily="34" charset="0"/>
              </a:rPr>
              <a:t>1 de Octubre 2020</a:t>
            </a:r>
          </a:p>
        </p:txBody>
      </p:sp>
      <p:sp>
        <p:nvSpPr>
          <p:cNvPr id="23" name="CuadroTexto 22">
            <a:extLst>
              <a:ext uri="{FF2B5EF4-FFF2-40B4-BE49-F238E27FC236}">
                <a16:creationId xmlns:a16="http://schemas.microsoft.com/office/drawing/2014/main" id="{0B1CE20D-FB6D-4A8F-B398-CFE87A404756}"/>
              </a:ext>
            </a:extLst>
          </p:cNvPr>
          <p:cNvSpPr txBox="1"/>
          <p:nvPr/>
        </p:nvSpPr>
        <p:spPr>
          <a:xfrm>
            <a:off x="1819141" y="3200835"/>
            <a:ext cx="3721425" cy="369332"/>
          </a:xfrm>
          <a:prstGeom prst="rect">
            <a:avLst/>
          </a:prstGeom>
          <a:noFill/>
        </p:spPr>
        <p:txBody>
          <a:bodyPr wrap="square" anchor="ctr">
            <a:spAutoFit/>
          </a:bodyPr>
          <a:lstStyle/>
          <a:p>
            <a:pPr algn="ctr"/>
            <a:r>
              <a:rPr lang="es-ES" b="1">
                <a:solidFill>
                  <a:srgbClr val="10476B"/>
                </a:solidFill>
                <a:latin typeface="Arial" panose="020B0604020202020204" pitchFamily="34" charset="0"/>
                <a:cs typeface="Arial" panose="020B0604020202020204" pitchFamily="34" charset="0"/>
              </a:rPr>
              <a:t>Documento</a:t>
            </a:r>
          </a:p>
        </p:txBody>
      </p:sp>
      <p:sp>
        <p:nvSpPr>
          <p:cNvPr id="25" name="CuadroTexto 24">
            <a:extLst>
              <a:ext uri="{FF2B5EF4-FFF2-40B4-BE49-F238E27FC236}">
                <a16:creationId xmlns:a16="http://schemas.microsoft.com/office/drawing/2014/main" id="{4126819D-2219-4DC1-8039-36E1023E069F}"/>
              </a:ext>
            </a:extLst>
          </p:cNvPr>
          <p:cNvSpPr txBox="1"/>
          <p:nvPr/>
        </p:nvSpPr>
        <p:spPr>
          <a:xfrm>
            <a:off x="1071417" y="3789021"/>
            <a:ext cx="5809673" cy="353943"/>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marL="342900" indent="-342900" algn="just">
              <a:buFont typeface="+mj-lt"/>
              <a:buAutoNum type="arabicPeriod"/>
            </a:pPr>
            <a:r>
              <a:rPr lang="es-ES" sz="1700">
                <a:solidFill>
                  <a:srgbClr val="10476B"/>
                </a:solidFill>
                <a:latin typeface="Arial" panose="020B0604020202020204" pitchFamily="34" charset="0"/>
                <a:cs typeface="Arial" panose="020B0604020202020204" pitchFamily="34" charset="0"/>
              </a:rPr>
              <a:t>Estatutos Sociales</a:t>
            </a:r>
          </a:p>
        </p:txBody>
      </p:sp>
      <p:sp>
        <p:nvSpPr>
          <p:cNvPr id="27" name="CuadroTexto 26">
            <a:extLst>
              <a:ext uri="{FF2B5EF4-FFF2-40B4-BE49-F238E27FC236}">
                <a16:creationId xmlns:a16="http://schemas.microsoft.com/office/drawing/2014/main" id="{F635B89E-D6F2-4D24-A11B-009B2F592502}"/>
              </a:ext>
            </a:extLst>
          </p:cNvPr>
          <p:cNvSpPr txBox="1"/>
          <p:nvPr/>
        </p:nvSpPr>
        <p:spPr>
          <a:xfrm>
            <a:off x="7157173" y="3280277"/>
            <a:ext cx="3721425" cy="353943"/>
          </a:xfrm>
          <a:prstGeom prst="rect">
            <a:avLst/>
          </a:prstGeom>
          <a:noFill/>
        </p:spPr>
        <p:txBody>
          <a:bodyPr wrap="square" anchor="ctr">
            <a:spAutoFit/>
          </a:bodyPr>
          <a:lstStyle/>
          <a:p>
            <a:pPr algn="ctr"/>
            <a:r>
              <a:rPr lang="es-ES" sz="1700" b="1">
                <a:solidFill>
                  <a:srgbClr val="10476B"/>
                </a:solidFill>
                <a:latin typeface="Arial" panose="020B0604020202020204" pitchFamily="34" charset="0"/>
                <a:cs typeface="Arial" panose="020B0604020202020204" pitchFamily="34" charset="0"/>
              </a:rPr>
              <a:t>Entrada en vigencia</a:t>
            </a:r>
          </a:p>
        </p:txBody>
      </p:sp>
      <p:sp>
        <p:nvSpPr>
          <p:cNvPr id="29" name="CuadroTexto 44">
            <a:extLst>
              <a:ext uri="{FF2B5EF4-FFF2-40B4-BE49-F238E27FC236}">
                <a16:creationId xmlns:a16="http://schemas.microsoft.com/office/drawing/2014/main" id="{6497B98C-D7E0-40EE-93FD-7D042C49631E}"/>
              </a:ext>
            </a:extLst>
          </p:cNvPr>
          <p:cNvSpPr txBox="1"/>
          <p:nvPr/>
        </p:nvSpPr>
        <p:spPr>
          <a:xfrm>
            <a:off x="7804815" y="54777"/>
            <a:ext cx="1593044" cy="707886"/>
          </a:xfrm>
          <a:prstGeom prst="rect">
            <a:avLst/>
          </a:prstGeom>
          <a:noFill/>
          <a:ln>
            <a:noFill/>
          </a:ln>
        </p:spPr>
        <p:txBody>
          <a:bodyPr wrap="square" rtlCol="0">
            <a:spAutoFit/>
          </a:bodyPr>
          <a:lstStyle>
            <a:defPPr>
              <a:defRPr lang="es-CO"/>
            </a:defPPr>
            <a:lvl1pPr algn="ctr">
              <a:defRPr sz="1600" b="1" u="sng">
                <a:solidFill>
                  <a:srgbClr val="4A8347"/>
                </a:solidFill>
                <a:latin typeface="Arial" panose="020B0604020202020204" pitchFamily="34" charset="0"/>
                <a:cs typeface="Arial" panose="020B0604020202020204" pitchFamily="34" charset="0"/>
              </a:defRPr>
            </a:lvl1pPr>
          </a:lstStyle>
          <a:p>
            <a:r>
              <a:rPr lang="es-ES" sz="4000"/>
              <a:t>100%</a:t>
            </a:r>
            <a:endParaRPr lang="es-CO" sz="4000"/>
          </a:p>
        </p:txBody>
      </p:sp>
      <p:sp>
        <p:nvSpPr>
          <p:cNvPr id="8" name="Oval 105">
            <a:extLst>
              <a:ext uri="{FF2B5EF4-FFF2-40B4-BE49-F238E27FC236}">
                <a16:creationId xmlns:a16="http://schemas.microsoft.com/office/drawing/2014/main" id="{591C4119-5F03-49EC-BE67-435D4744873C}"/>
              </a:ext>
            </a:extLst>
          </p:cNvPr>
          <p:cNvSpPr/>
          <p:nvPr/>
        </p:nvSpPr>
        <p:spPr>
          <a:xfrm>
            <a:off x="1112065" y="655626"/>
            <a:ext cx="548470" cy="548470"/>
          </a:xfrm>
          <a:prstGeom prst="ellipse">
            <a:avLst/>
          </a:prstGeom>
          <a:solidFill>
            <a:schemeClr val="bg1"/>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O" sz="2400" b="1">
                <a:solidFill>
                  <a:schemeClr val="accent1">
                    <a:lumMod val="50000"/>
                  </a:schemeClr>
                </a:solidFill>
                <a:latin typeface="Century Gothic" panose="020B0502020202020204" pitchFamily="34" charset="0"/>
              </a:rPr>
              <a:t>1</a:t>
            </a:r>
          </a:p>
        </p:txBody>
      </p:sp>
    </p:spTree>
    <p:extLst>
      <p:ext uri="{BB962C8B-B14F-4D97-AF65-F5344CB8AC3E}">
        <p14:creationId xmlns:p14="http://schemas.microsoft.com/office/powerpoint/2010/main" val="26952512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66">
            <a:extLst>
              <a:ext uri="{FF2B5EF4-FFF2-40B4-BE49-F238E27FC236}">
                <a16:creationId xmlns:a16="http://schemas.microsoft.com/office/drawing/2014/main" id="{38EDB1DE-AF47-9D40-B81D-283FF4E6C2A4}"/>
              </a:ext>
            </a:extLst>
          </p:cNvPr>
          <p:cNvSpPr txBox="1"/>
          <p:nvPr/>
        </p:nvSpPr>
        <p:spPr>
          <a:xfrm>
            <a:off x="978068" y="2365182"/>
            <a:ext cx="9598627" cy="877163"/>
          </a:xfrm>
          <a:prstGeom prst="rect">
            <a:avLst/>
          </a:prstGeom>
          <a:noFill/>
          <a:ln>
            <a:solidFill>
              <a:schemeClr val="bg2"/>
            </a:solidFill>
          </a:ln>
        </p:spPr>
        <p:txBody>
          <a:bodyPr wrap="square" rtlCol="0">
            <a:spAutoFit/>
          </a:bodyPr>
          <a:lstStyle/>
          <a:p>
            <a:pPr algn="just"/>
            <a:r>
              <a:rPr lang="es-ES" sz="1700">
                <a:solidFill>
                  <a:srgbClr val="10476B"/>
                </a:solidFill>
                <a:latin typeface="Arial" panose="020B0604020202020204" pitchFamily="34" charset="0"/>
                <a:cs typeface="Arial" panose="020B0604020202020204" pitchFamily="34" charset="0"/>
              </a:rPr>
              <a:t>Ampliamos el periodo de los miembros de Junta Directiva y del Revisor Fiscal de uno (1) a </a:t>
            </a:r>
            <a:r>
              <a:rPr lang="es-ES" sz="1700" b="1">
                <a:solidFill>
                  <a:srgbClr val="10476B"/>
                </a:solidFill>
                <a:latin typeface="Arial" panose="020B0604020202020204" pitchFamily="34" charset="0"/>
                <a:cs typeface="Arial" panose="020B0604020202020204" pitchFamily="34" charset="0"/>
              </a:rPr>
              <a:t>dos (2) años</a:t>
            </a:r>
            <a:r>
              <a:rPr lang="es-ES" sz="1700">
                <a:solidFill>
                  <a:srgbClr val="10476B"/>
                </a:solidFill>
                <a:latin typeface="Arial" panose="020B0604020202020204" pitchFamily="34" charset="0"/>
                <a:cs typeface="Arial" panose="020B0604020202020204" pitchFamily="34" charset="0"/>
              </a:rPr>
              <a:t>, en línea con las mejores prácticas de gobierno corporativo adoptadas por el Grupo Ecopetrol. </a:t>
            </a:r>
          </a:p>
        </p:txBody>
      </p:sp>
      <p:sp>
        <p:nvSpPr>
          <p:cNvPr id="6" name="CuadroTexto 81">
            <a:extLst>
              <a:ext uri="{FF2B5EF4-FFF2-40B4-BE49-F238E27FC236}">
                <a16:creationId xmlns:a16="http://schemas.microsoft.com/office/drawing/2014/main" id="{0B95BECA-B91B-1947-B0D6-C4A401178577}"/>
              </a:ext>
            </a:extLst>
          </p:cNvPr>
          <p:cNvSpPr txBox="1"/>
          <p:nvPr/>
        </p:nvSpPr>
        <p:spPr>
          <a:xfrm>
            <a:off x="978069" y="867091"/>
            <a:ext cx="9598627" cy="1400383"/>
          </a:xfrm>
          <a:prstGeom prst="rect">
            <a:avLst/>
          </a:prstGeom>
          <a:noFill/>
          <a:ln>
            <a:solidFill>
              <a:schemeClr val="bg2"/>
            </a:solidFill>
          </a:ln>
        </p:spPr>
        <p:txBody>
          <a:bodyPr wrap="square" rtlCol="0">
            <a:spAutoFit/>
          </a:bodyPr>
          <a:lstStyle/>
          <a:p>
            <a:pPr algn="just"/>
            <a:r>
              <a:rPr lang="es-ES" sz="1700" dirty="0">
                <a:solidFill>
                  <a:srgbClr val="10476B"/>
                </a:solidFill>
                <a:latin typeface="Arial" panose="020B0604020202020204" pitchFamily="34" charset="0"/>
                <a:cs typeface="Arial" panose="020B0604020202020204" pitchFamily="34" charset="0"/>
              </a:rPr>
              <a:t>Ampliamos nuestro objeto social para consolidar a CENIT como el vehículo del Grupo Ecopetrol no solo en las actividades y servicios relacionados con el transporte y logística de hidrocarburos, sino en la </a:t>
            </a:r>
            <a:r>
              <a:rPr lang="es-ES" sz="1700" b="1" dirty="0">
                <a:solidFill>
                  <a:srgbClr val="10476B"/>
                </a:solidFill>
                <a:latin typeface="Arial" panose="020B0604020202020204" pitchFamily="34" charset="0"/>
                <a:cs typeface="Arial" panose="020B0604020202020204" pitchFamily="34" charset="0"/>
              </a:rPr>
              <a:t>atención integral al sector petrolero en todo tipo de actividades relacionadas</a:t>
            </a:r>
            <a:r>
              <a:rPr lang="es-ES" sz="1700" dirty="0">
                <a:solidFill>
                  <a:srgbClr val="10476B"/>
                </a:solidFill>
                <a:latin typeface="Arial" panose="020B0604020202020204" pitchFamily="34" charset="0"/>
                <a:cs typeface="Arial" panose="020B0604020202020204" pitchFamily="34" charset="0"/>
              </a:rPr>
              <a:t>, además de facilitar la innovación y la atención de nuevos servicios, a tono con la senda de transición energética y las energías renovables.</a:t>
            </a:r>
          </a:p>
        </p:txBody>
      </p:sp>
      <p:sp>
        <p:nvSpPr>
          <p:cNvPr id="11" name="CuadroTexto 47">
            <a:extLst>
              <a:ext uri="{FF2B5EF4-FFF2-40B4-BE49-F238E27FC236}">
                <a16:creationId xmlns:a16="http://schemas.microsoft.com/office/drawing/2014/main" id="{B7555FB1-F363-8646-896F-4E2589A794C7}"/>
              </a:ext>
            </a:extLst>
          </p:cNvPr>
          <p:cNvSpPr txBox="1"/>
          <p:nvPr/>
        </p:nvSpPr>
        <p:spPr>
          <a:xfrm>
            <a:off x="2835937" y="227533"/>
            <a:ext cx="6670026" cy="523220"/>
          </a:xfrm>
          <a:prstGeom prst="rect">
            <a:avLst/>
          </a:prstGeom>
          <a:noFill/>
          <a:ln>
            <a:noFill/>
          </a:ln>
        </p:spPr>
        <p:txBody>
          <a:bodyPr wrap="square" rtlCol="0">
            <a:spAutoFit/>
          </a:bodyPr>
          <a:lstStyle/>
          <a:p>
            <a:pPr algn="ctr"/>
            <a:r>
              <a:rPr lang="es-ES" sz="2800" b="1">
                <a:solidFill>
                  <a:srgbClr val="10476B"/>
                </a:solidFill>
                <a:latin typeface="Century Gothic" panose="020B0502020202020204" pitchFamily="34" charset="0"/>
                <a:cs typeface="Arial" panose="020B0604020202020204" pitchFamily="34" charset="0"/>
              </a:rPr>
              <a:t>Cambios estatutarios más relevantes</a:t>
            </a:r>
            <a:endParaRPr lang="es-CO" sz="2800" b="1">
              <a:solidFill>
                <a:srgbClr val="10476B"/>
              </a:solidFill>
              <a:latin typeface="Century Gothic" panose="020B0502020202020204" pitchFamily="34" charset="0"/>
              <a:cs typeface="Arial" panose="020B0604020202020204" pitchFamily="34" charset="0"/>
            </a:endParaRPr>
          </a:p>
        </p:txBody>
      </p:sp>
      <p:sp>
        <p:nvSpPr>
          <p:cNvPr id="13" name="CuadroTexto 66">
            <a:extLst>
              <a:ext uri="{FF2B5EF4-FFF2-40B4-BE49-F238E27FC236}">
                <a16:creationId xmlns:a16="http://schemas.microsoft.com/office/drawing/2014/main" id="{250199F8-A82E-4057-B60A-23CC702AD1C3}"/>
              </a:ext>
            </a:extLst>
          </p:cNvPr>
          <p:cNvSpPr txBox="1"/>
          <p:nvPr/>
        </p:nvSpPr>
        <p:spPr>
          <a:xfrm>
            <a:off x="978068" y="3475022"/>
            <a:ext cx="9598627" cy="615553"/>
          </a:xfrm>
          <a:prstGeom prst="rect">
            <a:avLst/>
          </a:prstGeom>
          <a:noFill/>
          <a:ln>
            <a:solidFill>
              <a:schemeClr val="bg2"/>
            </a:solidFill>
          </a:ln>
        </p:spPr>
        <p:txBody>
          <a:bodyPr wrap="square" rtlCol="0">
            <a:spAutoFit/>
          </a:bodyPr>
          <a:lstStyle/>
          <a:p>
            <a:pPr algn="just"/>
            <a:r>
              <a:rPr lang="es-ES" sz="1700">
                <a:solidFill>
                  <a:srgbClr val="10476B"/>
                </a:solidFill>
                <a:latin typeface="Arial" panose="020B0604020202020204" pitchFamily="34" charset="0"/>
                <a:cs typeface="Arial" panose="020B0604020202020204" pitchFamily="34" charset="0"/>
              </a:rPr>
              <a:t>Fortalecimos la función de </a:t>
            </a:r>
            <a:r>
              <a:rPr lang="es-ES" sz="1700" b="1">
                <a:solidFill>
                  <a:srgbClr val="10476B"/>
                </a:solidFill>
                <a:latin typeface="Arial" panose="020B0604020202020204" pitchFamily="34" charset="0"/>
                <a:cs typeface="Arial" panose="020B0604020202020204" pitchFamily="34" charset="0"/>
              </a:rPr>
              <a:t>direccionamiento estratégico </a:t>
            </a:r>
            <a:r>
              <a:rPr lang="es-ES" sz="1700">
                <a:solidFill>
                  <a:srgbClr val="10476B"/>
                </a:solidFill>
                <a:latin typeface="Arial" panose="020B0604020202020204" pitchFamily="34" charset="0"/>
                <a:cs typeface="Arial" panose="020B0604020202020204" pitchFamily="34" charset="0"/>
              </a:rPr>
              <a:t>de nuestra Junta Directiva, robusteciendo el posicionamiento de CENIT como </a:t>
            </a:r>
            <a:r>
              <a:rPr lang="es-ES" sz="1700" b="1">
                <a:solidFill>
                  <a:srgbClr val="10476B"/>
                </a:solidFill>
                <a:latin typeface="Arial" panose="020B0604020202020204" pitchFamily="34" charset="0"/>
                <a:cs typeface="Arial" panose="020B0604020202020204" pitchFamily="34" charset="0"/>
              </a:rPr>
              <a:t>líder del Midstream</a:t>
            </a:r>
            <a:r>
              <a:rPr lang="es-ES" sz="1700">
                <a:solidFill>
                  <a:srgbClr val="10476B"/>
                </a:solidFill>
                <a:latin typeface="Arial" panose="020B0604020202020204" pitchFamily="34" charset="0"/>
                <a:cs typeface="Arial" panose="020B0604020202020204" pitchFamily="34" charset="0"/>
              </a:rPr>
              <a:t>. </a:t>
            </a:r>
          </a:p>
        </p:txBody>
      </p:sp>
      <p:sp>
        <p:nvSpPr>
          <p:cNvPr id="9" name="CuadroTexto 66">
            <a:extLst>
              <a:ext uri="{FF2B5EF4-FFF2-40B4-BE49-F238E27FC236}">
                <a16:creationId xmlns:a16="http://schemas.microsoft.com/office/drawing/2014/main" id="{F4EA02F3-489B-4F56-B83B-A3E6EFCD6C62}"/>
              </a:ext>
            </a:extLst>
          </p:cNvPr>
          <p:cNvSpPr txBox="1"/>
          <p:nvPr/>
        </p:nvSpPr>
        <p:spPr>
          <a:xfrm>
            <a:off x="978068" y="4158496"/>
            <a:ext cx="9598628" cy="1138773"/>
          </a:xfrm>
          <a:prstGeom prst="rect">
            <a:avLst/>
          </a:prstGeom>
          <a:noFill/>
          <a:ln>
            <a:solidFill>
              <a:schemeClr val="bg2"/>
            </a:solidFill>
          </a:ln>
        </p:spPr>
        <p:txBody>
          <a:bodyPr wrap="square" rtlCol="0">
            <a:spAutoFit/>
          </a:bodyPr>
          <a:lstStyle/>
          <a:p>
            <a:pPr algn="just"/>
            <a:r>
              <a:rPr lang="es-ES" sz="1700">
                <a:solidFill>
                  <a:srgbClr val="10476B"/>
                </a:solidFill>
                <a:latin typeface="Arial" panose="020B0604020202020204" pitchFamily="34" charset="0"/>
                <a:cs typeface="Arial" panose="020B0604020202020204" pitchFamily="34" charset="0"/>
              </a:rPr>
              <a:t>Estructuramos el proceso de contratación y abastecimiento para que la </a:t>
            </a:r>
            <a:r>
              <a:rPr lang="es-ES" sz="1700" b="1">
                <a:solidFill>
                  <a:srgbClr val="10476B"/>
                </a:solidFill>
                <a:latin typeface="Arial" panose="020B0604020202020204" pitchFamily="34" charset="0"/>
                <a:cs typeface="Arial" panose="020B0604020202020204" pitchFamily="34" charset="0"/>
              </a:rPr>
              <a:t>administración integral </a:t>
            </a:r>
            <a:r>
              <a:rPr lang="es-ES" sz="1700">
                <a:solidFill>
                  <a:srgbClr val="10476B"/>
                </a:solidFill>
                <a:latin typeface="Arial" panose="020B0604020202020204" pitchFamily="34" charset="0"/>
                <a:cs typeface="Arial" panose="020B0604020202020204" pitchFamily="34" charset="0"/>
              </a:rPr>
              <a:t>del mismo esté en cabeza del </a:t>
            </a:r>
            <a:r>
              <a:rPr lang="es-ES" sz="1700" b="1">
                <a:solidFill>
                  <a:srgbClr val="10476B"/>
                </a:solidFill>
                <a:latin typeface="Arial" panose="020B0604020202020204" pitchFamily="34" charset="0"/>
                <a:cs typeface="Arial" panose="020B0604020202020204" pitchFamily="34" charset="0"/>
              </a:rPr>
              <a:t>Representante Legal para fines de Contratación y Abastecimiento</a:t>
            </a:r>
            <a:r>
              <a:rPr lang="es-ES" sz="1700">
                <a:solidFill>
                  <a:srgbClr val="10476B"/>
                </a:solidFill>
                <a:latin typeface="Arial" panose="020B0604020202020204" pitchFamily="34" charset="0"/>
                <a:cs typeface="Arial" panose="020B0604020202020204" pitchFamily="34" charset="0"/>
              </a:rPr>
              <a:t>, con reportes periódicos a la Junta Directiva, impulsado por una palanca de agilidad. </a:t>
            </a:r>
          </a:p>
        </p:txBody>
      </p:sp>
      <p:sp>
        <p:nvSpPr>
          <p:cNvPr id="12" name="CuadroTexto 66">
            <a:extLst>
              <a:ext uri="{FF2B5EF4-FFF2-40B4-BE49-F238E27FC236}">
                <a16:creationId xmlns:a16="http://schemas.microsoft.com/office/drawing/2014/main" id="{B9E82B6E-0015-4A40-8F67-A63ADDF3DB44}"/>
              </a:ext>
            </a:extLst>
          </p:cNvPr>
          <p:cNvSpPr txBox="1"/>
          <p:nvPr/>
        </p:nvSpPr>
        <p:spPr>
          <a:xfrm>
            <a:off x="978068" y="5366168"/>
            <a:ext cx="9598628" cy="615553"/>
          </a:xfrm>
          <a:prstGeom prst="rect">
            <a:avLst/>
          </a:prstGeom>
          <a:noFill/>
          <a:ln>
            <a:solidFill>
              <a:schemeClr val="bg2"/>
            </a:solidFill>
          </a:ln>
        </p:spPr>
        <p:txBody>
          <a:bodyPr wrap="square" rtlCol="0">
            <a:spAutoFit/>
          </a:bodyPr>
          <a:lstStyle/>
          <a:p>
            <a:pPr algn="just"/>
            <a:r>
              <a:rPr lang="es-ES" sz="1700">
                <a:solidFill>
                  <a:srgbClr val="10476B"/>
                </a:solidFill>
                <a:latin typeface="Arial" panose="020B0604020202020204" pitchFamily="34" charset="0"/>
                <a:cs typeface="Arial" panose="020B0604020202020204" pitchFamily="34" charset="0"/>
              </a:rPr>
              <a:t>Fortalecimos la regulación de los </a:t>
            </a:r>
            <a:r>
              <a:rPr lang="es-ES" sz="1700" b="1">
                <a:solidFill>
                  <a:srgbClr val="10476B"/>
                </a:solidFill>
                <a:latin typeface="Arial" panose="020B0604020202020204" pitchFamily="34" charset="0"/>
                <a:cs typeface="Arial" panose="020B0604020202020204" pitchFamily="34" charset="0"/>
              </a:rPr>
              <a:t>asuntos de transparencia </a:t>
            </a:r>
            <a:r>
              <a:rPr lang="es-ES" sz="1700">
                <a:solidFill>
                  <a:srgbClr val="10476B"/>
                </a:solidFill>
                <a:latin typeface="Arial" panose="020B0604020202020204" pitchFamily="34" charset="0"/>
                <a:cs typeface="Arial" panose="020B0604020202020204" pitchFamily="34" charset="0"/>
              </a:rPr>
              <a:t>alineándonos a las directrices del grupo empresarial, con base en las </a:t>
            </a:r>
            <a:r>
              <a:rPr lang="es-ES" sz="1700" b="1">
                <a:solidFill>
                  <a:srgbClr val="10476B"/>
                </a:solidFill>
                <a:latin typeface="Arial" panose="020B0604020202020204" pitchFamily="34" charset="0"/>
                <a:cs typeface="Arial" panose="020B0604020202020204" pitchFamily="34" charset="0"/>
              </a:rPr>
              <a:t>mejores prácticas internacionales</a:t>
            </a:r>
            <a:r>
              <a:rPr lang="es-ES" sz="1700">
                <a:solidFill>
                  <a:srgbClr val="10476B"/>
                </a:solidFill>
                <a:latin typeface="Arial" panose="020B0604020202020204" pitchFamily="34" charset="0"/>
                <a:cs typeface="Arial" panose="020B0604020202020204" pitchFamily="34" charset="0"/>
              </a:rPr>
              <a:t>. </a:t>
            </a:r>
          </a:p>
        </p:txBody>
      </p:sp>
      <p:pic>
        <p:nvPicPr>
          <p:cNvPr id="16" name="Gráfico 15" descr="Marca de insignia1">
            <a:extLst>
              <a:ext uri="{FF2B5EF4-FFF2-40B4-BE49-F238E27FC236}">
                <a16:creationId xmlns:a16="http://schemas.microsoft.com/office/drawing/2014/main" id="{A344A14F-33F3-4B77-9BFB-45506A0EBBD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9972" y="1110082"/>
            <a:ext cx="914400" cy="914400"/>
          </a:xfrm>
          <a:prstGeom prst="rect">
            <a:avLst/>
          </a:prstGeom>
        </p:spPr>
      </p:pic>
      <p:pic>
        <p:nvPicPr>
          <p:cNvPr id="18" name="Gráfico 17" descr="Marca de insignia1">
            <a:extLst>
              <a:ext uri="{FF2B5EF4-FFF2-40B4-BE49-F238E27FC236}">
                <a16:creationId xmlns:a16="http://schemas.microsoft.com/office/drawing/2014/main" id="{28260F04-AA04-4E5B-9B8F-06C318CA820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9972" y="5216744"/>
            <a:ext cx="914400" cy="914400"/>
          </a:xfrm>
          <a:prstGeom prst="rect">
            <a:avLst/>
          </a:prstGeom>
        </p:spPr>
      </p:pic>
      <p:pic>
        <p:nvPicPr>
          <p:cNvPr id="24" name="Gráfico 23" descr="Marca de insignia1">
            <a:extLst>
              <a:ext uri="{FF2B5EF4-FFF2-40B4-BE49-F238E27FC236}">
                <a16:creationId xmlns:a16="http://schemas.microsoft.com/office/drawing/2014/main" id="{5718E154-7845-40C6-BBF4-06E91DDB7B5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9972" y="4270682"/>
            <a:ext cx="914400" cy="914400"/>
          </a:xfrm>
          <a:prstGeom prst="rect">
            <a:avLst/>
          </a:prstGeom>
        </p:spPr>
      </p:pic>
      <p:pic>
        <p:nvPicPr>
          <p:cNvPr id="31" name="Gráfico 30" descr="Marca de insignia1">
            <a:extLst>
              <a:ext uri="{FF2B5EF4-FFF2-40B4-BE49-F238E27FC236}">
                <a16:creationId xmlns:a16="http://schemas.microsoft.com/office/drawing/2014/main" id="{A8E9EF51-64BE-4193-9FDF-A0683F838FC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9972" y="2346563"/>
            <a:ext cx="914400" cy="914400"/>
          </a:xfrm>
          <a:prstGeom prst="rect">
            <a:avLst/>
          </a:prstGeom>
        </p:spPr>
      </p:pic>
      <p:pic>
        <p:nvPicPr>
          <p:cNvPr id="33" name="Gráfico 32" descr="Marca de insignia1">
            <a:extLst>
              <a:ext uri="{FF2B5EF4-FFF2-40B4-BE49-F238E27FC236}">
                <a16:creationId xmlns:a16="http://schemas.microsoft.com/office/drawing/2014/main" id="{E08C4F9D-FF5D-4BC7-87EE-58CF1AFAC0E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899972" y="3325598"/>
            <a:ext cx="914400" cy="914400"/>
          </a:xfrm>
          <a:prstGeom prst="rect">
            <a:avLst/>
          </a:prstGeom>
        </p:spPr>
      </p:pic>
    </p:spTree>
    <p:extLst>
      <p:ext uri="{BB962C8B-B14F-4D97-AF65-F5344CB8AC3E}">
        <p14:creationId xmlns:p14="http://schemas.microsoft.com/office/powerpoint/2010/main" val="166165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18">
            <a:extLst>
              <a:ext uri="{FF2B5EF4-FFF2-40B4-BE49-F238E27FC236}">
                <a16:creationId xmlns:a16="http://schemas.microsoft.com/office/drawing/2014/main" id="{0DE618DD-F247-46AF-8DFA-20E3E3699393}"/>
              </a:ext>
            </a:extLst>
          </p:cNvPr>
          <p:cNvGraphicFramePr>
            <a:graphicFrameLocks/>
          </p:cNvGraphicFramePr>
          <p:nvPr/>
        </p:nvGraphicFramePr>
        <p:xfrm>
          <a:off x="1326981" y="1400687"/>
          <a:ext cx="10088881" cy="4506331"/>
        </p:xfrm>
        <a:graphic>
          <a:graphicData uri="http://schemas.openxmlformats.org/drawingml/2006/table">
            <a:tbl>
              <a:tblPr firstRow="1" bandRow="1">
                <a:tableStyleId>{0660B408-B3CF-4A94-85FC-2B1E0A45F4A2}</a:tableStyleId>
              </a:tblPr>
              <a:tblGrid>
                <a:gridCol w="10088881">
                  <a:extLst>
                    <a:ext uri="{9D8B030D-6E8A-4147-A177-3AD203B41FA5}">
                      <a16:colId xmlns:a16="http://schemas.microsoft.com/office/drawing/2014/main" val="3319524955"/>
                    </a:ext>
                  </a:extLst>
                </a:gridCol>
              </a:tblGrid>
              <a:tr h="539480">
                <a:tc>
                  <a:txBody>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lang="es-ES" sz="1700" b="0" i="0" u="none" strike="noStrike" noProof="0">
                          <a:solidFill>
                            <a:srgbClr val="000000"/>
                          </a:solidFill>
                          <a:effectLst/>
                          <a:latin typeface="Arial" panose="020B0604020202020204" pitchFamily="34" charset="0"/>
                        </a:rPr>
                        <a:t>Cambio de nombre para que quede: “Comité de Auditoría </a:t>
                      </a:r>
                      <a:r>
                        <a:rPr lang="es-ES" sz="1700" b="1" i="0" u="sng" strike="noStrike" noProof="0">
                          <a:solidFill>
                            <a:srgbClr val="000000"/>
                          </a:solidFill>
                          <a:effectLst/>
                          <a:latin typeface="Arial" panose="020B0604020202020204" pitchFamily="34" charset="0"/>
                        </a:rPr>
                        <a:t>y Riesgos</a:t>
                      </a:r>
                      <a:r>
                        <a:rPr lang="es-ES" sz="1700" b="0" i="0" u="none" strike="noStrike" noProof="0">
                          <a:solidFill>
                            <a:srgbClr val="000000"/>
                          </a:solidFill>
                          <a:effectLst/>
                          <a:latin typeface="Arial" panose="020B0604020202020204" pitchFamily="34" charset="0"/>
                        </a:rPr>
                        <a:t>”, reflejando la realidad de las funciones abordadas</a:t>
                      </a:r>
                      <a:r>
                        <a:rPr lang="es-CO" sz="1700" b="0" i="0" u="none" strike="noStrike" noProof="0">
                          <a:solidFill>
                            <a:srgbClr val="000000"/>
                          </a:solidFill>
                          <a:effectLst/>
                          <a:latin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EEF3F5"/>
                    </a:solidFill>
                  </a:tcPr>
                </a:tc>
                <a:extLst>
                  <a:ext uri="{0D108BD9-81ED-4DB2-BD59-A6C34878D82A}">
                    <a16:rowId xmlns:a16="http://schemas.microsoft.com/office/drawing/2014/main" val="3527985233"/>
                  </a:ext>
                </a:extLst>
              </a:tr>
              <a:tr h="539480">
                <a:tc>
                  <a:txBody>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lang="es-ES" sz="1700" b="0" i="0" u="none" strike="noStrike" noProof="0" dirty="0">
                          <a:solidFill>
                            <a:srgbClr val="000000"/>
                          </a:solidFill>
                          <a:effectLst/>
                          <a:latin typeface="Arial" panose="020B0604020202020204" pitchFamily="34" charset="0"/>
                        </a:rPr>
                        <a:t>Fortalecimiento de las funciones en materia de gestión de riesgos para dar marco al gobierno de los mismos, así como claridad frente a los temas de auditoría interna y control interno</a:t>
                      </a:r>
                      <a:r>
                        <a:rPr lang="es-CO" sz="1700" b="0" i="0" u="none" strike="noStrike" noProof="0" dirty="0">
                          <a:solidFill>
                            <a:srgbClr val="000000"/>
                          </a:solidFill>
                          <a:effectLst/>
                          <a:latin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8FCFC"/>
                    </a:solidFill>
                  </a:tcPr>
                </a:tc>
                <a:extLst>
                  <a:ext uri="{0D108BD9-81ED-4DB2-BD59-A6C34878D82A}">
                    <a16:rowId xmlns:a16="http://schemas.microsoft.com/office/drawing/2014/main" val="210959579"/>
                  </a:ext>
                </a:extLst>
              </a:tr>
              <a:tr h="884920">
                <a:tc>
                  <a:txBody>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lang="es-ES" sz="1700" b="0" i="0" u="none" strike="noStrike" kern="1200" noProof="0">
                          <a:solidFill>
                            <a:srgbClr val="000000"/>
                          </a:solidFill>
                          <a:effectLst/>
                          <a:latin typeface="Arial" panose="020B0604020202020204" pitchFamily="34" charset="0"/>
                          <a:ea typeface="+mn-ea"/>
                          <a:cs typeface="+mn-cs"/>
                        </a:rPr>
                        <a:t>Claridad sobre las funciones financieras para recomendar a la Junta y que ésta pueda presentar a la Asamblea General de Accionistas, en el sentido de tenerlas a cargo solo si la Junta no lo ha realizado en pleno (optimización de espacios).</a:t>
                      </a:r>
                      <a:endParaRPr lang="es-CO" sz="1700" b="0" i="0" u="none" strike="noStrike" kern="1200" noProof="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F3F5"/>
                    </a:solidFill>
                  </a:tcPr>
                </a:tc>
                <a:extLst>
                  <a:ext uri="{0D108BD9-81ED-4DB2-BD59-A6C34878D82A}">
                    <a16:rowId xmlns:a16="http://schemas.microsoft.com/office/drawing/2014/main" val="2492126394"/>
                  </a:ext>
                </a:extLst>
              </a:tr>
              <a:tr h="933517">
                <a:tc>
                  <a:txBody>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lang="es-CO" sz="1700" b="0" i="0" u="none" strike="noStrike" kern="1200">
                          <a:solidFill>
                            <a:srgbClr val="000000"/>
                          </a:solidFill>
                          <a:effectLst/>
                          <a:latin typeface="Arial" panose="020B0604020202020204" pitchFamily="34" charset="0"/>
                          <a:ea typeface="+mn-ea"/>
                          <a:cs typeface="+mn-cs"/>
                        </a:rPr>
                        <a:t>Inclusión de medida de composición del Comité de no considerar para próximos periodos del Comité de Auditoría y Riesgos a aquellos miembros de la Junta que dejen de participar sin motivo justificado en un 50% de las reuniones en el periodo inmediatamente anterior al de la respectiva elección. (Alineación Ecopetrol).</a:t>
                      </a:r>
                      <a:endParaRPr lang="es-CO" sz="1700" b="0" i="0" u="none" strike="noStrike" kern="1200" noProof="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8FCFC"/>
                    </a:solidFill>
                  </a:tcPr>
                </a:tc>
                <a:extLst>
                  <a:ext uri="{0D108BD9-81ED-4DB2-BD59-A6C34878D82A}">
                    <a16:rowId xmlns:a16="http://schemas.microsoft.com/office/drawing/2014/main" val="316454167"/>
                  </a:ext>
                </a:extLst>
              </a:tr>
              <a:tr h="664851">
                <a:tc>
                  <a:txBody>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lang="es-ES" sz="1700" b="0" i="0" u="none" strike="noStrike" kern="1200" noProof="0">
                          <a:solidFill>
                            <a:srgbClr val="000000"/>
                          </a:solidFill>
                          <a:effectLst/>
                          <a:latin typeface="Arial" panose="020B0604020202020204" pitchFamily="34" charset="0"/>
                          <a:ea typeface="+mn-ea"/>
                          <a:cs typeface="+mn-cs"/>
                        </a:rPr>
                        <a:t>Formalización de invitados permanentes, así como de la buena práctica de presentar informes trimestrales a la Junta en pleno.</a:t>
                      </a:r>
                      <a:endParaRPr lang="es-CO" sz="1700" b="0" i="0" u="none" strike="noStrike" kern="1200" noProof="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F3F5"/>
                    </a:solidFill>
                  </a:tcPr>
                </a:tc>
                <a:extLst>
                  <a:ext uri="{0D108BD9-81ED-4DB2-BD59-A6C34878D82A}">
                    <a16:rowId xmlns:a16="http://schemas.microsoft.com/office/drawing/2014/main" val="4172280132"/>
                  </a:ext>
                </a:extLst>
              </a:tr>
              <a:tr h="584829">
                <a:tc>
                  <a:txBody>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lang="es-ES" sz="1700" b="0" i="0" u="none" strike="noStrike" kern="1200" noProof="0" dirty="0">
                          <a:solidFill>
                            <a:srgbClr val="000000"/>
                          </a:solidFill>
                          <a:effectLst/>
                          <a:latin typeface="Arial" panose="020B0604020202020204" pitchFamily="34" charset="0"/>
                          <a:ea typeface="+mn-ea"/>
                          <a:cs typeface="+mn-cs"/>
                        </a:rPr>
                        <a:t>Inclusión de la aprobación del estatuto de la auditoría interna, supervisión de la función de cumplimiento y, en general, actualización en la redacción en temas de estas funciones</a:t>
                      </a:r>
                      <a:r>
                        <a:rPr lang="es-CO" sz="1700" b="0" i="0" u="none" strike="noStrike" kern="1200" dirty="0">
                          <a:solidFill>
                            <a:srgbClr val="000000"/>
                          </a:solidFill>
                          <a:effectLst/>
                          <a:latin typeface="Arial" panose="020B0604020202020204" pitchFamily="34" charset="0"/>
                          <a:ea typeface="+mn-ea"/>
                          <a:cs typeface="+mn-c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8FCFC"/>
                    </a:solidFill>
                  </a:tcPr>
                </a:tc>
                <a:extLst>
                  <a:ext uri="{0D108BD9-81ED-4DB2-BD59-A6C34878D82A}">
                    <a16:rowId xmlns:a16="http://schemas.microsoft.com/office/drawing/2014/main" val="933122265"/>
                  </a:ext>
                </a:extLst>
              </a:tr>
            </a:tbl>
          </a:graphicData>
        </a:graphic>
      </p:graphicFrame>
      <p:sp>
        <p:nvSpPr>
          <p:cNvPr id="17" name="CuadroTexto 16">
            <a:extLst>
              <a:ext uri="{FF2B5EF4-FFF2-40B4-BE49-F238E27FC236}">
                <a16:creationId xmlns:a16="http://schemas.microsoft.com/office/drawing/2014/main" id="{89D6B7EB-F12A-423E-AB8A-8BA9E3386B25}"/>
              </a:ext>
            </a:extLst>
          </p:cNvPr>
          <p:cNvSpPr txBox="1"/>
          <p:nvPr/>
        </p:nvSpPr>
        <p:spPr>
          <a:xfrm>
            <a:off x="726321" y="1466092"/>
            <a:ext cx="563880" cy="400110"/>
          </a:xfrm>
          <a:prstGeom prst="rect">
            <a:avLst/>
          </a:prstGeom>
          <a:solidFill>
            <a:srgbClr val="AEB338"/>
          </a:solid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1.</a:t>
            </a:r>
            <a:endParaRPr kumimoji="0" lang="es-CO"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9" name="CuadroTexto 18">
            <a:extLst>
              <a:ext uri="{FF2B5EF4-FFF2-40B4-BE49-F238E27FC236}">
                <a16:creationId xmlns:a16="http://schemas.microsoft.com/office/drawing/2014/main" id="{CA8612C3-18F8-43E4-A7EB-A3F175606542}"/>
              </a:ext>
            </a:extLst>
          </p:cNvPr>
          <p:cNvSpPr txBox="1"/>
          <p:nvPr/>
        </p:nvSpPr>
        <p:spPr>
          <a:xfrm>
            <a:off x="744711" y="2033534"/>
            <a:ext cx="563880" cy="400110"/>
          </a:xfrm>
          <a:prstGeom prst="rect">
            <a:avLst/>
          </a:prstGeom>
          <a:solidFill>
            <a:srgbClr val="AEB338"/>
          </a:solid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2.</a:t>
            </a:r>
            <a:endParaRPr kumimoji="0" lang="es-CO"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1" name="CuadroTexto 20">
            <a:extLst>
              <a:ext uri="{FF2B5EF4-FFF2-40B4-BE49-F238E27FC236}">
                <a16:creationId xmlns:a16="http://schemas.microsoft.com/office/drawing/2014/main" id="{4085785B-5E65-44C0-9185-52975CCC88CC}"/>
              </a:ext>
            </a:extLst>
          </p:cNvPr>
          <p:cNvSpPr txBox="1"/>
          <p:nvPr/>
        </p:nvSpPr>
        <p:spPr>
          <a:xfrm>
            <a:off x="726321" y="2665671"/>
            <a:ext cx="563880" cy="400110"/>
          </a:xfrm>
          <a:prstGeom prst="rect">
            <a:avLst/>
          </a:prstGeom>
          <a:solidFill>
            <a:srgbClr val="AEB338"/>
          </a:solid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3.</a:t>
            </a:r>
            <a:endParaRPr kumimoji="0" lang="es-CO"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3" name="CuadroTexto 22">
            <a:extLst>
              <a:ext uri="{FF2B5EF4-FFF2-40B4-BE49-F238E27FC236}">
                <a16:creationId xmlns:a16="http://schemas.microsoft.com/office/drawing/2014/main" id="{B2ADA33F-8974-4F1B-977A-E7B0056A5635}"/>
              </a:ext>
            </a:extLst>
          </p:cNvPr>
          <p:cNvSpPr txBox="1"/>
          <p:nvPr/>
        </p:nvSpPr>
        <p:spPr>
          <a:xfrm>
            <a:off x="726321" y="3603781"/>
            <a:ext cx="563880" cy="400110"/>
          </a:xfrm>
          <a:prstGeom prst="rect">
            <a:avLst/>
          </a:prstGeom>
          <a:solidFill>
            <a:srgbClr val="AEB338"/>
          </a:solid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4.</a:t>
            </a:r>
            <a:endParaRPr kumimoji="0" lang="es-CO"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5" name="CuadroTexto 24">
            <a:extLst>
              <a:ext uri="{FF2B5EF4-FFF2-40B4-BE49-F238E27FC236}">
                <a16:creationId xmlns:a16="http://schemas.microsoft.com/office/drawing/2014/main" id="{0D7AAB2D-1B32-4AA6-9D1F-094345CFBCA6}"/>
              </a:ext>
            </a:extLst>
          </p:cNvPr>
          <p:cNvSpPr txBox="1"/>
          <p:nvPr/>
        </p:nvSpPr>
        <p:spPr>
          <a:xfrm>
            <a:off x="747861" y="4704040"/>
            <a:ext cx="563880" cy="400110"/>
          </a:xfrm>
          <a:prstGeom prst="rect">
            <a:avLst/>
          </a:prstGeom>
          <a:solidFill>
            <a:srgbClr val="AEB338"/>
          </a:solid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5.</a:t>
            </a:r>
            <a:endParaRPr kumimoji="0" lang="es-CO"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7" name="CuadroTexto 26">
            <a:extLst>
              <a:ext uri="{FF2B5EF4-FFF2-40B4-BE49-F238E27FC236}">
                <a16:creationId xmlns:a16="http://schemas.microsoft.com/office/drawing/2014/main" id="{5B6EBF9B-A167-436E-A0E4-351E8ADFD0C7}"/>
              </a:ext>
            </a:extLst>
          </p:cNvPr>
          <p:cNvSpPr txBox="1"/>
          <p:nvPr/>
        </p:nvSpPr>
        <p:spPr>
          <a:xfrm>
            <a:off x="763101" y="5315857"/>
            <a:ext cx="563880" cy="400110"/>
          </a:xfrm>
          <a:prstGeom prst="rect">
            <a:avLst/>
          </a:prstGeom>
          <a:solidFill>
            <a:srgbClr val="AEB338"/>
          </a:solid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6.</a:t>
            </a:r>
            <a:endParaRPr kumimoji="0" lang="es-CO"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2" name="Título 3">
            <a:extLst>
              <a:ext uri="{FF2B5EF4-FFF2-40B4-BE49-F238E27FC236}">
                <a16:creationId xmlns:a16="http://schemas.microsoft.com/office/drawing/2014/main" id="{416BA93B-5220-4DF4-B1AE-25C2B9AF5010}"/>
              </a:ext>
            </a:extLst>
          </p:cNvPr>
          <p:cNvSpPr txBox="1">
            <a:spLocks/>
          </p:cNvSpPr>
          <p:nvPr/>
        </p:nvSpPr>
        <p:spPr>
          <a:xfrm>
            <a:off x="1726035" y="266697"/>
            <a:ext cx="8739929" cy="954107"/>
          </a:xfrm>
          <a:prstGeom prst="rect">
            <a:avLst/>
          </a:prstGeom>
          <a:noFill/>
          <a:ln>
            <a:noFill/>
          </a:ln>
        </p:spPr>
        <p:txBody>
          <a:bodyPr wrap="square" rtlCol="0">
            <a:spAutoFit/>
          </a:bodyPr>
          <a:lstStyle>
            <a:defPPr>
              <a:defRPr lang="es-CO"/>
            </a:defPPr>
            <a:lvl1pPr algn="ctr">
              <a:defRPr sz="2800" b="1">
                <a:solidFill>
                  <a:srgbClr val="10476B"/>
                </a:solidFill>
                <a:latin typeface="Century Gothic" panose="020B0502020202020204" pitchFamily="34" charset="0"/>
                <a:cs typeface="Arial" panose="020B0604020202020204" pitchFamily="34" charset="0"/>
              </a:defRPr>
            </a:lvl1pPr>
            <a:lvl2pPr defTabSz="685145" fontAlgn="base">
              <a:spcBef>
                <a:spcPct val="0"/>
              </a:spcBef>
              <a:spcAft>
                <a:spcPct val="0"/>
              </a:spcAft>
              <a:defRPr sz="1454" b="1">
                <a:solidFill>
                  <a:schemeClr val="tx2"/>
                </a:solidFill>
                <a:latin typeface="Arial" charset="0"/>
              </a:defRPr>
            </a:lvl2pPr>
            <a:lvl3pPr defTabSz="685145" fontAlgn="base">
              <a:spcBef>
                <a:spcPct val="0"/>
              </a:spcBef>
              <a:spcAft>
                <a:spcPct val="0"/>
              </a:spcAft>
              <a:defRPr sz="1454" b="1">
                <a:solidFill>
                  <a:schemeClr val="tx2"/>
                </a:solidFill>
                <a:latin typeface="Arial" charset="0"/>
              </a:defRPr>
            </a:lvl3pPr>
            <a:lvl4pPr defTabSz="685145" fontAlgn="base">
              <a:spcBef>
                <a:spcPct val="0"/>
              </a:spcBef>
              <a:spcAft>
                <a:spcPct val="0"/>
              </a:spcAft>
              <a:defRPr sz="1454" b="1">
                <a:solidFill>
                  <a:schemeClr val="tx2"/>
                </a:solidFill>
                <a:latin typeface="Arial" charset="0"/>
              </a:defRPr>
            </a:lvl4pPr>
            <a:lvl5pPr defTabSz="685145" fontAlgn="base">
              <a:spcBef>
                <a:spcPct val="0"/>
              </a:spcBef>
              <a:spcAft>
                <a:spcPct val="0"/>
              </a:spcAft>
              <a:defRPr sz="1454" b="1">
                <a:solidFill>
                  <a:schemeClr val="tx2"/>
                </a:solidFill>
                <a:latin typeface="Arial" charset="0"/>
              </a:defRPr>
            </a:lvl5pPr>
            <a:lvl6pPr marL="349861" defTabSz="685145" fontAlgn="base">
              <a:spcBef>
                <a:spcPct val="0"/>
              </a:spcBef>
              <a:spcAft>
                <a:spcPct val="0"/>
              </a:spcAft>
              <a:defRPr sz="1454" b="1">
                <a:solidFill>
                  <a:schemeClr val="tx2"/>
                </a:solidFill>
                <a:latin typeface="Arial" charset="0"/>
              </a:defRPr>
            </a:lvl6pPr>
            <a:lvl7pPr marL="699722" defTabSz="685145" fontAlgn="base">
              <a:spcBef>
                <a:spcPct val="0"/>
              </a:spcBef>
              <a:spcAft>
                <a:spcPct val="0"/>
              </a:spcAft>
              <a:defRPr sz="1454" b="1">
                <a:solidFill>
                  <a:schemeClr val="tx2"/>
                </a:solidFill>
                <a:latin typeface="Arial" charset="0"/>
              </a:defRPr>
            </a:lvl7pPr>
            <a:lvl8pPr marL="1049582" defTabSz="685145" fontAlgn="base">
              <a:spcBef>
                <a:spcPct val="0"/>
              </a:spcBef>
              <a:spcAft>
                <a:spcPct val="0"/>
              </a:spcAft>
              <a:defRPr sz="1454" b="1">
                <a:solidFill>
                  <a:schemeClr val="tx2"/>
                </a:solidFill>
                <a:latin typeface="Arial" charset="0"/>
              </a:defRPr>
            </a:lvl8pPr>
            <a:lvl9pPr marL="1399444" defTabSz="685145" fontAlgn="base">
              <a:spcBef>
                <a:spcPct val="0"/>
              </a:spcBef>
              <a:spcAft>
                <a:spcPct val="0"/>
              </a:spcAft>
              <a:defRPr sz="1454" b="1">
                <a:solidFill>
                  <a:schemeClr val="tx2"/>
                </a:solidFill>
                <a:latin typeface="Arial" charset="0"/>
              </a:defRPr>
            </a:lvl9pPr>
          </a:lstStyle>
          <a:p>
            <a:r>
              <a:rPr lang="es-ES" dirty="0"/>
              <a:t>Cambios relevantes Reglamento Comité de Auditoría y Riesgos CENIT</a:t>
            </a:r>
          </a:p>
        </p:txBody>
      </p:sp>
    </p:spTree>
    <p:extLst>
      <p:ext uri="{BB962C8B-B14F-4D97-AF65-F5344CB8AC3E}">
        <p14:creationId xmlns:p14="http://schemas.microsoft.com/office/powerpoint/2010/main" val="8082281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B949D370-FD96-4073-8FBF-7D2C6B5429E3}"/>
              </a:ext>
            </a:extLst>
          </p:cNvPr>
          <p:cNvSpPr txBox="1"/>
          <p:nvPr/>
        </p:nvSpPr>
        <p:spPr>
          <a:xfrm>
            <a:off x="644314" y="1005554"/>
            <a:ext cx="563880" cy="400110"/>
          </a:xfrm>
          <a:prstGeom prst="rect">
            <a:avLst/>
          </a:prstGeom>
          <a:solidFill>
            <a:srgbClr val="AEB338"/>
          </a:solid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1.</a:t>
            </a:r>
            <a:endParaRPr kumimoji="0" lang="es-CO"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3" name="CuadroTexto 2">
            <a:extLst>
              <a:ext uri="{FF2B5EF4-FFF2-40B4-BE49-F238E27FC236}">
                <a16:creationId xmlns:a16="http://schemas.microsoft.com/office/drawing/2014/main" id="{A224A260-4D01-431A-9C97-58F4C63B844C}"/>
              </a:ext>
            </a:extLst>
          </p:cNvPr>
          <p:cNvSpPr txBox="1"/>
          <p:nvPr/>
        </p:nvSpPr>
        <p:spPr>
          <a:xfrm>
            <a:off x="657172" y="1795273"/>
            <a:ext cx="563880" cy="400110"/>
          </a:xfrm>
          <a:prstGeom prst="rect">
            <a:avLst/>
          </a:prstGeom>
          <a:solidFill>
            <a:srgbClr val="AEB338"/>
          </a:solid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2.</a:t>
            </a:r>
            <a:endParaRPr kumimoji="0" lang="es-CO"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4" name="CuadroTexto 3">
            <a:extLst>
              <a:ext uri="{FF2B5EF4-FFF2-40B4-BE49-F238E27FC236}">
                <a16:creationId xmlns:a16="http://schemas.microsoft.com/office/drawing/2014/main" id="{C1BC9276-84D1-4D8C-A08E-3C1950622352}"/>
              </a:ext>
            </a:extLst>
          </p:cNvPr>
          <p:cNvSpPr txBox="1"/>
          <p:nvPr/>
        </p:nvSpPr>
        <p:spPr>
          <a:xfrm>
            <a:off x="644314" y="2502489"/>
            <a:ext cx="563880" cy="400110"/>
          </a:xfrm>
          <a:prstGeom prst="rect">
            <a:avLst/>
          </a:prstGeom>
          <a:solidFill>
            <a:srgbClr val="AEB338"/>
          </a:solid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3.</a:t>
            </a:r>
            <a:endParaRPr kumimoji="0" lang="es-CO"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5" name="CuadroTexto 4">
            <a:extLst>
              <a:ext uri="{FF2B5EF4-FFF2-40B4-BE49-F238E27FC236}">
                <a16:creationId xmlns:a16="http://schemas.microsoft.com/office/drawing/2014/main" id="{75B80B9B-A974-49C9-BD64-C7E5DC3FA411}"/>
              </a:ext>
            </a:extLst>
          </p:cNvPr>
          <p:cNvSpPr txBox="1"/>
          <p:nvPr/>
        </p:nvSpPr>
        <p:spPr>
          <a:xfrm>
            <a:off x="644314" y="3181613"/>
            <a:ext cx="563880" cy="400110"/>
          </a:xfrm>
          <a:prstGeom prst="rect">
            <a:avLst/>
          </a:prstGeom>
          <a:solidFill>
            <a:srgbClr val="AEB338"/>
          </a:solid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4.</a:t>
            </a:r>
            <a:endParaRPr kumimoji="0" lang="es-CO"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6" name="CuadroTexto 5">
            <a:extLst>
              <a:ext uri="{FF2B5EF4-FFF2-40B4-BE49-F238E27FC236}">
                <a16:creationId xmlns:a16="http://schemas.microsoft.com/office/drawing/2014/main" id="{6484815E-883F-4F26-9F38-1E1545D135B1}"/>
              </a:ext>
            </a:extLst>
          </p:cNvPr>
          <p:cNvSpPr txBox="1"/>
          <p:nvPr/>
        </p:nvSpPr>
        <p:spPr>
          <a:xfrm>
            <a:off x="644314" y="4497926"/>
            <a:ext cx="563880" cy="400110"/>
          </a:xfrm>
          <a:prstGeom prst="rect">
            <a:avLst/>
          </a:prstGeom>
          <a:solidFill>
            <a:srgbClr val="AEB338"/>
          </a:solid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6.</a:t>
            </a:r>
            <a:endParaRPr kumimoji="0" lang="es-CO"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7" name="CuadroTexto 6">
            <a:extLst>
              <a:ext uri="{FF2B5EF4-FFF2-40B4-BE49-F238E27FC236}">
                <a16:creationId xmlns:a16="http://schemas.microsoft.com/office/drawing/2014/main" id="{F7860A4C-21A2-48E0-B165-4649723658F8}"/>
              </a:ext>
            </a:extLst>
          </p:cNvPr>
          <p:cNvSpPr txBox="1"/>
          <p:nvPr/>
        </p:nvSpPr>
        <p:spPr>
          <a:xfrm>
            <a:off x="644314" y="5177462"/>
            <a:ext cx="563880" cy="400110"/>
          </a:xfrm>
          <a:prstGeom prst="rect">
            <a:avLst/>
          </a:prstGeom>
          <a:solidFill>
            <a:srgbClr val="AEB338"/>
          </a:solid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7.</a:t>
            </a:r>
            <a:endParaRPr kumimoji="0" lang="es-CO"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8" name="CuadroTexto 7">
            <a:extLst>
              <a:ext uri="{FF2B5EF4-FFF2-40B4-BE49-F238E27FC236}">
                <a16:creationId xmlns:a16="http://schemas.microsoft.com/office/drawing/2014/main" id="{11525450-D68D-447A-A865-2352CB094B9D}"/>
              </a:ext>
            </a:extLst>
          </p:cNvPr>
          <p:cNvSpPr txBox="1"/>
          <p:nvPr/>
        </p:nvSpPr>
        <p:spPr>
          <a:xfrm>
            <a:off x="644314" y="5766354"/>
            <a:ext cx="563880" cy="400110"/>
          </a:xfrm>
          <a:prstGeom prst="rect">
            <a:avLst/>
          </a:prstGeom>
          <a:solidFill>
            <a:srgbClr val="AEB338"/>
          </a:solid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8.</a:t>
            </a:r>
            <a:endParaRPr kumimoji="0" lang="es-CO"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graphicFrame>
        <p:nvGraphicFramePr>
          <p:cNvPr id="9" name="Content Placeholder 18">
            <a:extLst>
              <a:ext uri="{FF2B5EF4-FFF2-40B4-BE49-F238E27FC236}">
                <a16:creationId xmlns:a16="http://schemas.microsoft.com/office/drawing/2014/main" id="{2D37FFEA-FB45-443E-A71F-D88EA491681F}"/>
              </a:ext>
            </a:extLst>
          </p:cNvPr>
          <p:cNvGraphicFramePr>
            <a:graphicFrameLocks/>
          </p:cNvGraphicFramePr>
          <p:nvPr/>
        </p:nvGraphicFramePr>
        <p:xfrm>
          <a:off x="1358081" y="704538"/>
          <a:ext cx="10251539" cy="5475736"/>
        </p:xfrm>
        <a:graphic>
          <a:graphicData uri="http://schemas.openxmlformats.org/drawingml/2006/table">
            <a:tbl>
              <a:tblPr firstRow="1" bandRow="1">
                <a:tableStyleId>{0660B408-B3CF-4A94-85FC-2B1E0A45F4A2}</a:tableStyleId>
              </a:tblPr>
              <a:tblGrid>
                <a:gridCol w="10251539">
                  <a:extLst>
                    <a:ext uri="{9D8B030D-6E8A-4147-A177-3AD203B41FA5}">
                      <a16:colId xmlns:a16="http://schemas.microsoft.com/office/drawing/2014/main" val="3319524955"/>
                    </a:ext>
                  </a:extLst>
                </a:gridCol>
              </a:tblGrid>
              <a:tr h="971201">
                <a:tc>
                  <a:txBody>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lang="es-ES" sz="1700" b="0" i="0" u="none" strike="noStrike" kern="1200" noProof="0" dirty="0">
                          <a:solidFill>
                            <a:srgbClr val="000000"/>
                          </a:solidFill>
                          <a:effectLst/>
                          <a:latin typeface="Arial" panose="020B0604020202020204" pitchFamily="34" charset="0"/>
                          <a:ea typeface="+mn-ea"/>
                          <a:cs typeface="+mn-cs"/>
                        </a:rPr>
                        <a:t>Remisión a otros documentos corporativos para evitar duplicidad de textos que puedan generar diferencias (ej. objeto social de Cenit, productos y servicios de la sociedad, funciones y convocatoria a reuniones de órganos, etc.).</a:t>
                      </a:r>
                      <a:endParaRPr lang="es-CO" sz="1700" b="0" i="0" u="none" strike="noStrike" kern="1200" noProof="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EEF3F5"/>
                    </a:solidFill>
                  </a:tcPr>
                </a:tc>
                <a:extLst>
                  <a:ext uri="{0D108BD9-81ED-4DB2-BD59-A6C34878D82A}">
                    <a16:rowId xmlns:a16="http://schemas.microsoft.com/office/drawing/2014/main" val="3527985233"/>
                  </a:ext>
                </a:extLst>
              </a:tr>
              <a:tr h="707641">
                <a:tc>
                  <a:txBody>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lang="es-ES" sz="1700" b="0" i="0" u="none" strike="noStrike" noProof="0">
                          <a:solidFill>
                            <a:srgbClr val="000000"/>
                          </a:solidFill>
                          <a:effectLst/>
                          <a:latin typeface="Arial" panose="020B0604020202020204" pitchFamily="34" charset="0"/>
                        </a:rPr>
                        <a:t>Inclusión de declaraciones de mejores prácticas de gobierno corporativo y transparencia a nivel de GEE.</a:t>
                      </a:r>
                      <a:endParaRPr lang="es-CO" sz="1700" b="0" i="0" u="none" strike="noStrike" noProof="0">
                        <a:solidFill>
                          <a:srgbClr val="000000"/>
                        </a:solidFill>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8FCFC"/>
                    </a:solidFill>
                  </a:tcPr>
                </a:tc>
                <a:extLst>
                  <a:ext uri="{0D108BD9-81ED-4DB2-BD59-A6C34878D82A}">
                    <a16:rowId xmlns:a16="http://schemas.microsoft.com/office/drawing/2014/main" val="210959579"/>
                  </a:ext>
                </a:extLst>
              </a:tr>
              <a:tr h="712059">
                <a:tc>
                  <a:txBody>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lang="es-ES" sz="1700" b="0" i="0" u="none" strike="noStrike" kern="1200" noProof="0" dirty="0">
                          <a:solidFill>
                            <a:srgbClr val="000000"/>
                          </a:solidFill>
                          <a:effectLst/>
                          <a:latin typeface="Arial" panose="020B0604020202020204" pitchFamily="34" charset="0"/>
                          <a:ea typeface="+mn-ea"/>
                          <a:cs typeface="+mn-cs"/>
                        </a:rPr>
                        <a:t>Inclusión de los reglamentos de Asamblea, Junta y Comité Auditoría y Riesgos como anexos (Alineación Ecopetrol).</a:t>
                      </a:r>
                      <a:endParaRPr lang="es-CO" sz="1700" b="0" i="0" u="none" strike="noStrike" kern="1200" noProof="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F3F5"/>
                    </a:solidFill>
                  </a:tcPr>
                </a:tc>
                <a:extLst>
                  <a:ext uri="{0D108BD9-81ED-4DB2-BD59-A6C34878D82A}">
                    <a16:rowId xmlns:a16="http://schemas.microsoft.com/office/drawing/2014/main" val="2492126394"/>
                  </a:ext>
                </a:extLst>
              </a:tr>
              <a:tr h="614648">
                <a:tc>
                  <a:txBody>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lang="es-ES" sz="1700" b="0" i="0" u="none" strike="noStrike" kern="1200" dirty="0">
                          <a:solidFill>
                            <a:srgbClr val="000000"/>
                          </a:solidFill>
                          <a:effectLst/>
                          <a:latin typeface="Arial" panose="020B0604020202020204" pitchFamily="34" charset="0"/>
                          <a:ea typeface="+mn-ea"/>
                          <a:cs typeface="+mn-cs"/>
                        </a:rPr>
                        <a:t>Claridad en Presidente y Altos Directivos e inclusión </a:t>
                      </a:r>
                      <a:r>
                        <a:rPr lang="es-ES" sz="1700" b="0" i="0" u="none" strike="noStrike" kern="1200" noProof="0" dirty="0">
                          <a:solidFill>
                            <a:srgbClr val="000000"/>
                          </a:solidFill>
                          <a:effectLst/>
                          <a:latin typeface="Arial" panose="020B0604020202020204" pitchFamily="34" charset="0"/>
                          <a:ea typeface="+mn-ea"/>
                          <a:cs typeface="+mn-cs"/>
                        </a:rPr>
                        <a:t>de los Comités de Alta Dirección como órganos en Cenit</a:t>
                      </a:r>
                      <a:r>
                        <a:rPr lang="es-CO" sz="1700" b="0" i="0" u="none" strike="noStrike" kern="1200" noProof="0" dirty="0">
                          <a:solidFill>
                            <a:srgbClr val="000000"/>
                          </a:solidFill>
                          <a:effectLst/>
                          <a:latin typeface="Arial" panose="020B0604020202020204" pitchFamily="34" charset="0"/>
                          <a:ea typeface="+mn-ea"/>
                          <a:cs typeface="+mn-cs"/>
                        </a:rPr>
                        <a:t>.</a:t>
                      </a:r>
                      <a:endParaRPr lang="es-CO" sz="1700" b="0" i="0" u="none" strike="noStrike" kern="120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8FCFC"/>
                    </a:solidFill>
                  </a:tcPr>
                </a:tc>
                <a:extLst>
                  <a:ext uri="{0D108BD9-81ED-4DB2-BD59-A6C34878D82A}">
                    <a16:rowId xmlns:a16="http://schemas.microsoft.com/office/drawing/2014/main" val="316454167"/>
                  </a:ext>
                </a:extLst>
              </a:tr>
              <a:tr h="707641">
                <a:tc>
                  <a:txBody>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lang="es-ES" sz="1700" b="0" i="0" u="none" strike="noStrike" kern="1200" noProof="0">
                          <a:solidFill>
                            <a:srgbClr val="000000"/>
                          </a:solidFill>
                          <a:effectLst/>
                          <a:latin typeface="Arial" panose="020B0604020202020204" pitchFamily="34" charset="0"/>
                          <a:ea typeface="+mn-ea"/>
                          <a:cs typeface="+mn-cs"/>
                        </a:rPr>
                        <a:t>Actualización de textos de revelación de información financiera y regulación de mecanismos de revelación de información y estándares de manejo de la misma</a:t>
                      </a:r>
                      <a:r>
                        <a:rPr lang="es-CO" sz="1700" b="0" i="0" u="none" strike="noStrike" kern="1200" noProof="0">
                          <a:solidFill>
                            <a:srgbClr val="000000"/>
                          </a:solidFill>
                          <a:effectLst/>
                          <a:latin typeface="Arial" panose="020B0604020202020204" pitchFamily="34" charset="0"/>
                          <a:ea typeface="+mn-ea"/>
                          <a:cs typeface="+mn-c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F3F5"/>
                    </a:solidFill>
                  </a:tcPr>
                </a:tc>
                <a:extLst>
                  <a:ext uri="{0D108BD9-81ED-4DB2-BD59-A6C34878D82A}">
                    <a16:rowId xmlns:a16="http://schemas.microsoft.com/office/drawing/2014/main" val="4172280132"/>
                  </a:ext>
                </a:extLst>
              </a:tr>
              <a:tr h="683436">
                <a:tc>
                  <a:txBody>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lang="es-ES" sz="1700" b="0" i="0" u="none" strike="noStrike" kern="1200" noProof="0">
                          <a:solidFill>
                            <a:srgbClr val="000000"/>
                          </a:solidFill>
                          <a:effectLst/>
                          <a:latin typeface="Arial" panose="020B0604020202020204" pitchFamily="34" charset="0"/>
                          <a:ea typeface="+mn-ea"/>
                          <a:cs typeface="+mn-cs"/>
                        </a:rPr>
                        <a:t>Actualización de los temas de Responsabilidad Social Corporativa, promesa de valor y gestión de grupos de interés. </a:t>
                      </a:r>
                      <a:endParaRPr lang="es-CO" sz="1700" b="0" i="0" u="none" strike="noStrike" kern="1200" noProof="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8FCFC"/>
                    </a:solidFill>
                  </a:tcPr>
                </a:tc>
                <a:extLst>
                  <a:ext uri="{0D108BD9-81ED-4DB2-BD59-A6C34878D82A}">
                    <a16:rowId xmlns:a16="http://schemas.microsoft.com/office/drawing/2014/main" val="933122265"/>
                  </a:ext>
                </a:extLst>
              </a:tr>
              <a:tr h="683436">
                <a:tc>
                  <a:txBody>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lang="es-ES" sz="1700" b="0" i="0" u="none" strike="noStrike" kern="1200" noProof="0">
                          <a:solidFill>
                            <a:srgbClr val="000000"/>
                          </a:solidFill>
                          <a:effectLst/>
                          <a:latin typeface="Arial" panose="020B0604020202020204" pitchFamily="34" charset="0"/>
                          <a:ea typeface="+mn-ea"/>
                          <a:cs typeface="+mn-cs"/>
                        </a:rPr>
                        <a:t>Claridad y actualización en los órganos externos e internos de control y fortalecimiento de prácticas de buen gobierno frente al revisor fisca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F3F5"/>
                    </a:solidFill>
                  </a:tcPr>
                </a:tc>
                <a:extLst>
                  <a:ext uri="{0D108BD9-81ED-4DB2-BD59-A6C34878D82A}">
                    <a16:rowId xmlns:a16="http://schemas.microsoft.com/office/drawing/2014/main" val="1101103390"/>
                  </a:ext>
                </a:extLst>
              </a:tr>
              <a:tr h="395674">
                <a:tc>
                  <a:txBody>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lang="es-ES" sz="1700" b="0" i="0" u="none" strike="noStrike" kern="1200" noProof="0" dirty="0">
                          <a:solidFill>
                            <a:srgbClr val="000000"/>
                          </a:solidFill>
                          <a:effectLst/>
                          <a:latin typeface="Arial" panose="020B0604020202020204" pitchFamily="34" charset="0"/>
                          <a:ea typeface="+mn-ea"/>
                          <a:cs typeface="+mn-cs"/>
                        </a:rPr>
                        <a:t>Declaración de apetito al riesgo y fortalecimiento de textos de conflictos de interés</a:t>
                      </a:r>
                      <a:r>
                        <a:rPr lang="es-CO" sz="1700" b="0" i="0" u="none" strike="noStrike" kern="1200" noProof="0" dirty="0">
                          <a:solidFill>
                            <a:srgbClr val="000000"/>
                          </a:solidFill>
                          <a:effectLst/>
                          <a:latin typeface="Arial" panose="020B0604020202020204" pitchFamily="34" charset="0"/>
                          <a:ea typeface="+mn-ea"/>
                          <a:cs typeface="+mn-cs"/>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8FCFC"/>
                    </a:solidFill>
                  </a:tcPr>
                </a:tc>
                <a:extLst>
                  <a:ext uri="{0D108BD9-81ED-4DB2-BD59-A6C34878D82A}">
                    <a16:rowId xmlns:a16="http://schemas.microsoft.com/office/drawing/2014/main" val="1058423243"/>
                  </a:ext>
                </a:extLst>
              </a:tr>
            </a:tbl>
          </a:graphicData>
        </a:graphic>
      </p:graphicFrame>
      <p:sp>
        <p:nvSpPr>
          <p:cNvPr id="10" name="CuadroTexto 9">
            <a:extLst>
              <a:ext uri="{FF2B5EF4-FFF2-40B4-BE49-F238E27FC236}">
                <a16:creationId xmlns:a16="http://schemas.microsoft.com/office/drawing/2014/main" id="{89C4FE79-F166-433C-924B-FADC5DB0B0DF}"/>
              </a:ext>
            </a:extLst>
          </p:cNvPr>
          <p:cNvSpPr txBox="1"/>
          <p:nvPr/>
        </p:nvSpPr>
        <p:spPr>
          <a:xfrm>
            <a:off x="659554" y="3856234"/>
            <a:ext cx="563880" cy="400110"/>
          </a:xfrm>
          <a:prstGeom prst="rect">
            <a:avLst/>
          </a:prstGeom>
          <a:solidFill>
            <a:srgbClr val="AEB338"/>
          </a:solid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5.</a:t>
            </a:r>
            <a:endParaRPr kumimoji="0" lang="es-CO"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3" name="Título 3">
            <a:extLst>
              <a:ext uri="{FF2B5EF4-FFF2-40B4-BE49-F238E27FC236}">
                <a16:creationId xmlns:a16="http://schemas.microsoft.com/office/drawing/2014/main" id="{3A02962D-5907-45C1-8961-A2C27E9820A2}"/>
              </a:ext>
            </a:extLst>
          </p:cNvPr>
          <p:cNvSpPr txBox="1">
            <a:spLocks/>
          </p:cNvSpPr>
          <p:nvPr/>
        </p:nvSpPr>
        <p:spPr>
          <a:xfrm>
            <a:off x="644314" y="102259"/>
            <a:ext cx="11144015" cy="523220"/>
          </a:xfrm>
          <a:prstGeom prst="rect">
            <a:avLst/>
          </a:prstGeom>
          <a:noFill/>
          <a:ln>
            <a:noFill/>
          </a:ln>
        </p:spPr>
        <p:txBody>
          <a:bodyPr wrap="square" rtlCol="0">
            <a:spAutoFit/>
          </a:bodyPr>
          <a:lstStyle>
            <a:defPPr>
              <a:defRPr lang="es-CO"/>
            </a:defPPr>
            <a:lvl1pPr algn="ctr">
              <a:defRPr sz="2800" b="1">
                <a:solidFill>
                  <a:srgbClr val="10476B"/>
                </a:solidFill>
                <a:latin typeface="Century Gothic" panose="020B0502020202020204" pitchFamily="34" charset="0"/>
                <a:cs typeface="Arial" panose="020B0604020202020204" pitchFamily="34" charset="0"/>
              </a:defRPr>
            </a:lvl1pPr>
            <a:lvl2pPr algn="l" defTabSz="685145" rtl="0" eaLnBrk="1" fontAlgn="base" hangingPunct="1">
              <a:spcBef>
                <a:spcPct val="0"/>
              </a:spcBef>
              <a:spcAft>
                <a:spcPct val="0"/>
              </a:spcAft>
              <a:defRPr sz="1454" b="1">
                <a:solidFill>
                  <a:schemeClr val="tx2"/>
                </a:solidFill>
                <a:latin typeface="Arial" charset="0"/>
              </a:defRPr>
            </a:lvl2pPr>
            <a:lvl3pPr algn="l" defTabSz="685145" rtl="0" eaLnBrk="1" fontAlgn="base" hangingPunct="1">
              <a:spcBef>
                <a:spcPct val="0"/>
              </a:spcBef>
              <a:spcAft>
                <a:spcPct val="0"/>
              </a:spcAft>
              <a:defRPr sz="1454" b="1">
                <a:solidFill>
                  <a:schemeClr val="tx2"/>
                </a:solidFill>
                <a:latin typeface="Arial" charset="0"/>
              </a:defRPr>
            </a:lvl3pPr>
            <a:lvl4pPr algn="l" defTabSz="685145" rtl="0" eaLnBrk="1" fontAlgn="base" hangingPunct="1">
              <a:spcBef>
                <a:spcPct val="0"/>
              </a:spcBef>
              <a:spcAft>
                <a:spcPct val="0"/>
              </a:spcAft>
              <a:defRPr sz="1454" b="1">
                <a:solidFill>
                  <a:schemeClr val="tx2"/>
                </a:solidFill>
                <a:latin typeface="Arial" charset="0"/>
              </a:defRPr>
            </a:lvl4pPr>
            <a:lvl5pPr algn="l" defTabSz="685145" rtl="0" eaLnBrk="1" fontAlgn="base" hangingPunct="1">
              <a:spcBef>
                <a:spcPct val="0"/>
              </a:spcBef>
              <a:spcAft>
                <a:spcPct val="0"/>
              </a:spcAft>
              <a:defRPr sz="1454" b="1">
                <a:solidFill>
                  <a:schemeClr val="tx2"/>
                </a:solidFill>
                <a:latin typeface="Arial" charset="0"/>
              </a:defRPr>
            </a:lvl5pPr>
            <a:lvl6pPr marL="349861" algn="l" defTabSz="685145" rtl="0" eaLnBrk="1" fontAlgn="base" hangingPunct="1">
              <a:spcBef>
                <a:spcPct val="0"/>
              </a:spcBef>
              <a:spcAft>
                <a:spcPct val="0"/>
              </a:spcAft>
              <a:defRPr sz="1454" b="1">
                <a:solidFill>
                  <a:schemeClr val="tx2"/>
                </a:solidFill>
                <a:latin typeface="Arial" charset="0"/>
              </a:defRPr>
            </a:lvl6pPr>
            <a:lvl7pPr marL="699722" algn="l" defTabSz="685145" rtl="0" eaLnBrk="1" fontAlgn="base" hangingPunct="1">
              <a:spcBef>
                <a:spcPct val="0"/>
              </a:spcBef>
              <a:spcAft>
                <a:spcPct val="0"/>
              </a:spcAft>
              <a:defRPr sz="1454" b="1">
                <a:solidFill>
                  <a:schemeClr val="tx2"/>
                </a:solidFill>
                <a:latin typeface="Arial" charset="0"/>
              </a:defRPr>
            </a:lvl7pPr>
            <a:lvl8pPr marL="1049582" algn="l" defTabSz="685145" rtl="0" eaLnBrk="1" fontAlgn="base" hangingPunct="1">
              <a:spcBef>
                <a:spcPct val="0"/>
              </a:spcBef>
              <a:spcAft>
                <a:spcPct val="0"/>
              </a:spcAft>
              <a:defRPr sz="1454" b="1">
                <a:solidFill>
                  <a:schemeClr val="tx2"/>
                </a:solidFill>
                <a:latin typeface="Arial" charset="0"/>
              </a:defRPr>
            </a:lvl8pPr>
            <a:lvl9pPr marL="1399444" algn="l" defTabSz="685145" rtl="0" eaLnBrk="1" fontAlgn="base" hangingPunct="1">
              <a:spcBef>
                <a:spcPct val="0"/>
              </a:spcBef>
              <a:spcAft>
                <a:spcPct val="0"/>
              </a:spcAft>
              <a:defRPr sz="1454" b="1">
                <a:solidFill>
                  <a:schemeClr val="tx2"/>
                </a:solidFill>
                <a:latin typeface="Arial" charset="0"/>
              </a:defRPr>
            </a:lvl9pPr>
          </a:lstStyle>
          <a:p>
            <a:r>
              <a:rPr lang="es-ES"/>
              <a:t>Cambios relevantes Código de Buen Gobierno</a:t>
            </a:r>
          </a:p>
        </p:txBody>
      </p:sp>
    </p:spTree>
    <p:extLst>
      <p:ext uri="{BB962C8B-B14F-4D97-AF65-F5344CB8AC3E}">
        <p14:creationId xmlns:p14="http://schemas.microsoft.com/office/powerpoint/2010/main" val="42641003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ontent Placeholder 18">
            <a:extLst>
              <a:ext uri="{FF2B5EF4-FFF2-40B4-BE49-F238E27FC236}">
                <a16:creationId xmlns:a16="http://schemas.microsoft.com/office/drawing/2014/main" id="{FC912B18-D631-4203-8148-C29D5E8932C4}"/>
              </a:ext>
            </a:extLst>
          </p:cNvPr>
          <p:cNvGraphicFramePr>
            <a:graphicFrameLocks/>
          </p:cNvGraphicFramePr>
          <p:nvPr/>
        </p:nvGraphicFramePr>
        <p:xfrm>
          <a:off x="1537881" y="965666"/>
          <a:ext cx="10008683" cy="2734104"/>
        </p:xfrm>
        <a:graphic>
          <a:graphicData uri="http://schemas.openxmlformats.org/drawingml/2006/table">
            <a:tbl>
              <a:tblPr firstRow="1" bandRow="1">
                <a:tableStyleId>{0660B408-B3CF-4A94-85FC-2B1E0A45F4A2}</a:tableStyleId>
              </a:tblPr>
              <a:tblGrid>
                <a:gridCol w="10008683">
                  <a:extLst>
                    <a:ext uri="{9D8B030D-6E8A-4147-A177-3AD203B41FA5}">
                      <a16:colId xmlns:a16="http://schemas.microsoft.com/office/drawing/2014/main" val="3319524955"/>
                    </a:ext>
                  </a:extLst>
                </a:gridCol>
              </a:tblGrid>
              <a:tr h="361367">
                <a:tc>
                  <a:txBody>
                    <a:bodyPr/>
                    <a:lstStyle/>
                    <a:p>
                      <a:pPr algn="ctr"/>
                      <a:r>
                        <a:rPr lang="es-CO" sz="2000" b="1" kern="1200" noProof="0">
                          <a:solidFill>
                            <a:srgbClr val="11496E"/>
                          </a:solidFill>
                          <a:latin typeface="Arial"/>
                          <a:ea typeface="+mn-ea"/>
                          <a:cs typeface="+mn-cs"/>
                        </a:rPr>
                        <a:t>Reglamento de Junta Directiv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D5DA41">
                        <a:alpha val="46275"/>
                      </a:srgbClr>
                    </a:solidFill>
                  </a:tcPr>
                </a:tc>
                <a:extLst>
                  <a:ext uri="{0D108BD9-81ED-4DB2-BD59-A6C34878D82A}">
                    <a16:rowId xmlns:a16="http://schemas.microsoft.com/office/drawing/2014/main" val="1169209815"/>
                  </a:ext>
                </a:extLst>
              </a:tr>
              <a:tr h="624179">
                <a:tc>
                  <a:txBody>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lang="es-ES" sz="1800" b="0" i="0" u="none" strike="noStrike" noProof="0">
                          <a:solidFill>
                            <a:srgbClr val="000000"/>
                          </a:solidFill>
                          <a:effectLst/>
                          <a:latin typeface="Arial" panose="020B0604020202020204" pitchFamily="34" charset="0"/>
                        </a:rPr>
                        <a:t>Nuevo Comité de Alta </a:t>
                      </a:r>
                      <a:r>
                        <a:rPr lang="es-ES" sz="1800" b="0" i="0" u="none" strike="noStrike" noProof="0" dirty="0">
                          <a:solidFill>
                            <a:srgbClr val="000000"/>
                          </a:solidFill>
                          <a:effectLst/>
                          <a:latin typeface="Arial" panose="020B0604020202020204" pitchFamily="34" charset="0"/>
                        </a:rPr>
                        <a:t>D</a:t>
                      </a:r>
                      <a:r>
                        <a:rPr lang="es-ES" sz="1800" b="0" i="0" u="none" strike="noStrike" noProof="0">
                          <a:solidFill>
                            <a:srgbClr val="000000"/>
                          </a:solidFill>
                          <a:effectLst/>
                          <a:latin typeface="Arial" panose="020B0604020202020204" pitchFamily="34" charset="0"/>
                        </a:rPr>
                        <a:t>irección </a:t>
                      </a:r>
                      <a:r>
                        <a:rPr lang="es-ES" sz="1800" b="0" i="0" u="none" strike="noStrike" noProof="0" dirty="0">
                          <a:solidFill>
                            <a:srgbClr val="000000"/>
                          </a:solidFill>
                          <a:effectLst/>
                          <a:latin typeface="Arial" panose="020B0604020202020204" pitchFamily="34" charset="0"/>
                        </a:rPr>
                        <a:t>de Gobierno Corporativo como instancia de análisis previo de </a:t>
                      </a:r>
                      <a:r>
                        <a:rPr lang="es-ES" sz="1800" b="0" i="0" u="none" strike="noStrike" noProof="0">
                          <a:solidFill>
                            <a:srgbClr val="000000"/>
                          </a:solidFill>
                          <a:effectLst/>
                          <a:latin typeface="Arial" panose="020B0604020202020204" pitchFamily="34" charset="0"/>
                        </a:rPr>
                        <a:t>temas varios </a:t>
                      </a:r>
                      <a:r>
                        <a:rPr lang="es-ES" sz="1800" b="0" i="0" u="none" strike="noStrike" noProof="0" dirty="0">
                          <a:solidFill>
                            <a:srgbClr val="000000"/>
                          </a:solidFill>
                          <a:effectLst/>
                          <a:latin typeface="Arial" panose="020B0604020202020204" pitchFamily="34" charset="0"/>
                        </a:rPr>
                        <a:t>de Gobierno Corporativo.</a:t>
                      </a:r>
                      <a:endParaRPr lang="es-CO" sz="1800" b="0" i="0" u="none" strike="noStrike" noProof="0" dirty="0">
                        <a:solidFill>
                          <a:srgbClr val="000000"/>
                        </a:solidFill>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EEF3F5"/>
                    </a:solidFill>
                  </a:tcPr>
                </a:tc>
                <a:extLst>
                  <a:ext uri="{0D108BD9-81ED-4DB2-BD59-A6C34878D82A}">
                    <a16:rowId xmlns:a16="http://schemas.microsoft.com/office/drawing/2014/main" val="3527985233"/>
                  </a:ext>
                </a:extLst>
              </a:tr>
              <a:tr h="624179">
                <a:tc>
                  <a:txBody>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lang="es-ES" sz="1800" b="0" i="0" u="none" strike="noStrike" noProof="0">
                          <a:solidFill>
                            <a:srgbClr val="000000"/>
                          </a:solidFill>
                          <a:effectLst/>
                          <a:latin typeface="Arial" panose="020B0604020202020204" pitchFamily="34" charset="0"/>
                        </a:rPr>
                        <a:t>Funciones del presidente de la Junta y el Secretario, de acuerdo con las mejores prácticas de Gobierno Corporativo.</a:t>
                      </a:r>
                      <a:endParaRPr lang="es-CO" sz="1800" b="0" i="0" u="none" strike="noStrike" noProof="0">
                        <a:solidFill>
                          <a:srgbClr val="000000"/>
                        </a:solidFill>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8FCFC"/>
                    </a:solidFill>
                  </a:tcPr>
                </a:tc>
                <a:extLst>
                  <a:ext uri="{0D108BD9-81ED-4DB2-BD59-A6C34878D82A}">
                    <a16:rowId xmlns:a16="http://schemas.microsoft.com/office/drawing/2014/main" val="210959579"/>
                  </a:ext>
                </a:extLst>
              </a:tr>
              <a:tr h="624179">
                <a:tc>
                  <a:txBody>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lang="es-ES" sz="1800" b="0" i="0" u="none" strike="noStrike" kern="1200" noProof="0">
                          <a:solidFill>
                            <a:srgbClr val="000000"/>
                          </a:solidFill>
                          <a:effectLst/>
                          <a:latin typeface="Arial" panose="020B0604020202020204" pitchFamily="34" charset="0"/>
                          <a:ea typeface="+mn-ea"/>
                          <a:cs typeface="+mn-cs"/>
                        </a:rPr>
                        <a:t>Procedimiento previo a las reuniones de la Junta, agenda típica, cronograma y autoevaluación anual, capacitaciones e inducción como derecho de los directores para ejercer su rol.</a:t>
                      </a:r>
                      <a:endParaRPr lang="es-CO" sz="1800" b="0" i="0" u="none" strike="noStrike" kern="1200" noProof="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F3F5"/>
                    </a:solidFill>
                  </a:tcPr>
                </a:tc>
                <a:extLst>
                  <a:ext uri="{0D108BD9-81ED-4DB2-BD59-A6C34878D82A}">
                    <a16:rowId xmlns:a16="http://schemas.microsoft.com/office/drawing/2014/main" val="933122265"/>
                  </a:ext>
                </a:extLst>
              </a:tr>
              <a:tr h="417624">
                <a:tc>
                  <a:txBody>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lang="es-ES" sz="1800" b="0" i="0" u="none" strike="noStrike" kern="1200" noProof="0" dirty="0">
                          <a:solidFill>
                            <a:srgbClr val="000000"/>
                          </a:solidFill>
                          <a:effectLst/>
                          <a:latin typeface="Arial" panose="020B0604020202020204" pitchFamily="34" charset="0"/>
                          <a:ea typeface="+mn-ea"/>
                          <a:cs typeface="+mn-cs"/>
                        </a:rPr>
                        <a:t>Formato en el nuevo definido en el marco del Proyecto de Gobierno Corporativo.</a:t>
                      </a:r>
                      <a:endParaRPr lang="es-CO" sz="1800" b="0" i="0" u="none" strike="noStrike" kern="1200" noProof="0" dirty="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8FCFC"/>
                    </a:solidFill>
                  </a:tcPr>
                </a:tc>
                <a:extLst>
                  <a:ext uri="{0D108BD9-81ED-4DB2-BD59-A6C34878D82A}">
                    <a16:rowId xmlns:a16="http://schemas.microsoft.com/office/drawing/2014/main" val="1101103390"/>
                  </a:ext>
                </a:extLst>
              </a:tr>
            </a:tbl>
          </a:graphicData>
        </a:graphic>
      </p:graphicFrame>
      <p:graphicFrame>
        <p:nvGraphicFramePr>
          <p:cNvPr id="16" name="Content Placeholder 18">
            <a:extLst>
              <a:ext uri="{FF2B5EF4-FFF2-40B4-BE49-F238E27FC236}">
                <a16:creationId xmlns:a16="http://schemas.microsoft.com/office/drawing/2014/main" id="{5D4BBD0F-5069-4E96-9460-B89DFC747D71}"/>
              </a:ext>
            </a:extLst>
          </p:cNvPr>
          <p:cNvGraphicFramePr>
            <a:graphicFrameLocks/>
          </p:cNvGraphicFramePr>
          <p:nvPr/>
        </p:nvGraphicFramePr>
        <p:xfrm>
          <a:off x="1537881" y="4165412"/>
          <a:ext cx="10008683" cy="1656296"/>
        </p:xfrm>
        <a:graphic>
          <a:graphicData uri="http://schemas.openxmlformats.org/drawingml/2006/table">
            <a:tbl>
              <a:tblPr firstRow="1" bandRow="1">
                <a:tableStyleId>{0660B408-B3CF-4A94-85FC-2B1E0A45F4A2}</a:tableStyleId>
              </a:tblPr>
              <a:tblGrid>
                <a:gridCol w="10008683">
                  <a:extLst>
                    <a:ext uri="{9D8B030D-6E8A-4147-A177-3AD203B41FA5}">
                      <a16:colId xmlns:a16="http://schemas.microsoft.com/office/drawing/2014/main" val="3319524955"/>
                    </a:ext>
                  </a:extLst>
                </a:gridCol>
              </a:tblGrid>
              <a:tr h="316854">
                <a:tc>
                  <a:txBody>
                    <a:bodyPr/>
                    <a:lstStyle/>
                    <a:p>
                      <a:pPr algn="ctr"/>
                      <a:r>
                        <a:rPr lang="es-CO" sz="2000" b="1" kern="1200" noProof="0">
                          <a:solidFill>
                            <a:srgbClr val="11496E"/>
                          </a:solidFill>
                          <a:latin typeface="Arial"/>
                          <a:ea typeface="+mn-ea"/>
                          <a:cs typeface="+mn-cs"/>
                        </a:rPr>
                        <a:t>Reglamento de Asamblea General de Accionista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D5DA41">
                        <a:alpha val="53333"/>
                      </a:srgbClr>
                    </a:solidFill>
                  </a:tcPr>
                </a:tc>
                <a:extLst>
                  <a:ext uri="{0D108BD9-81ED-4DB2-BD59-A6C34878D82A}">
                    <a16:rowId xmlns:a16="http://schemas.microsoft.com/office/drawing/2014/main" val="1169209815"/>
                  </a:ext>
                </a:extLst>
              </a:tr>
              <a:tr h="367755">
                <a:tc>
                  <a:txBody>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lang="es-ES" sz="1800" b="0" i="0" u="none" strike="noStrike" noProof="0">
                          <a:solidFill>
                            <a:srgbClr val="000000"/>
                          </a:solidFill>
                          <a:effectLst/>
                          <a:latin typeface="Arial" panose="020B0604020202020204" pitchFamily="34" charset="0"/>
                        </a:rPr>
                        <a:t>Eliminación de textos repetidos en estatutos para evitar duplicidad y posibles contradicciones.</a:t>
                      </a:r>
                      <a:endParaRPr lang="es-CO" sz="1800" b="0" i="0" u="none" strike="noStrike" noProof="0">
                        <a:solidFill>
                          <a:srgbClr val="000000"/>
                        </a:solidFill>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EEF3F5"/>
                    </a:solidFill>
                  </a:tcPr>
                </a:tc>
                <a:extLst>
                  <a:ext uri="{0D108BD9-81ED-4DB2-BD59-A6C34878D82A}">
                    <a16:rowId xmlns:a16="http://schemas.microsoft.com/office/drawing/2014/main" val="3527985233"/>
                  </a:ext>
                </a:extLst>
              </a:tr>
              <a:tr h="504825">
                <a:tc>
                  <a:txBody>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lang="es-ES" sz="1800" b="0" i="0" u="none" strike="noStrike" kern="1200" noProof="0">
                          <a:solidFill>
                            <a:srgbClr val="000000"/>
                          </a:solidFill>
                          <a:effectLst/>
                          <a:latin typeface="Arial" panose="020B0604020202020204" pitchFamily="34" charset="0"/>
                          <a:ea typeface="+mn-ea"/>
                          <a:cs typeface="+mn-cs"/>
                        </a:rPr>
                        <a:t>Claridad sobre la unidad de representación y de voto.</a:t>
                      </a:r>
                      <a:endParaRPr lang="es-CO" sz="1800" b="0" i="0" u="none" strike="noStrike" kern="1200" noProof="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8FCFC"/>
                    </a:solidFill>
                  </a:tcPr>
                </a:tc>
                <a:extLst>
                  <a:ext uri="{0D108BD9-81ED-4DB2-BD59-A6C34878D82A}">
                    <a16:rowId xmlns:a16="http://schemas.microsoft.com/office/drawing/2014/main" val="933122265"/>
                  </a:ext>
                </a:extLst>
              </a:tr>
              <a:tr h="387476">
                <a:tc>
                  <a:txBody>
                    <a:bodyPr/>
                    <a:lstStyle/>
                    <a:p>
                      <a:pPr marL="0" marR="0" lvl="0" indent="0" algn="just" defTabSz="914354" rtl="0" eaLnBrk="1" fontAlgn="auto" latinLnBrk="0" hangingPunct="1">
                        <a:lnSpc>
                          <a:spcPct val="100000"/>
                        </a:lnSpc>
                        <a:spcBef>
                          <a:spcPts val="0"/>
                        </a:spcBef>
                        <a:spcAft>
                          <a:spcPts val="0"/>
                        </a:spcAft>
                        <a:buClrTx/>
                        <a:buSzTx/>
                        <a:buFontTx/>
                        <a:buNone/>
                        <a:tabLst/>
                        <a:defRPr/>
                      </a:pPr>
                      <a:r>
                        <a:rPr lang="es-ES" sz="1800" b="0" i="0" u="none" strike="noStrike" kern="1200" noProof="0">
                          <a:solidFill>
                            <a:srgbClr val="000000"/>
                          </a:solidFill>
                          <a:effectLst/>
                          <a:latin typeface="Arial" panose="020B0604020202020204" pitchFamily="34" charset="0"/>
                          <a:ea typeface="+mn-ea"/>
                          <a:cs typeface="+mn-cs"/>
                        </a:rPr>
                        <a:t>Formato en el nuevo definido en el marco del Proyecto de Gobierno Corporativo.</a:t>
                      </a:r>
                      <a:endParaRPr lang="es-CO" sz="1800" b="0" i="0" u="none" strike="noStrike" kern="1200" noProof="0">
                        <a:solidFill>
                          <a:srgbClr val="000000"/>
                        </a:solidFill>
                        <a:effectLst/>
                        <a:latin typeface="Arial" panose="020B06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F3F5"/>
                    </a:solidFill>
                  </a:tcPr>
                </a:tc>
                <a:extLst>
                  <a:ext uri="{0D108BD9-81ED-4DB2-BD59-A6C34878D82A}">
                    <a16:rowId xmlns:a16="http://schemas.microsoft.com/office/drawing/2014/main" val="1101103390"/>
                  </a:ext>
                </a:extLst>
              </a:tr>
            </a:tbl>
          </a:graphicData>
        </a:graphic>
      </p:graphicFrame>
      <p:sp>
        <p:nvSpPr>
          <p:cNvPr id="18" name="CuadroTexto 17">
            <a:extLst>
              <a:ext uri="{FF2B5EF4-FFF2-40B4-BE49-F238E27FC236}">
                <a16:creationId xmlns:a16="http://schemas.microsoft.com/office/drawing/2014/main" id="{83B7C534-529F-4519-88B8-45BE1CCCDBE0}"/>
              </a:ext>
            </a:extLst>
          </p:cNvPr>
          <p:cNvSpPr txBox="1"/>
          <p:nvPr/>
        </p:nvSpPr>
        <p:spPr>
          <a:xfrm>
            <a:off x="845294" y="4475075"/>
            <a:ext cx="518400" cy="400110"/>
          </a:xfrm>
          <a:prstGeom prst="rect">
            <a:avLst/>
          </a:prstGeom>
          <a:solidFill>
            <a:srgbClr val="D5DA41"/>
          </a:solid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1.</a:t>
            </a:r>
            <a:endParaRPr kumimoji="0" lang="es-CO"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0" name="CuadroTexto 19">
            <a:extLst>
              <a:ext uri="{FF2B5EF4-FFF2-40B4-BE49-F238E27FC236}">
                <a16:creationId xmlns:a16="http://schemas.microsoft.com/office/drawing/2014/main" id="{403480A8-492D-4F93-8D46-94905F0CDFD8}"/>
              </a:ext>
            </a:extLst>
          </p:cNvPr>
          <p:cNvSpPr txBox="1"/>
          <p:nvPr/>
        </p:nvSpPr>
        <p:spPr>
          <a:xfrm>
            <a:off x="845294" y="4973141"/>
            <a:ext cx="518400" cy="400110"/>
          </a:xfrm>
          <a:prstGeom prst="rect">
            <a:avLst/>
          </a:prstGeom>
          <a:solidFill>
            <a:srgbClr val="D5DA41"/>
          </a:solid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2.</a:t>
            </a:r>
            <a:endParaRPr kumimoji="0" lang="es-CO"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2" name="CuadroTexto 21">
            <a:extLst>
              <a:ext uri="{FF2B5EF4-FFF2-40B4-BE49-F238E27FC236}">
                <a16:creationId xmlns:a16="http://schemas.microsoft.com/office/drawing/2014/main" id="{4D19C3B8-1FE2-4573-8FCE-E505886A5191}"/>
              </a:ext>
            </a:extLst>
          </p:cNvPr>
          <p:cNvSpPr txBox="1"/>
          <p:nvPr/>
        </p:nvSpPr>
        <p:spPr>
          <a:xfrm>
            <a:off x="845294" y="5447144"/>
            <a:ext cx="518400" cy="400110"/>
          </a:xfrm>
          <a:prstGeom prst="rect">
            <a:avLst/>
          </a:prstGeom>
          <a:solidFill>
            <a:srgbClr val="D5DA41"/>
          </a:solid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3.</a:t>
            </a:r>
            <a:endParaRPr kumimoji="0" lang="es-CO"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6" name="CuadroTexto 25">
            <a:extLst>
              <a:ext uri="{FF2B5EF4-FFF2-40B4-BE49-F238E27FC236}">
                <a16:creationId xmlns:a16="http://schemas.microsoft.com/office/drawing/2014/main" id="{6C197A61-16CE-45A1-A4EC-A2D9EBC522A6}"/>
              </a:ext>
            </a:extLst>
          </p:cNvPr>
          <p:cNvSpPr txBox="1"/>
          <p:nvPr/>
        </p:nvSpPr>
        <p:spPr>
          <a:xfrm>
            <a:off x="845294" y="1462345"/>
            <a:ext cx="518400" cy="400110"/>
          </a:xfrm>
          <a:prstGeom prst="rect">
            <a:avLst/>
          </a:prstGeom>
          <a:solidFill>
            <a:srgbClr val="D5DA41"/>
          </a:solid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1.</a:t>
            </a:r>
            <a:endParaRPr kumimoji="0" lang="es-CO"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8" name="CuadroTexto 27">
            <a:extLst>
              <a:ext uri="{FF2B5EF4-FFF2-40B4-BE49-F238E27FC236}">
                <a16:creationId xmlns:a16="http://schemas.microsoft.com/office/drawing/2014/main" id="{F6A39EDD-4AB2-4CDE-9781-439D59B8706D}"/>
              </a:ext>
            </a:extLst>
          </p:cNvPr>
          <p:cNvSpPr txBox="1"/>
          <p:nvPr/>
        </p:nvSpPr>
        <p:spPr>
          <a:xfrm>
            <a:off x="845294" y="2100741"/>
            <a:ext cx="518400" cy="400110"/>
          </a:xfrm>
          <a:prstGeom prst="rect">
            <a:avLst/>
          </a:prstGeom>
          <a:solidFill>
            <a:srgbClr val="D5DA41"/>
          </a:solid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2.</a:t>
            </a:r>
            <a:endParaRPr kumimoji="0" lang="es-CO"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30" name="CuadroTexto 29">
            <a:extLst>
              <a:ext uri="{FF2B5EF4-FFF2-40B4-BE49-F238E27FC236}">
                <a16:creationId xmlns:a16="http://schemas.microsoft.com/office/drawing/2014/main" id="{1B95667F-06E7-4C43-95A7-8F31DCEDA1B7}"/>
              </a:ext>
            </a:extLst>
          </p:cNvPr>
          <p:cNvSpPr txBox="1"/>
          <p:nvPr/>
        </p:nvSpPr>
        <p:spPr>
          <a:xfrm>
            <a:off x="845294" y="2705401"/>
            <a:ext cx="518400" cy="400110"/>
          </a:xfrm>
          <a:prstGeom prst="rect">
            <a:avLst/>
          </a:prstGeom>
          <a:solidFill>
            <a:srgbClr val="D5DA41"/>
          </a:solid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3.</a:t>
            </a:r>
            <a:endParaRPr kumimoji="0" lang="es-CO"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32" name="CuadroTexto 31">
            <a:extLst>
              <a:ext uri="{FF2B5EF4-FFF2-40B4-BE49-F238E27FC236}">
                <a16:creationId xmlns:a16="http://schemas.microsoft.com/office/drawing/2014/main" id="{73499DFB-4B17-4744-B739-07C38AA846BF}"/>
              </a:ext>
            </a:extLst>
          </p:cNvPr>
          <p:cNvSpPr txBox="1"/>
          <p:nvPr/>
        </p:nvSpPr>
        <p:spPr>
          <a:xfrm>
            <a:off x="845294" y="3240685"/>
            <a:ext cx="518400" cy="400110"/>
          </a:xfrm>
          <a:prstGeom prst="rect">
            <a:avLst/>
          </a:prstGeom>
          <a:solidFill>
            <a:srgbClr val="D5DA41"/>
          </a:solidFill>
        </p:spPr>
        <p:txBody>
          <a:bodyPr wrap="square" rtlCol="0" anchor="ctr" anchorCtr="1">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4.</a:t>
            </a:r>
            <a:endParaRPr kumimoji="0" lang="es-CO" sz="2000" b="1"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2" name="Título 3">
            <a:extLst>
              <a:ext uri="{FF2B5EF4-FFF2-40B4-BE49-F238E27FC236}">
                <a16:creationId xmlns:a16="http://schemas.microsoft.com/office/drawing/2014/main" id="{DA3E0F87-051D-4FAB-97B2-AA77D5BD2AB7}"/>
              </a:ext>
            </a:extLst>
          </p:cNvPr>
          <p:cNvSpPr txBox="1">
            <a:spLocks/>
          </p:cNvSpPr>
          <p:nvPr/>
        </p:nvSpPr>
        <p:spPr>
          <a:xfrm>
            <a:off x="231407" y="204160"/>
            <a:ext cx="11915623" cy="523220"/>
          </a:xfrm>
          <a:prstGeom prst="rect">
            <a:avLst/>
          </a:prstGeom>
          <a:noFill/>
          <a:ln>
            <a:noFill/>
          </a:ln>
        </p:spPr>
        <p:txBody>
          <a:bodyPr wrap="square" rtlCol="0">
            <a:spAutoFit/>
          </a:bodyPr>
          <a:lstStyle>
            <a:defPPr>
              <a:defRPr lang="es-CO"/>
            </a:defPPr>
            <a:lvl1pPr algn="ctr">
              <a:defRPr sz="2800" b="1">
                <a:solidFill>
                  <a:srgbClr val="10476B"/>
                </a:solidFill>
                <a:latin typeface="Century Gothic" panose="020B0502020202020204" pitchFamily="34" charset="0"/>
                <a:cs typeface="Arial" panose="020B0604020202020204" pitchFamily="34" charset="0"/>
              </a:defRPr>
            </a:lvl1pPr>
            <a:lvl2pPr defTabSz="685145" fontAlgn="base">
              <a:spcBef>
                <a:spcPct val="0"/>
              </a:spcBef>
              <a:spcAft>
                <a:spcPct val="0"/>
              </a:spcAft>
              <a:defRPr sz="1454" b="1">
                <a:solidFill>
                  <a:schemeClr val="tx2"/>
                </a:solidFill>
                <a:latin typeface="Arial" charset="0"/>
              </a:defRPr>
            </a:lvl2pPr>
            <a:lvl3pPr defTabSz="685145" fontAlgn="base">
              <a:spcBef>
                <a:spcPct val="0"/>
              </a:spcBef>
              <a:spcAft>
                <a:spcPct val="0"/>
              </a:spcAft>
              <a:defRPr sz="1454" b="1">
                <a:solidFill>
                  <a:schemeClr val="tx2"/>
                </a:solidFill>
                <a:latin typeface="Arial" charset="0"/>
              </a:defRPr>
            </a:lvl3pPr>
            <a:lvl4pPr defTabSz="685145" fontAlgn="base">
              <a:spcBef>
                <a:spcPct val="0"/>
              </a:spcBef>
              <a:spcAft>
                <a:spcPct val="0"/>
              </a:spcAft>
              <a:defRPr sz="1454" b="1">
                <a:solidFill>
                  <a:schemeClr val="tx2"/>
                </a:solidFill>
                <a:latin typeface="Arial" charset="0"/>
              </a:defRPr>
            </a:lvl4pPr>
            <a:lvl5pPr defTabSz="685145" fontAlgn="base">
              <a:spcBef>
                <a:spcPct val="0"/>
              </a:spcBef>
              <a:spcAft>
                <a:spcPct val="0"/>
              </a:spcAft>
              <a:defRPr sz="1454" b="1">
                <a:solidFill>
                  <a:schemeClr val="tx2"/>
                </a:solidFill>
                <a:latin typeface="Arial" charset="0"/>
              </a:defRPr>
            </a:lvl5pPr>
            <a:lvl6pPr marL="349861" defTabSz="685145" fontAlgn="base">
              <a:spcBef>
                <a:spcPct val="0"/>
              </a:spcBef>
              <a:spcAft>
                <a:spcPct val="0"/>
              </a:spcAft>
              <a:defRPr sz="1454" b="1">
                <a:solidFill>
                  <a:schemeClr val="tx2"/>
                </a:solidFill>
                <a:latin typeface="Arial" charset="0"/>
              </a:defRPr>
            </a:lvl6pPr>
            <a:lvl7pPr marL="699722" defTabSz="685145" fontAlgn="base">
              <a:spcBef>
                <a:spcPct val="0"/>
              </a:spcBef>
              <a:spcAft>
                <a:spcPct val="0"/>
              </a:spcAft>
              <a:defRPr sz="1454" b="1">
                <a:solidFill>
                  <a:schemeClr val="tx2"/>
                </a:solidFill>
                <a:latin typeface="Arial" charset="0"/>
              </a:defRPr>
            </a:lvl7pPr>
            <a:lvl8pPr marL="1049582" defTabSz="685145" fontAlgn="base">
              <a:spcBef>
                <a:spcPct val="0"/>
              </a:spcBef>
              <a:spcAft>
                <a:spcPct val="0"/>
              </a:spcAft>
              <a:defRPr sz="1454" b="1">
                <a:solidFill>
                  <a:schemeClr val="tx2"/>
                </a:solidFill>
                <a:latin typeface="Arial" charset="0"/>
              </a:defRPr>
            </a:lvl8pPr>
            <a:lvl9pPr marL="1399444" defTabSz="685145" fontAlgn="base">
              <a:spcBef>
                <a:spcPct val="0"/>
              </a:spcBef>
              <a:spcAft>
                <a:spcPct val="0"/>
              </a:spcAft>
              <a:defRPr sz="1454" b="1">
                <a:solidFill>
                  <a:schemeClr val="tx2"/>
                </a:solidFill>
                <a:latin typeface="Arial" charset="0"/>
              </a:defRPr>
            </a:lvl9pPr>
          </a:lstStyle>
          <a:p>
            <a:r>
              <a:rPr lang="es-ES"/>
              <a:t>Cambios relevantes en Reglamentos Asamblea y Junta Directiva</a:t>
            </a:r>
          </a:p>
        </p:txBody>
      </p:sp>
    </p:spTree>
    <p:extLst>
      <p:ext uri="{BB962C8B-B14F-4D97-AF65-F5344CB8AC3E}">
        <p14:creationId xmlns:p14="http://schemas.microsoft.com/office/powerpoint/2010/main" val="41214155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83">
            <a:extLst>
              <a:ext uri="{FF2B5EF4-FFF2-40B4-BE49-F238E27FC236}">
                <a16:creationId xmlns:a16="http://schemas.microsoft.com/office/drawing/2014/main" id="{D52FD195-FC31-4E4A-8A9E-6AFFFC3CEFE1}"/>
              </a:ext>
            </a:extLst>
          </p:cNvPr>
          <p:cNvSpPr txBox="1"/>
          <p:nvPr/>
        </p:nvSpPr>
        <p:spPr>
          <a:xfrm>
            <a:off x="3705739" y="888278"/>
            <a:ext cx="7467437" cy="615553"/>
          </a:xfrm>
          <a:prstGeom prst="rect">
            <a:avLst/>
          </a:prstGeom>
          <a:noFill/>
          <a:ln>
            <a:solidFill>
              <a:schemeClr val="bg2"/>
            </a:solidFill>
          </a:ln>
        </p:spPr>
        <p:txBody>
          <a:bodyPr wrap="square">
            <a:spAutoFit/>
          </a:bodyPr>
          <a:lstStyle/>
          <a:p>
            <a:pPr algn="just"/>
            <a:r>
              <a:rPr lang="es-CO" sz="1700" b="1">
                <a:solidFill>
                  <a:srgbClr val="10476B"/>
                </a:solidFill>
                <a:latin typeface="Arial" panose="020B0604020202020204" pitchFamily="34" charset="0"/>
                <a:cs typeface="Arial" panose="020B0604020202020204" pitchFamily="34" charset="0"/>
              </a:rPr>
              <a:t>Guía</a:t>
            </a:r>
            <a:r>
              <a:rPr lang="es-CO" sz="1700">
                <a:solidFill>
                  <a:srgbClr val="10476B"/>
                </a:solidFill>
                <a:latin typeface="Arial" panose="020B0604020202020204" pitchFamily="34" charset="0"/>
                <a:cs typeface="Arial" panose="020B0604020202020204" pitchFamily="34" charset="0"/>
              </a:rPr>
              <a:t> para la Gestión de Comités y RAR* en CENIT (definición, gestión, formatos de reglamentación y eliminación/fusión).</a:t>
            </a:r>
          </a:p>
        </p:txBody>
      </p:sp>
      <p:sp>
        <p:nvSpPr>
          <p:cNvPr id="3" name="CuadroTexto 107">
            <a:extLst>
              <a:ext uri="{FF2B5EF4-FFF2-40B4-BE49-F238E27FC236}">
                <a16:creationId xmlns:a16="http://schemas.microsoft.com/office/drawing/2014/main" id="{AD2B7309-9475-DE43-B959-B4062BC69997}"/>
              </a:ext>
            </a:extLst>
          </p:cNvPr>
          <p:cNvSpPr txBox="1"/>
          <p:nvPr/>
        </p:nvSpPr>
        <p:spPr>
          <a:xfrm>
            <a:off x="3699081" y="1611289"/>
            <a:ext cx="7474095" cy="615553"/>
          </a:xfrm>
          <a:prstGeom prst="rect">
            <a:avLst/>
          </a:prstGeom>
          <a:noFill/>
          <a:ln>
            <a:solidFill>
              <a:schemeClr val="bg2"/>
            </a:solidFill>
          </a:ln>
        </p:spPr>
        <p:txBody>
          <a:bodyPr wrap="square">
            <a:spAutoFit/>
          </a:bodyPr>
          <a:lstStyle/>
          <a:p>
            <a:pPr algn="just"/>
            <a:r>
              <a:rPr lang="es-CO" sz="1700" b="1">
                <a:solidFill>
                  <a:srgbClr val="10476B"/>
                </a:solidFill>
                <a:latin typeface="Arial" panose="020B0604020202020204" pitchFamily="34" charset="0"/>
                <a:cs typeface="Arial" panose="020B0604020202020204" pitchFamily="34" charset="0"/>
              </a:rPr>
              <a:t>Inventario</a:t>
            </a:r>
            <a:r>
              <a:rPr lang="es-CO" sz="1700">
                <a:solidFill>
                  <a:srgbClr val="10476B"/>
                </a:solidFill>
                <a:latin typeface="Arial" panose="020B0604020202020204" pitchFamily="34" charset="0"/>
                <a:cs typeface="Arial" panose="020B0604020202020204" pitchFamily="34" charset="0"/>
              </a:rPr>
              <a:t> de Comités y RAR con su </a:t>
            </a:r>
            <a:r>
              <a:rPr lang="es-CO" sz="1700" b="1">
                <a:solidFill>
                  <a:srgbClr val="10476B"/>
                </a:solidFill>
                <a:latin typeface="Arial" panose="020B0604020202020204" pitchFamily="34" charset="0"/>
                <a:cs typeface="Arial" panose="020B0604020202020204" pitchFamily="34" charset="0"/>
              </a:rPr>
              <a:t>reglamentación </a:t>
            </a:r>
            <a:r>
              <a:rPr lang="es-CO" sz="1700">
                <a:solidFill>
                  <a:srgbClr val="10476B"/>
                </a:solidFill>
                <a:latin typeface="Arial" panose="020B0604020202020204" pitchFamily="34" charset="0"/>
                <a:cs typeface="Arial" panose="020B0604020202020204" pitchFamily="34" charset="0"/>
              </a:rPr>
              <a:t>– </a:t>
            </a:r>
            <a:r>
              <a:rPr lang="es-CO" sz="1700" b="1">
                <a:solidFill>
                  <a:srgbClr val="10476B"/>
                </a:solidFill>
                <a:latin typeface="Arial" panose="020B0604020202020204" pitchFamily="34" charset="0"/>
                <a:cs typeface="Arial" panose="020B0604020202020204" pitchFamily="34" charset="0"/>
              </a:rPr>
              <a:t>Optimización </a:t>
            </a:r>
            <a:r>
              <a:rPr lang="es-CO" sz="1700">
                <a:solidFill>
                  <a:srgbClr val="10476B"/>
                </a:solidFill>
                <a:latin typeface="Arial" panose="020B0604020202020204" pitchFamily="34" charset="0"/>
                <a:cs typeface="Arial" panose="020B0604020202020204" pitchFamily="34" charset="0"/>
              </a:rPr>
              <a:t>del tiempo de la Alta Dirección.</a:t>
            </a:r>
            <a:endParaRPr lang="es-CO" sz="1700" b="1">
              <a:solidFill>
                <a:srgbClr val="10476B"/>
              </a:solidFill>
              <a:latin typeface="Arial" panose="020B0604020202020204" pitchFamily="34" charset="0"/>
              <a:cs typeface="Arial" panose="020B0604020202020204" pitchFamily="34" charset="0"/>
            </a:endParaRPr>
          </a:p>
        </p:txBody>
      </p:sp>
      <p:pic>
        <p:nvPicPr>
          <p:cNvPr id="23" name="Picture 22" descr="A close up of a sign&#10;&#10;Description automatically generated">
            <a:extLst>
              <a:ext uri="{FF2B5EF4-FFF2-40B4-BE49-F238E27FC236}">
                <a16:creationId xmlns:a16="http://schemas.microsoft.com/office/drawing/2014/main" id="{3E7C3733-DE7C-3A4C-8534-D6859C8C1E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7889" y="506797"/>
            <a:ext cx="2562373" cy="2554814"/>
          </a:xfrm>
          <a:prstGeom prst="rect">
            <a:avLst/>
          </a:prstGeom>
        </p:spPr>
      </p:pic>
      <p:sp>
        <p:nvSpPr>
          <p:cNvPr id="24" name="CuadroTexto 47">
            <a:extLst>
              <a:ext uri="{FF2B5EF4-FFF2-40B4-BE49-F238E27FC236}">
                <a16:creationId xmlns:a16="http://schemas.microsoft.com/office/drawing/2014/main" id="{12C6E26F-1E97-A540-AE0D-1C4573D5FAF5}"/>
              </a:ext>
            </a:extLst>
          </p:cNvPr>
          <p:cNvSpPr txBox="1"/>
          <p:nvPr/>
        </p:nvSpPr>
        <p:spPr>
          <a:xfrm>
            <a:off x="3278004" y="176405"/>
            <a:ext cx="4217623" cy="523220"/>
          </a:xfrm>
          <a:prstGeom prst="rect">
            <a:avLst/>
          </a:prstGeom>
          <a:noFill/>
          <a:ln>
            <a:noFill/>
          </a:ln>
        </p:spPr>
        <p:txBody>
          <a:bodyPr wrap="square" rtlCol="0">
            <a:spAutoFit/>
          </a:bodyPr>
          <a:lstStyle/>
          <a:p>
            <a:pPr algn="ctr"/>
            <a:r>
              <a:rPr lang="es-ES" sz="2800" b="1">
                <a:solidFill>
                  <a:srgbClr val="10476B"/>
                </a:solidFill>
                <a:latin typeface="Century Gothic" panose="020B0502020202020204" pitchFamily="34" charset="0"/>
                <a:cs typeface="Arial" panose="020B0604020202020204" pitchFamily="34" charset="0"/>
              </a:rPr>
              <a:t>Comités y RAR*</a:t>
            </a:r>
            <a:endParaRPr lang="es-CO" sz="2800" b="1">
              <a:solidFill>
                <a:srgbClr val="10476B"/>
              </a:solidFill>
              <a:latin typeface="Century Gothic" panose="020B0502020202020204" pitchFamily="34" charset="0"/>
              <a:cs typeface="Arial" panose="020B0604020202020204" pitchFamily="34" charset="0"/>
            </a:endParaRPr>
          </a:p>
        </p:txBody>
      </p:sp>
      <p:sp>
        <p:nvSpPr>
          <p:cNvPr id="4" name="Rectángulo 3">
            <a:extLst>
              <a:ext uri="{FF2B5EF4-FFF2-40B4-BE49-F238E27FC236}">
                <a16:creationId xmlns:a16="http://schemas.microsoft.com/office/drawing/2014/main" id="{C94E72A8-C38B-469E-B3D9-53D0D01A0536}"/>
              </a:ext>
            </a:extLst>
          </p:cNvPr>
          <p:cNvSpPr/>
          <p:nvPr/>
        </p:nvSpPr>
        <p:spPr>
          <a:xfrm>
            <a:off x="747493" y="3518297"/>
            <a:ext cx="1284398" cy="258110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5" name="Rectángulo 4">
            <a:extLst>
              <a:ext uri="{FF2B5EF4-FFF2-40B4-BE49-F238E27FC236}">
                <a16:creationId xmlns:a16="http://schemas.microsoft.com/office/drawing/2014/main" id="{3614627F-5836-4EDD-9D2A-35841B0DCBCD}"/>
              </a:ext>
            </a:extLst>
          </p:cNvPr>
          <p:cNvSpPr/>
          <p:nvPr/>
        </p:nvSpPr>
        <p:spPr>
          <a:xfrm>
            <a:off x="2064089" y="3518297"/>
            <a:ext cx="1284398" cy="258110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cxnSp>
        <p:nvCxnSpPr>
          <p:cNvPr id="7" name="Conector recto 6">
            <a:extLst>
              <a:ext uri="{FF2B5EF4-FFF2-40B4-BE49-F238E27FC236}">
                <a16:creationId xmlns:a16="http://schemas.microsoft.com/office/drawing/2014/main" id="{52DE03C0-966C-406B-B412-A4093B63BD34}"/>
              </a:ext>
            </a:extLst>
          </p:cNvPr>
          <p:cNvCxnSpPr/>
          <p:nvPr/>
        </p:nvCxnSpPr>
        <p:spPr>
          <a:xfrm>
            <a:off x="2045348" y="3759634"/>
            <a:ext cx="0" cy="258110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Conector recto 12">
            <a:extLst>
              <a:ext uri="{FF2B5EF4-FFF2-40B4-BE49-F238E27FC236}">
                <a16:creationId xmlns:a16="http://schemas.microsoft.com/office/drawing/2014/main" id="{C19DCFED-F16B-4B2F-81B3-6483DD1F9366}"/>
              </a:ext>
            </a:extLst>
          </p:cNvPr>
          <p:cNvCxnSpPr>
            <a:cxnSpLocks/>
          </p:cNvCxnSpPr>
          <p:nvPr/>
        </p:nvCxnSpPr>
        <p:spPr>
          <a:xfrm flipH="1">
            <a:off x="760950" y="4220194"/>
            <a:ext cx="2569294"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CuadroTexto 10">
            <a:extLst>
              <a:ext uri="{FF2B5EF4-FFF2-40B4-BE49-F238E27FC236}">
                <a16:creationId xmlns:a16="http://schemas.microsoft.com/office/drawing/2014/main" id="{E908EA48-9D71-41B9-8619-E53BF962401E}"/>
              </a:ext>
            </a:extLst>
          </p:cNvPr>
          <p:cNvSpPr txBox="1"/>
          <p:nvPr/>
        </p:nvSpPr>
        <p:spPr>
          <a:xfrm>
            <a:off x="834018" y="4146974"/>
            <a:ext cx="1111348" cy="984885"/>
          </a:xfrm>
          <a:prstGeom prst="rect">
            <a:avLst/>
          </a:prstGeom>
          <a:noFill/>
        </p:spPr>
        <p:txBody>
          <a:bodyPr wrap="square" rtlCol="0">
            <a:spAutoFit/>
          </a:bodyPr>
          <a:lstStyle/>
          <a:p>
            <a:pPr algn="ctr"/>
            <a:r>
              <a:rPr lang="es-ES" sz="4000" b="1">
                <a:solidFill>
                  <a:srgbClr val="99CC00"/>
                </a:solidFill>
                <a:latin typeface="Arial" panose="020B0604020202020204" pitchFamily="34" charset="0"/>
                <a:cs typeface="Arial" panose="020B0604020202020204" pitchFamily="34" charset="0"/>
              </a:rPr>
              <a:t>60</a:t>
            </a:r>
            <a:r>
              <a:rPr lang="es-ES" b="1">
                <a:solidFill>
                  <a:srgbClr val="99CC00"/>
                </a:solidFill>
                <a:latin typeface="Arial" panose="020B0604020202020204" pitchFamily="34" charset="0"/>
                <a:cs typeface="Arial" panose="020B0604020202020204" pitchFamily="34" charset="0"/>
              </a:rPr>
              <a:t> </a:t>
            </a:r>
            <a:br>
              <a:rPr lang="es-ES" b="1">
                <a:solidFill>
                  <a:srgbClr val="99CC00"/>
                </a:solidFill>
                <a:latin typeface="Arial" panose="020B0604020202020204" pitchFamily="34" charset="0"/>
                <a:cs typeface="Arial" panose="020B0604020202020204" pitchFamily="34" charset="0"/>
              </a:rPr>
            </a:br>
            <a:r>
              <a:rPr lang="es-ES">
                <a:solidFill>
                  <a:srgbClr val="10476B"/>
                </a:solidFill>
                <a:latin typeface="Arial" panose="020B0604020202020204" pitchFamily="34" charset="0"/>
                <a:cs typeface="Arial" panose="020B0604020202020204" pitchFamily="34" charset="0"/>
              </a:rPr>
              <a:t>Comités</a:t>
            </a:r>
            <a:endParaRPr lang="es-CO">
              <a:solidFill>
                <a:srgbClr val="10476B"/>
              </a:solidFill>
              <a:latin typeface="Arial" panose="020B0604020202020204" pitchFamily="34" charset="0"/>
              <a:cs typeface="Arial" panose="020B0604020202020204" pitchFamily="34" charset="0"/>
            </a:endParaRPr>
          </a:p>
        </p:txBody>
      </p:sp>
      <p:sp>
        <p:nvSpPr>
          <p:cNvPr id="12" name="CuadroTexto 11">
            <a:extLst>
              <a:ext uri="{FF2B5EF4-FFF2-40B4-BE49-F238E27FC236}">
                <a16:creationId xmlns:a16="http://schemas.microsoft.com/office/drawing/2014/main" id="{CA6FCCC0-0489-494F-B3BD-D11327D8EF04}"/>
              </a:ext>
            </a:extLst>
          </p:cNvPr>
          <p:cNvSpPr txBox="1"/>
          <p:nvPr/>
        </p:nvSpPr>
        <p:spPr>
          <a:xfrm>
            <a:off x="834018" y="5037991"/>
            <a:ext cx="1111348" cy="984885"/>
          </a:xfrm>
          <a:prstGeom prst="rect">
            <a:avLst/>
          </a:prstGeom>
          <a:noFill/>
        </p:spPr>
        <p:txBody>
          <a:bodyPr wrap="square" rtlCol="0">
            <a:spAutoFit/>
          </a:bodyPr>
          <a:lstStyle/>
          <a:p>
            <a:pPr algn="ctr"/>
            <a:r>
              <a:rPr lang="es-ES" sz="4000" b="1">
                <a:solidFill>
                  <a:srgbClr val="99CC00"/>
                </a:solidFill>
                <a:latin typeface="Arial" panose="020B0604020202020204" pitchFamily="34" charset="0"/>
                <a:cs typeface="Arial" panose="020B0604020202020204" pitchFamily="34" charset="0"/>
              </a:rPr>
              <a:t>0</a:t>
            </a:r>
            <a:r>
              <a:rPr lang="es-ES" b="1">
                <a:solidFill>
                  <a:srgbClr val="99CC00"/>
                </a:solidFill>
                <a:latin typeface="Arial" panose="020B0604020202020204" pitchFamily="34" charset="0"/>
                <a:cs typeface="Arial" panose="020B0604020202020204" pitchFamily="34" charset="0"/>
              </a:rPr>
              <a:t> </a:t>
            </a:r>
            <a:br>
              <a:rPr lang="es-ES" b="1">
                <a:solidFill>
                  <a:srgbClr val="99CC00"/>
                </a:solidFill>
                <a:latin typeface="Arial" panose="020B0604020202020204" pitchFamily="34" charset="0"/>
                <a:cs typeface="Arial" panose="020B0604020202020204" pitchFamily="34" charset="0"/>
              </a:rPr>
            </a:br>
            <a:r>
              <a:rPr lang="es-ES">
                <a:solidFill>
                  <a:srgbClr val="10476B"/>
                </a:solidFill>
                <a:latin typeface="Arial" panose="020B0604020202020204" pitchFamily="34" charset="0"/>
                <a:cs typeface="Arial" panose="020B0604020202020204" pitchFamily="34" charset="0"/>
              </a:rPr>
              <a:t>RAR</a:t>
            </a:r>
            <a:endParaRPr lang="es-CO">
              <a:solidFill>
                <a:srgbClr val="10476B"/>
              </a:solidFill>
              <a:latin typeface="Arial" panose="020B0604020202020204" pitchFamily="34" charset="0"/>
              <a:cs typeface="Arial" panose="020B0604020202020204" pitchFamily="34" charset="0"/>
            </a:endParaRPr>
          </a:p>
        </p:txBody>
      </p:sp>
      <p:sp>
        <p:nvSpPr>
          <p:cNvPr id="14" name="CuadroTexto 13">
            <a:extLst>
              <a:ext uri="{FF2B5EF4-FFF2-40B4-BE49-F238E27FC236}">
                <a16:creationId xmlns:a16="http://schemas.microsoft.com/office/drawing/2014/main" id="{2CE3ED3A-DE01-4E16-A5DF-2140E74ACF8E}"/>
              </a:ext>
            </a:extLst>
          </p:cNvPr>
          <p:cNvSpPr txBox="1"/>
          <p:nvPr/>
        </p:nvSpPr>
        <p:spPr>
          <a:xfrm>
            <a:off x="2109330" y="5091897"/>
            <a:ext cx="1111348" cy="984885"/>
          </a:xfrm>
          <a:prstGeom prst="rect">
            <a:avLst/>
          </a:prstGeom>
          <a:noFill/>
        </p:spPr>
        <p:txBody>
          <a:bodyPr wrap="square" rtlCol="0">
            <a:spAutoFit/>
          </a:bodyPr>
          <a:lstStyle/>
          <a:p>
            <a:pPr algn="ctr"/>
            <a:r>
              <a:rPr lang="es-ES" sz="4000" b="1">
                <a:solidFill>
                  <a:srgbClr val="99CC00"/>
                </a:solidFill>
                <a:latin typeface="Arial" panose="020B0604020202020204" pitchFamily="34" charset="0"/>
                <a:cs typeface="Arial" panose="020B0604020202020204" pitchFamily="34" charset="0"/>
              </a:rPr>
              <a:t>13</a:t>
            </a:r>
            <a:r>
              <a:rPr lang="es-ES" b="1">
                <a:solidFill>
                  <a:srgbClr val="99CC00"/>
                </a:solidFill>
                <a:latin typeface="Arial" panose="020B0604020202020204" pitchFamily="34" charset="0"/>
                <a:cs typeface="Arial" panose="020B0604020202020204" pitchFamily="34" charset="0"/>
              </a:rPr>
              <a:t> </a:t>
            </a:r>
            <a:br>
              <a:rPr lang="es-ES" b="1">
                <a:solidFill>
                  <a:srgbClr val="99CC00"/>
                </a:solidFill>
                <a:latin typeface="Arial" panose="020B0604020202020204" pitchFamily="34" charset="0"/>
                <a:cs typeface="Arial" panose="020B0604020202020204" pitchFamily="34" charset="0"/>
              </a:rPr>
            </a:br>
            <a:r>
              <a:rPr lang="es-ES">
                <a:solidFill>
                  <a:srgbClr val="10476B"/>
                </a:solidFill>
                <a:latin typeface="Arial" panose="020B0604020202020204" pitchFamily="34" charset="0"/>
                <a:cs typeface="Arial" panose="020B0604020202020204" pitchFamily="34" charset="0"/>
              </a:rPr>
              <a:t>RAR</a:t>
            </a:r>
            <a:endParaRPr lang="es-CO">
              <a:solidFill>
                <a:srgbClr val="10476B"/>
              </a:solidFill>
              <a:latin typeface="Arial" panose="020B0604020202020204" pitchFamily="34" charset="0"/>
              <a:cs typeface="Arial" panose="020B0604020202020204" pitchFamily="34" charset="0"/>
            </a:endParaRPr>
          </a:p>
        </p:txBody>
      </p:sp>
      <p:sp>
        <p:nvSpPr>
          <p:cNvPr id="15" name="CuadroTexto 14">
            <a:extLst>
              <a:ext uri="{FF2B5EF4-FFF2-40B4-BE49-F238E27FC236}">
                <a16:creationId xmlns:a16="http://schemas.microsoft.com/office/drawing/2014/main" id="{11DE0C5E-DF7A-4FFF-8D04-1A849954E4E4}"/>
              </a:ext>
            </a:extLst>
          </p:cNvPr>
          <p:cNvSpPr txBox="1"/>
          <p:nvPr/>
        </p:nvSpPr>
        <p:spPr>
          <a:xfrm>
            <a:off x="2166656" y="4218400"/>
            <a:ext cx="1111348" cy="984885"/>
          </a:xfrm>
          <a:prstGeom prst="rect">
            <a:avLst/>
          </a:prstGeom>
          <a:noFill/>
        </p:spPr>
        <p:txBody>
          <a:bodyPr wrap="square" rtlCol="0">
            <a:spAutoFit/>
          </a:bodyPr>
          <a:lstStyle/>
          <a:p>
            <a:pPr algn="ctr"/>
            <a:r>
              <a:rPr lang="es-ES" sz="4000" b="1">
                <a:solidFill>
                  <a:srgbClr val="99CC00"/>
                </a:solidFill>
                <a:latin typeface="Arial" panose="020B0604020202020204" pitchFamily="34" charset="0"/>
                <a:cs typeface="Arial" panose="020B0604020202020204" pitchFamily="34" charset="0"/>
              </a:rPr>
              <a:t>27</a:t>
            </a:r>
            <a:r>
              <a:rPr lang="es-ES" b="1">
                <a:solidFill>
                  <a:srgbClr val="99CC00"/>
                </a:solidFill>
                <a:latin typeface="Arial" panose="020B0604020202020204" pitchFamily="34" charset="0"/>
                <a:cs typeface="Arial" panose="020B0604020202020204" pitchFamily="34" charset="0"/>
              </a:rPr>
              <a:t> </a:t>
            </a:r>
            <a:br>
              <a:rPr lang="es-ES" b="1">
                <a:solidFill>
                  <a:srgbClr val="99CC00"/>
                </a:solidFill>
                <a:latin typeface="Arial" panose="020B0604020202020204" pitchFamily="34" charset="0"/>
                <a:cs typeface="Arial" panose="020B0604020202020204" pitchFamily="34" charset="0"/>
              </a:rPr>
            </a:br>
            <a:r>
              <a:rPr lang="es-ES">
                <a:solidFill>
                  <a:srgbClr val="10476B"/>
                </a:solidFill>
                <a:latin typeface="Arial" panose="020B0604020202020204" pitchFamily="34" charset="0"/>
                <a:cs typeface="Arial" panose="020B0604020202020204" pitchFamily="34" charset="0"/>
              </a:rPr>
              <a:t>Comités</a:t>
            </a:r>
            <a:endParaRPr lang="es-CO">
              <a:solidFill>
                <a:srgbClr val="10476B"/>
              </a:solidFill>
              <a:latin typeface="Arial" panose="020B0604020202020204" pitchFamily="34" charset="0"/>
              <a:cs typeface="Arial" panose="020B0604020202020204" pitchFamily="34" charset="0"/>
            </a:endParaRPr>
          </a:p>
        </p:txBody>
      </p:sp>
      <p:sp>
        <p:nvSpPr>
          <p:cNvPr id="16" name="CuadroTexto 15">
            <a:extLst>
              <a:ext uri="{FF2B5EF4-FFF2-40B4-BE49-F238E27FC236}">
                <a16:creationId xmlns:a16="http://schemas.microsoft.com/office/drawing/2014/main" id="{87107B41-3A93-4392-9C16-CA0B6493B319}"/>
              </a:ext>
            </a:extLst>
          </p:cNvPr>
          <p:cNvSpPr txBox="1"/>
          <p:nvPr/>
        </p:nvSpPr>
        <p:spPr>
          <a:xfrm>
            <a:off x="807727" y="3611360"/>
            <a:ext cx="1111348" cy="369332"/>
          </a:xfrm>
          <a:prstGeom prst="rect">
            <a:avLst/>
          </a:prstGeom>
          <a:noFill/>
        </p:spPr>
        <p:txBody>
          <a:bodyPr wrap="square" rtlCol="0">
            <a:spAutoFit/>
          </a:bodyPr>
          <a:lstStyle/>
          <a:p>
            <a:pPr algn="ctr"/>
            <a:r>
              <a:rPr lang="es-ES">
                <a:solidFill>
                  <a:srgbClr val="10476B"/>
                </a:solidFill>
                <a:latin typeface="Arial" panose="020B0604020202020204" pitchFamily="34" charset="0"/>
                <a:cs typeface="Arial" panose="020B0604020202020204" pitchFamily="34" charset="0"/>
              </a:rPr>
              <a:t>Antes</a:t>
            </a:r>
            <a:endParaRPr lang="es-CO">
              <a:solidFill>
                <a:srgbClr val="10476B"/>
              </a:solidFill>
              <a:latin typeface="Arial" panose="020B0604020202020204" pitchFamily="34" charset="0"/>
              <a:cs typeface="Arial" panose="020B0604020202020204" pitchFamily="34" charset="0"/>
            </a:endParaRPr>
          </a:p>
        </p:txBody>
      </p:sp>
      <p:sp>
        <p:nvSpPr>
          <p:cNvPr id="18" name="CuadroTexto 17">
            <a:extLst>
              <a:ext uri="{FF2B5EF4-FFF2-40B4-BE49-F238E27FC236}">
                <a16:creationId xmlns:a16="http://schemas.microsoft.com/office/drawing/2014/main" id="{4A3BCF6B-6434-4000-8A8B-288B2674D42C}"/>
              </a:ext>
            </a:extLst>
          </p:cNvPr>
          <p:cNvSpPr txBox="1"/>
          <p:nvPr/>
        </p:nvSpPr>
        <p:spPr>
          <a:xfrm>
            <a:off x="2166656" y="3562434"/>
            <a:ext cx="1111348" cy="369332"/>
          </a:xfrm>
          <a:prstGeom prst="rect">
            <a:avLst/>
          </a:prstGeom>
          <a:noFill/>
        </p:spPr>
        <p:txBody>
          <a:bodyPr wrap="square" rtlCol="0">
            <a:spAutoFit/>
          </a:bodyPr>
          <a:lstStyle/>
          <a:p>
            <a:pPr algn="ctr"/>
            <a:r>
              <a:rPr lang="es-ES">
                <a:solidFill>
                  <a:srgbClr val="10476B"/>
                </a:solidFill>
                <a:latin typeface="Arial" panose="020B0604020202020204" pitchFamily="34" charset="0"/>
                <a:cs typeface="Arial" panose="020B0604020202020204" pitchFamily="34" charset="0"/>
              </a:rPr>
              <a:t>Hoy</a:t>
            </a:r>
            <a:endParaRPr lang="es-CO">
              <a:solidFill>
                <a:srgbClr val="10476B"/>
              </a:solidFill>
              <a:latin typeface="Arial" panose="020B0604020202020204" pitchFamily="34" charset="0"/>
              <a:cs typeface="Arial" panose="020B0604020202020204" pitchFamily="34" charset="0"/>
            </a:endParaRPr>
          </a:p>
        </p:txBody>
      </p:sp>
      <p:sp>
        <p:nvSpPr>
          <p:cNvPr id="9" name="CuadroTexto 44">
            <a:extLst>
              <a:ext uri="{FF2B5EF4-FFF2-40B4-BE49-F238E27FC236}">
                <a16:creationId xmlns:a16="http://schemas.microsoft.com/office/drawing/2014/main" id="{A217AF25-B5D9-4E79-A590-03BC149292DB}"/>
              </a:ext>
            </a:extLst>
          </p:cNvPr>
          <p:cNvSpPr txBox="1"/>
          <p:nvPr/>
        </p:nvSpPr>
        <p:spPr>
          <a:xfrm>
            <a:off x="7277126" y="48609"/>
            <a:ext cx="1593044" cy="707886"/>
          </a:xfrm>
          <a:prstGeom prst="rect">
            <a:avLst/>
          </a:prstGeom>
          <a:noFill/>
          <a:ln>
            <a:noFill/>
          </a:ln>
        </p:spPr>
        <p:txBody>
          <a:bodyPr wrap="square" rtlCol="0">
            <a:spAutoFit/>
          </a:bodyPr>
          <a:lstStyle>
            <a:defPPr>
              <a:defRPr lang="es-CO"/>
            </a:defPPr>
            <a:lvl1pPr algn="ctr">
              <a:defRPr sz="1600" b="1" u="sng">
                <a:solidFill>
                  <a:srgbClr val="4A8347"/>
                </a:solidFill>
                <a:latin typeface="Arial" panose="020B0604020202020204" pitchFamily="34" charset="0"/>
                <a:cs typeface="Arial" panose="020B0604020202020204" pitchFamily="34" charset="0"/>
              </a:defRPr>
            </a:lvl1pPr>
          </a:lstStyle>
          <a:p>
            <a:r>
              <a:rPr lang="es-ES" sz="4000"/>
              <a:t>100%</a:t>
            </a:r>
            <a:endParaRPr lang="es-CO" sz="4000"/>
          </a:p>
        </p:txBody>
      </p:sp>
      <p:sp>
        <p:nvSpPr>
          <p:cNvPr id="22" name="CuadroTexto 21">
            <a:extLst>
              <a:ext uri="{FF2B5EF4-FFF2-40B4-BE49-F238E27FC236}">
                <a16:creationId xmlns:a16="http://schemas.microsoft.com/office/drawing/2014/main" id="{9018B24E-9E13-40A8-BF16-9F308CDE2D5C}"/>
              </a:ext>
            </a:extLst>
          </p:cNvPr>
          <p:cNvSpPr txBox="1"/>
          <p:nvPr/>
        </p:nvSpPr>
        <p:spPr>
          <a:xfrm>
            <a:off x="183827" y="6288039"/>
            <a:ext cx="7940842" cy="600164"/>
          </a:xfrm>
          <a:prstGeom prst="rect">
            <a:avLst/>
          </a:prstGeom>
          <a:noFill/>
        </p:spPr>
        <p:txBody>
          <a:bodyPr wrap="square">
            <a:spAutoFit/>
          </a:bodyPr>
          <a:lstStyle/>
          <a:p>
            <a:pPr marL="171450" indent="-171450">
              <a:buFont typeface="Arial" panose="020B0604020202020204" pitchFamily="34" charset="0"/>
              <a:buChar char="•"/>
            </a:pPr>
            <a:r>
              <a:rPr lang="es-CO" sz="1100" b="0">
                <a:solidFill>
                  <a:srgbClr val="10476B"/>
                </a:solidFill>
                <a:latin typeface="Arial" panose="020B0604020202020204" pitchFamily="34" charset="0"/>
                <a:cs typeface="Arial" panose="020B0604020202020204" pitchFamily="34" charset="0"/>
              </a:rPr>
              <a:t>*Reuniones de Alineación y Relacionamiento</a:t>
            </a:r>
          </a:p>
          <a:p>
            <a:pPr marL="171450" indent="-171450">
              <a:buFont typeface="Arial" panose="020B0604020202020204" pitchFamily="34" charset="0"/>
              <a:buChar char="•"/>
            </a:pPr>
            <a:r>
              <a:rPr lang="es-CO" sz="1100">
                <a:solidFill>
                  <a:srgbClr val="10476B"/>
                </a:solidFill>
                <a:latin typeface="Arial" panose="020B0604020202020204" pitchFamily="34" charset="0"/>
                <a:cs typeface="Arial" panose="020B0604020202020204" pitchFamily="34" charset="0"/>
              </a:rPr>
              <a:t>No se pueden crear, modificar, eliminar, Comités / RAR (incluyendo reglamentos y reglas y principios) sin validación previa de la SEG Cenit</a:t>
            </a:r>
            <a:r>
              <a:rPr lang="es-CO" sz="1100" b="0">
                <a:solidFill>
                  <a:srgbClr val="10476B"/>
                </a:solidFill>
                <a:latin typeface="Arial" panose="020B0604020202020204" pitchFamily="34" charset="0"/>
                <a:cs typeface="Arial" panose="020B0604020202020204" pitchFamily="34" charset="0"/>
              </a:rPr>
              <a:t> </a:t>
            </a:r>
            <a:endParaRPr lang="es-CO" sz="1100" b="0"/>
          </a:p>
        </p:txBody>
      </p:sp>
      <p:sp>
        <p:nvSpPr>
          <p:cNvPr id="6" name="Oval 98">
            <a:extLst>
              <a:ext uri="{FF2B5EF4-FFF2-40B4-BE49-F238E27FC236}">
                <a16:creationId xmlns:a16="http://schemas.microsoft.com/office/drawing/2014/main" id="{6A18C77A-DE43-47DD-A220-C9425E31C189}"/>
              </a:ext>
            </a:extLst>
          </p:cNvPr>
          <p:cNvSpPr/>
          <p:nvPr/>
        </p:nvSpPr>
        <p:spPr>
          <a:xfrm>
            <a:off x="1115270" y="1930677"/>
            <a:ext cx="548470" cy="548470"/>
          </a:xfrm>
          <a:prstGeom prst="ellipse">
            <a:avLst/>
          </a:prstGeom>
          <a:solidFill>
            <a:schemeClr val="bg1"/>
          </a:solidFill>
          <a:ln>
            <a:solidFill>
              <a:srgbClr val="1047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O" sz="2400" b="1">
                <a:solidFill>
                  <a:schemeClr val="accent1">
                    <a:lumMod val="50000"/>
                  </a:schemeClr>
                </a:solidFill>
                <a:latin typeface="Century Gothic" panose="020B0502020202020204" pitchFamily="34" charset="0"/>
              </a:rPr>
              <a:t>2</a:t>
            </a:r>
          </a:p>
        </p:txBody>
      </p:sp>
      <p:pic>
        <p:nvPicPr>
          <p:cNvPr id="10" name="Imagen 9">
            <a:extLst>
              <a:ext uri="{FF2B5EF4-FFF2-40B4-BE49-F238E27FC236}">
                <a16:creationId xmlns:a16="http://schemas.microsoft.com/office/drawing/2014/main" id="{CF1217CA-26EF-4CC8-AE79-E14DBB8EAAF9}"/>
              </a:ext>
            </a:extLst>
          </p:cNvPr>
          <p:cNvPicPr>
            <a:picLocks noChangeAspect="1"/>
          </p:cNvPicPr>
          <p:nvPr/>
        </p:nvPicPr>
        <p:blipFill>
          <a:blip r:embed="rId3"/>
          <a:stretch>
            <a:fillRect/>
          </a:stretch>
        </p:blipFill>
        <p:spPr>
          <a:xfrm>
            <a:off x="4364852" y="2208319"/>
            <a:ext cx="6806791" cy="3985403"/>
          </a:xfrm>
          <a:prstGeom prst="rect">
            <a:avLst/>
          </a:prstGeom>
        </p:spPr>
      </p:pic>
    </p:spTree>
    <p:extLst>
      <p:ext uri="{BB962C8B-B14F-4D97-AF65-F5344CB8AC3E}">
        <p14:creationId xmlns:p14="http://schemas.microsoft.com/office/powerpoint/2010/main" val="40956398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Conector recto 8">
            <a:extLst>
              <a:ext uri="{FF2B5EF4-FFF2-40B4-BE49-F238E27FC236}">
                <a16:creationId xmlns:a16="http://schemas.microsoft.com/office/drawing/2014/main" id="{96370D2B-2C99-47FB-977A-1BACABA0448E}"/>
              </a:ext>
            </a:extLst>
          </p:cNvPr>
          <p:cNvCxnSpPr>
            <a:cxnSpLocks/>
          </p:cNvCxnSpPr>
          <p:nvPr/>
        </p:nvCxnSpPr>
        <p:spPr>
          <a:xfrm>
            <a:off x="6365821" y="3448470"/>
            <a:ext cx="0" cy="265252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Conector recto 16">
            <a:extLst>
              <a:ext uri="{FF2B5EF4-FFF2-40B4-BE49-F238E27FC236}">
                <a16:creationId xmlns:a16="http://schemas.microsoft.com/office/drawing/2014/main" id="{A57EE03D-AD0E-42FF-8004-ACF44D511717}"/>
              </a:ext>
            </a:extLst>
          </p:cNvPr>
          <p:cNvCxnSpPr>
            <a:cxnSpLocks/>
          </p:cNvCxnSpPr>
          <p:nvPr/>
        </p:nvCxnSpPr>
        <p:spPr>
          <a:xfrm>
            <a:off x="215142" y="3448470"/>
            <a:ext cx="1153953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CuadroTexto 47">
            <a:extLst>
              <a:ext uri="{FF2B5EF4-FFF2-40B4-BE49-F238E27FC236}">
                <a16:creationId xmlns:a16="http://schemas.microsoft.com/office/drawing/2014/main" id="{F68A17DE-3ACC-4C72-8ED3-CE0F518FDBA1}"/>
              </a:ext>
            </a:extLst>
          </p:cNvPr>
          <p:cNvSpPr txBox="1"/>
          <p:nvPr/>
        </p:nvSpPr>
        <p:spPr>
          <a:xfrm>
            <a:off x="546163" y="52113"/>
            <a:ext cx="11208515" cy="954107"/>
          </a:xfrm>
          <a:prstGeom prst="rect">
            <a:avLst/>
          </a:prstGeom>
          <a:noFill/>
          <a:ln>
            <a:noFill/>
          </a:ln>
        </p:spPr>
        <p:txBody>
          <a:bodyPr wrap="square" rtlCol="0">
            <a:spAutoFit/>
          </a:bodyPr>
          <a:lstStyle/>
          <a:p>
            <a:pPr algn="ctr"/>
            <a:r>
              <a:rPr lang="es-ES" sz="2800" b="1" dirty="0">
                <a:solidFill>
                  <a:srgbClr val="10476B"/>
                </a:solidFill>
                <a:latin typeface="Century Gothic" panose="020B0502020202020204" pitchFamily="34" charset="0"/>
                <a:cs typeface="Arial" panose="020B0604020202020204" pitchFamily="34" charset="0"/>
              </a:rPr>
              <a:t>Comités y Reuniones Vicepresidencia Finanzas, Estrategia y Nuevos Negocios</a:t>
            </a:r>
            <a:endParaRPr lang="es-CO" sz="2800" b="1" dirty="0">
              <a:solidFill>
                <a:srgbClr val="10476B"/>
              </a:solidFill>
              <a:latin typeface="Century Gothic" panose="020B0502020202020204" pitchFamily="34" charset="0"/>
              <a:cs typeface="Arial" panose="020B0604020202020204" pitchFamily="34" charset="0"/>
            </a:endParaRPr>
          </a:p>
        </p:txBody>
      </p:sp>
      <p:pic>
        <p:nvPicPr>
          <p:cNvPr id="20" name="Imagen 19">
            <a:extLst>
              <a:ext uri="{FF2B5EF4-FFF2-40B4-BE49-F238E27FC236}">
                <a16:creationId xmlns:a16="http://schemas.microsoft.com/office/drawing/2014/main" id="{F8115EB7-44AD-45BF-8216-548874E9FC98}"/>
              </a:ext>
            </a:extLst>
          </p:cNvPr>
          <p:cNvPicPr>
            <a:picLocks noChangeAspect="1"/>
          </p:cNvPicPr>
          <p:nvPr/>
        </p:nvPicPr>
        <p:blipFill>
          <a:blip r:embed="rId2"/>
          <a:stretch>
            <a:fillRect/>
          </a:stretch>
        </p:blipFill>
        <p:spPr>
          <a:xfrm>
            <a:off x="380035" y="1006221"/>
            <a:ext cx="11172825" cy="2162175"/>
          </a:xfrm>
          <a:prstGeom prst="rect">
            <a:avLst/>
          </a:prstGeom>
        </p:spPr>
      </p:pic>
      <p:pic>
        <p:nvPicPr>
          <p:cNvPr id="5" name="Imagen 4">
            <a:extLst>
              <a:ext uri="{FF2B5EF4-FFF2-40B4-BE49-F238E27FC236}">
                <a16:creationId xmlns:a16="http://schemas.microsoft.com/office/drawing/2014/main" id="{F6C4CE82-123C-4E5C-B05C-23528AABB29B}"/>
              </a:ext>
            </a:extLst>
          </p:cNvPr>
          <p:cNvPicPr>
            <a:picLocks noChangeAspect="1"/>
          </p:cNvPicPr>
          <p:nvPr/>
        </p:nvPicPr>
        <p:blipFill>
          <a:blip r:embed="rId3"/>
          <a:stretch>
            <a:fillRect/>
          </a:stretch>
        </p:blipFill>
        <p:spPr>
          <a:xfrm>
            <a:off x="546446" y="3662372"/>
            <a:ext cx="5121351" cy="2496850"/>
          </a:xfrm>
          <a:prstGeom prst="rect">
            <a:avLst/>
          </a:prstGeom>
        </p:spPr>
      </p:pic>
      <p:pic>
        <p:nvPicPr>
          <p:cNvPr id="10" name="Imagen 9">
            <a:extLst>
              <a:ext uri="{FF2B5EF4-FFF2-40B4-BE49-F238E27FC236}">
                <a16:creationId xmlns:a16="http://schemas.microsoft.com/office/drawing/2014/main" id="{D2AD4E5D-72B5-4B8A-AD20-6213DD7A37D1}"/>
              </a:ext>
            </a:extLst>
          </p:cNvPr>
          <p:cNvPicPr>
            <a:picLocks noChangeAspect="1"/>
          </p:cNvPicPr>
          <p:nvPr/>
        </p:nvPicPr>
        <p:blipFill>
          <a:blip r:embed="rId4"/>
          <a:stretch>
            <a:fillRect/>
          </a:stretch>
        </p:blipFill>
        <p:spPr>
          <a:xfrm>
            <a:off x="6633363" y="3530118"/>
            <a:ext cx="4919497" cy="2652519"/>
          </a:xfrm>
          <a:prstGeom prst="rect">
            <a:avLst/>
          </a:prstGeom>
        </p:spPr>
      </p:pic>
    </p:spTree>
    <p:extLst>
      <p:ext uri="{BB962C8B-B14F-4D97-AF65-F5344CB8AC3E}">
        <p14:creationId xmlns:p14="http://schemas.microsoft.com/office/powerpoint/2010/main" val="29333540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a:extLst>
              <a:ext uri="{FF2B5EF4-FFF2-40B4-BE49-F238E27FC236}">
                <a16:creationId xmlns:a16="http://schemas.microsoft.com/office/drawing/2014/main" id="{0523A10E-DA35-40CF-BD7D-D67009251DA3}"/>
              </a:ext>
            </a:extLst>
          </p:cNvPr>
          <p:cNvSpPr txBox="1"/>
          <p:nvPr/>
        </p:nvSpPr>
        <p:spPr>
          <a:xfrm>
            <a:off x="740388" y="1885163"/>
            <a:ext cx="9074331" cy="123110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1. </a:t>
            </a:r>
            <a:r>
              <a:rPr kumimoji="0" lang="es-ES"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Hacer poderoso o fuerte a un individuo o grupo social desfavorecid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2. </a:t>
            </a:r>
            <a:r>
              <a:rPr kumimoji="0" lang="es-ES" sz="2000" b="1" i="0" u="none" strike="noStrike" kern="1200" cap="none" spc="0" normalizeH="0" baseline="0" noProof="0">
                <a:ln>
                  <a:noFill/>
                </a:ln>
                <a:solidFill>
                  <a:srgbClr val="CEDBE6">
                    <a:lumMod val="25000"/>
                  </a:srgbClr>
                </a:solidFill>
                <a:effectLst/>
                <a:uLnTx/>
                <a:uFillTx/>
                <a:latin typeface="Arial" panose="020B0604020202020204" pitchFamily="34" charset="0"/>
                <a:cs typeface="Arial" panose="020B0604020202020204" pitchFamily="34" charset="0"/>
              </a:rPr>
              <a:t>Dar a alguien autoridad, influencia o conocimiento para hacer alg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3. </a:t>
            </a:r>
            <a:r>
              <a:rPr kumimoji="0" lang="es-ES"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apoderar. </a:t>
            </a:r>
            <a:endParaRPr kumimoji="0" lang="es-CO"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 name="Rectángulo 3">
            <a:extLst>
              <a:ext uri="{FF2B5EF4-FFF2-40B4-BE49-F238E27FC236}">
                <a16:creationId xmlns:a16="http://schemas.microsoft.com/office/drawing/2014/main" id="{136AA02F-527A-4729-8461-D9C60A98D1F7}"/>
              </a:ext>
            </a:extLst>
          </p:cNvPr>
          <p:cNvSpPr/>
          <p:nvPr/>
        </p:nvSpPr>
        <p:spPr>
          <a:xfrm>
            <a:off x="1377287" y="520466"/>
            <a:ext cx="7426779" cy="830997"/>
          </a:xfrm>
          <a:prstGeom prst="rect">
            <a:avLst/>
          </a:prstGeom>
          <a:noFill/>
          <a:ln>
            <a:noFill/>
          </a:ln>
        </p:spPr>
        <p:txBody>
          <a:bodyPr wrap="square" rtlCol="0">
            <a:spAutoFit/>
          </a:bodyPr>
          <a:lstStyle/>
          <a:p>
            <a:pPr algn="ctr"/>
            <a:r>
              <a:rPr lang="es-ES" sz="4800" b="1">
                <a:solidFill>
                  <a:schemeClr val="accent6">
                    <a:lumMod val="75000"/>
                  </a:schemeClr>
                </a:solidFill>
                <a:latin typeface="Century Gothic" panose="020B0502020202020204" pitchFamily="34" charset="0"/>
                <a:cs typeface="Arial" panose="020B0604020202020204" pitchFamily="34" charset="0"/>
              </a:rPr>
              <a:t>¿Qué es Empoderar?</a:t>
            </a:r>
          </a:p>
        </p:txBody>
      </p:sp>
      <p:sp>
        <p:nvSpPr>
          <p:cNvPr id="6" name="CuadroTexto 5">
            <a:extLst>
              <a:ext uri="{FF2B5EF4-FFF2-40B4-BE49-F238E27FC236}">
                <a16:creationId xmlns:a16="http://schemas.microsoft.com/office/drawing/2014/main" id="{522A65F2-7F05-45B7-8DAC-751C8D0F53EE}"/>
              </a:ext>
            </a:extLst>
          </p:cNvPr>
          <p:cNvSpPr txBox="1"/>
          <p:nvPr/>
        </p:nvSpPr>
        <p:spPr>
          <a:xfrm>
            <a:off x="740388" y="1672422"/>
            <a:ext cx="6096000"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2000" b="1" i="0" u="none" strike="noStrike" kern="1200" cap="none" spc="0" normalizeH="0" baseline="0" noProof="0">
                <a:ln>
                  <a:noFill/>
                </a:ln>
                <a:solidFill>
                  <a:srgbClr val="CEDBE6">
                    <a:lumMod val="25000"/>
                  </a:srgbClr>
                </a:solidFill>
                <a:effectLst/>
                <a:uLnTx/>
                <a:uFillTx/>
                <a:latin typeface="Arial" panose="020B0604020202020204" pitchFamily="34" charset="0"/>
                <a:cs typeface="Arial" panose="020B0604020202020204" pitchFamily="34" charset="0"/>
              </a:rPr>
              <a:t>RAE</a:t>
            </a:r>
            <a:r>
              <a:rPr kumimoji="0" lang="es-CO" sz="20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 De </a:t>
            </a:r>
            <a:r>
              <a:rPr kumimoji="0" lang="es-CO" sz="2000" b="1" i="0" u="none" strike="noStrike" kern="1200" cap="none" spc="0" normalizeH="0" baseline="0" noProof="0">
                <a:ln>
                  <a:noFill/>
                </a:ln>
                <a:solidFill>
                  <a:srgbClr val="CEDBE6">
                    <a:lumMod val="25000"/>
                  </a:srgbClr>
                </a:solidFill>
                <a:effectLst/>
                <a:uLnTx/>
                <a:uFillTx/>
                <a:latin typeface="Arial" panose="020B0604020202020204" pitchFamily="34" charset="0"/>
                <a:cs typeface="Arial" panose="020B0604020202020204" pitchFamily="34" charset="0"/>
              </a:rPr>
              <a:t>en</a:t>
            </a:r>
            <a:r>
              <a:rPr kumimoji="0" lang="es-CO" sz="20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 y </a:t>
            </a:r>
            <a:r>
              <a:rPr kumimoji="0" lang="es-CO" sz="2000" b="1" i="0" u="none" strike="noStrike" kern="1200" cap="none" spc="0" normalizeH="0" baseline="0" noProof="0">
                <a:ln>
                  <a:noFill/>
                </a:ln>
                <a:solidFill>
                  <a:srgbClr val="CEDBE6">
                    <a:lumMod val="25000"/>
                  </a:srgbClr>
                </a:solidFill>
                <a:effectLst/>
                <a:uLnTx/>
                <a:uFillTx/>
                <a:latin typeface="Arial" panose="020B0604020202020204" pitchFamily="34" charset="0"/>
                <a:cs typeface="Arial" panose="020B0604020202020204" pitchFamily="34" charset="0"/>
              </a:rPr>
              <a:t>poder</a:t>
            </a:r>
          </a:p>
        </p:txBody>
      </p:sp>
      <p:sp>
        <p:nvSpPr>
          <p:cNvPr id="35" name="CuadroTexto 34">
            <a:extLst>
              <a:ext uri="{FF2B5EF4-FFF2-40B4-BE49-F238E27FC236}">
                <a16:creationId xmlns:a16="http://schemas.microsoft.com/office/drawing/2014/main" id="{E87E39F6-2317-4B3A-9BE0-9F7E59A8873F}"/>
              </a:ext>
            </a:extLst>
          </p:cNvPr>
          <p:cNvSpPr txBox="1"/>
          <p:nvPr/>
        </p:nvSpPr>
        <p:spPr>
          <a:xfrm>
            <a:off x="670720" y="3300654"/>
            <a:ext cx="10502378" cy="2123658"/>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La investigación muestra que el empoderamiento de los empleados no solo conduce a una </a:t>
            </a:r>
            <a:r>
              <a:rPr kumimoji="0" lang="es-ES" sz="2000" b="1" i="0" u="none" strike="noStrike" kern="1200" cap="none" spc="0" normalizeH="0" baseline="0" noProof="0">
                <a:ln>
                  <a:noFill/>
                </a:ln>
                <a:solidFill>
                  <a:srgbClr val="CEDBE6">
                    <a:lumMod val="25000"/>
                  </a:srgbClr>
                </a:solidFill>
                <a:effectLst/>
                <a:uLnTx/>
                <a:uFillTx/>
                <a:latin typeface="Arial" panose="020B0604020202020204" pitchFamily="34" charset="0"/>
                <a:cs typeface="Arial" panose="020B0604020202020204" pitchFamily="34" charset="0"/>
              </a:rPr>
              <a:t>mayor satisfacción en el trabajo</a:t>
            </a:r>
            <a:r>
              <a:rPr kumimoji="0" lang="es-ES"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sino a un </a:t>
            </a:r>
            <a:r>
              <a:rPr kumimoji="0" lang="es-ES" sz="2000" b="1" i="0" u="none" strike="noStrike" kern="1200" cap="none" spc="0" normalizeH="0" baseline="0" noProof="0">
                <a:ln>
                  <a:noFill/>
                </a:ln>
                <a:solidFill>
                  <a:srgbClr val="CEDBE6">
                    <a:lumMod val="25000"/>
                  </a:srgbClr>
                </a:solidFill>
                <a:effectLst/>
                <a:uLnTx/>
                <a:uFillTx/>
                <a:latin typeface="Arial" panose="020B0604020202020204" pitchFamily="34" charset="0"/>
                <a:cs typeface="Arial" panose="020B0604020202020204" pitchFamily="34" charset="0"/>
              </a:rPr>
              <a:t>mejor desempeño laboral </a:t>
            </a:r>
            <a:r>
              <a:rPr kumimoji="0" lang="es-ES"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y un </a:t>
            </a:r>
            <a:r>
              <a:rPr kumimoji="0" lang="es-ES" sz="2000" b="1" i="0" u="none" strike="noStrike" kern="1200" cap="none" spc="0" normalizeH="0" baseline="0" noProof="0">
                <a:ln>
                  <a:noFill/>
                </a:ln>
                <a:solidFill>
                  <a:srgbClr val="CEDBE6">
                    <a:lumMod val="25000"/>
                  </a:srgbClr>
                </a:solidFill>
                <a:effectLst/>
                <a:uLnTx/>
                <a:uFillTx/>
                <a:latin typeface="Arial" panose="020B0604020202020204" pitchFamily="34" charset="0"/>
                <a:cs typeface="Arial" panose="020B0604020202020204" pitchFamily="34" charset="0"/>
              </a:rPr>
              <a:t>mayor compromiso con la organización</a:t>
            </a:r>
            <a:r>
              <a:rPr kumimoji="0" lang="es-ES"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s-ES"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Un estudio reciente detallado en Harvard Business </a:t>
            </a:r>
            <a:r>
              <a:rPr kumimoji="0" lang="es-ES" b="0"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Review</a:t>
            </a:r>
            <a:r>
              <a:rPr kumimoji="0" lang="es-ES"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encontró que los líderes que empoderan a sus empleados tienen más probabilidades de tener miembros del equipo que son percibidos por sus pares como </a:t>
            </a:r>
            <a:r>
              <a:rPr kumimoji="0" lang="es-ES" sz="2000" b="1" i="0" u="none" strike="noStrike" kern="1200" cap="none" spc="0" normalizeH="0" baseline="0" noProof="0">
                <a:ln>
                  <a:noFill/>
                </a:ln>
                <a:solidFill>
                  <a:srgbClr val="CEDBE6">
                    <a:lumMod val="25000"/>
                  </a:srgbClr>
                </a:solidFill>
                <a:effectLst/>
                <a:uLnTx/>
                <a:uFillTx/>
                <a:latin typeface="Arial" panose="020B0604020202020204" pitchFamily="34" charset="0"/>
                <a:cs typeface="Arial" panose="020B0604020202020204" pitchFamily="34" charset="0"/>
              </a:rPr>
              <a:t>altamente creativos y útiles</a:t>
            </a:r>
            <a:r>
              <a:rPr kumimoji="0" lang="es-ES"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Harvard Business </a:t>
            </a:r>
            <a:r>
              <a:rPr kumimoji="0" lang="es-ES" b="0"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Review</a:t>
            </a:r>
            <a:r>
              <a:rPr kumimoji="0" lang="es-ES"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a:t>
            </a:r>
          </a:p>
        </p:txBody>
      </p:sp>
      <p:sp>
        <p:nvSpPr>
          <p:cNvPr id="36" name="CuadroTexto 35">
            <a:extLst>
              <a:ext uri="{FF2B5EF4-FFF2-40B4-BE49-F238E27FC236}">
                <a16:creationId xmlns:a16="http://schemas.microsoft.com/office/drawing/2014/main" id="{26DAA7BC-3D84-4539-9DE0-6959987913C7}"/>
              </a:ext>
            </a:extLst>
          </p:cNvPr>
          <p:cNvSpPr txBox="1"/>
          <p:nvPr/>
        </p:nvSpPr>
        <p:spPr>
          <a:xfrm>
            <a:off x="2203269" y="5698733"/>
            <a:ext cx="7611450"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6000" b="1" i="0" u="none" strike="noStrike" kern="1200" cap="none" spc="0" normalizeH="0" baseline="0" noProof="0">
                <a:ln w="0"/>
                <a:solidFill>
                  <a:srgbClr val="3494BA"/>
                </a:solidFill>
                <a:effectLst>
                  <a:outerShdw blurRad="38100" dist="25400" dir="5400000" algn="ctr" rotWithShape="0">
                    <a:srgbClr val="6E747A">
                      <a:alpha val="43000"/>
                    </a:srgbClr>
                  </a:outerShdw>
                </a:effectLst>
                <a:uLnTx/>
                <a:uFillTx/>
                <a:latin typeface="Century Gothic" panose="020B0502020202020204" pitchFamily="34" charset="0"/>
              </a:rPr>
              <a:t>CONFIANZA</a:t>
            </a:r>
            <a:endParaRPr kumimoji="0" lang="es-CO" sz="6000" b="1" i="0" u="none" strike="noStrike" kern="1200" cap="none" spc="0" normalizeH="0" baseline="0" noProof="0">
              <a:ln w="0"/>
              <a:solidFill>
                <a:srgbClr val="3494BA"/>
              </a:solidFill>
              <a:effectLst>
                <a:outerShdw blurRad="38100" dist="25400" dir="5400000" algn="ctr" rotWithShape="0">
                  <a:srgbClr val="6E747A">
                    <a:alpha val="43000"/>
                  </a:srgbClr>
                </a:outerShdw>
              </a:effectLst>
              <a:uLnTx/>
              <a:uFillTx/>
              <a:latin typeface="Century Gothic" panose="020B0502020202020204" pitchFamily="34" charset="0"/>
            </a:endParaRPr>
          </a:p>
        </p:txBody>
      </p:sp>
      <p:pic>
        <p:nvPicPr>
          <p:cNvPr id="5" name="Imagen 4" descr="Icono&#10;&#10;Descripción generada automáticamente">
            <a:extLst>
              <a:ext uri="{FF2B5EF4-FFF2-40B4-BE49-F238E27FC236}">
                <a16:creationId xmlns:a16="http://schemas.microsoft.com/office/drawing/2014/main" id="{933561B2-ABFE-48FC-8FCA-595FA8EBDF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33054" y="587735"/>
            <a:ext cx="1818558" cy="1818558"/>
          </a:xfrm>
          <a:prstGeom prst="rect">
            <a:avLst/>
          </a:prstGeom>
        </p:spPr>
      </p:pic>
    </p:spTree>
    <p:extLst>
      <p:ext uri="{BB962C8B-B14F-4D97-AF65-F5344CB8AC3E}">
        <p14:creationId xmlns:p14="http://schemas.microsoft.com/office/powerpoint/2010/main" val="21048575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ángulo 75">
            <a:extLst>
              <a:ext uri="{FF2B5EF4-FFF2-40B4-BE49-F238E27FC236}">
                <a16:creationId xmlns:a16="http://schemas.microsoft.com/office/drawing/2014/main" id="{EEF9D3BD-0FCD-4E3B-A30D-451C7AAF6633}"/>
              </a:ext>
            </a:extLst>
          </p:cNvPr>
          <p:cNvSpPr/>
          <p:nvPr/>
        </p:nvSpPr>
        <p:spPr>
          <a:xfrm>
            <a:off x="273409" y="5078389"/>
            <a:ext cx="3604591" cy="1015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200"/>
          </a:p>
        </p:txBody>
      </p:sp>
      <p:sp>
        <p:nvSpPr>
          <p:cNvPr id="77" name="Rectángulo: esquinas redondeadas 76">
            <a:extLst>
              <a:ext uri="{FF2B5EF4-FFF2-40B4-BE49-F238E27FC236}">
                <a16:creationId xmlns:a16="http://schemas.microsoft.com/office/drawing/2014/main" id="{44DAAF07-704B-4AD2-9029-4FE6270429E3}"/>
              </a:ext>
            </a:extLst>
          </p:cNvPr>
          <p:cNvSpPr/>
          <p:nvPr/>
        </p:nvSpPr>
        <p:spPr>
          <a:xfrm>
            <a:off x="866279" y="713340"/>
            <a:ext cx="3114261" cy="291548"/>
          </a:xfrm>
          <a:prstGeom prst="roundRect">
            <a:avLst/>
          </a:prstGeom>
          <a:solidFill>
            <a:srgbClr val="025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b="1"/>
              <a:t>ACTIVIDAD</a:t>
            </a:r>
          </a:p>
        </p:txBody>
      </p:sp>
      <p:sp>
        <p:nvSpPr>
          <p:cNvPr id="80" name="Rectángulo: esquinas redondeadas 79">
            <a:extLst>
              <a:ext uri="{FF2B5EF4-FFF2-40B4-BE49-F238E27FC236}">
                <a16:creationId xmlns:a16="http://schemas.microsoft.com/office/drawing/2014/main" id="{E4642C6D-F1C3-451F-AEC6-3440A3FD291D}"/>
              </a:ext>
            </a:extLst>
          </p:cNvPr>
          <p:cNvSpPr/>
          <p:nvPr/>
        </p:nvSpPr>
        <p:spPr>
          <a:xfrm>
            <a:off x="4233556" y="713340"/>
            <a:ext cx="1775792" cy="291548"/>
          </a:xfrm>
          <a:prstGeom prst="roundRect">
            <a:avLst/>
          </a:prstGeom>
          <a:solidFill>
            <a:srgbClr val="025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b="1"/>
              <a:t>DURACIÓN</a:t>
            </a:r>
          </a:p>
        </p:txBody>
      </p:sp>
      <p:sp>
        <p:nvSpPr>
          <p:cNvPr id="81" name="Rectángulo: esquinas redondeadas 80">
            <a:extLst>
              <a:ext uri="{FF2B5EF4-FFF2-40B4-BE49-F238E27FC236}">
                <a16:creationId xmlns:a16="http://schemas.microsoft.com/office/drawing/2014/main" id="{646D5B8E-AC08-4AA5-823A-4F62C3888F63}"/>
              </a:ext>
            </a:extLst>
          </p:cNvPr>
          <p:cNvSpPr/>
          <p:nvPr/>
        </p:nvSpPr>
        <p:spPr>
          <a:xfrm>
            <a:off x="6262364" y="713339"/>
            <a:ext cx="2992542" cy="291533"/>
          </a:xfrm>
          <a:prstGeom prst="roundRect">
            <a:avLst/>
          </a:prstGeom>
          <a:solidFill>
            <a:srgbClr val="025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b="1"/>
              <a:t>DESCRIPCIÓN</a:t>
            </a:r>
          </a:p>
        </p:txBody>
      </p:sp>
      <p:sp>
        <p:nvSpPr>
          <p:cNvPr id="82" name="Rectángulo: esquinas redondeadas 81">
            <a:extLst>
              <a:ext uri="{FF2B5EF4-FFF2-40B4-BE49-F238E27FC236}">
                <a16:creationId xmlns:a16="http://schemas.microsoft.com/office/drawing/2014/main" id="{8E48A216-4859-4526-9CC2-DFF2DC55EDD5}"/>
              </a:ext>
            </a:extLst>
          </p:cNvPr>
          <p:cNvSpPr/>
          <p:nvPr/>
        </p:nvSpPr>
        <p:spPr>
          <a:xfrm>
            <a:off x="9488044" y="713340"/>
            <a:ext cx="1775792" cy="291548"/>
          </a:xfrm>
          <a:prstGeom prst="roundRect">
            <a:avLst/>
          </a:prstGeom>
          <a:solidFill>
            <a:srgbClr val="0258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b="1"/>
              <a:t>PRODUCTO</a:t>
            </a:r>
          </a:p>
        </p:txBody>
      </p:sp>
      <p:grpSp>
        <p:nvGrpSpPr>
          <p:cNvPr id="87" name="Grupo 86">
            <a:extLst>
              <a:ext uri="{FF2B5EF4-FFF2-40B4-BE49-F238E27FC236}">
                <a16:creationId xmlns:a16="http://schemas.microsoft.com/office/drawing/2014/main" id="{2048A83A-AA05-4B15-BF12-590132B0B976}"/>
              </a:ext>
            </a:extLst>
          </p:cNvPr>
          <p:cNvGrpSpPr/>
          <p:nvPr/>
        </p:nvGrpSpPr>
        <p:grpSpPr>
          <a:xfrm>
            <a:off x="430680" y="1083111"/>
            <a:ext cx="10863136" cy="650287"/>
            <a:chOff x="157271" y="1457866"/>
            <a:chExt cx="10863136" cy="650287"/>
          </a:xfrm>
        </p:grpSpPr>
        <p:sp>
          <p:nvSpPr>
            <p:cNvPr id="108" name="CuadroTexto 107">
              <a:extLst>
                <a:ext uri="{FF2B5EF4-FFF2-40B4-BE49-F238E27FC236}">
                  <a16:creationId xmlns:a16="http://schemas.microsoft.com/office/drawing/2014/main" id="{0DFAE232-C03A-4447-AF4F-2FEEE826CF8A}"/>
                </a:ext>
              </a:extLst>
            </p:cNvPr>
            <p:cNvSpPr txBox="1"/>
            <p:nvPr/>
          </p:nvSpPr>
          <p:spPr>
            <a:xfrm>
              <a:off x="622850" y="1642532"/>
              <a:ext cx="3114261" cy="276999"/>
            </a:xfrm>
            <a:prstGeom prst="rect">
              <a:avLst/>
            </a:prstGeom>
            <a:noFill/>
          </p:spPr>
          <p:txBody>
            <a:bodyPr wrap="square" rtlCol="0">
              <a:spAutoFit/>
            </a:bodyPr>
            <a:lstStyle/>
            <a:p>
              <a:r>
                <a:rPr lang="es-CO" sz="1200" b="1" i="1">
                  <a:latin typeface="Arial" panose="020B0604020202020204" pitchFamily="34" charset="0"/>
                  <a:cs typeface="Arial" panose="020B0604020202020204" pitchFamily="34" charset="0"/>
                </a:rPr>
                <a:t>Introducción Gobierno Corporativo</a:t>
              </a:r>
              <a:endParaRPr lang="es-CO" sz="1200">
                <a:latin typeface="Arial" panose="020B0604020202020204" pitchFamily="34" charset="0"/>
                <a:cs typeface="Arial" panose="020B0604020202020204" pitchFamily="34" charset="0"/>
              </a:endParaRPr>
            </a:p>
          </p:txBody>
        </p:sp>
        <p:cxnSp>
          <p:nvCxnSpPr>
            <p:cNvPr id="109" name="Conector recto 108">
              <a:extLst>
                <a:ext uri="{FF2B5EF4-FFF2-40B4-BE49-F238E27FC236}">
                  <a16:creationId xmlns:a16="http://schemas.microsoft.com/office/drawing/2014/main" id="{7434769E-8F5B-4CDA-AFEA-2FA908180F28}"/>
                </a:ext>
              </a:extLst>
            </p:cNvPr>
            <p:cNvCxnSpPr>
              <a:cxnSpLocks/>
            </p:cNvCxnSpPr>
            <p:nvPr/>
          </p:nvCxnSpPr>
          <p:spPr>
            <a:xfrm>
              <a:off x="4186335" y="2108153"/>
              <a:ext cx="1383377"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cxnSp>
          <p:nvCxnSpPr>
            <p:cNvPr id="110" name="Conector recto 109">
              <a:extLst>
                <a:ext uri="{FF2B5EF4-FFF2-40B4-BE49-F238E27FC236}">
                  <a16:creationId xmlns:a16="http://schemas.microsoft.com/office/drawing/2014/main" id="{C0926ED7-6C71-4132-9062-E0B720E03046}"/>
                </a:ext>
              </a:extLst>
            </p:cNvPr>
            <p:cNvCxnSpPr>
              <a:cxnSpLocks/>
            </p:cNvCxnSpPr>
            <p:nvPr/>
          </p:nvCxnSpPr>
          <p:spPr>
            <a:xfrm>
              <a:off x="6364967" y="2102209"/>
              <a:ext cx="2300478"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sp>
          <p:nvSpPr>
            <p:cNvPr id="111" name="CuadroTexto 110">
              <a:extLst>
                <a:ext uri="{FF2B5EF4-FFF2-40B4-BE49-F238E27FC236}">
                  <a16:creationId xmlns:a16="http://schemas.microsoft.com/office/drawing/2014/main" id="{238FD54F-35A5-4122-9015-D197608097DD}"/>
                </a:ext>
              </a:extLst>
            </p:cNvPr>
            <p:cNvSpPr txBox="1"/>
            <p:nvPr/>
          </p:nvSpPr>
          <p:spPr>
            <a:xfrm>
              <a:off x="6018936" y="1457866"/>
              <a:ext cx="2992542" cy="646331"/>
            </a:xfrm>
            <a:prstGeom prst="rect">
              <a:avLst/>
            </a:prstGeom>
            <a:noFill/>
          </p:spPr>
          <p:txBody>
            <a:bodyPr wrap="square" rtlCol="0">
              <a:spAutoFit/>
            </a:bodyPr>
            <a:lstStyle/>
            <a:p>
              <a:r>
                <a:rPr lang="es-CO" sz="1200">
                  <a:latin typeface="Arial" panose="020B0604020202020204" pitchFamily="34" charset="0"/>
                  <a:cs typeface="Arial" panose="020B0604020202020204" pitchFamily="34" charset="0"/>
                </a:rPr>
                <a:t>Explicación qué es Gobierno Corporativo, objetivos, beneficios y avances del proyecto </a:t>
              </a:r>
            </a:p>
          </p:txBody>
        </p:sp>
        <p:sp>
          <p:nvSpPr>
            <p:cNvPr id="112" name="CuadroTexto 111">
              <a:extLst>
                <a:ext uri="{FF2B5EF4-FFF2-40B4-BE49-F238E27FC236}">
                  <a16:creationId xmlns:a16="http://schemas.microsoft.com/office/drawing/2014/main" id="{0DC8B8DA-3D9B-4936-81F1-CE85FFE781C2}"/>
                </a:ext>
              </a:extLst>
            </p:cNvPr>
            <p:cNvSpPr txBox="1"/>
            <p:nvPr/>
          </p:nvSpPr>
          <p:spPr>
            <a:xfrm>
              <a:off x="9264494" y="1550199"/>
              <a:ext cx="1755913" cy="461665"/>
            </a:xfrm>
            <a:prstGeom prst="rect">
              <a:avLst/>
            </a:prstGeom>
            <a:noFill/>
          </p:spPr>
          <p:txBody>
            <a:bodyPr wrap="square" rtlCol="0">
              <a:spAutoFit/>
            </a:bodyPr>
            <a:lstStyle>
              <a:defPPr>
                <a:defRPr lang="es-CO"/>
              </a:defPPr>
              <a:lvl1pPr>
                <a:defRPr sz="1600">
                  <a:latin typeface="Arial" panose="020B0604020202020204" pitchFamily="34" charset="0"/>
                  <a:cs typeface="Arial" panose="020B0604020202020204" pitchFamily="34" charset="0"/>
                </a:defRPr>
              </a:lvl1pPr>
            </a:lstStyle>
            <a:p>
              <a:r>
                <a:rPr lang="es-CO" sz="1200"/>
                <a:t>Video</a:t>
              </a:r>
            </a:p>
            <a:p>
              <a:r>
                <a:rPr lang="es-CO" sz="1200"/>
                <a:t>Presentación</a:t>
              </a:r>
            </a:p>
          </p:txBody>
        </p:sp>
        <p:cxnSp>
          <p:nvCxnSpPr>
            <p:cNvPr id="113" name="Conector recto 112">
              <a:extLst>
                <a:ext uri="{FF2B5EF4-FFF2-40B4-BE49-F238E27FC236}">
                  <a16:creationId xmlns:a16="http://schemas.microsoft.com/office/drawing/2014/main" id="{59088CD4-BBE7-483B-9FF9-1D62F9236779}"/>
                </a:ext>
              </a:extLst>
            </p:cNvPr>
            <p:cNvCxnSpPr>
              <a:cxnSpLocks/>
            </p:cNvCxnSpPr>
            <p:nvPr/>
          </p:nvCxnSpPr>
          <p:spPr>
            <a:xfrm>
              <a:off x="1078087" y="2078411"/>
              <a:ext cx="2203787"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cxnSp>
          <p:nvCxnSpPr>
            <p:cNvPr id="114" name="Conector recto 113">
              <a:extLst>
                <a:ext uri="{FF2B5EF4-FFF2-40B4-BE49-F238E27FC236}">
                  <a16:creationId xmlns:a16="http://schemas.microsoft.com/office/drawing/2014/main" id="{945F525E-96D6-4C2C-A528-6A902709A377}"/>
                </a:ext>
              </a:extLst>
            </p:cNvPr>
            <p:cNvCxnSpPr>
              <a:cxnSpLocks/>
            </p:cNvCxnSpPr>
            <p:nvPr/>
          </p:nvCxnSpPr>
          <p:spPr>
            <a:xfrm>
              <a:off x="9447323" y="2106034"/>
              <a:ext cx="1370376"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sp>
          <p:nvSpPr>
            <p:cNvPr id="115" name="CuadroTexto 114">
              <a:extLst>
                <a:ext uri="{FF2B5EF4-FFF2-40B4-BE49-F238E27FC236}">
                  <a16:creationId xmlns:a16="http://schemas.microsoft.com/office/drawing/2014/main" id="{DB35C4D3-61DC-4194-A530-0CD186587533}"/>
                </a:ext>
              </a:extLst>
            </p:cNvPr>
            <p:cNvSpPr txBox="1"/>
            <p:nvPr/>
          </p:nvSpPr>
          <p:spPr>
            <a:xfrm>
              <a:off x="3990127" y="1642532"/>
              <a:ext cx="1775792" cy="276999"/>
            </a:xfrm>
            <a:prstGeom prst="rect">
              <a:avLst/>
            </a:prstGeom>
            <a:noFill/>
          </p:spPr>
          <p:txBody>
            <a:bodyPr wrap="square" rtlCol="0">
              <a:spAutoFit/>
            </a:bodyPr>
            <a:lstStyle/>
            <a:p>
              <a:pPr algn="ctr"/>
              <a:r>
                <a:rPr lang="es-CO" sz="1200" i="1" dirty="0">
                  <a:latin typeface="Arial" panose="020B0604020202020204" pitchFamily="34" charset="0"/>
                  <a:cs typeface="Arial" panose="020B0604020202020204" pitchFamily="34" charset="0"/>
                </a:rPr>
                <a:t>5 m</a:t>
              </a:r>
              <a:endParaRPr lang="es-CO" sz="1200" dirty="0">
                <a:latin typeface="Arial" panose="020B0604020202020204" pitchFamily="34" charset="0"/>
                <a:cs typeface="Arial" panose="020B0604020202020204" pitchFamily="34" charset="0"/>
              </a:endParaRPr>
            </a:p>
          </p:txBody>
        </p:sp>
        <p:pic>
          <p:nvPicPr>
            <p:cNvPr id="116" name="Picture 2" descr="Cognitivo - Iconos gratis de personas">
              <a:extLst>
                <a:ext uri="{FF2B5EF4-FFF2-40B4-BE49-F238E27FC236}">
                  <a16:creationId xmlns:a16="http://schemas.microsoft.com/office/drawing/2014/main" id="{5BC46F26-8961-4F34-9760-89437609076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7271" y="1617458"/>
              <a:ext cx="327147" cy="3271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7" name="Grupo 116">
            <a:extLst>
              <a:ext uri="{FF2B5EF4-FFF2-40B4-BE49-F238E27FC236}">
                <a16:creationId xmlns:a16="http://schemas.microsoft.com/office/drawing/2014/main" id="{6B2613F8-F744-454D-91E2-AEE6A9F29C43}"/>
              </a:ext>
            </a:extLst>
          </p:cNvPr>
          <p:cNvGrpSpPr/>
          <p:nvPr/>
        </p:nvGrpSpPr>
        <p:grpSpPr>
          <a:xfrm>
            <a:off x="470908" y="4047786"/>
            <a:ext cx="10620200" cy="742092"/>
            <a:chOff x="197499" y="4125873"/>
            <a:chExt cx="10620200" cy="742092"/>
          </a:xfrm>
        </p:grpSpPr>
        <p:sp>
          <p:nvSpPr>
            <p:cNvPr id="118" name="CuadroTexto 117">
              <a:extLst>
                <a:ext uri="{FF2B5EF4-FFF2-40B4-BE49-F238E27FC236}">
                  <a16:creationId xmlns:a16="http://schemas.microsoft.com/office/drawing/2014/main" id="{005BD08C-0EE8-4633-8B97-08CC29CE51B8}"/>
                </a:ext>
              </a:extLst>
            </p:cNvPr>
            <p:cNvSpPr txBox="1"/>
            <p:nvPr/>
          </p:nvSpPr>
          <p:spPr>
            <a:xfrm>
              <a:off x="622850" y="4218206"/>
              <a:ext cx="3114261" cy="461665"/>
            </a:xfrm>
            <a:prstGeom prst="rect">
              <a:avLst/>
            </a:prstGeom>
            <a:noFill/>
          </p:spPr>
          <p:txBody>
            <a:bodyPr wrap="square" rtlCol="0">
              <a:spAutoFit/>
            </a:bodyPr>
            <a:lstStyle/>
            <a:p>
              <a:r>
                <a:rPr lang="es-CO" sz="1200" b="1" i="1">
                  <a:latin typeface="Arial" panose="020B0604020202020204" pitchFamily="34" charset="0"/>
                  <a:cs typeface="Arial" panose="020B0604020202020204" pitchFamily="34" charset="0"/>
                </a:rPr>
                <a:t>Elemento 2: Charla “Empodérate” - MAD</a:t>
              </a:r>
            </a:p>
          </p:txBody>
        </p:sp>
        <p:sp>
          <p:nvSpPr>
            <p:cNvPr id="119" name="CuadroTexto 118">
              <a:extLst>
                <a:ext uri="{FF2B5EF4-FFF2-40B4-BE49-F238E27FC236}">
                  <a16:creationId xmlns:a16="http://schemas.microsoft.com/office/drawing/2014/main" id="{E3BEB78D-E8E1-481E-8CEB-EEC808402A59}"/>
                </a:ext>
              </a:extLst>
            </p:cNvPr>
            <p:cNvSpPr txBox="1"/>
            <p:nvPr/>
          </p:nvSpPr>
          <p:spPr>
            <a:xfrm>
              <a:off x="6018935" y="4125873"/>
              <a:ext cx="3114261" cy="646331"/>
            </a:xfrm>
            <a:prstGeom prst="rect">
              <a:avLst/>
            </a:prstGeom>
            <a:noFill/>
          </p:spPr>
          <p:txBody>
            <a:bodyPr wrap="square" rtlCol="0">
              <a:spAutoFit/>
            </a:bodyPr>
            <a:lstStyle/>
            <a:p>
              <a:pPr marL="171450" indent="-171450">
                <a:buFont typeface="Arial" panose="020B0604020202020204" pitchFamily="34" charset="0"/>
                <a:buChar char="•"/>
              </a:pPr>
              <a:r>
                <a:rPr lang="es-CO" sz="1200">
                  <a:latin typeface="Arial" panose="020B0604020202020204" pitchFamily="34" charset="0"/>
                  <a:cs typeface="Arial" panose="020B0604020202020204" pitchFamily="34" charset="0"/>
                </a:rPr>
                <a:t>Charla riesgos de no tomar decisiones.</a:t>
              </a:r>
            </a:p>
            <a:p>
              <a:pPr marL="171450" indent="-171450">
                <a:buFont typeface="Arial" panose="020B0604020202020204" pitchFamily="34" charset="0"/>
                <a:buChar char="•"/>
              </a:pPr>
              <a:r>
                <a:rPr lang="es-CO" sz="1200">
                  <a:latin typeface="Arial" panose="020B0604020202020204" pitchFamily="34" charset="0"/>
                  <a:cs typeface="Arial" panose="020B0604020202020204" pitchFamily="34" charset="0"/>
                </a:rPr>
                <a:t>Actividad lúdica: revisión del MAD y proponer las actividades más relevantes</a:t>
              </a:r>
              <a:endParaRPr lang="es-CO" sz="1200" strike="sngStrike">
                <a:latin typeface="Arial" panose="020B0604020202020204" pitchFamily="34" charset="0"/>
                <a:cs typeface="Arial" panose="020B0604020202020204" pitchFamily="34" charset="0"/>
              </a:endParaRPr>
            </a:p>
          </p:txBody>
        </p:sp>
        <p:sp>
          <p:nvSpPr>
            <p:cNvPr id="120" name="CuadroTexto 119">
              <a:extLst>
                <a:ext uri="{FF2B5EF4-FFF2-40B4-BE49-F238E27FC236}">
                  <a16:creationId xmlns:a16="http://schemas.microsoft.com/office/drawing/2014/main" id="{D1B62530-57CE-4A21-A7E2-B81C22F47BB8}"/>
                </a:ext>
              </a:extLst>
            </p:cNvPr>
            <p:cNvSpPr txBox="1"/>
            <p:nvPr/>
          </p:nvSpPr>
          <p:spPr>
            <a:xfrm>
              <a:off x="3990127" y="4310539"/>
              <a:ext cx="1775792" cy="276999"/>
            </a:xfrm>
            <a:prstGeom prst="rect">
              <a:avLst/>
            </a:prstGeom>
            <a:noFill/>
          </p:spPr>
          <p:txBody>
            <a:bodyPr wrap="square" rtlCol="0">
              <a:spAutoFit/>
            </a:bodyPr>
            <a:lstStyle/>
            <a:p>
              <a:pPr algn="ctr"/>
              <a:r>
                <a:rPr lang="es-ES" sz="1200" i="1" dirty="0">
                  <a:latin typeface="Arial" panose="020B0604020202020204" pitchFamily="34" charset="0"/>
                  <a:cs typeface="Arial" panose="020B0604020202020204" pitchFamily="34" charset="0"/>
                </a:rPr>
                <a:t>15 m</a:t>
              </a:r>
              <a:endParaRPr lang="es-CO" sz="1200" i="1" dirty="0">
                <a:latin typeface="Arial" panose="020B0604020202020204" pitchFamily="34" charset="0"/>
                <a:cs typeface="Arial" panose="020B0604020202020204" pitchFamily="34" charset="0"/>
              </a:endParaRPr>
            </a:p>
          </p:txBody>
        </p:sp>
        <p:sp>
          <p:nvSpPr>
            <p:cNvPr id="121" name="CuadroTexto 120">
              <a:extLst>
                <a:ext uri="{FF2B5EF4-FFF2-40B4-BE49-F238E27FC236}">
                  <a16:creationId xmlns:a16="http://schemas.microsoft.com/office/drawing/2014/main" id="{878445E7-B1EA-49B9-9A06-600E42D9C00D}"/>
                </a:ext>
              </a:extLst>
            </p:cNvPr>
            <p:cNvSpPr txBox="1"/>
            <p:nvPr/>
          </p:nvSpPr>
          <p:spPr>
            <a:xfrm>
              <a:off x="9264494" y="4218206"/>
              <a:ext cx="1553205" cy="461665"/>
            </a:xfrm>
            <a:prstGeom prst="rect">
              <a:avLst/>
            </a:prstGeom>
            <a:noFill/>
          </p:spPr>
          <p:txBody>
            <a:bodyPr wrap="square" rtlCol="0">
              <a:spAutoFit/>
            </a:bodyPr>
            <a:lstStyle>
              <a:defPPr>
                <a:defRPr lang="es-CO"/>
              </a:defPPr>
              <a:lvl1pPr>
                <a:defRPr sz="1600">
                  <a:latin typeface="Arial" panose="020B0604020202020204" pitchFamily="34" charset="0"/>
                  <a:cs typeface="Arial" panose="020B0604020202020204" pitchFamily="34" charset="0"/>
                </a:defRPr>
              </a:lvl1pPr>
            </a:lstStyle>
            <a:p>
              <a:pPr marL="171450" indent="-171450">
                <a:buFont typeface="Arial" panose="020B0604020202020204" pitchFamily="34" charset="0"/>
                <a:buChar char="•"/>
              </a:pPr>
              <a:r>
                <a:rPr lang="es-CO" sz="1200"/>
                <a:t>Charla</a:t>
              </a:r>
            </a:p>
            <a:p>
              <a:pPr marL="171450" indent="-171450">
                <a:buFont typeface="Arial" panose="020B0604020202020204" pitchFamily="34" charset="0"/>
                <a:buChar char="•"/>
              </a:pPr>
              <a:r>
                <a:rPr lang="es-CO" sz="1200" err="1"/>
                <a:t>Mentimeter</a:t>
              </a:r>
              <a:endParaRPr lang="es-CO" sz="1200"/>
            </a:p>
          </p:txBody>
        </p:sp>
        <p:pic>
          <p:nvPicPr>
            <p:cNvPr id="122" name="Picture 6" descr="Apoyanos">
              <a:extLst>
                <a:ext uri="{FF2B5EF4-FFF2-40B4-BE49-F238E27FC236}">
                  <a16:creationId xmlns:a16="http://schemas.microsoft.com/office/drawing/2014/main" id="{735FD6AB-4D9E-48C4-A2A4-4CB2A126191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7499" y="4325693"/>
              <a:ext cx="246690" cy="246690"/>
            </a:xfrm>
            <a:prstGeom prst="rect">
              <a:avLst/>
            </a:prstGeom>
            <a:noFill/>
            <a:extLst>
              <a:ext uri="{909E8E84-426E-40DD-AFC4-6F175D3DCCD1}">
                <a14:hiddenFill xmlns:a14="http://schemas.microsoft.com/office/drawing/2010/main">
                  <a:solidFill>
                    <a:srgbClr val="FFFFFF"/>
                  </a:solidFill>
                </a14:hiddenFill>
              </a:ext>
            </a:extLst>
          </p:spPr>
        </p:pic>
        <p:cxnSp>
          <p:nvCxnSpPr>
            <p:cNvPr id="123" name="Conector recto 122">
              <a:extLst>
                <a:ext uri="{FF2B5EF4-FFF2-40B4-BE49-F238E27FC236}">
                  <a16:creationId xmlns:a16="http://schemas.microsoft.com/office/drawing/2014/main" id="{C7FAFEC2-6E97-4F6F-BA24-F080C2F52D9B}"/>
                </a:ext>
              </a:extLst>
            </p:cNvPr>
            <p:cNvCxnSpPr>
              <a:cxnSpLocks/>
            </p:cNvCxnSpPr>
            <p:nvPr/>
          </p:nvCxnSpPr>
          <p:spPr>
            <a:xfrm>
              <a:off x="1078087" y="4867965"/>
              <a:ext cx="2203787"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cxnSp>
          <p:nvCxnSpPr>
            <p:cNvPr id="124" name="Conector recto 123">
              <a:extLst>
                <a:ext uri="{FF2B5EF4-FFF2-40B4-BE49-F238E27FC236}">
                  <a16:creationId xmlns:a16="http://schemas.microsoft.com/office/drawing/2014/main" id="{052C1626-B7E9-4CBB-B41B-19F1C52B2489}"/>
                </a:ext>
              </a:extLst>
            </p:cNvPr>
            <p:cNvCxnSpPr>
              <a:cxnSpLocks/>
            </p:cNvCxnSpPr>
            <p:nvPr/>
          </p:nvCxnSpPr>
          <p:spPr>
            <a:xfrm>
              <a:off x="6364967" y="4862021"/>
              <a:ext cx="2300478"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cxnSp>
          <p:nvCxnSpPr>
            <p:cNvPr id="125" name="Conector recto 124">
              <a:extLst>
                <a:ext uri="{FF2B5EF4-FFF2-40B4-BE49-F238E27FC236}">
                  <a16:creationId xmlns:a16="http://schemas.microsoft.com/office/drawing/2014/main" id="{EEBFE2DA-5127-4FBD-871C-BC30BC9886B6}"/>
                </a:ext>
              </a:extLst>
            </p:cNvPr>
            <p:cNvCxnSpPr>
              <a:cxnSpLocks/>
            </p:cNvCxnSpPr>
            <p:nvPr/>
          </p:nvCxnSpPr>
          <p:spPr>
            <a:xfrm>
              <a:off x="9447323" y="4842824"/>
              <a:ext cx="1370376"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cxnSp>
          <p:nvCxnSpPr>
            <p:cNvPr id="126" name="Conector recto 125">
              <a:extLst>
                <a:ext uri="{FF2B5EF4-FFF2-40B4-BE49-F238E27FC236}">
                  <a16:creationId xmlns:a16="http://schemas.microsoft.com/office/drawing/2014/main" id="{A0159407-C1E0-42F9-96B7-52E8DE9FB54C}"/>
                </a:ext>
              </a:extLst>
            </p:cNvPr>
            <p:cNvCxnSpPr>
              <a:cxnSpLocks/>
            </p:cNvCxnSpPr>
            <p:nvPr/>
          </p:nvCxnSpPr>
          <p:spPr>
            <a:xfrm>
              <a:off x="4186335" y="4858374"/>
              <a:ext cx="1383377"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grpSp>
      <p:grpSp>
        <p:nvGrpSpPr>
          <p:cNvPr id="127" name="Grupo 126">
            <a:extLst>
              <a:ext uri="{FF2B5EF4-FFF2-40B4-BE49-F238E27FC236}">
                <a16:creationId xmlns:a16="http://schemas.microsoft.com/office/drawing/2014/main" id="{60702B56-DECD-447B-A9E3-E75220CE6451}"/>
              </a:ext>
            </a:extLst>
          </p:cNvPr>
          <p:cNvGrpSpPr/>
          <p:nvPr/>
        </p:nvGrpSpPr>
        <p:grpSpPr>
          <a:xfrm>
            <a:off x="292248" y="5602309"/>
            <a:ext cx="9114357" cy="430250"/>
            <a:chOff x="18839" y="5947084"/>
            <a:chExt cx="9114357" cy="430250"/>
          </a:xfrm>
        </p:grpSpPr>
        <p:sp>
          <p:nvSpPr>
            <p:cNvPr id="128" name="CuadroTexto 127">
              <a:extLst>
                <a:ext uri="{FF2B5EF4-FFF2-40B4-BE49-F238E27FC236}">
                  <a16:creationId xmlns:a16="http://schemas.microsoft.com/office/drawing/2014/main" id="{ED59BBA5-78C0-4BAE-A239-BB0D192DF18D}"/>
                </a:ext>
              </a:extLst>
            </p:cNvPr>
            <p:cNvSpPr txBox="1"/>
            <p:nvPr/>
          </p:nvSpPr>
          <p:spPr>
            <a:xfrm>
              <a:off x="622850" y="5947084"/>
              <a:ext cx="3114261" cy="276999"/>
            </a:xfrm>
            <a:prstGeom prst="rect">
              <a:avLst/>
            </a:prstGeom>
            <a:noFill/>
          </p:spPr>
          <p:txBody>
            <a:bodyPr wrap="square" rtlCol="0">
              <a:spAutoFit/>
            </a:bodyPr>
            <a:lstStyle/>
            <a:p>
              <a:r>
                <a:rPr lang="es-CO" sz="1200" b="1" i="1">
                  <a:latin typeface="Arial" panose="020B0604020202020204" pitchFamily="34" charset="0"/>
                  <a:cs typeface="Arial" panose="020B0604020202020204" pitchFamily="34" charset="0"/>
                </a:rPr>
                <a:t>Espacio de preguntas</a:t>
              </a:r>
            </a:p>
          </p:txBody>
        </p:sp>
        <p:sp>
          <p:nvSpPr>
            <p:cNvPr id="129" name="CuadroTexto 128">
              <a:extLst>
                <a:ext uri="{FF2B5EF4-FFF2-40B4-BE49-F238E27FC236}">
                  <a16:creationId xmlns:a16="http://schemas.microsoft.com/office/drawing/2014/main" id="{38F6E427-4252-4DBA-A22D-B030B7878228}"/>
                </a:ext>
              </a:extLst>
            </p:cNvPr>
            <p:cNvSpPr txBox="1"/>
            <p:nvPr/>
          </p:nvSpPr>
          <p:spPr>
            <a:xfrm>
              <a:off x="6018935" y="5947084"/>
              <a:ext cx="3114261" cy="276999"/>
            </a:xfrm>
            <a:prstGeom prst="rect">
              <a:avLst/>
            </a:prstGeom>
            <a:noFill/>
          </p:spPr>
          <p:txBody>
            <a:bodyPr wrap="square" rtlCol="0">
              <a:spAutoFit/>
            </a:bodyPr>
            <a:lstStyle/>
            <a:p>
              <a:r>
                <a:rPr lang="es-CO" sz="1200">
                  <a:latin typeface="Arial" panose="020B0604020202020204" pitchFamily="34" charset="0"/>
                  <a:cs typeface="Arial" panose="020B0604020202020204" pitchFamily="34" charset="0"/>
                </a:rPr>
                <a:t>Espacio de preguntas</a:t>
              </a:r>
            </a:p>
          </p:txBody>
        </p:sp>
        <p:sp>
          <p:nvSpPr>
            <p:cNvPr id="131" name="CuadroTexto 130">
              <a:extLst>
                <a:ext uri="{FF2B5EF4-FFF2-40B4-BE49-F238E27FC236}">
                  <a16:creationId xmlns:a16="http://schemas.microsoft.com/office/drawing/2014/main" id="{7BEB4D49-A38C-4972-AA35-9C77065D91C7}"/>
                </a:ext>
              </a:extLst>
            </p:cNvPr>
            <p:cNvSpPr txBox="1"/>
            <p:nvPr/>
          </p:nvSpPr>
          <p:spPr>
            <a:xfrm>
              <a:off x="3960147" y="5978499"/>
              <a:ext cx="1775792" cy="276999"/>
            </a:xfrm>
            <a:prstGeom prst="rect">
              <a:avLst/>
            </a:prstGeom>
            <a:noFill/>
          </p:spPr>
          <p:txBody>
            <a:bodyPr wrap="square" rtlCol="0">
              <a:spAutoFit/>
            </a:bodyPr>
            <a:lstStyle/>
            <a:p>
              <a:pPr algn="ctr"/>
              <a:r>
                <a:rPr lang="es-CO" sz="1200" i="1">
                  <a:latin typeface="Arial" panose="020B0604020202020204" pitchFamily="34" charset="0"/>
                  <a:cs typeface="Arial" panose="020B0604020202020204" pitchFamily="34" charset="0"/>
                </a:rPr>
                <a:t>20 m</a:t>
              </a:r>
              <a:endParaRPr lang="es-CO" sz="1200">
                <a:latin typeface="Arial" panose="020B0604020202020204" pitchFamily="34" charset="0"/>
                <a:cs typeface="Arial" panose="020B0604020202020204" pitchFamily="34" charset="0"/>
              </a:endParaRPr>
            </a:p>
          </p:txBody>
        </p:sp>
        <p:pic>
          <p:nvPicPr>
            <p:cNvPr id="132" name="Picture 4" descr="Empathy PNG Images | Vector and PSD Files | Free Download on Pngtree">
              <a:extLst>
                <a:ext uri="{FF2B5EF4-FFF2-40B4-BE49-F238E27FC236}">
                  <a16:creationId xmlns:a16="http://schemas.microsoft.com/office/drawing/2014/main" id="{D85EFBB4-82A1-4AEB-A02E-54D3607A36BA}"/>
                </a:ext>
              </a:extLst>
            </p:cNvPr>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l="6328" t="22271" r="6102" b="19906"/>
            <a:stretch/>
          </p:blipFill>
          <p:spPr bwMode="auto">
            <a:xfrm>
              <a:off x="18839" y="5978499"/>
              <a:ext cx="604011" cy="39883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3" name="Grupo 132">
            <a:extLst>
              <a:ext uri="{FF2B5EF4-FFF2-40B4-BE49-F238E27FC236}">
                <a16:creationId xmlns:a16="http://schemas.microsoft.com/office/drawing/2014/main" id="{230FEFAE-02E8-496A-B8AD-506B3F9F1126}"/>
              </a:ext>
            </a:extLst>
          </p:cNvPr>
          <p:cNvGrpSpPr/>
          <p:nvPr/>
        </p:nvGrpSpPr>
        <p:grpSpPr>
          <a:xfrm>
            <a:off x="470908" y="4903514"/>
            <a:ext cx="10620200" cy="545404"/>
            <a:chOff x="197499" y="5168950"/>
            <a:chExt cx="10620200" cy="545404"/>
          </a:xfrm>
        </p:grpSpPr>
        <p:sp>
          <p:nvSpPr>
            <p:cNvPr id="134" name="CuadroTexto 133">
              <a:extLst>
                <a:ext uri="{FF2B5EF4-FFF2-40B4-BE49-F238E27FC236}">
                  <a16:creationId xmlns:a16="http://schemas.microsoft.com/office/drawing/2014/main" id="{5BC2AB0D-6046-4152-AF02-7891CB54CA54}"/>
                </a:ext>
              </a:extLst>
            </p:cNvPr>
            <p:cNvSpPr txBox="1"/>
            <p:nvPr/>
          </p:nvSpPr>
          <p:spPr>
            <a:xfrm>
              <a:off x="622850" y="5261283"/>
              <a:ext cx="3114261" cy="276999"/>
            </a:xfrm>
            <a:prstGeom prst="rect">
              <a:avLst/>
            </a:prstGeom>
            <a:noFill/>
          </p:spPr>
          <p:txBody>
            <a:bodyPr wrap="square" rtlCol="0">
              <a:spAutoFit/>
            </a:bodyPr>
            <a:lstStyle/>
            <a:p>
              <a:r>
                <a:rPr lang="es-CO" sz="1200" b="1" i="1">
                  <a:latin typeface="Arial" panose="020B0604020202020204" pitchFamily="34" charset="0"/>
                  <a:cs typeface="Arial" panose="020B0604020202020204" pitchFamily="34" charset="0"/>
                </a:rPr>
                <a:t>Elemento 3: Modelo de relacionamiento</a:t>
              </a:r>
            </a:p>
          </p:txBody>
        </p:sp>
        <p:sp>
          <p:nvSpPr>
            <p:cNvPr id="135" name="CuadroTexto 134">
              <a:extLst>
                <a:ext uri="{FF2B5EF4-FFF2-40B4-BE49-F238E27FC236}">
                  <a16:creationId xmlns:a16="http://schemas.microsoft.com/office/drawing/2014/main" id="{0972EA45-CA71-4C58-B3E3-2CE03A37733F}"/>
                </a:ext>
              </a:extLst>
            </p:cNvPr>
            <p:cNvSpPr txBox="1"/>
            <p:nvPr/>
          </p:nvSpPr>
          <p:spPr>
            <a:xfrm>
              <a:off x="6018935" y="5168950"/>
              <a:ext cx="3114261" cy="461665"/>
            </a:xfrm>
            <a:prstGeom prst="rect">
              <a:avLst/>
            </a:prstGeom>
            <a:noFill/>
          </p:spPr>
          <p:txBody>
            <a:bodyPr wrap="square" rtlCol="0">
              <a:spAutoFit/>
            </a:bodyPr>
            <a:lstStyle/>
            <a:p>
              <a:r>
                <a:rPr lang="es-CO" sz="1200" dirty="0">
                  <a:latin typeface="Arial" panose="020B0604020202020204" pitchFamily="34" charset="0"/>
                  <a:cs typeface="Arial" panose="020B0604020202020204" pitchFamily="34" charset="0"/>
                </a:rPr>
                <a:t>Breve explicación del Modelo de Relacionamiento y quiz sobre el modelo</a:t>
              </a:r>
            </a:p>
          </p:txBody>
        </p:sp>
        <p:sp>
          <p:nvSpPr>
            <p:cNvPr id="136" name="CuadroTexto 135">
              <a:extLst>
                <a:ext uri="{FF2B5EF4-FFF2-40B4-BE49-F238E27FC236}">
                  <a16:creationId xmlns:a16="http://schemas.microsoft.com/office/drawing/2014/main" id="{10F2F476-E3DF-44DB-93E1-67C528B845D4}"/>
                </a:ext>
              </a:extLst>
            </p:cNvPr>
            <p:cNvSpPr txBox="1"/>
            <p:nvPr/>
          </p:nvSpPr>
          <p:spPr>
            <a:xfrm>
              <a:off x="3990127" y="5261283"/>
              <a:ext cx="1775792" cy="276999"/>
            </a:xfrm>
            <a:prstGeom prst="rect">
              <a:avLst/>
            </a:prstGeom>
            <a:noFill/>
          </p:spPr>
          <p:txBody>
            <a:bodyPr wrap="square" rtlCol="0">
              <a:spAutoFit/>
            </a:bodyPr>
            <a:lstStyle/>
            <a:p>
              <a:pPr algn="ctr"/>
              <a:r>
                <a:rPr lang="es-CO" sz="1200" i="1" dirty="0">
                  <a:latin typeface="Arial" panose="020B0604020202020204" pitchFamily="34" charset="0"/>
                  <a:cs typeface="Arial" panose="020B0604020202020204" pitchFamily="34" charset="0"/>
                </a:rPr>
                <a:t>15 m</a:t>
              </a:r>
              <a:endParaRPr lang="es-CO" sz="1200" dirty="0">
                <a:latin typeface="Arial" panose="020B0604020202020204" pitchFamily="34" charset="0"/>
                <a:cs typeface="Arial" panose="020B0604020202020204" pitchFamily="34" charset="0"/>
              </a:endParaRPr>
            </a:p>
          </p:txBody>
        </p:sp>
        <p:sp>
          <p:nvSpPr>
            <p:cNvPr id="137" name="CuadroTexto 136">
              <a:extLst>
                <a:ext uri="{FF2B5EF4-FFF2-40B4-BE49-F238E27FC236}">
                  <a16:creationId xmlns:a16="http://schemas.microsoft.com/office/drawing/2014/main" id="{E07EEAAE-3F46-4635-B660-163BBE708926}"/>
                </a:ext>
              </a:extLst>
            </p:cNvPr>
            <p:cNvSpPr txBox="1"/>
            <p:nvPr/>
          </p:nvSpPr>
          <p:spPr>
            <a:xfrm>
              <a:off x="9234514" y="5173236"/>
              <a:ext cx="1302601" cy="461665"/>
            </a:xfrm>
            <a:prstGeom prst="rect">
              <a:avLst/>
            </a:prstGeom>
            <a:noFill/>
          </p:spPr>
          <p:txBody>
            <a:bodyPr wrap="square" rtlCol="0">
              <a:spAutoFit/>
            </a:bodyPr>
            <a:lstStyle>
              <a:defPPr>
                <a:defRPr lang="es-CO"/>
              </a:defPPr>
              <a:lvl1pPr>
                <a:defRPr sz="1600">
                  <a:latin typeface="Arial" panose="020B0604020202020204" pitchFamily="34" charset="0"/>
                  <a:cs typeface="Arial" panose="020B0604020202020204" pitchFamily="34" charset="0"/>
                </a:defRPr>
              </a:lvl1pPr>
            </a:lstStyle>
            <a:p>
              <a:pPr marL="171450" indent="-171450">
                <a:buFont typeface="Arial" panose="020B0604020202020204" pitchFamily="34" charset="0"/>
                <a:buChar char="•"/>
              </a:pPr>
              <a:r>
                <a:rPr lang="es-CO" sz="1200" dirty="0"/>
                <a:t>Presentación </a:t>
              </a:r>
            </a:p>
            <a:p>
              <a:pPr marL="171450" indent="-171450">
                <a:buFont typeface="Arial" panose="020B0604020202020204" pitchFamily="34" charset="0"/>
                <a:buChar char="•"/>
              </a:pPr>
              <a:r>
                <a:rPr lang="es-CO" sz="1200" dirty="0" err="1"/>
                <a:t>Mentimeter</a:t>
              </a:r>
              <a:endParaRPr lang="es-CO" sz="1200" dirty="0"/>
            </a:p>
          </p:txBody>
        </p:sp>
        <p:pic>
          <p:nvPicPr>
            <p:cNvPr id="138" name="Picture 6" descr="Apoyanos">
              <a:extLst>
                <a:ext uri="{FF2B5EF4-FFF2-40B4-BE49-F238E27FC236}">
                  <a16:creationId xmlns:a16="http://schemas.microsoft.com/office/drawing/2014/main" id="{5BCB04AD-8A35-4E76-831A-BE37AB758B9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7499" y="5276437"/>
              <a:ext cx="246690" cy="246690"/>
            </a:xfrm>
            <a:prstGeom prst="rect">
              <a:avLst/>
            </a:prstGeom>
            <a:noFill/>
            <a:extLst>
              <a:ext uri="{909E8E84-426E-40DD-AFC4-6F175D3DCCD1}">
                <a14:hiddenFill xmlns:a14="http://schemas.microsoft.com/office/drawing/2010/main">
                  <a:solidFill>
                    <a:srgbClr val="FFFFFF"/>
                  </a:solidFill>
                </a14:hiddenFill>
              </a:ext>
            </a:extLst>
          </p:spPr>
        </p:pic>
        <p:cxnSp>
          <p:nvCxnSpPr>
            <p:cNvPr id="139" name="Conector recto 138">
              <a:extLst>
                <a:ext uri="{FF2B5EF4-FFF2-40B4-BE49-F238E27FC236}">
                  <a16:creationId xmlns:a16="http://schemas.microsoft.com/office/drawing/2014/main" id="{C3E2F61F-1C4B-476B-A2BD-A0EB158221F7}"/>
                </a:ext>
              </a:extLst>
            </p:cNvPr>
            <p:cNvCxnSpPr>
              <a:cxnSpLocks/>
            </p:cNvCxnSpPr>
            <p:nvPr/>
          </p:nvCxnSpPr>
          <p:spPr>
            <a:xfrm>
              <a:off x="1078087" y="5714354"/>
              <a:ext cx="2203787"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cxnSp>
          <p:nvCxnSpPr>
            <p:cNvPr id="140" name="Conector recto 139">
              <a:extLst>
                <a:ext uri="{FF2B5EF4-FFF2-40B4-BE49-F238E27FC236}">
                  <a16:creationId xmlns:a16="http://schemas.microsoft.com/office/drawing/2014/main" id="{113CCA2C-1CA9-4102-92F6-87C454341705}"/>
                </a:ext>
              </a:extLst>
            </p:cNvPr>
            <p:cNvCxnSpPr>
              <a:cxnSpLocks/>
            </p:cNvCxnSpPr>
            <p:nvPr/>
          </p:nvCxnSpPr>
          <p:spPr>
            <a:xfrm>
              <a:off x="6364967" y="5708410"/>
              <a:ext cx="2300478"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cxnSp>
          <p:nvCxnSpPr>
            <p:cNvPr id="141" name="Conector recto 140">
              <a:extLst>
                <a:ext uri="{FF2B5EF4-FFF2-40B4-BE49-F238E27FC236}">
                  <a16:creationId xmlns:a16="http://schemas.microsoft.com/office/drawing/2014/main" id="{A84DA711-F321-4D6A-8C5F-7514C157EC7F}"/>
                </a:ext>
              </a:extLst>
            </p:cNvPr>
            <p:cNvCxnSpPr>
              <a:cxnSpLocks/>
            </p:cNvCxnSpPr>
            <p:nvPr/>
          </p:nvCxnSpPr>
          <p:spPr>
            <a:xfrm>
              <a:off x="9447323" y="5689213"/>
              <a:ext cx="1370376"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cxnSp>
          <p:nvCxnSpPr>
            <p:cNvPr id="142" name="Conector recto 141">
              <a:extLst>
                <a:ext uri="{FF2B5EF4-FFF2-40B4-BE49-F238E27FC236}">
                  <a16:creationId xmlns:a16="http://schemas.microsoft.com/office/drawing/2014/main" id="{6B8615B1-8EDC-48F5-B371-CCB9A26F6263}"/>
                </a:ext>
              </a:extLst>
            </p:cNvPr>
            <p:cNvCxnSpPr>
              <a:cxnSpLocks/>
            </p:cNvCxnSpPr>
            <p:nvPr/>
          </p:nvCxnSpPr>
          <p:spPr>
            <a:xfrm>
              <a:off x="4186335" y="5704763"/>
              <a:ext cx="1383377"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grpSp>
      <p:grpSp>
        <p:nvGrpSpPr>
          <p:cNvPr id="143" name="Grupo 142">
            <a:extLst>
              <a:ext uri="{FF2B5EF4-FFF2-40B4-BE49-F238E27FC236}">
                <a16:creationId xmlns:a16="http://schemas.microsoft.com/office/drawing/2014/main" id="{C2B0831D-672E-4270-8739-782D42787680}"/>
              </a:ext>
            </a:extLst>
          </p:cNvPr>
          <p:cNvGrpSpPr/>
          <p:nvPr/>
        </p:nvGrpSpPr>
        <p:grpSpPr>
          <a:xfrm>
            <a:off x="470908" y="1873058"/>
            <a:ext cx="10822908" cy="583037"/>
            <a:chOff x="197499" y="2057233"/>
            <a:chExt cx="10822908" cy="583037"/>
          </a:xfrm>
        </p:grpSpPr>
        <p:sp>
          <p:nvSpPr>
            <p:cNvPr id="144" name="CuadroTexto 143">
              <a:extLst>
                <a:ext uri="{FF2B5EF4-FFF2-40B4-BE49-F238E27FC236}">
                  <a16:creationId xmlns:a16="http://schemas.microsoft.com/office/drawing/2014/main" id="{9A40AC9D-F2DE-429E-B1E7-87793BEF9411}"/>
                </a:ext>
              </a:extLst>
            </p:cNvPr>
            <p:cNvSpPr txBox="1"/>
            <p:nvPr/>
          </p:nvSpPr>
          <p:spPr>
            <a:xfrm>
              <a:off x="622850" y="2057233"/>
              <a:ext cx="3114261" cy="461665"/>
            </a:xfrm>
            <a:prstGeom prst="rect">
              <a:avLst/>
            </a:prstGeom>
            <a:noFill/>
          </p:spPr>
          <p:txBody>
            <a:bodyPr wrap="square" rtlCol="0">
              <a:spAutoFit/>
            </a:bodyPr>
            <a:lstStyle/>
            <a:p>
              <a:r>
                <a:rPr lang="es-CO" sz="1200" b="1" i="1">
                  <a:latin typeface="Arial" panose="020B0604020202020204" pitchFamily="34" charset="0"/>
                  <a:cs typeface="Arial" panose="020B0604020202020204" pitchFamily="34" charset="0"/>
                </a:rPr>
                <a:t>Quiz validación propósito Gobierno Corporativo</a:t>
              </a:r>
              <a:endParaRPr lang="es-CO" sz="1200">
                <a:latin typeface="Arial" panose="020B0604020202020204" pitchFamily="34" charset="0"/>
                <a:cs typeface="Arial" panose="020B0604020202020204" pitchFamily="34" charset="0"/>
              </a:endParaRPr>
            </a:p>
          </p:txBody>
        </p:sp>
        <p:sp>
          <p:nvSpPr>
            <p:cNvPr id="145" name="CuadroTexto 144">
              <a:extLst>
                <a:ext uri="{FF2B5EF4-FFF2-40B4-BE49-F238E27FC236}">
                  <a16:creationId xmlns:a16="http://schemas.microsoft.com/office/drawing/2014/main" id="{CFD7A2B8-7760-4F47-9755-80C90649B2FD}"/>
                </a:ext>
              </a:extLst>
            </p:cNvPr>
            <p:cNvSpPr txBox="1"/>
            <p:nvPr/>
          </p:nvSpPr>
          <p:spPr>
            <a:xfrm>
              <a:off x="6018935" y="2057233"/>
              <a:ext cx="3114261" cy="461665"/>
            </a:xfrm>
            <a:prstGeom prst="rect">
              <a:avLst/>
            </a:prstGeom>
            <a:noFill/>
          </p:spPr>
          <p:txBody>
            <a:bodyPr wrap="square" rtlCol="0">
              <a:spAutoFit/>
            </a:bodyPr>
            <a:lstStyle/>
            <a:p>
              <a:r>
                <a:rPr lang="es-CO" sz="1200">
                  <a:latin typeface="Arial" panose="020B0604020202020204" pitchFamily="34" charset="0"/>
                  <a:cs typeface="Arial" panose="020B0604020202020204" pitchFamily="34" charset="0"/>
                </a:rPr>
                <a:t>Breve quiz con preguntas sobre beneficios, elementos y objetivos.</a:t>
              </a:r>
            </a:p>
          </p:txBody>
        </p:sp>
        <p:sp>
          <p:nvSpPr>
            <p:cNvPr id="146" name="CuadroTexto 145">
              <a:extLst>
                <a:ext uri="{FF2B5EF4-FFF2-40B4-BE49-F238E27FC236}">
                  <a16:creationId xmlns:a16="http://schemas.microsoft.com/office/drawing/2014/main" id="{288966CF-A2CB-4920-8B6E-870D67CE8DB4}"/>
                </a:ext>
              </a:extLst>
            </p:cNvPr>
            <p:cNvSpPr txBox="1"/>
            <p:nvPr/>
          </p:nvSpPr>
          <p:spPr>
            <a:xfrm>
              <a:off x="9264494" y="2149566"/>
              <a:ext cx="1755913" cy="276999"/>
            </a:xfrm>
            <a:prstGeom prst="rect">
              <a:avLst/>
            </a:prstGeom>
            <a:noFill/>
          </p:spPr>
          <p:txBody>
            <a:bodyPr wrap="square" rtlCol="0">
              <a:spAutoFit/>
            </a:bodyPr>
            <a:lstStyle>
              <a:defPPr>
                <a:defRPr lang="es-CO"/>
              </a:defPPr>
              <a:lvl1pPr>
                <a:defRPr sz="1600">
                  <a:latin typeface="Arial" panose="020B0604020202020204" pitchFamily="34" charset="0"/>
                  <a:cs typeface="Arial" panose="020B0604020202020204" pitchFamily="34" charset="0"/>
                </a:defRPr>
              </a:lvl1pPr>
            </a:lstStyle>
            <a:p>
              <a:r>
                <a:rPr lang="es-CO" sz="1200" err="1"/>
                <a:t>Mentimeter</a:t>
              </a:r>
              <a:endParaRPr lang="es-CO" sz="1200"/>
            </a:p>
          </p:txBody>
        </p:sp>
        <p:sp>
          <p:nvSpPr>
            <p:cNvPr id="147" name="CuadroTexto 146">
              <a:extLst>
                <a:ext uri="{FF2B5EF4-FFF2-40B4-BE49-F238E27FC236}">
                  <a16:creationId xmlns:a16="http://schemas.microsoft.com/office/drawing/2014/main" id="{7B9ED864-7CF7-4FC1-AAEB-6C50E8128BD6}"/>
                </a:ext>
              </a:extLst>
            </p:cNvPr>
            <p:cNvSpPr txBox="1"/>
            <p:nvPr/>
          </p:nvSpPr>
          <p:spPr>
            <a:xfrm>
              <a:off x="3990127" y="2149566"/>
              <a:ext cx="1775792" cy="276999"/>
            </a:xfrm>
            <a:prstGeom prst="rect">
              <a:avLst/>
            </a:prstGeom>
            <a:noFill/>
          </p:spPr>
          <p:txBody>
            <a:bodyPr wrap="square" rtlCol="0">
              <a:spAutoFit/>
            </a:bodyPr>
            <a:lstStyle/>
            <a:p>
              <a:pPr algn="ctr"/>
              <a:r>
                <a:rPr lang="es-CO" sz="1200" i="1" dirty="0">
                  <a:latin typeface="Arial" panose="020B0604020202020204" pitchFamily="34" charset="0"/>
                  <a:cs typeface="Arial" panose="020B0604020202020204" pitchFamily="34" charset="0"/>
                </a:rPr>
                <a:t>5 m</a:t>
              </a:r>
              <a:endParaRPr lang="es-CO" sz="1200" dirty="0">
                <a:latin typeface="Arial" panose="020B0604020202020204" pitchFamily="34" charset="0"/>
                <a:cs typeface="Arial" panose="020B0604020202020204" pitchFamily="34" charset="0"/>
              </a:endParaRPr>
            </a:p>
          </p:txBody>
        </p:sp>
        <p:pic>
          <p:nvPicPr>
            <p:cNvPr id="148" name="Picture 6" descr="Apoyanos">
              <a:extLst>
                <a:ext uri="{FF2B5EF4-FFF2-40B4-BE49-F238E27FC236}">
                  <a16:creationId xmlns:a16="http://schemas.microsoft.com/office/drawing/2014/main" id="{4B1C7764-E939-4F67-A9D8-34E24974199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7499" y="2164720"/>
              <a:ext cx="246690" cy="246690"/>
            </a:xfrm>
            <a:prstGeom prst="rect">
              <a:avLst/>
            </a:prstGeom>
            <a:noFill/>
            <a:extLst>
              <a:ext uri="{909E8E84-426E-40DD-AFC4-6F175D3DCCD1}">
                <a14:hiddenFill xmlns:a14="http://schemas.microsoft.com/office/drawing/2010/main">
                  <a:solidFill>
                    <a:srgbClr val="FFFFFF"/>
                  </a:solidFill>
                </a14:hiddenFill>
              </a:ext>
            </a:extLst>
          </p:spPr>
        </p:pic>
        <p:cxnSp>
          <p:nvCxnSpPr>
            <p:cNvPr id="149" name="Conector recto 148">
              <a:extLst>
                <a:ext uri="{FF2B5EF4-FFF2-40B4-BE49-F238E27FC236}">
                  <a16:creationId xmlns:a16="http://schemas.microsoft.com/office/drawing/2014/main" id="{3DD257FE-0DBC-4BDE-8E41-F0693773C024}"/>
                </a:ext>
              </a:extLst>
            </p:cNvPr>
            <p:cNvCxnSpPr>
              <a:cxnSpLocks/>
            </p:cNvCxnSpPr>
            <p:nvPr/>
          </p:nvCxnSpPr>
          <p:spPr>
            <a:xfrm>
              <a:off x="1078087" y="2640270"/>
              <a:ext cx="2203787"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cxnSp>
          <p:nvCxnSpPr>
            <p:cNvPr id="150" name="Conector recto 149">
              <a:extLst>
                <a:ext uri="{FF2B5EF4-FFF2-40B4-BE49-F238E27FC236}">
                  <a16:creationId xmlns:a16="http://schemas.microsoft.com/office/drawing/2014/main" id="{6A192D05-FA68-4C91-B411-42299285EFCC}"/>
                </a:ext>
              </a:extLst>
            </p:cNvPr>
            <p:cNvCxnSpPr>
              <a:cxnSpLocks/>
            </p:cNvCxnSpPr>
            <p:nvPr/>
          </p:nvCxnSpPr>
          <p:spPr>
            <a:xfrm>
              <a:off x="6364967" y="2634326"/>
              <a:ext cx="2300478"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cxnSp>
          <p:nvCxnSpPr>
            <p:cNvPr id="151" name="Conector recto 150">
              <a:extLst>
                <a:ext uri="{FF2B5EF4-FFF2-40B4-BE49-F238E27FC236}">
                  <a16:creationId xmlns:a16="http://schemas.microsoft.com/office/drawing/2014/main" id="{70130B1F-D0F6-464E-B312-55BB85042484}"/>
                </a:ext>
              </a:extLst>
            </p:cNvPr>
            <p:cNvCxnSpPr>
              <a:cxnSpLocks/>
            </p:cNvCxnSpPr>
            <p:nvPr/>
          </p:nvCxnSpPr>
          <p:spPr>
            <a:xfrm>
              <a:off x="9447323" y="2615129"/>
              <a:ext cx="1370376"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cxnSp>
          <p:nvCxnSpPr>
            <p:cNvPr id="152" name="Conector recto 151">
              <a:extLst>
                <a:ext uri="{FF2B5EF4-FFF2-40B4-BE49-F238E27FC236}">
                  <a16:creationId xmlns:a16="http://schemas.microsoft.com/office/drawing/2014/main" id="{C3DB8877-7BF3-4FAC-A3D2-5BA95D944800}"/>
                </a:ext>
              </a:extLst>
            </p:cNvPr>
            <p:cNvCxnSpPr>
              <a:cxnSpLocks/>
            </p:cNvCxnSpPr>
            <p:nvPr/>
          </p:nvCxnSpPr>
          <p:spPr>
            <a:xfrm>
              <a:off x="4186335" y="2630679"/>
              <a:ext cx="1383377"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grpSp>
      <p:grpSp>
        <p:nvGrpSpPr>
          <p:cNvPr id="153" name="Grupo 152">
            <a:extLst>
              <a:ext uri="{FF2B5EF4-FFF2-40B4-BE49-F238E27FC236}">
                <a16:creationId xmlns:a16="http://schemas.microsoft.com/office/drawing/2014/main" id="{C74AA7BD-0482-4430-AE80-88955BE81BD6}"/>
              </a:ext>
            </a:extLst>
          </p:cNvPr>
          <p:cNvGrpSpPr/>
          <p:nvPr/>
        </p:nvGrpSpPr>
        <p:grpSpPr>
          <a:xfrm>
            <a:off x="430680" y="2559905"/>
            <a:ext cx="11761320" cy="571246"/>
            <a:chOff x="157271" y="2580358"/>
            <a:chExt cx="11761320" cy="571246"/>
          </a:xfrm>
        </p:grpSpPr>
        <p:cxnSp>
          <p:nvCxnSpPr>
            <p:cNvPr id="154" name="Conector recto 153">
              <a:extLst>
                <a:ext uri="{FF2B5EF4-FFF2-40B4-BE49-F238E27FC236}">
                  <a16:creationId xmlns:a16="http://schemas.microsoft.com/office/drawing/2014/main" id="{257C7050-446B-4BC0-AE56-15B1276BF84B}"/>
                </a:ext>
              </a:extLst>
            </p:cNvPr>
            <p:cNvCxnSpPr>
              <a:cxnSpLocks/>
            </p:cNvCxnSpPr>
            <p:nvPr/>
          </p:nvCxnSpPr>
          <p:spPr>
            <a:xfrm>
              <a:off x="1078087" y="3151604"/>
              <a:ext cx="2203787"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cxnSp>
          <p:nvCxnSpPr>
            <p:cNvPr id="155" name="Conector recto 154">
              <a:extLst>
                <a:ext uri="{FF2B5EF4-FFF2-40B4-BE49-F238E27FC236}">
                  <a16:creationId xmlns:a16="http://schemas.microsoft.com/office/drawing/2014/main" id="{1EDA848A-C3C5-44F2-B0B2-5B39061E32D7}"/>
                </a:ext>
              </a:extLst>
            </p:cNvPr>
            <p:cNvCxnSpPr>
              <a:cxnSpLocks/>
            </p:cNvCxnSpPr>
            <p:nvPr/>
          </p:nvCxnSpPr>
          <p:spPr>
            <a:xfrm>
              <a:off x="6364967" y="3151604"/>
              <a:ext cx="2300478"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cxnSp>
          <p:nvCxnSpPr>
            <p:cNvPr id="156" name="Conector recto 155">
              <a:extLst>
                <a:ext uri="{FF2B5EF4-FFF2-40B4-BE49-F238E27FC236}">
                  <a16:creationId xmlns:a16="http://schemas.microsoft.com/office/drawing/2014/main" id="{6D136770-E5C6-4FD4-994A-347A35303349}"/>
                </a:ext>
              </a:extLst>
            </p:cNvPr>
            <p:cNvCxnSpPr>
              <a:cxnSpLocks/>
            </p:cNvCxnSpPr>
            <p:nvPr/>
          </p:nvCxnSpPr>
          <p:spPr>
            <a:xfrm>
              <a:off x="9447323" y="3151604"/>
              <a:ext cx="1370376"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cxnSp>
          <p:nvCxnSpPr>
            <p:cNvPr id="157" name="Conector recto 156">
              <a:extLst>
                <a:ext uri="{FF2B5EF4-FFF2-40B4-BE49-F238E27FC236}">
                  <a16:creationId xmlns:a16="http://schemas.microsoft.com/office/drawing/2014/main" id="{53B5734F-88D4-4463-BC76-B0A78957F1BB}"/>
                </a:ext>
              </a:extLst>
            </p:cNvPr>
            <p:cNvCxnSpPr>
              <a:cxnSpLocks/>
            </p:cNvCxnSpPr>
            <p:nvPr/>
          </p:nvCxnSpPr>
          <p:spPr>
            <a:xfrm>
              <a:off x="4186335" y="3151604"/>
              <a:ext cx="1383377"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sp>
          <p:nvSpPr>
            <p:cNvPr id="158" name="CuadroTexto 157">
              <a:extLst>
                <a:ext uri="{FF2B5EF4-FFF2-40B4-BE49-F238E27FC236}">
                  <a16:creationId xmlns:a16="http://schemas.microsoft.com/office/drawing/2014/main" id="{D7DCC36E-87EB-40F0-B8DA-26802C828AF9}"/>
                </a:ext>
              </a:extLst>
            </p:cNvPr>
            <p:cNvSpPr txBox="1"/>
            <p:nvPr/>
          </p:nvSpPr>
          <p:spPr>
            <a:xfrm>
              <a:off x="3990127" y="2672691"/>
              <a:ext cx="1775792" cy="276999"/>
            </a:xfrm>
            <a:prstGeom prst="rect">
              <a:avLst/>
            </a:prstGeom>
            <a:noFill/>
          </p:spPr>
          <p:txBody>
            <a:bodyPr wrap="square" rtlCol="0">
              <a:spAutoFit/>
            </a:bodyPr>
            <a:lstStyle/>
            <a:p>
              <a:pPr algn="ctr"/>
              <a:r>
                <a:rPr lang="es-CO" sz="1200" i="1" dirty="0">
                  <a:latin typeface="Arial" panose="020B0604020202020204" pitchFamily="34" charset="0"/>
                  <a:cs typeface="Arial" panose="020B0604020202020204" pitchFamily="34" charset="0"/>
                </a:rPr>
                <a:t>15 m</a:t>
              </a:r>
              <a:endParaRPr lang="es-CO" sz="1200" dirty="0">
                <a:latin typeface="Arial" panose="020B0604020202020204" pitchFamily="34" charset="0"/>
                <a:cs typeface="Arial" panose="020B0604020202020204" pitchFamily="34" charset="0"/>
              </a:endParaRPr>
            </a:p>
          </p:txBody>
        </p:sp>
        <p:pic>
          <p:nvPicPr>
            <p:cNvPr id="159" name="Picture 2" descr="Cognitivo - Iconos gratis de personas">
              <a:extLst>
                <a:ext uri="{FF2B5EF4-FFF2-40B4-BE49-F238E27FC236}">
                  <a16:creationId xmlns:a16="http://schemas.microsoft.com/office/drawing/2014/main" id="{9E8D376D-8F72-4FAA-8753-2439E745B16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7271" y="2647617"/>
              <a:ext cx="327147" cy="327147"/>
            </a:xfrm>
            <a:prstGeom prst="rect">
              <a:avLst/>
            </a:prstGeom>
            <a:noFill/>
            <a:extLst>
              <a:ext uri="{909E8E84-426E-40DD-AFC4-6F175D3DCCD1}">
                <a14:hiddenFill xmlns:a14="http://schemas.microsoft.com/office/drawing/2010/main">
                  <a:solidFill>
                    <a:srgbClr val="FFFFFF"/>
                  </a:solidFill>
                </a14:hiddenFill>
              </a:ext>
            </a:extLst>
          </p:spPr>
        </p:pic>
        <p:sp>
          <p:nvSpPr>
            <p:cNvPr id="160" name="CuadroTexto 159">
              <a:extLst>
                <a:ext uri="{FF2B5EF4-FFF2-40B4-BE49-F238E27FC236}">
                  <a16:creationId xmlns:a16="http://schemas.microsoft.com/office/drawing/2014/main" id="{C60BD2D3-9268-46A4-A248-8754845A2B7A}"/>
                </a:ext>
              </a:extLst>
            </p:cNvPr>
            <p:cNvSpPr txBox="1"/>
            <p:nvPr/>
          </p:nvSpPr>
          <p:spPr>
            <a:xfrm>
              <a:off x="622850" y="2672691"/>
              <a:ext cx="3114261" cy="276999"/>
            </a:xfrm>
            <a:prstGeom prst="rect">
              <a:avLst/>
            </a:prstGeom>
            <a:noFill/>
          </p:spPr>
          <p:txBody>
            <a:bodyPr wrap="square" rtlCol="0">
              <a:spAutoFit/>
            </a:bodyPr>
            <a:lstStyle/>
            <a:p>
              <a:r>
                <a:rPr lang="es-CO" sz="1200" b="1" i="1">
                  <a:latin typeface="Arial" panose="020B0604020202020204" pitchFamily="34" charset="0"/>
                  <a:cs typeface="Arial" panose="020B0604020202020204" pitchFamily="34" charset="0"/>
                </a:rPr>
                <a:t>Divulgación Macroprocesos</a:t>
              </a:r>
            </a:p>
          </p:txBody>
        </p:sp>
        <p:sp>
          <p:nvSpPr>
            <p:cNvPr id="161" name="CuadroTexto 160">
              <a:extLst>
                <a:ext uri="{FF2B5EF4-FFF2-40B4-BE49-F238E27FC236}">
                  <a16:creationId xmlns:a16="http://schemas.microsoft.com/office/drawing/2014/main" id="{9DEB7601-FDE6-4584-A603-436E8B612A41}"/>
                </a:ext>
              </a:extLst>
            </p:cNvPr>
            <p:cNvSpPr txBox="1"/>
            <p:nvPr/>
          </p:nvSpPr>
          <p:spPr>
            <a:xfrm>
              <a:off x="6018935" y="2580358"/>
              <a:ext cx="3114261" cy="461665"/>
            </a:xfrm>
            <a:prstGeom prst="rect">
              <a:avLst/>
            </a:prstGeom>
            <a:noFill/>
          </p:spPr>
          <p:txBody>
            <a:bodyPr wrap="square" rtlCol="0">
              <a:spAutoFit/>
            </a:bodyPr>
            <a:lstStyle/>
            <a:p>
              <a:r>
                <a:rPr lang="es-CO" sz="1200">
                  <a:latin typeface="Arial" panose="020B0604020202020204" pitchFamily="34" charset="0"/>
                  <a:cs typeface="Arial" panose="020B0604020202020204" pitchFamily="34" charset="0"/>
                </a:rPr>
                <a:t>2do hito del taller de macroprocesos – Gerentes divulgan su proceso, nivel 1</a:t>
              </a:r>
            </a:p>
          </p:txBody>
        </p:sp>
        <p:sp>
          <p:nvSpPr>
            <p:cNvPr id="162" name="CuadroTexto 161">
              <a:extLst>
                <a:ext uri="{FF2B5EF4-FFF2-40B4-BE49-F238E27FC236}">
                  <a16:creationId xmlns:a16="http://schemas.microsoft.com/office/drawing/2014/main" id="{2A62CB7D-E2D1-48FE-AA10-A873E92AE577}"/>
                </a:ext>
              </a:extLst>
            </p:cNvPr>
            <p:cNvSpPr txBox="1"/>
            <p:nvPr/>
          </p:nvSpPr>
          <p:spPr>
            <a:xfrm>
              <a:off x="9234514" y="2662173"/>
              <a:ext cx="2684077" cy="276999"/>
            </a:xfrm>
            <a:prstGeom prst="rect">
              <a:avLst/>
            </a:prstGeom>
            <a:noFill/>
          </p:spPr>
          <p:txBody>
            <a:bodyPr wrap="square" rtlCol="0">
              <a:spAutoFit/>
            </a:bodyPr>
            <a:lstStyle>
              <a:defPPr>
                <a:defRPr lang="es-CO"/>
              </a:defPPr>
              <a:lvl1pPr>
                <a:defRPr sz="1600">
                  <a:latin typeface="Arial" panose="020B0604020202020204" pitchFamily="34" charset="0"/>
                  <a:cs typeface="Arial" panose="020B0604020202020204" pitchFamily="34" charset="0"/>
                </a:defRPr>
              </a:lvl1pPr>
            </a:lstStyle>
            <a:p>
              <a:r>
                <a:rPr lang="es-CO" sz="1200"/>
                <a:t>Presentación</a:t>
              </a:r>
            </a:p>
          </p:txBody>
        </p:sp>
      </p:grpSp>
      <p:grpSp>
        <p:nvGrpSpPr>
          <p:cNvPr id="163" name="Grupo 162">
            <a:extLst>
              <a:ext uri="{FF2B5EF4-FFF2-40B4-BE49-F238E27FC236}">
                <a16:creationId xmlns:a16="http://schemas.microsoft.com/office/drawing/2014/main" id="{4C04BC2E-3186-4C80-B37F-E5B305AAC1ED}"/>
              </a:ext>
            </a:extLst>
          </p:cNvPr>
          <p:cNvGrpSpPr/>
          <p:nvPr/>
        </p:nvGrpSpPr>
        <p:grpSpPr>
          <a:xfrm>
            <a:off x="430680" y="3209283"/>
            <a:ext cx="10863136" cy="695446"/>
            <a:chOff x="157271" y="3081636"/>
            <a:chExt cx="10863136" cy="695446"/>
          </a:xfrm>
        </p:grpSpPr>
        <p:sp>
          <p:nvSpPr>
            <p:cNvPr id="164" name="CuadroTexto 163">
              <a:extLst>
                <a:ext uri="{FF2B5EF4-FFF2-40B4-BE49-F238E27FC236}">
                  <a16:creationId xmlns:a16="http://schemas.microsoft.com/office/drawing/2014/main" id="{BDBFDC69-A308-49F6-B954-651C284DFA8F}"/>
                </a:ext>
              </a:extLst>
            </p:cNvPr>
            <p:cNvSpPr txBox="1"/>
            <p:nvPr/>
          </p:nvSpPr>
          <p:spPr>
            <a:xfrm>
              <a:off x="622850" y="3160172"/>
              <a:ext cx="3114261" cy="461665"/>
            </a:xfrm>
            <a:prstGeom prst="rect">
              <a:avLst/>
            </a:prstGeom>
            <a:noFill/>
          </p:spPr>
          <p:txBody>
            <a:bodyPr wrap="square" rtlCol="0">
              <a:spAutoFit/>
            </a:bodyPr>
            <a:lstStyle/>
            <a:p>
              <a:r>
                <a:rPr lang="es-CO" sz="1200" b="1" i="1">
                  <a:latin typeface="Arial" panose="020B0604020202020204" pitchFamily="34" charset="0"/>
                  <a:cs typeface="Arial" panose="020B0604020202020204" pitchFamily="34" charset="0"/>
                </a:rPr>
                <a:t>Elemento 1:  Documentos corporativos y comités</a:t>
              </a:r>
            </a:p>
          </p:txBody>
        </p:sp>
        <p:sp>
          <p:nvSpPr>
            <p:cNvPr id="165" name="CuadroTexto 164">
              <a:extLst>
                <a:ext uri="{FF2B5EF4-FFF2-40B4-BE49-F238E27FC236}">
                  <a16:creationId xmlns:a16="http://schemas.microsoft.com/office/drawing/2014/main" id="{532C5EF6-9E60-460C-8174-9AA5833C4275}"/>
                </a:ext>
              </a:extLst>
            </p:cNvPr>
            <p:cNvSpPr txBox="1"/>
            <p:nvPr/>
          </p:nvSpPr>
          <p:spPr>
            <a:xfrm>
              <a:off x="6048894" y="3081636"/>
              <a:ext cx="3114261" cy="646331"/>
            </a:xfrm>
            <a:prstGeom prst="rect">
              <a:avLst/>
            </a:prstGeom>
            <a:noFill/>
          </p:spPr>
          <p:txBody>
            <a:bodyPr wrap="square" rtlCol="0">
              <a:spAutoFit/>
            </a:bodyPr>
            <a:lstStyle/>
            <a:p>
              <a:r>
                <a:rPr lang="es-CO" sz="1200">
                  <a:latin typeface="Arial" panose="020B0604020202020204" pitchFamily="34" charset="0"/>
                  <a:cs typeface="Arial" panose="020B0604020202020204" pitchFamily="34" charset="0"/>
                </a:rPr>
                <a:t>Explicación de los diferentes documentos y comités establecidos para cada Vicepresidencia </a:t>
              </a:r>
            </a:p>
          </p:txBody>
        </p:sp>
        <p:sp>
          <p:nvSpPr>
            <p:cNvPr id="166" name="CuadroTexto 165">
              <a:extLst>
                <a:ext uri="{FF2B5EF4-FFF2-40B4-BE49-F238E27FC236}">
                  <a16:creationId xmlns:a16="http://schemas.microsoft.com/office/drawing/2014/main" id="{E051AACB-533A-458D-A6AD-4EE882A51BFA}"/>
                </a:ext>
              </a:extLst>
            </p:cNvPr>
            <p:cNvSpPr txBox="1"/>
            <p:nvPr/>
          </p:nvSpPr>
          <p:spPr>
            <a:xfrm>
              <a:off x="9264494" y="3236319"/>
              <a:ext cx="1755913" cy="276999"/>
            </a:xfrm>
            <a:prstGeom prst="rect">
              <a:avLst/>
            </a:prstGeom>
            <a:noFill/>
          </p:spPr>
          <p:txBody>
            <a:bodyPr wrap="square" rtlCol="0">
              <a:spAutoFit/>
            </a:bodyPr>
            <a:lstStyle>
              <a:defPPr>
                <a:defRPr lang="es-CO"/>
              </a:defPPr>
              <a:lvl1pPr>
                <a:defRPr sz="1600">
                  <a:latin typeface="Arial" panose="020B0604020202020204" pitchFamily="34" charset="0"/>
                  <a:cs typeface="Arial" panose="020B0604020202020204" pitchFamily="34" charset="0"/>
                </a:defRPr>
              </a:lvl1pPr>
            </a:lstStyle>
            <a:p>
              <a:r>
                <a:rPr lang="es-CO" sz="1200"/>
                <a:t>Presentación</a:t>
              </a:r>
            </a:p>
          </p:txBody>
        </p:sp>
        <p:sp>
          <p:nvSpPr>
            <p:cNvPr id="167" name="CuadroTexto 166">
              <a:extLst>
                <a:ext uri="{FF2B5EF4-FFF2-40B4-BE49-F238E27FC236}">
                  <a16:creationId xmlns:a16="http://schemas.microsoft.com/office/drawing/2014/main" id="{6110F769-958A-47EA-9391-D7D10AB9A4BC}"/>
                </a:ext>
              </a:extLst>
            </p:cNvPr>
            <p:cNvSpPr txBox="1"/>
            <p:nvPr/>
          </p:nvSpPr>
          <p:spPr>
            <a:xfrm>
              <a:off x="3990127" y="3241569"/>
              <a:ext cx="1775792" cy="276999"/>
            </a:xfrm>
            <a:prstGeom prst="rect">
              <a:avLst/>
            </a:prstGeom>
            <a:noFill/>
          </p:spPr>
          <p:txBody>
            <a:bodyPr wrap="square" rtlCol="0">
              <a:spAutoFit/>
            </a:bodyPr>
            <a:lstStyle/>
            <a:p>
              <a:pPr algn="ctr"/>
              <a:r>
                <a:rPr lang="es-CO" sz="1200" i="1" dirty="0">
                  <a:latin typeface="Arial" panose="020B0604020202020204" pitchFamily="34" charset="0"/>
                  <a:cs typeface="Arial" panose="020B0604020202020204" pitchFamily="34" charset="0"/>
                </a:rPr>
                <a:t>15 m</a:t>
              </a:r>
              <a:endParaRPr lang="es-CO" sz="1200" dirty="0">
                <a:latin typeface="Arial" panose="020B0604020202020204" pitchFamily="34" charset="0"/>
                <a:cs typeface="Arial" panose="020B0604020202020204" pitchFamily="34" charset="0"/>
              </a:endParaRPr>
            </a:p>
          </p:txBody>
        </p:sp>
        <p:pic>
          <p:nvPicPr>
            <p:cNvPr id="168" name="Picture 2" descr="Cognitivo - Iconos gratis de personas">
              <a:extLst>
                <a:ext uri="{FF2B5EF4-FFF2-40B4-BE49-F238E27FC236}">
                  <a16:creationId xmlns:a16="http://schemas.microsoft.com/office/drawing/2014/main" id="{BFFEDC3F-5D44-459C-AB94-57B812C8143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7271" y="3241229"/>
              <a:ext cx="327147" cy="327147"/>
            </a:xfrm>
            <a:prstGeom prst="rect">
              <a:avLst/>
            </a:prstGeom>
            <a:noFill/>
            <a:extLst>
              <a:ext uri="{909E8E84-426E-40DD-AFC4-6F175D3DCCD1}">
                <a14:hiddenFill xmlns:a14="http://schemas.microsoft.com/office/drawing/2010/main">
                  <a:solidFill>
                    <a:srgbClr val="FFFFFF"/>
                  </a:solidFill>
                </a14:hiddenFill>
              </a:ext>
            </a:extLst>
          </p:spPr>
        </p:pic>
        <p:cxnSp>
          <p:nvCxnSpPr>
            <p:cNvPr id="169" name="Conector recto 168">
              <a:extLst>
                <a:ext uri="{FF2B5EF4-FFF2-40B4-BE49-F238E27FC236}">
                  <a16:creationId xmlns:a16="http://schemas.microsoft.com/office/drawing/2014/main" id="{EFE50E1C-6452-48D5-887E-325BDE8412DF}"/>
                </a:ext>
              </a:extLst>
            </p:cNvPr>
            <p:cNvCxnSpPr>
              <a:cxnSpLocks/>
            </p:cNvCxnSpPr>
            <p:nvPr/>
          </p:nvCxnSpPr>
          <p:spPr>
            <a:xfrm>
              <a:off x="1078087" y="3777082"/>
              <a:ext cx="2203787"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cxnSp>
          <p:nvCxnSpPr>
            <p:cNvPr id="170" name="Conector recto 169">
              <a:extLst>
                <a:ext uri="{FF2B5EF4-FFF2-40B4-BE49-F238E27FC236}">
                  <a16:creationId xmlns:a16="http://schemas.microsoft.com/office/drawing/2014/main" id="{9C6D144F-AE7D-41B8-A40D-748F60DC87E9}"/>
                </a:ext>
              </a:extLst>
            </p:cNvPr>
            <p:cNvCxnSpPr>
              <a:cxnSpLocks/>
            </p:cNvCxnSpPr>
            <p:nvPr/>
          </p:nvCxnSpPr>
          <p:spPr>
            <a:xfrm>
              <a:off x="6364967" y="3777082"/>
              <a:ext cx="2300478"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cxnSp>
          <p:nvCxnSpPr>
            <p:cNvPr id="171" name="Conector recto 170">
              <a:extLst>
                <a:ext uri="{FF2B5EF4-FFF2-40B4-BE49-F238E27FC236}">
                  <a16:creationId xmlns:a16="http://schemas.microsoft.com/office/drawing/2014/main" id="{F9A75E3E-F16F-47D3-AD78-BFC9C9348449}"/>
                </a:ext>
              </a:extLst>
            </p:cNvPr>
            <p:cNvCxnSpPr>
              <a:cxnSpLocks/>
            </p:cNvCxnSpPr>
            <p:nvPr/>
          </p:nvCxnSpPr>
          <p:spPr>
            <a:xfrm>
              <a:off x="9447323" y="3777082"/>
              <a:ext cx="1370376"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cxnSp>
          <p:nvCxnSpPr>
            <p:cNvPr id="172" name="Conector recto 171">
              <a:extLst>
                <a:ext uri="{FF2B5EF4-FFF2-40B4-BE49-F238E27FC236}">
                  <a16:creationId xmlns:a16="http://schemas.microsoft.com/office/drawing/2014/main" id="{3767DA6F-DABE-4D6F-AE17-AB5D8250600B}"/>
                </a:ext>
              </a:extLst>
            </p:cNvPr>
            <p:cNvCxnSpPr>
              <a:cxnSpLocks/>
            </p:cNvCxnSpPr>
            <p:nvPr/>
          </p:nvCxnSpPr>
          <p:spPr>
            <a:xfrm>
              <a:off x="4186335" y="3777082"/>
              <a:ext cx="1383377" cy="0"/>
            </a:xfrm>
            <a:prstGeom prst="line">
              <a:avLst/>
            </a:prstGeom>
            <a:ln>
              <a:solidFill>
                <a:srgbClr val="B6B314"/>
              </a:solidFill>
            </a:ln>
          </p:spPr>
          <p:style>
            <a:lnRef idx="1">
              <a:schemeClr val="accent1"/>
            </a:lnRef>
            <a:fillRef idx="0">
              <a:schemeClr val="accent1"/>
            </a:fillRef>
            <a:effectRef idx="0">
              <a:schemeClr val="accent1"/>
            </a:effectRef>
            <a:fontRef idx="minor">
              <a:schemeClr val="tx1"/>
            </a:fontRef>
          </p:style>
        </p:cxnSp>
      </p:grpSp>
      <p:sp>
        <p:nvSpPr>
          <p:cNvPr id="2" name="Título 3">
            <a:extLst>
              <a:ext uri="{FF2B5EF4-FFF2-40B4-BE49-F238E27FC236}">
                <a16:creationId xmlns:a16="http://schemas.microsoft.com/office/drawing/2014/main" id="{7D76A58A-375F-4061-9D4C-651C14864658}"/>
              </a:ext>
            </a:extLst>
          </p:cNvPr>
          <p:cNvSpPr txBox="1">
            <a:spLocks/>
          </p:cNvSpPr>
          <p:nvPr/>
        </p:nvSpPr>
        <p:spPr>
          <a:xfrm>
            <a:off x="2453389" y="122292"/>
            <a:ext cx="7345180" cy="461665"/>
          </a:xfrm>
          <a:prstGeom prst="rect">
            <a:avLst/>
          </a:prstGeom>
          <a:noFill/>
          <a:ln>
            <a:noFill/>
          </a:ln>
        </p:spPr>
        <p:txBody>
          <a:bodyPr wrap="square" rtlCol="0">
            <a:spAutoFit/>
          </a:bodyPr>
          <a:lstStyle>
            <a:defPPr>
              <a:defRPr lang="es-CO"/>
            </a:defPPr>
            <a:lvl1pPr algn="ctr">
              <a:defRPr sz="2800" b="1">
                <a:solidFill>
                  <a:srgbClr val="10476B"/>
                </a:solidFill>
                <a:latin typeface="Century Gothic" panose="020B0502020202020204" pitchFamily="34" charset="0"/>
                <a:cs typeface="Arial" panose="020B0604020202020204" pitchFamily="34" charset="0"/>
              </a:defRPr>
            </a:lvl1pPr>
            <a:lvl2pPr defTabSz="685145" fontAlgn="base">
              <a:spcBef>
                <a:spcPct val="0"/>
              </a:spcBef>
              <a:spcAft>
                <a:spcPct val="0"/>
              </a:spcAft>
              <a:defRPr sz="1454" b="1">
                <a:solidFill>
                  <a:schemeClr val="tx2"/>
                </a:solidFill>
                <a:latin typeface="Arial" charset="0"/>
              </a:defRPr>
            </a:lvl2pPr>
            <a:lvl3pPr defTabSz="685145" fontAlgn="base">
              <a:spcBef>
                <a:spcPct val="0"/>
              </a:spcBef>
              <a:spcAft>
                <a:spcPct val="0"/>
              </a:spcAft>
              <a:defRPr sz="1454" b="1">
                <a:solidFill>
                  <a:schemeClr val="tx2"/>
                </a:solidFill>
                <a:latin typeface="Arial" charset="0"/>
              </a:defRPr>
            </a:lvl3pPr>
            <a:lvl4pPr defTabSz="685145" fontAlgn="base">
              <a:spcBef>
                <a:spcPct val="0"/>
              </a:spcBef>
              <a:spcAft>
                <a:spcPct val="0"/>
              </a:spcAft>
              <a:defRPr sz="1454" b="1">
                <a:solidFill>
                  <a:schemeClr val="tx2"/>
                </a:solidFill>
                <a:latin typeface="Arial" charset="0"/>
              </a:defRPr>
            </a:lvl4pPr>
            <a:lvl5pPr defTabSz="685145" fontAlgn="base">
              <a:spcBef>
                <a:spcPct val="0"/>
              </a:spcBef>
              <a:spcAft>
                <a:spcPct val="0"/>
              </a:spcAft>
              <a:defRPr sz="1454" b="1">
                <a:solidFill>
                  <a:schemeClr val="tx2"/>
                </a:solidFill>
                <a:latin typeface="Arial" charset="0"/>
              </a:defRPr>
            </a:lvl5pPr>
            <a:lvl6pPr marL="349861" defTabSz="685145" fontAlgn="base">
              <a:spcBef>
                <a:spcPct val="0"/>
              </a:spcBef>
              <a:spcAft>
                <a:spcPct val="0"/>
              </a:spcAft>
              <a:defRPr sz="1454" b="1">
                <a:solidFill>
                  <a:schemeClr val="tx2"/>
                </a:solidFill>
                <a:latin typeface="Arial" charset="0"/>
              </a:defRPr>
            </a:lvl6pPr>
            <a:lvl7pPr marL="699722" defTabSz="685145" fontAlgn="base">
              <a:spcBef>
                <a:spcPct val="0"/>
              </a:spcBef>
              <a:spcAft>
                <a:spcPct val="0"/>
              </a:spcAft>
              <a:defRPr sz="1454" b="1">
                <a:solidFill>
                  <a:schemeClr val="tx2"/>
                </a:solidFill>
                <a:latin typeface="Arial" charset="0"/>
              </a:defRPr>
            </a:lvl7pPr>
            <a:lvl8pPr marL="1049582" defTabSz="685145" fontAlgn="base">
              <a:spcBef>
                <a:spcPct val="0"/>
              </a:spcBef>
              <a:spcAft>
                <a:spcPct val="0"/>
              </a:spcAft>
              <a:defRPr sz="1454" b="1">
                <a:solidFill>
                  <a:schemeClr val="tx2"/>
                </a:solidFill>
                <a:latin typeface="Arial" charset="0"/>
              </a:defRPr>
            </a:lvl8pPr>
            <a:lvl9pPr marL="1399444" defTabSz="685145" fontAlgn="base">
              <a:spcBef>
                <a:spcPct val="0"/>
              </a:spcBef>
              <a:spcAft>
                <a:spcPct val="0"/>
              </a:spcAft>
              <a:defRPr sz="1454" b="1">
                <a:solidFill>
                  <a:schemeClr val="tx2"/>
                </a:solidFill>
                <a:latin typeface="Arial" charset="0"/>
              </a:defRPr>
            </a:lvl9pPr>
          </a:lstStyle>
          <a:p>
            <a:r>
              <a:rPr lang="es-ES" sz="2400" dirty="0"/>
              <a:t>Agenda</a:t>
            </a:r>
          </a:p>
        </p:txBody>
      </p:sp>
    </p:spTree>
    <p:extLst>
      <p:ext uri="{BB962C8B-B14F-4D97-AF65-F5344CB8AC3E}">
        <p14:creationId xmlns:p14="http://schemas.microsoft.com/office/powerpoint/2010/main" val="6764615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id="{F5700C51-F66A-449D-BCA0-B494FA67DF03}"/>
              </a:ext>
            </a:extLst>
          </p:cNvPr>
          <p:cNvSpPr/>
          <p:nvPr/>
        </p:nvSpPr>
        <p:spPr>
          <a:xfrm>
            <a:off x="0" y="2674548"/>
            <a:ext cx="12192000" cy="1058002"/>
          </a:xfrm>
          <a:prstGeom prst="rect">
            <a:avLst/>
          </a:prstGeom>
          <a:solidFill>
            <a:srgbClr val="D5DA4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err="1">
              <a:solidFill>
                <a:srgbClr val="07212E"/>
              </a:solidFill>
            </a:endParaRPr>
          </a:p>
        </p:txBody>
      </p:sp>
      <p:sp>
        <p:nvSpPr>
          <p:cNvPr id="4" name="CuadroTexto 3">
            <a:extLst>
              <a:ext uri="{FF2B5EF4-FFF2-40B4-BE49-F238E27FC236}">
                <a16:creationId xmlns:a16="http://schemas.microsoft.com/office/drawing/2014/main" id="{68041FCA-D056-443E-AFB1-6878132F3E5F}"/>
              </a:ext>
            </a:extLst>
          </p:cNvPr>
          <p:cNvSpPr txBox="1"/>
          <p:nvPr/>
        </p:nvSpPr>
        <p:spPr>
          <a:xfrm>
            <a:off x="211953" y="2636451"/>
            <a:ext cx="11768094" cy="1200329"/>
          </a:xfrm>
          <a:prstGeom prst="rect">
            <a:avLst/>
          </a:prstGeom>
          <a:noFill/>
        </p:spPr>
        <p:txBody>
          <a:bodyPr wrap="square" rtlCol="0">
            <a:spAutoFit/>
          </a:bodyPr>
          <a:lstStyle/>
          <a:p>
            <a:pPr algn="ctr"/>
            <a:r>
              <a:rPr lang="es-ES" sz="7200" b="1">
                <a:solidFill>
                  <a:schemeClr val="tx2"/>
                </a:solidFill>
                <a:latin typeface="Californian FB" panose="0207040306080B030204" pitchFamily="18" charset="0"/>
              </a:rPr>
              <a:t>E  M  P  O  D  É  R  A  T  E</a:t>
            </a:r>
            <a:endParaRPr lang="es-CO" sz="7200" b="1">
              <a:solidFill>
                <a:schemeClr val="tx2"/>
              </a:solidFill>
              <a:latin typeface="Californian FB" panose="0207040306080B030204" pitchFamily="18" charset="0"/>
            </a:endParaRPr>
          </a:p>
        </p:txBody>
      </p:sp>
      <p:sp>
        <p:nvSpPr>
          <p:cNvPr id="14" name="CuadroTexto 13">
            <a:extLst>
              <a:ext uri="{FF2B5EF4-FFF2-40B4-BE49-F238E27FC236}">
                <a16:creationId xmlns:a16="http://schemas.microsoft.com/office/drawing/2014/main" id="{77C3B44D-CCD9-4C34-A6C9-08FB7C10E08A}"/>
              </a:ext>
            </a:extLst>
          </p:cNvPr>
          <p:cNvSpPr txBox="1"/>
          <p:nvPr/>
        </p:nvSpPr>
        <p:spPr>
          <a:xfrm>
            <a:off x="-160220" y="510154"/>
            <a:ext cx="2677336" cy="646331"/>
          </a:xfrm>
          <a:prstGeom prst="rect">
            <a:avLst/>
          </a:prstGeom>
          <a:noFill/>
        </p:spPr>
        <p:txBody>
          <a:bodyPr wrap="square" rtlCol="0">
            <a:spAutoFit/>
          </a:bodyPr>
          <a:lstStyle>
            <a:defPPr>
              <a:defRPr lang="es-CO"/>
            </a:defPPr>
            <a:lvl1pPr algn="ctr">
              <a:defRPr sz="7200" b="1">
                <a:solidFill>
                  <a:srgbClr val="D5DA41"/>
                </a:solidFill>
                <a:latin typeface="Californian FB" panose="0207040306080B030204" pitchFamily="18" charset="0"/>
              </a:defRPr>
            </a:lvl1pPr>
          </a:lstStyle>
          <a:p>
            <a:r>
              <a:rPr lang="es-ES" sz="3600"/>
              <a:t>E</a:t>
            </a:r>
            <a:r>
              <a:rPr lang="es-ES" sz="1800" b="0">
                <a:solidFill>
                  <a:schemeClr val="tx1"/>
                </a:solidFill>
                <a:latin typeface="+mn-lt"/>
              </a:rPr>
              <a:t>valúa</a:t>
            </a:r>
            <a:endParaRPr lang="es-CO" sz="1800" b="0">
              <a:solidFill>
                <a:schemeClr val="tx1"/>
              </a:solidFill>
              <a:latin typeface="+mn-lt"/>
            </a:endParaRPr>
          </a:p>
        </p:txBody>
      </p:sp>
      <p:sp>
        <p:nvSpPr>
          <p:cNvPr id="15" name="CuadroTexto 14">
            <a:extLst>
              <a:ext uri="{FF2B5EF4-FFF2-40B4-BE49-F238E27FC236}">
                <a16:creationId xmlns:a16="http://schemas.microsoft.com/office/drawing/2014/main" id="{AE5BBE52-90F9-41C6-8AAA-C990BB6E5D59}"/>
              </a:ext>
            </a:extLst>
          </p:cNvPr>
          <p:cNvSpPr txBox="1"/>
          <p:nvPr/>
        </p:nvSpPr>
        <p:spPr>
          <a:xfrm>
            <a:off x="1311844" y="1649807"/>
            <a:ext cx="1483098" cy="646331"/>
          </a:xfrm>
          <a:prstGeom prst="rect">
            <a:avLst/>
          </a:prstGeom>
          <a:noFill/>
        </p:spPr>
        <p:txBody>
          <a:bodyPr wrap="none" rtlCol="0">
            <a:spAutoFit/>
          </a:bodyPr>
          <a:lstStyle/>
          <a:p>
            <a:pPr algn="ctr"/>
            <a:r>
              <a:rPr lang="es-ES" sz="3600" b="1">
                <a:solidFill>
                  <a:srgbClr val="D5DA41"/>
                </a:solidFill>
                <a:latin typeface="Californian FB" panose="0207040306080B030204" pitchFamily="18" charset="0"/>
              </a:rPr>
              <a:t>M</a:t>
            </a:r>
            <a:r>
              <a:rPr lang="es-ES"/>
              <a:t>anifiesta</a:t>
            </a:r>
            <a:endParaRPr lang="es-CO"/>
          </a:p>
        </p:txBody>
      </p:sp>
      <p:sp>
        <p:nvSpPr>
          <p:cNvPr id="17" name="CuadroTexto 16">
            <a:extLst>
              <a:ext uri="{FF2B5EF4-FFF2-40B4-BE49-F238E27FC236}">
                <a16:creationId xmlns:a16="http://schemas.microsoft.com/office/drawing/2014/main" id="{460B3078-8B96-4723-A94E-AF0DEDF6104B}"/>
              </a:ext>
            </a:extLst>
          </p:cNvPr>
          <p:cNvSpPr txBox="1"/>
          <p:nvPr/>
        </p:nvSpPr>
        <p:spPr>
          <a:xfrm>
            <a:off x="2803720" y="541064"/>
            <a:ext cx="1048685" cy="646331"/>
          </a:xfrm>
          <a:prstGeom prst="rect">
            <a:avLst/>
          </a:prstGeom>
          <a:noFill/>
        </p:spPr>
        <p:txBody>
          <a:bodyPr wrap="none" rtlCol="0">
            <a:spAutoFit/>
          </a:bodyPr>
          <a:lstStyle/>
          <a:p>
            <a:pPr algn="ctr"/>
            <a:r>
              <a:rPr lang="es-ES" sz="3600" b="1">
                <a:solidFill>
                  <a:srgbClr val="D5DA41"/>
                </a:solidFill>
                <a:latin typeface="Californian FB" panose="0207040306080B030204" pitchFamily="18" charset="0"/>
              </a:rPr>
              <a:t>P</a:t>
            </a:r>
            <a:r>
              <a:rPr lang="es-ES"/>
              <a:t>ropón</a:t>
            </a:r>
          </a:p>
        </p:txBody>
      </p:sp>
      <p:sp>
        <p:nvSpPr>
          <p:cNvPr id="19" name="CuadroTexto 18">
            <a:extLst>
              <a:ext uri="{FF2B5EF4-FFF2-40B4-BE49-F238E27FC236}">
                <a16:creationId xmlns:a16="http://schemas.microsoft.com/office/drawing/2014/main" id="{50494279-62DB-4797-8A09-AAECFB1D7A11}"/>
              </a:ext>
            </a:extLst>
          </p:cNvPr>
          <p:cNvSpPr txBox="1"/>
          <p:nvPr/>
        </p:nvSpPr>
        <p:spPr>
          <a:xfrm>
            <a:off x="4967036" y="510154"/>
            <a:ext cx="1023037" cy="646331"/>
          </a:xfrm>
          <a:prstGeom prst="rect">
            <a:avLst/>
          </a:prstGeom>
          <a:noFill/>
        </p:spPr>
        <p:txBody>
          <a:bodyPr wrap="none" rtlCol="0">
            <a:spAutoFit/>
          </a:bodyPr>
          <a:lstStyle/>
          <a:p>
            <a:pPr algn="ctr"/>
            <a:r>
              <a:rPr lang="es-ES" sz="3600" b="1">
                <a:solidFill>
                  <a:srgbClr val="D5DA41"/>
                </a:solidFill>
                <a:latin typeface="Californian FB" panose="0207040306080B030204" pitchFamily="18" charset="0"/>
              </a:rPr>
              <a:t>D</a:t>
            </a:r>
            <a:r>
              <a:rPr lang="es-ES"/>
              <a:t>efine</a:t>
            </a:r>
            <a:endParaRPr lang="es-CO"/>
          </a:p>
        </p:txBody>
      </p:sp>
      <p:sp>
        <p:nvSpPr>
          <p:cNvPr id="21" name="CuadroTexto 20">
            <a:extLst>
              <a:ext uri="{FF2B5EF4-FFF2-40B4-BE49-F238E27FC236}">
                <a16:creationId xmlns:a16="http://schemas.microsoft.com/office/drawing/2014/main" id="{4909E1B8-3B50-4AEE-B6FD-970EC2C3FA78}"/>
              </a:ext>
            </a:extLst>
          </p:cNvPr>
          <p:cNvSpPr txBox="1"/>
          <p:nvPr/>
        </p:nvSpPr>
        <p:spPr>
          <a:xfrm>
            <a:off x="3692799" y="1649807"/>
            <a:ext cx="1289135" cy="646331"/>
          </a:xfrm>
          <a:prstGeom prst="rect">
            <a:avLst/>
          </a:prstGeom>
          <a:noFill/>
        </p:spPr>
        <p:txBody>
          <a:bodyPr wrap="none" rtlCol="0">
            <a:spAutoFit/>
          </a:bodyPr>
          <a:lstStyle/>
          <a:p>
            <a:pPr algn="ctr"/>
            <a:r>
              <a:rPr lang="es-ES" sz="3600" b="1">
                <a:solidFill>
                  <a:srgbClr val="D5DA41"/>
                </a:solidFill>
                <a:latin typeface="Californian FB" panose="0207040306080B030204" pitchFamily="18" charset="0"/>
              </a:rPr>
              <a:t>O</a:t>
            </a:r>
            <a:r>
              <a:rPr lang="es-ES"/>
              <a:t>rganiza</a:t>
            </a:r>
          </a:p>
        </p:txBody>
      </p:sp>
      <p:sp>
        <p:nvSpPr>
          <p:cNvPr id="23" name="CuadroTexto 22">
            <a:extLst>
              <a:ext uri="{FF2B5EF4-FFF2-40B4-BE49-F238E27FC236}">
                <a16:creationId xmlns:a16="http://schemas.microsoft.com/office/drawing/2014/main" id="{99EBD500-3DAE-4966-82E2-1A7046E22981}"/>
              </a:ext>
            </a:extLst>
          </p:cNvPr>
          <p:cNvSpPr txBox="1"/>
          <p:nvPr/>
        </p:nvSpPr>
        <p:spPr>
          <a:xfrm>
            <a:off x="5943912" y="1649807"/>
            <a:ext cx="1069524" cy="646331"/>
          </a:xfrm>
          <a:prstGeom prst="rect">
            <a:avLst/>
          </a:prstGeom>
          <a:noFill/>
        </p:spPr>
        <p:txBody>
          <a:bodyPr wrap="none" rtlCol="0">
            <a:spAutoFit/>
          </a:bodyPr>
          <a:lstStyle/>
          <a:p>
            <a:pPr algn="ctr"/>
            <a:r>
              <a:rPr lang="es-ES" sz="3600" b="1">
                <a:solidFill>
                  <a:srgbClr val="D5DA41"/>
                </a:solidFill>
                <a:latin typeface="Californian FB" panose="0207040306080B030204" pitchFamily="18" charset="0"/>
              </a:rPr>
              <a:t>E</a:t>
            </a:r>
            <a:r>
              <a:rPr lang="es-ES"/>
              <a:t>jecuta</a:t>
            </a:r>
            <a:endParaRPr lang="es-CO"/>
          </a:p>
        </p:txBody>
      </p:sp>
      <p:sp>
        <p:nvSpPr>
          <p:cNvPr id="25" name="CuadroTexto 24">
            <a:extLst>
              <a:ext uri="{FF2B5EF4-FFF2-40B4-BE49-F238E27FC236}">
                <a16:creationId xmlns:a16="http://schemas.microsoft.com/office/drawing/2014/main" id="{EEBF55FB-5D62-4BE9-9514-82016B4ADD76}"/>
              </a:ext>
            </a:extLst>
          </p:cNvPr>
          <p:cNvSpPr txBox="1"/>
          <p:nvPr/>
        </p:nvSpPr>
        <p:spPr>
          <a:xfrm>
            <a:off x="6866117" y="536696"/>
            <a:ext cx="1435008" cy="646331"/>
          </a:xfrm>
          <a:prstGeom prst="rect">
            <a:avLst/>
          </a:prstGeom>
          <a:noFill/>
        </p:spPr>
        <p:txBody>
          <a:bodyPr wrap="none" rtlCol="0">
            <a:spAutoFit/>
          </a:bodyPr>
          <a:lstStyle/>
          <a:p>
            <a:pPr algn="ctr"/>
            <a:r>
              <a:rPr lang="es-ES" sz="3600" b="1">
                <a:solidFill>
                  <a:srgbClr val="D5DA41"/>
                </a:solidFill>
                <a:latin typeface="Californian FB" panose="0207040306080B030204" pitchFamily="18" charset="0"/>
              </a:rPr>
              <a:t>R</a:t>
            </a:r>
            <a:r>
              <a:rPr lang="es-ES"/>
              <a:t>eflexiona</a:t>
            </a:r>
            <a:endParaRPr lang="es-CO"/>
          </a:p>
        </p:txBody>
      </p:sp>
      <p:sp>
        <p:nvSpPr>
          <p:cNvPr id="27" name="CuadroTexto 26">
            <a:extLst>
              <a:ext uri="{FF2B5EF4-FFF2-40B4-BE49-F238E27FC236}">
                <a16:creationId xmlns:a16="http://schemas.microsoft.com/office/drawing/2014/main" id="{58059B60-3380-482E-92E9-4DC79C8641DC}"/>
              </a:ext>
            </a:extLst>
          </p:cNvPr>
          <p:cNvSpPr txBox="1"/>
          <p:nvPr/>
        </p:nvSpPr>
        <p:spPr>
          <a:xfrm>
            <a:off x="7975415" y="1649807"/>
            <a:ext cx="1096774" cy="646331"/>
          </a:xfrm>
          <a:prstGeom prst="rect">
            <a:avLst/>
          </a:prstGeom>
          <a:noFill/>
        </p:spPr>
        <p:txBody>
          <a:bodyPr wrap="none" rtlCol="0">
            <a:spAutoFit/>
          </a:bodyPr>
          <a:lstStyle/>
          <a:p>
            <a:pPr algn="ctr"/>
            <a:r>
              <a:rPr lang="es-ES" sz="3600" b="1">
                <a:solidFill>
                  <a:srgbClr val="D5DA41"/>
                </a:solidFill>
                <a:latin typeface="Californian FB" panose="0207040306080B030204" pitchFamily="18" charset="0"/>
              </a:rPr>
              <a:t>A</a:t>
            </a:r>
            <a:r>
              <a:rPr lang="es-ES"/>
              <a:t>fronta</a:t>
            </a:r>
            <a:endParaRPr lang="es-CO"/>
          </a:p>
        </p:txBody>
      </p:sp>
      <p:sp>
        <p:nvSpPr>
          <p:cNvPr id="29" name="CuadroTexto 28">
            <a:extLst>
              <a:ext uri="{FF2B5EF4-FFF2-40B4-BE49-F238E27FC236}">
                <a16:creationId xmlns:a16="http://schemas.microsoft.com/office/drawing/2014/main" id="{BEF628AD-0942-4C01-BC26-D586C9D91257}"/>
              </a:ext>
            </a:extLst>
          </p:cNvPr>
          <p:cNvSpPr txBox="1"/>
          <p:nvPr/>
        </p:nvSpPr>
        <p:spPr>
          <a:xfrm>
            <a:off x="8814426" y="536695"/>
            <a:ext cx="1523174" cy="646331"/>
          </a:xfrm>
          <a:prstGeom prst="rect">
            <a:avLst/>
          </a:prstGeom>
          <a:noFill/>
        </p:spPr>
        <p:txBody>
          <a:bodyPr wrap="none" rtlCol="0">
            <a:spAutoFit/>
          </a:bodyPr>
          <a:lstStyle/>
          <a:p>
            <a:pPr algn="ctr"/>
            <a:r>
              <a:rPr lang="es-ES" sz="3600" b="1">
                <a:solidFill>
                  <a:srgbClr val="D5DA41"/>
                </a:solidFill>
                <a:latin typeface="Californian FB" panose="0207040306080B030204" pitchFamily="18" charset="0"/>
              </a:rPr>
              <a:t>T</a:t>
            </a:r>
            <a:r>
              <a:rPr lang="es-ES"/>
              <a:t>ransforma</a:t>
            </a:r>
            <a:endParaRPr lang="es-CO"/>
          </a:p>
        </p:txBody>
      </p:sp>
      <p:sp>
        <p:nvSpPr>
          <p:cNvPr id="31" name="CuadroTexto 30">
            <a:extLst>
              <a:ext uri="{FF2B5EF4-FFF2-40B4-BE49-F238E27FC236}">
                <a16:creationId xmlns:a16="http://schemas.microsoft.com/office/drawing/2014/main" id="{140A407D-9E14-4183-9A28-56D03D38D4E6}"/>
              </a:ext>
            </a:extLst>
          </p:cNvPr>
          <p:cNvSpPr txBox="1"/>
          <p:nvPr/>
        </p:nvSpPr>
        <p:spPr>
          <a:xfrm>
            <a:off x="9995696" y="1496798"/>
            <a:ext cx="1925814" cy="923330"/>
          </a:xfrm>
          <a:prstGeom prst="rect">
            <a:avLst/>
          </a:prstGeom>
          <a:noFill/>
        </p:spPr>
        <p:txBody>
          <a:bodyPr wrap="square" rtlCol="0">
            <a:spAutoFit/>
          </a:bodyPr>
          <a:lstStyle/>
          <a:p>
            <a:pPr algn="ctr"/>
            <a:r>
              <a:rPr lang="es-ES" sz="3600" b="1">
                <a:solidFill>
                  <a:srgbClr val="D5DA41"/>
                </a:solidFill>
                <a:latin typeface="Californian FB" panose="0207040306080B030204" pitchFamily="18" charset="0"/>
              </a:rPr>
              <a:t>E</a:t>
            </a:r>
            <a:r>
              <a:rPr lang="es-ES"/>
              <a:t>mpieza de nuevo</a:t>
            </a:r>
            <a:endParaRPr lang="es-CO"/>
          </a:p>
        </p:txBody>
      </p:sp>
      <p:grpSp>
        <p:nvGrpSpPr>
          <p:cNvPr id="33" name="Group 72">
            <a:extLst>
              <a:ext uri="{FF2B5EF4-FFF2-40B4-BE49-F238E27FC236}">
                <a16:creationId xmlns:a16="http://schemas.microsoft.com/office/drawing/2014/main" id="{7070BB4B-4B91-4480-825D-68EB4275DC67}"/>
              </a:ext>
            </a:extLst>
          </p:cNvPr>
          <p:cNvGrpSpPr/>
          <p:nvPr/>
        </p:nvGrpSpPr>
        <p:grpSpPr>
          <a:xfrm>
            <a:off x="9995696" y="4246145"/>
            <a:ext cx="1553014" cy="1561779"/>
            <a:chOff x="5529263" y="2540001"/>
            <a:chExt cx="1163638" cy="1539875"/>
          </a:xfrm>
        </p:grpSpPr>
        <p:sp>
          <p:nvSpPr>
            <p:cNvPr id="34" name="Freeform 114">
              <a:extLst>
                <a:ext uri="{FF2B5EF4-FFF2-40B4-BE49-F238E27FC236}">
                  <a16:creationId xmlns:a16="http://schemas.microsoft.com/office/drawing/2014/main" id="{47DA60D5-3D84-4BAB-BD68-44FC3285BEAF}"/>
                </a:ext>
              </a:extLst>
            </p:cNvPr>
            <p:cNvSpPr>
              <a:spLocks/>
            </p:cNvSpPr>
            <p:nvPr/>
          </p:nvSpPr>
          <p:spPr bwMode="auto">
            <a:xfrm>
              <a:off x="5529263" y="2540001"/>
              <a:ext cx="393700" cy="673100"/>
            </a:xfrm>
            <a:custGeom>
              <a:avLst/>
              <a:gdLst>
                <a:gd name="T0" fmla="*/ 820 w 993"/>
                <a:gd name="T1" fmla="*/ 1637 h 1697"/>
                <a:gd name="T2" fmla="*/ 577 w 993"/>
                <a:gd name="T3" fmla="*/ 1404 h 1697"/>
                <a:gd name="T4" fmla="*/ 378 w 993"/>
                <a:gd name="T5" fmla="*/ 1177 h 1697"/>
                <a:gd name="T6" fmla="*/ 224 w 993"/>
                <a:gd name="T7" fmla="*/ 961 h 1697"/>
                <a:gd name="T8" fmla="*/ 113 w 993"/>
                <a:gd name="T9" fmla="*/ 759 h 1697"/>
                <a:gd name="T10" fmla="*/ 40 w 993"/>
                <a:gd name="T11" fmla="*/ 573 h 1697"/>
                <a:gd name="T12" fmla="*/ 5 w 993"/>
                <a:gd name="T13" fmla="*/ 406 h 1697"/>
                <a:gd name="T14" fmla="*/ 5 w 993"/>
                <a:gd name="T15" fmla="*/ 261 h 1697"/>
                <a:gd name="T16" fmla="*/ 27 w 993"/>
                <a:gd name="T17" fmla="*/ 169 h 1697"/>
                <a:gd name="T18" fmla="*/ 84 w 993"/>
                <a:gd name="T19" fmla="*/ 69 h 1697"/>
                <a:gd name="T20" fmla="*/ 202 w 993"/>
                <a:gd name="T21" fmla="*/ 3 h 1697"/>
                <a:gd name="T22" fmla="*/ 279 w 993"/>
                <a:gd name="T23" fmla="*/ 2 h 1697"/>
                <a:gd name="T24" fmla="*/ 432 w 993"/>
                <a:gd name="T25" fmla="*/ 46 h 1697"/>
                <a:gd name="T26" fmla="*/ 529 w 993"/>
                <a:gd name="T27" fmla="*/ 118 h 1697"/>
                <a:gd name="T28" fmla="*/ 587 w 993"/>
                <a:gd name="T29" fmla="*/ 187 h 1697"/>
                <a:gd name="T30" fmla="*/ 648 w 993"/>
                <a:gd name="T31" fmla="*/ 300 h 1697"/>
                <a:gd name="T32" fmla="*/ 688 w 993"/>
                <a:gd name="T33" fmla="*/ 429 h 1697"/>
                <a:gd name="T34" fmla="*/ 708 w 993"/>
                <a:gd name="T35" fmla="*/ 572 h 1697"/>
                <a:gd name="T36" fmla="*/ 548 w 993"/>
                <a:gd name="T37" fmla="*/ 608 h 1697"/>
                <a:gd name="T38" fmla="*/ 529 w 993"/>
                <a:gd name="T39" fmla="*/ 442 h 1697"/>
                <a:gd name="T40" fmla="*/ 446 w 993"/>
                <a:gd name="T41" fmla="*/ 263 h 1697"/>
                <a:gd name="T42" fmla="*/ 398 w 993"/>
                <a:gd name="T43" fmla="*/ 214 h 1697"/>
                <a:gd name="T44" fmla="*/ 312 w 993"/>
                <a:gd name="T45" fmla="*/ 169 h 1697"/>
                <a:gd name="T46" fmla="*/ 240 w 993"/>
                <a:gd name="T47" fmla="*/ 160 h 1697"/>
                <a:gd name="T48" fmla="*/ 207 w 993"/>
                <a:gd name="T49" fmla="*/ 173 h 1697"/>
                <a:gd name="T50" fmla="*/ 176 w 993"/>
                <a:gd name="T51" fmla="*/ 223 h 1697"/>
                <a:gd name="T52" fmla="*/ 162 w 993"/>
                <a:gd name="T53" fmla="*/ 288 h 1697"/>
                <a:gd name="T54" fmla="*/ 165 w 993"/>
                <a:gd name="T55" fmla="*/ 399 h 1697"/>
                <a:gd name="T56" fmla="*/ 241 w 993"/>
                <a:gd name="T57" fmla="*/ 656 h 1697"/>
                <a:gd name="T58" fmla="*/ 362 w 993"/>
                <a:gd name="T59" fmla="*/ 879 h 1697"/>
                <a:gd name="T60" fmla="*/ 504 w 993"/>
                <a:gd name="T61" fmla="*/ 1079 h 1697"/>
                <a:gd name="T62" fmla="*/ 691 w 993"/>
                <a:gd name="T63" fmla="*/ 1291 h 1697"/>
                <a:gd name="T64" fmla="*/ 925 w 993"/>
                <a:gd name="T65" fmla="*/ 1518 h 1697"/>
                <a:gd name="T66" fmla="*/ 890 w 993"/>
                <a:gd name="T67" fmla="*/ 1697 h 1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3" h="1697">
                  <a:moveTo>
                    <a:pt x="890" y="1697"/>
                  </a:moveTo>
                  <a:lnTo>
                    <a:pt x="820" y="1637"/>
                  </a:lnTo>
                  <a:lnTo>
                    <a:pt x="693" y="1519"/>
                  </a:lnTo>
                  <a:lnTo>
                    <a:pt x="577" y="1404"/>
                  </a:lnTo>
                  <a:lnTo>
                    <a:pt x="472" y="1289"/>
                  </a:lnTo>
                  <a:lnTo>
                    <a:pt x="378" y="1177"/>
                  </a:lnTo>
                  <a:lnTo>
                    <a:pt x="297" y="1068"/>
                  </a:lnTo>
                  <a:lnTo>
                    <a:pt x="224" y="961"/>
                  </a:lnTo>
                  <a:lnTo>
                    <a:pt x="163" y="858"/>
                  </a:lnTo>
                  <a:lnTo>
                    <a:pt x="113" y="759"/>
                  </a:lnTo>
                  <a:lnTo>
                    <a:pt x="71" y="664"/>
                  </a:lnTo>
                  <a:lnTo>
                    <a:pt x="40" y="573"/>
                  </a:lnTo>
                  <a:lnTo>
                    <a:pt x="18" y="488"/>
                  </a:lnTo>
                  <a:lnTo>
                    <a:pt x="5" y="406"/>
                  </a:lnTo>
                  <a:lnTo>
                    <a:pt x="0" y="331"/>
                  </a:lnTo>
                  <a:lnTo>
                    <a:pt x="5" y="261"/>
                  </a:lnTo>
                  <a:lnTo>
                    <a:pt x="17" y="199"/>
                  </a:lnTo>
                  <a:lnTo>
                    <a:pt x="27" y="169"/>
                  </a:lnTo>
                  <a:lnTo>
                    <a:pt x="41" y="131"/>
                  </a:lnTo>
                  <a:lnTo>
                    <a:pt x="84" y="69"/>
                  </a:lnTo>
                  <a:lnTo>
                    <a:pt x="139" y="26"/>
                  </a:lnTo>
                  <a:lnTo>
                    <a:pt x="202" y="3"/>
                  </a:lnTo>
                  <a:lnTo>
                    <a:pt x="237" y="0"/>
                  </a:lnTo>
                  <a:lnTo>
                    <a:pt x="279" y="2"/>
                  </a:lnTo>
                  <a:lnTo>
                    <a:pt x="358" y="16"/>
                  </a:lnTo>
                  <a:lnTo>
                    <a:pt x="432" y="46"/>
                  </a:lnTo>
                  <a:lnTo>
                    <a:pt x="498" y="90"/>
                  </a:lnTo>
                  <a:lnTo>
                    <a:pt x="529" y="118"/>
                  </a:lnTo>
                  <a:lnTo>
                    <a:pt x="550" y="139"/>
                  </a:lnTo>
                  <a:lnTo>
                    <a:pt x="587" y="187"/>
                  </a:lnTo>
                  <a:lnTo>
                    <a:pt x="620" y="241"/>
                  </a:lnTo>
                  <a:lnTo>
                    <a:pt x="648" y="300"/>
                  </a:lnTo>
                  <a:lnTo>
                    <a:pt x="671" y="363"/>
                  </a:lnTo>
                  <a:lnTo>
                    <a:pt x="688" y="429"/>
                  </a:lnTo>
                  <a:lnTo>
                    <a:pt x="701" y="499"/>
                  </a:lnTo>
                  <a:lnTo>
                    <a:pt x="708" y="572"/>
                  </a:lnTo>
                  <a:lnTo>
                    <a:pt x="708" y="608"/>
                  </a:lnTo>
                  <a:lnTo>
                    <a:pt x="548" y="608"/>
                  </a:lnTo>
                  <a:lnTo>
                    <a:pt x="547" y="551"/>
                  </a:lnTo>
                  <a:lnTo>
                    <a:pt x="529" y="442"/>
                  </a:lnTo>
                  <a:lnTo>
                    <a:pt x="495" y="345"/>
                  </a:lnTo>
                  <a:lnTo>
                    <a:pt x="446" y="263"/>
                  </a:lnTo>
                  <a:lnTo>
                    <a:pt x="417" y="231"/>
                  </a:lnTo>
                  <a:lnTo>
                    <a:pt x="398" y="214"/>
                  </a:lnTo>
                  <a:lnTo>
                    <a:pt x="358" y="187"/>
                  </a:lnTo>
                  <a:lnTo>
                    <a:pt x="312" y="169"/>
                  </a:lnTo>
                  <a:lnTo>
                    <a:pt x="266" y="161"/>
                  </a:lnTo>
                  <a:lnTo>
                    <a:pt x="240" y="160"/>
                  </a:lnTo>
                  <a:lnTo>
                    <a:pt x="228" y="161"/>
                  </a:lnTo>
                  <a:lnTo>
                    <a:pt x="207" y="173"/>
                  </a:lnTo>
                  <a:lnTo>
                    <a:pt x="185" y="201"/>
                  </a:lnTo>
                  <a:lnTo>
                    <a:pt x="176" y="223"/>
                  </a:lnTo>
                  <a:lnTo>
                    <a:pt x="170" y="243"/>
                  </a:lnTo>
                  <a:lnTo>
                    <a:pt x="162" y="288"/>
                  </a:lnTo>
                  <a:lnTo>
                    <a:pt x="161" y="341"/>
                  </a:lnTo>
                  <a:lnTo>
                    <a:pt x="165" y="399"/>
                  </a:lnTo>
                  <a:lnTo>
                    <a:pt x="185" y="501"/>
                  </a:lnTo>
                  <a:lnTo>
                    <a:pt x="241" y="656"/>
                  </a:lnTo>
                  <a:lnTo>
                    <a:pt x="307" y="787"/>
                  </a:lnTo>
                  <a:lnTo>
                    <a:pt x="362" y="879"/>
                  </a:lnTo>
                  <a:lnTo>
                    <a:pt x="428" y="976"/>
                  </a:lnTo>
                  <a:lnTo>
                    <a:pt x="504" y="1079"/>
                  </a:lnTo>
                  <a:lnTo>
                    <a:pt x="591" y="1184"/>
                  </a:lnTo>
                  <a:lnTo>
                    <a:pt x="691" y="1291"/>
                  </a:lnTo>
                  <a:lnTo>
                    <a:pt x="801" y="1403"/>
                  </a:lnTo>
                  <a:lnTo>
                    <a:pt x="925" y="1518"/>
                  </a:lnTo>
                  <a:lnTo>
                    <a:pt x="993" y="1576"/>
                  </a:lnTo>
                  <a:lnTo>
                    <a:pt x="890" y="1697"/>
                  </a:lnTo>
                  <a:close/>
                </a:path>
              </a:pathLst>
            </a:custGeom>
            <a:solidFill>
              <a:srgbClr val="F4CC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CO" sz="1350"/>
            </a:p>
          </p:txBody>
        </p:sp>
        <p:sp>
          <p:nvSpPr>
            <p:cNvPr id="35" name="Freeform 115">
              <a:extLst>
                <a:ext uri="{FF2B5EF4-FFF2-40B4-BE49-F238E27FC236}">
                  <a16:creationId xmlns:a16="http://schemas.microsoft.com/office/drawing/2014/main" id="{2C17A24B-BD11-49EB-9224-F4FA8B4A712A}"/>
                </a:ext>
              </a:extLst>
            </p:cNvPr>
            <p:cNvSpPr>
              <a:spLocks/>
            </p:cNvSpPr>
            <p:nvPr/>
          </p:nvSpPr>
          <p:spPr bwMode="auto">
            <a:xfrm>
              <a:off x="6299201" y="2540001"/>
              <a:ext cx="393700" cy="673100"/>
            </a:xfrm>
            <a:custGeom>
              <a:avLst/>
              <a:gdLst>
                <a:gd name="T0" fmla="*/ 0 w 993"/>
                <a:gd name="T1" fmla="*/ 1576 h 1697"/>
                <a:gd name="T2" fmla="*/ 192 w 993"/>
                <a:gd name="T3" fmla="*/ 1403 h 1697"/>
                <a:gd name="T4" fmla="*/ 401 w 993"/>
                <a:gd name="T5" fmla="*/ 1184 h 1697"/>
                <a:gd name="T6" fmla="*/ 565 w 993"/>
                <a:gd name="T7" fmla="*/ 976 h 1697"/>
                <a:gd name="T8" fmla="*/ 685 w 993"/>
                <a:gd name="T9" fmla="*/ 787 h 1697"/>
                <a:gd name="T10" fmla="*/ 807 w 993"/>
                <a:gd name="T11" fmla="*/ 501 h 1697"/>
                <a:gd name="T12" fmla="*/ 832 w 993"/>
                <a:gd name="T13" fmla="*/ 341 h 1697"/>
                <a:gd name="T14" fmla="*/ 823 w 993"/>
                <a:gd name="T15" fmla="*/ 243 h 1697"/>
                <a:gd name="T16" fmla="*/ 807 w 993"/>
                <a:gd name="T17" fmla="*/ 201 h 1697"/>
                <a:gd name="T18" fmla="*/ 764 w 993"/>
                <a:gd name="T19" fmla="*/ 161 h 1697"/>
                <a:gd name="T20" fmla="*/ 727 w 993"/>
                <a:gd name="T21" fmla="*/ 161 h 1697"/>
                <a:gd name="T22" fmla="*/ 635 w 993"/>
                <a:gd name="T23" fmla="*/ 187 h 1697"/>
                <a:gd name="T24" fmla="*/ 575 w 993"/>
                <a:gd name="T25" fmla="*/ 231 h 1697"/>
                <a:gd name="T26" fmla="*/ 497 w 993"/>
                <a:gd name="T27" fmla="*/ 345 h 1697"/>
                <a:gd name="T28" fmla="*/ 446 w 993"/>
                <a:gd name="T29" fmla="*/ 551 h 1697"/>
                <a:gd name="T30" fmla="*/ 285 w 993"/>
                <a:gd name="T31" fmla="*/ 608 h 1697"/>
                <a:gd name="T32" fmla="*/ 291 w 993"/>
                <a:gd name="T33" fmla="*/ 499 h 1697"/>
                <a:gd name="T34" fmla="*/ 321 w 993"/>
                <a:gd name="T35" fmla="*/ 363 h 1697"/>
                <a:gd name="T36" fmla="*/ 373 w 993"/>
                <a:gd name="T37" fmla="*/ 241 h 1697"/>
                <a:gd name="T38" fmla="*/ 443 w 993"/>
                <a:gd name="T39" fmla="*/ 139 h 1697"/>
                <a:gd name="T40" fmla="*/ 495 w 993"/>
                <a:gd name="T41" fmla="*/ 90 h 1697"/>
                <a:gd name="T42" fmla="*/ 635 w 993"/>
                <a:gd name="T43" fmla="*/ 16 h 1697"/>
                <a:gd name="T44" fmla="*/ 755 w 993"/>
                <a:gd name="T45" fmla="*/ 0 h 1697"/>
                <a:gd name="T46" fmla="*/ 854 w 993"/>
                <a:gd name="T47" fmla="*/ 26 h 1697"/>
                <a:gd name="T48" fmla="*/ 951 w 993"/>
                <a:gd name="T49" fmla="*/ 131 h 1697"/>
                <a:gd name="T50" fmla="*/ 976 w 993"/>
                <a:gd name="T51" fmla="*/ 199 h 1697"/>
                <a:gd name="T52" fmla="*/ 993 w 993"/>
                <a:gd name="T53" fmla="*/ 331 h 1697"/>
                <a:gd name="T54" fmla="*/ 974 w 993"/>
                <a:gd name="T55" fmla="*/ 488 h 1697"/>
                <a:gd name="T56" fmla="*/ 921 w 993"/>
                <a:gd name="T57" fmla="*/ 664 h 1697"/>
                <a:gd name="T58" fmla="*/ 829 w 993"/>
                <a:gd name="T59" fmla="*/ 858 h 1697"/>
                <a:gd name="T60" fmla="*/ 696 w 993"/>
                <a:gd name="T61" fmla="*/ 1068 h 1697"/>
                <a:gd name="T62" fmla="*/ 521 w 993"/>
                <a:gd name="T63" fmla="*/ 1289 h 1697"/>
                <a:gd name="T64" fmla="*/ 300 w 993"/>
                <a:gd name="T65" fmla="*/ 1519 h 1697"/>
                <a:gd name="T66" fmla="*/ 102 w 993"/>
                <a:gd name="T67" fmla="*/ 1697 h 1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3" h="1697">
                  <a:moveTo>
                    <a:pt x="102" y="1697"/>
                  </a:moveTo>
                  <a:lnTo>
                    <a:pt x="0" y="1576"/>
                  </a:lnTo>
                  <a:lnTo>
                    <a:pt x="67" y="1518"/>
                  </a:lnTo>
                  <a:lnTo>
                    <a:pt x="192" y="1403"/>
                  </a:lnTo>
                  <a:lnTo>
                    <a:pt x="303" y="1291"/>
                  </a:lnTo>
                  <a:lnTo>
                    <a:pt x="401" y="1184"/>
                  </a:lnTo>
                  <a:lnTo>
                    <a:pt x="488" y="1079"/>
                  </a:lnTo>
                  <a:lnTo>
                    <a:pt x="565" y="976"/>
                  </a:lnTo>
                  <a:lnTo>
                    <a:pt x="631" y="879"/>
                  </a:lnTo>
                  <a:lnTo>
                    <a:pt x="685" y="787"/>
                  </a:lnTo>
                  <a:lnTo>
                    <a:pt x="751" y="656"/>
                  </a:lnTo>
                  <a:lnTo>
                    <a:pt x="807" y="501"/>
                  </a:lnTo>
                  <a:lnTo>
                    <a:pt x="828" y="399"/>
                  </a:lnTo>
                  <a:lnTo>
                    <a:pt x="832" y="341"/>
                  </a:lnTo>
                  <a:lnTo>
                    <a:pt x="830" y="288"/>
                  </a:lnTo>
                  <a:lnTo>
                    <a:pt x="823" y="243"/>
                  </a:lnTo>
                  <a:lnTo>
                    <a:pt x="816" y="223"/>
                  </a:lnTo>
                  <a:lnTo>
                    <a:pt x="807" y="201"/>
                  </a:lnTo>
                  <a:lnTo>
                    <a:pt x="785" y="173"/>
                  </a:lnTo>
                  <a:lnTo>
                    <a:pt x="764" y="161"/>
                  </a:lnTo>
                  <a:lnTo>
                    <a:pt x="753" y="160"/>
                  </a:lnTo>
                  <a:lnTo>
                    <a:pt x="727" y="161"/>
                  </a:lnTo>
                  <a:lnTo>
                    <a:pt x="679" y="169"/>
                  </a:lnTo>
                  <a:lnTo>
                    <a:pt x="635" y="187"/>
                  </a:lnTo>
                  <a:lnTo>
                    <a:pt x="595" y="214"/>
                  </a:lnTo>
                  <a:lnTo>
                    <a:pt x="575" y="231"/>
                  </a:lnTo>
                  <a:lnTo>
                    <a:pt x="547" y="263"/>
                  </a:lnTo>
                  <a:lnTo>
                    <a:pt x="497" y="345"/>
                  </a:lnTo>
                  <a:lnTo>
                    <a:pt x="464" y="442"/>
                  </a:lnTo>
                  <a:lnTo>
                    <a:pt x="446" y="551"/>
                  </a:lnTo>
                  <a:lnTo>
                    <a:pt x="444" y="608"/>
                  </a:lnTo>
                  <a:lnTo>
                    <a:pt x="285" y="608"/>
                  </a:lnTo>
                  <a:lnTo>
                    <a:pt x="285" y="572"/>
                  </a:lnTo>
                  <a:lnTo>
                    <a:pt x="291" y="499"/>
                  </a:lnTo>
                  <a:lnTo>
                    <a:pt x="304" y="429"/>
                  </a:lnTo>
                  <a:lnTo>
                    <a:pt x="321" y="363"/>
                  </a:lnTo>
                  <a:lnTo>
                    <a:pt x="344" y="300"/>
                  </a:lnTo>
                  <a:lnTo>
                    <a:pt x="373" y="241"/>
                  </a:lnTo>
                  <a:lnTo>
                    <a:pt x="405" y="187"/>
                  </a:lnTo>
                  <a:lnTo>
                    <a:pt x="443" y="139"/>
                  </a:lnTo>
                  <a:lnTo>
                    <a:pt x="464" y="118"/>
                  </a:lnTo>
                  <a:lnTo>
                    <a:pt x="495" y="90"/>
                  </a:lnTo>
                  <a:lnTo>
                    <a:pt x="561" y="46"/>
                  </a:lnTo>
                  <a:lnTo>
                    <a:pt x="635" y="16"/>
                  </a:lnTo>
                  <a:lnTo>
                    <a:pt x="714" y="2"/>
                  </a:lnTo>
                  <a:lnTo>
                    <a:pt x="755" y="0"/>
                  </a:lnTo>
                  <a:lnTo>
                    <a:pt x="790" y="3"/>
                  </a:lnTo>
                  <a:lnTo>
                    <a:pt x="854" y="26"/>
                  </a:lnTo>
                  <a:lnTo>
                    <a:pt x="908" y="69"/>
                  </a:lnTo>
                  <a:lnTo>
                    <a:pt x="951" y="131"/>
                  </a:lnTo>
                  <a:lnTo>
                    <a:pt x="965" y="169"/>
                  </a:lnTo>
                  <a:lnTo>
                    <a:pt x="976" y="199"/>
                  </a:lnTo>
                  <a:lnTo>
                    <a:pt x="987" y="261"/>
                  </a:lnTo>
                  <a:lnTo>
                    <a:pt x="993" y="331"/>
                  </a:lnTo>
                  <a:lnTo>
                    <a:pt x="987" y="406"/>
                  </a:lnTo>
                  <a:lnTo>
                    <a:pt x="974" y="488"/>
                  </a:lnTo>
                  <a:lnTo>
                    <a:pt x="952" y="573"/>
                  </a:lnTo>
                  <a:lnTo>
                    <a:pt x="921" y="664"/>
                  </a:lnTo>
                  <a:lnTo>
                    <a:pt x="880" y="759"/>
                  </a:lnTo>
                  <a:lnTo>
                    <a:pt x="829" y="858"/>
                  </a:lnTo>
                  <a:lnTo>
                    <a:pt x="768" y="961"/>
                  </a:lnTo>
                  <a:lnTo>
                    <a:pt x="696" y="1068"/>
                  </a:lnTo>
                  <a:lnTo>
                    <a:pt x="614" y="1177"/>
                  </a:lnTo>
                  <a:lnTo>
                    <a:pt x="521" y="1289"/>
                  </a:lnTo>
                  <a:lnTo>
                    <a:pt x="416" y="1404"/>
                  </a:lnTo>
                  <a:lnTo>
                    <a:pt x="300" y="1519"/>
                  </a:lnTo>
                  <a:lnTo>
                    <a:pt x="172" y="1637"/>
                  </a:lnTo>
                  <a:lnTo>
                    <a:pt x="102" y="1697"/>
                  </a:lnTo>
                  <a:close/>
                </a:path>
              </a:pathLst>
            </a:custGeom>
            <a:solidFill>
              <a:srgbClr val="F4CC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CO" sz="1350"/>
            </a:p>
          </p:txBody>
        </p:sp>
        <p:sp>
          <p:nvSpPr>
            <p:cNvPr id="36" name="Freeform 116">
              <a:extLst>
                <a:ext uri="{FF2B5EF4-FFF2-40B4-BE49-F238E27FC236}">
                  <a16:creationId xmlns:a16="http://schemas.microsoft.com/office/drawing/2014/main" id="{E9F7A411-F89A-40AF-B882-D161C24B0F16}"/>
                </a:ext>
              </a:extLst>
            </p:cNvPr>
            <p:cNvSpPr>
              <a:spLocks/>
            </p:cNvSpPr>
            <p:nvPr/>
          </p:nvSpPr>
          <p:spPr bwMode="auto">
            <a:xfrm>
              <a:off x="5976938" y="3219451"/>
              <a:ext cx="268288" cy="331788"/>
            </a:xfrm>
            <a:custGeom>
              <a:avLst/>
              <a:gdLst>
                <a:gd name="T0" fmla="*/ 578 w 673"/>
                <a:gd name="T1" fmla="*/ 417 h 834"/>
                <a:gd name="T2" fmla="*/ 579 w 673"/>
                <a:gd name="T3" fmla="*/ 473 h 834"/>
                <a:gd name="T4" fmla="*/ 591 w 673"/>
                <a:gd name="T5" fmla="*/ 582 h 834"/>
                <a:gd name="T6" fmla="*/ 616 w 673"/>
                <a:gd name="T7" fmla="*/ 687 h 834"/>
                <a:gd name="T8" fmla="*/ 651 w 673"/>
                <a:gd name="T9" fmla="*/ 787 h 834"/>
                <a:gd name="T10" fmla="*/ 673 w 673"/>
                <a:gd name="T11" fmla="*/ 834 h 834"/>
                <a:gd name="T12" fmla="*/ 0 w 673"/>
                <a:gd name="T13" fmla="*/ 834 h 834"/>
                <a:gd name="T14" fmla="*/ 22 w 673"/>
                <a:gd name="T15" fmla="*/ 787 h 834"/>
                <a:gd name="T16" fmla="*/ 57 w 673"/>
                <a:gd name="T17" fmla="*/ 687 h 834"/>
                <a:gd name="T18" fmla="*/ 82 w 673"/>
                <a:gd name="T19" fmla="*/ 582 h 834"/>
                <a:gd name="T20" fmla="*/ 93 w 673"/>
                <a:gd name="T21" fmla="*/ 473 h 834"/>
                <a:gd name="T22" fmla="*/ 95 w 673"/>
                <a:gd name="T23" fmla="*/ 417 h 834"/>
                <a:gd name="T24" fmla="*/ 93 w 673"/>
                <a:gd name="T25" fmla="*/ 361 h 834"/>
                <a:gd name="T26" fmla="*/ 82 w 673"/>
                <a:gd name="T27" fmla="*/ 253 h 834"/>
                <a:gd name="T28" fmla="*/ 57 w 673"/>
                <a:gd name="T29" fmla="*/ 148 h 834"/>
                <a:gd name="T30" fmla="*/ 22 w 673"/>
                <a:gd name="T31" fmla="*/ 48 h 834"/>
                <a:gd name="T32" fmla="*/ 0 w 673"/>
                <a:gd name="T33" fmla="*/ 0 h 834"/>
                <a:gd name="T34" fmla="*/ 673 w 673"/>
                <a:gd name="T35" fmla="*/ 0 h 834"/>
                <a:gd name="T36" fmla="*/ 651 w 673"/>
                <a:gd name="T37" fmla="*/ 48 h 834"/>
                <a:gd name="T38" fmla="*/ 616 w 673"/>
                <a:gd name="T39" fmla="*/ 148 h 834"/>
                <a:gd name="T40" fmla="*/ 591 w 673"/>
                <a:gd name="T41" fmla="*/ 253 h 834"/>
                <a:gd name="T42" fmla="*/ 579 w 673"/>
                <a:gd name="T43" fmla="*/ 361 h 834"/>
                <a:gd name="T44" fmla="*/ 578 w 673"/>
                <a:gd name="T45" fmla="*/ 417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3" h="834">
                  <a:moveTo>
                    <a:pt x="578" y="417"/>
                  </a:moveTo>
                  <a:lnTo>
                    <a:pt x="579" y="473"/>
                  </a:lnTo>
                  <a:lnTo>
                    <a:pt x="591" y="582"/>
                  </a:lnTo>
                  <a:lnTo>
                    <a:pt x="616" y="687"/>
                  </a:lnTo>
                  <a:lnTo>
                    <a:pt x="651" y="787"/>
                  </a:lnTo>
                  <a:lnTo>
                    <a:pt x="673" y="834"/>
                  </a:lnTo>
                  <a:lnTo>
                    <a:pt x="0" y="834"/>
                  </a:lnTo>
                  <a:lnTo>
                    <a:pt x="22" y="787"/>
                  </a:lnTo>
                  <a:lnTo>
                    <a:pt x="57" y="687"/>
                  </a:lnTo>
                  <a:lnTo>
                    <a:pt x="82" y="582"/>
                  </a:lnTo>
                  <a:lnTo>
                    <a:pt x="93" y="473"/>
                  </a:lnTo>
                  <a:lnTo>
                    <a:pt x="95" y="417"/>
                  </a:lnTo>
                  <a:lnTo>
                    <a:pt x="93" y="361"/>
                  </a:lnTo>
                  <a:lnTo>
                    <a:pt x="82" y="253"/>
                  </a:lnTo>
                  <a:lnTo>
                    <a:pt x="57" y="148"/>
                  </a:lnTo>
                  <a:lnTo>
                    <a:pt x="22" y="48"/>
                  </a:lnTo>
                  <a:lnTo>
                    <a:pt x="0" y="0"/>
                  </a:lnTo>
                  <a:lnTo>
                    <a:pt x="673" y="0"/>
                  </a:lnTo>
                  <a:lnTo>
                    <a:pt x="651" y="48"/>
                  </a:lnTo>
                  <a:lnTo>
                    <a:pt x="616" y="148"/>
                  </a:lnTo>
                  <a:lnTo>
                    <a:pt x="591" y="253"/>
                  </a:lnTo>
                  <a:lnTo>
                    <a:pt x="579" y="361"/>
                  </a:lnTo>
                  <a:lnTo>
                    <a:pt x="578" y="417"/>
                  </a:lnTo>
                  <a:close/>
                </a:path>
              </a:pathLst>
            </a:custGeom>
            <a:solidFill>
              <a:srgbClr val="E1AD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CO" sz="1350"/>
            </a:p>
          </p:txBody>
        </p:sp>
        <p:sp>
          <p:nvSpPr>
            <p:cNvPr id="37" name="Freeform 117">
              <a:extLst>
                <a:ext uri="{FF2B5EF4-FFF2-40B4-BE49-F238E27FC236}">
                  <a16:creationId xmlns:a16="http://schemas.microsoft.com/office/drawing/2014/main" id="{A9E643A9-33C0-4C11-B57E-9BDCB4A74251}"/>
                </a:ext>
              </a:extLst>
            </p:cNvPr>
            <p:cNvSpPr>
              <a:spLocks/>
            </p:cNvSpPr>
            <p:nvPr/>
          </p:nvSpPr>
          <p:spPr bwMode="auto">
            <a:xfrm>
              <a:off x="5748338" y="2630488"/>
              <a:ext cx="725488" cy="660400"/>
            </a:xfrm>
            <a:custGeom>
              <a:avLst/>
              <a:gdLst>
                <a:gd name="T0" fmla="*/ 0 w 1831"/>
                <a:gd name="T1" fmla="*/ 0 h 1663"/>
                <a:gd name="T2" fmla="*/ 0 w 1831"/>
                <a:gd name="T3" fmla="*/ 748 h 1663"/>
                <a:gd name="T4" fmla="*/ 1 w 1831"/>
                <a:gd name="T5" fmla="*/ 794 h 1663"/>
                <a:gd name="T6" fmla="*/ 10 w 1831"/>
                <a:gd name="T7" fmla="*/ 886 h 1663"/>
                <a:gd name="T8" fmla="*/ 28 w 1831"/>
                <a:gd name="T9" fmla="*/ 976 h 1663"/>
                <a:gd name="T10" fmla="*/ 55 w 1831"/>
                <a:gd name="T11" fmla="*/ 1063 h 1663"/>
                <a:gd name="T12" fmla="*/ 89 w 1831"/>
                <a:gd name="T13" fmla="*/ 1144 h 1663"/>
                <a:gd name="T14" fmla="*/ 132 w 1831"/>
                <a:gd name="T15" fmla="*/ 1222 h 1663"/>
                <a:gd name="T16" fmla="*/ 181 w 1831"/>
                <a:gd name="T17" fmla="*/ 1296 h 1663"/>
                <a:gd name="T18" fmla="*/ 237 w 1831"/>
                <a:gd name="T19" fmla="*/ 1363 h 1663"/>
                <a:gd name="T20" fmla="*/ 299 w 1831"/>
                <a:gd name="T21" fmla="*/ 1425 h 1663"/>
                <a:gd name="T22" fmla="*/ 368 w 1831"/>
                <a:gd name="T23" fmla="*/ 1481 h 1663"/>
                <a:gd name="T24" fmla="*/ 440 w 1831"/>
                <a:gd name="T25" fmla="*/ 1530 h 1663"/>
                <a:gd name="T26" fmla="*/ 518 w 1831"/>
                <a:gd name="T27" fmla="*/ 1573 h 1663"/>
                <a:gd name="T28" fmla="*/ 600 w 1831"/>
                <a:gd name="T29" fmla="*/ 1608 h 1663"/>
                <a:gd name="T30" fmla="*/ 686 w 1831"/>
                <a:gd name="T31" fmla="*/ 1634 h 1663"/>
                <a:gd name="T32" fmla="*/ 776 w 1831"/>
                <a:gd name="T33" fmla="*/ 1652 h 1663"/>
                <a:gd name="T34" fmla="*/ 868 w 1831"/>
                <a:gd name="T35" fmla="*/ 1663 h 1663"/>
                <a:gd name="T36" fmla="*/ 916 w 1831"/>
                <a:gd name="T37" fmla="*/ 1663 h 1663"/>
                <a:gd name="T38" fmla="*/ 963 w 1831"/>
                <a:gd name="T39" fmla="*/ 1663 h 1663"/>
                <a:gd name="T40" fmla="*/ 1055 w 1831"/>
                <a:gd name="T41" fmla="*/ 1652 h 1663"/>
                <a:gd name="T42" fmla="*/ 1144 w 1831"/>
                <a:gd name="T43" fmla="*/ 1634 h 1663"/>
                <a:gd name="T44" fmla="*/ 1231 w 1831"/>
                <a:gd name="T45" fmla="*/ 1608 h 1663"/>
                <a:gd name="T46" fmla="*/ 1312 w 1831"/>
                <a:gd name="T47" fmla="*/ 1573 h 1663"/>
                <a:gd name="T48" fmla="*/ 1390 w 1831"/>
                <a:gd name="T49" fmla="*/ 1530 h 1663"/>
                <a:gd name="T50" fmla="*/ 1463 w 1831"/>
                <a:gd name="T51" fmla="*/ 1481 h 1663"/>
                <a:gd name="T52" fmla="*/ 1532 w 1831"/>
                <a:gd name="T53" fmla="*/ 1425 h 1663"/>
                <a:gd name="T54" fmla="*/ 1594 w 1831"/>
                <a:gd name="T55" fmla="*/ 1363 h 1663"/>
                <a:gd name="T56" fmla="*/ 1649 w 1831"/>
                <a:gd name="T57" fmla="*/ 1296 h 1663"/>
                <a:gd name="T58" fmla="*/ 1699 w 1831"/>
                <a:gd name="T59" fmla="*/ 1222 h 1663"/>
                <a:gd name="T60" fmla="*/ 1742 w 1831"/>
                <a:gd name="T61" fmla="*/ 1144 h 1663"/>
                <a:gd name="T62" fmla="*/ 1777 w 1831"/>
                <a:gd name="T63" fmla="*/ 1063 h 1663"/>
                <a:gd name="T64" fmla="*/ 1802 w 1831"/>
                <a:gd name="T65" fmla="*/ 976 h 1663"/>
                <a:gd name="T66" fmla="*/ 1821 w 1831"/>
                <a:gd name="T67" fmla="*/ 886 h 1663"/>
                <a:gd name="T68" fmla="*/ 1831 w 1831"/>
                <a:gd name="T69" fmla="*/ 794 h 1663"/>
                <a:gd name="T70" fmla="*/ 1831 w 1831"/>
                <a:gd name="T71" fmla="*/ 748 h 1663"/>
                <a:gd name="T72" fmla="*/ 1831 w 1831"/>
                <a:gd name="T73" fmla="*/ 0 h 1663"/>
                <a:gd name="T74" fmla="*/ 0 w 1831"/>
                <a:gd name="T75" fmla="*/ 0 h 1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31" h="1663">
                  <a:moveTo>
                    <a:pt x="0" y="0"/>
                  </a:moveTo>
                  <a:lnTo>
                    <a:pt x="0" y="748"/>
                  </a:lnTo>
                  <a:lnTo>
                    <a:pt x="1" y="794"/>
                  </a:lnTo>
                  <a:lnTo>
                    <a:pt x="10" y="886"/>
                  </a:lnTo>
                  <a:lnTo>
                    <a:pt x="28" y="976"/>
                  </a:lnTo>
                  <a:lnTo>
                    <a:pt x="55" y="1063"/>
                  </a:lnTo>
                  <a:lnTo>
                    <a:pt x="89" y="1144"/>
                  </a:lnTo>
                  <a:lnTo>
                    <a:pt x="132" y="1222"/>
                  </a:lnTo>
                  <a:lnTo>
                    <a:pt x="181" y="1296"/>
                  </a:lnTo>
                  <a:lnTo>
                    <a:pt x="237" y="1363"/>
                  </a:lnTo>
                  <a:lnTo>
                    <a:pt x="299" y="1425"/>
                  </a:lnTo>
                  <a:lnTo>
                    <a:pt x="368" y="1481"/>
                  </a:lnTo>
                  <a:lnTo>
                    <a:pt x="440" y="1530"/>
                  </a:lnTo>
                  <a:lnTo>
                    <a:pt x="518" y="1573"/>
                  </a:lnTo>
                  <a:lnTo>
                    <a:pt x="600" y="1608"/>
                  </a:lnTo>
                  <a:lnTo>
                    <a:pt x="686" y="1634"/>
                  </a:lnTo>
                  <a:lnTo>
                    <a:pt x="776" y="1652"/>
                  </a:lnTo>
                  <a:lnTo>
                    <a:pt x="868" y="1663"/>
                  </a:lnTo>
                  <a:lnTo>
                    <a:pt x="916" y="1663"/>
                  </a:lnTo>
                  <a:lnTo>
                    <a:pt x="963" y="1663"/>
                  </a:lnTo>
                  <a:lnTo>
                    <a:pt x="1055" y="1652"/>
                  </a:lnTo>
                  <a:lnTo>
                    <a:pt x="1144" y="1634"/>
                  </a:lnTo>
                  <a:lnTo>
                    <a:pt x="1231" y="1608"/>
                  </a:lnTo>
                  <a:lnTo>
                    <a:pt x="1312" y="1573"/>
                  </a:lnTo>
                  <a:lnTo>
                    <a:pt x="1390" y="1530"/>
                  </a:lnTo>
                  <a:lnTo>
                    <a:pt x="1463" y="1481"/>
                  </a:lnTo>
                  <a:lnTo>
                    <a:pt x="1532" y="1425"/>
                  </a:lnTo>
                  <a:lnTo>
                    <a:pt x="1594" y="1363"/>
                  </a:lnTo>
                  <a:lnTo>
                    <a:pt x="1649" y="1296"/>
                  </a:lnTo>
                  <a:lnTo>
                    <a:pt x="1699" y="1222"/>
                  </a:lnTo>
                  <a:lnTo>
                    <a:pt x="1742" y="1144"/>
                  </a:lnTo>
                  <a:lnTo>
                    <a:pt x="1777" y="1063"/>
                  </a:lnTo>
                  <a:lnTo>
                    <a:pt x="1802" y="976"/>
                  </a:lnTo>
                  <a:lnTo>
                    <a:pt x="1821" y="886"/>
                  </a:lnTo>
                  <a:lnTo>
                    <a:pt x="1831" y="794"/>
                  </a:lnTo>
                  <a:lnTo>
                    <a:pt x="1831" y="748"/>
                  </a:lnTo>
                  <a:lnTo>
                    <a:pt x="1831" y="0"/>
                  </a:lnTo>
                  <a:lnTo>
                    <a:pt x="0" y="0"/>
                  </a:lnTo>
                  <a:close/>
                </a:path>
              </a:pathLst>
            </a:custGeom>
            <a:solidFill>
              <a:srgbClr val="F4CC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ctr" anchorCtr="0" compatLnSpc="1">
              <a:prstTxWarp prst="textNoShape">
                <a:avLst/>
              </a:prstTxWarp>
            </a:bodyPr>
            <a:lstStyle/>
            <a:p>
              <a:pPr algn="ctr"/>
              <a:r>
                <a:rPr lang="es-CO" sz="1400"/>
                <a:t>Decisión asertiva</a:t>
              </a:r>
            </a:p>
          </p:txBody>
        </p:sp>
        <p:sp>
          <p:nvSpPr>
            <p:cNvPr id="38" name="Freeform 118">
              <a:extLst>
                <a:ext uri="{FF2B5EF4-FFF2-40B4-BE49-F238E27FC236}">
                  <a16:creationId xmlns:a16="http://schemas.microsoft.com/office/drawing/2014/main" id="{708D3005-5E4B-42D6-B21C-45BA99039DF1}"/>
                </a:ext>
              </a:extLst>
            </p:cNvPr>
            <p:cNvSpPr>
              <a:spLocks/>
            </p:cNvSpPr>
            <p:nvPr/>
          </p:nvSpPr>
          <p:spPr bwMode="auto">
            <a:xfrm>
              <a:off x="5908676" y="3495676"/>
              <a:ext cx="404813" cy="203200"/>
            </a:xfrm>
            <a:custGeom>
              <a:avLst/>
              <a:gdLst>
                <a:gd name="T0" fmla="*/ 1020 w 1020"/>
                <a:gd name="T1" fmla="*/ 510 h 510"/>
                <a:gd name="T2" fmla="*/ 1019 w 1020"/>
                <a:gd name="T3" fmla="*/ 459 h 510"/>
                <a:gd name="T4" fmla="*/ 998 w 1020"/>
                <a:gd name="T5" fmla="*/ 359 h 510"/>
                <a:gd name="T6" fmla="*/ 959 w 1020"/>
                <a:gd name="T7" fmla="*/ 267 h 510"/>
                <a:gd name="T8" fmla="*/ 905 w 1020"/>
                <a:gd name="T9" fmla="*/ 185 h 510"/>
                <a:gd name="T10" fmla="*/ 835 w 1020"/>
                <a:gd name="T11" fmla="*/ 116 h 510"/>
                <a:gd name="T12" fmla="*/ 753 w 1020"/>
                <a:gd name="T13" fmla="*/ 61 h 510"/>
                <a:gd name="T14" fmla="*/ 663 w 1020"/>
                <a:gd name="T15" fmla="*/ 22 h 510"/>
                <a:gd name="T16" fmla="*/ 563 w 1020"/>
                <a:gd name="T17" fmla="*/ 2 h 510"/>
                <a:gd name="T18" fmla="*/ 511 w 1020"/>
                <a:gd name="T19" fmla="*/ 0 h 510"/>
                <a:gd name="T20" fmla="*/ 458 w 1020"/>
                <a:gd name="T21" fmla="*/ 2 h 510"/>
                <a:gd name="T22" fmla="*/ 358 w 1020"/>
                <a:gd name="T23" fmla="*/ 22 h 510"/>
                <a:gd name="T24" fmla="*/ 267 w 1020"/>
                <a:gd name="T25" fmla="*/ 61 h 510"/>
                <a:gd name="T26" fmla="*/ 186 w 1020"/>
                <a:gd name="T27" fmla="*/ 116 h 510"/>
                <a:gd name="T28" fmla="*/ 116 w 1020"/>
                <a:gd name="T29" fmla="*/ 185 h 510"/>
                <a:gd name="T30" fmla="*/ 61 w 1020"/>
                <a:gd name="T31" fmla="*/ 267 h 510"/>
                <a:gd name="T32" fmla="*/ 22 w 1020"/>
                <a:gd name="T33" fmla="*/ 359 h 510"/>
                <a:gd name="T34" fmla="*/ 2 w 1020"/>
                <a:gd name="T35" fmla="*/ 459 h 510"/>
                <a:gd name="T36" fmla="*/ 0 w 1020"/>
                <a:gd name="T37" fmla="*/ 510 h 510"/>
                <a:gd name="T38" fmla="*/ 1020 w 1020"/>
                <a:gd name="T39" fmla="*/ 51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20" h="510">
                  <a:moveTo>
                    <a:pt x="1020" y="510"/>
                  </a:moveTo>
                  <a:lnTo>
                    <a:pt x="1019" y="459"/>
                  </a:lnTo>
                  <a:lnTo>
                    <a:pt x="998" y="359"/>
                  </a:lnTo>
                  <a:lnTo>
                    <a:pt x="959" y="267"/>
                  </a:lnTo>
                  <a:lnTo>
                    <a:pt x="905" y="185"/>
                  </a:lnTo>
                  <a:lnTo>
                    <a:pt x="835" y="116"/>
                  </a:lnTo>
                  <a:lnTo>
                    <a:pt x="753" y="61"/>
                  </a:lnTo>
                  <a:lnTo>
                    <a:pt x="663" y="22"/>
                  </a:lnTo>
                  <a:lnTo>
                    <a:pt x="563" y="2"/>
                  </a:lnTo>
                  <a:lnTo>
                    <a:pt x="511" y="0"/>
                  </a:lnTo>
                  <a:lnTo>
                    <a:pt x="458" y="2"/>
                  </a:lnTo>
                  <a:lnTo>
                    <a:pt x="358" y="22"/>
                  </a:lnTo>
                  <a:lnTo>
                    <a:pt x="267" y="61"/>
                  </a:lnTo>
                  <a:lnTo>
                    <a:pt x="186" y="116"/>
                  </a:lnTo>
                  <a:lnTo>
                    <a:pt x="116" y="185"/>
                  </a:lnTo>
                  <a:lnTo>
                    <a:pt x="61" y="267"/>
                  </a:lnTo>
                  <a:lnTo>
                    <a:pt x="22" y="359"/>
                  </a:lnTo>
                  <a:lnTo>
                    <a:pt x="2" y="459"/>
                  </a:lnTo>
                  <a:lnTo>
                    <a:pt x="0" y="510"/>
                  </a:lnTo>
                  <a:lnTo>
                    <a:pt x="1020" y="510"/>
                  </a:lnTo>
                  <a:close/>
                </a:path>
              </a:pathLst>
            </a:custGeom>
            <a:solidFill>
              <a:srgbClr val="E1AD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CO" sz="1350"/>
            </a:p>
          </p:txBody>
        </p:sp>
        <p:sp>
          <p:nvSpPr>
            <p:cNvPr id="39" name="Rectangle 119">
              <a:extLst>
                <a:ext uri="{FF2B5EF4-FFF2-40B4-BE49-F238E27FC236}">
                  <a16:creationId xmlns:a16="http://schemas.microsoft.com/office/drawing/2014/main" id="{D762C4B6-91A8-41DD-8C6F-395C608E790A}"/>
                </a:ext>
              </a:extLst>
            </p:cNvPr>
            <p:cNvSpPr>
              <a:spLocks noChangeArrowheads="1"/>
            </p:cNvSpPr>
            <p:nvPr/>
          </p:nvSpPr>
          <p:spPr bwMode="auto">
            <a:xfrm>
              <a:off x="5718176" y="3978276"/>
              <a:ext cx="785813" cy="101600"/>
            </a:xfrm>
            <a:prstGeom prst="rect">
              <a:avLst/>
            </a:prstGeom>
            <a:solidFill>
              <a:srgbClr val="C68F3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CO" sz="1350"/>
            </a:p>
          </p:txBody>
        </p:sp>
        <p:sp>
          <p:nvSpPr>
            <p:cNvPr id="40" name="Rectangle 120">
              <a:extLst>
                <a:ext uri="{FF2B5EF4-FFF2-40B4-BE49-F238E27FC236}">
                  <a16:creationId xmlns:a16="http://schemas.microsoft.com/office/drawing/2014/main" id="{A83032BF-3B85-4CFA-A16B-3DB3F0475B69}"/>
                </a:ext>
              </a:extLst>
            </p:cNvPr>
            <p:cNvSpPr>
              <a:spLocks noChangeArrowheads="1"/>
            </p:cNvSpPr>
            <p:nvPr/>
          </p:nvSpPr>
          <p:spPr bwMode="auto">
            <a:xfrm>
              <a:off x="5802313" y="3678238"/>
              <a:ext cx="617538" cy="300038"/>
            </a:xfrm>
            <a:prstGeom prst="rect">
              <a:avLst/>
            </a:prstGeom>
            <a:solidFill>
              <a:srgbClr val="F4CC6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s-CO" sz="1350"/>
            </a:p>
          </p:txBody>
        </p:sp>
        <p:sp>
          <p:nvSpPr>
            <p:cNvPr id="41" name="Freeform 121">
              <a:extLst>
                <a:ext uri="{FF2B5EF4-FFF2-40B4-BE49-F238E27FC236}">
                  <a16:creationId xmlns:a16="http://schemas.microsoft.com/office/drawing/2014/main" id="{4A342096-8E02-4924-BFF0-0D3F1169CD03}"/>
                </a:ext>
              </a:extLst>
            </p:cNvPr>
            <p:cNvSpPr>
              <a:spLocks/>
            </p:cNvSpPr>
            <p:nvPr/>
          </p:nvSpPr>
          <p:spPr bwMode="auto">
            <a:xfrm>
              <a:off x="5908676" y="3733801"/>
              <a:ext cx="404813" cy="188913"/>
            </a:xfrm>
            <a:custGeom>
              <a:avLst/>
              <a:gdLst>
                <a:gd name="T0" fmla="*/ 919 w 1020"/>
                <a:gd name="T1" fmla="*/ 473 h 473"/>
                <a:gd name="T2" fmla="*/ 101 w 1020"/>
                <a:gd name="T3" fmla="*/ 473 h 473"/>
                <a:gd name="T4" fmla="*/ 100 w 1020"/>
                <a:gd name="T5" fmla="*/ 452 h 473"/>
                <a:gd name="T6" fmla="*/ 84 w 1020"/>
                <a:gd name="T7" fmla="*/ 416 h 473"/>
                <a:gd name="T8" fmla="*/ 57 w 1020"/>
                <a:gd name="T9" fmla="*/ 389 h 473"/>
                <a:gd name="T10" fmla="*/ 21 w 1020"/>
                <a:gd name="T11" fmla="*/ 373 h 473"/>
                <a:gd name="T12" fmla="*/ 0 w 1020"/>
                <a:gd name="T13" fmla="*/ 372 h 473"/>
                <a:gd name="T14" fmla="*/ 0 w 1020"/>
                <a:gd name="T15" fmla="*/ 101 h 473"/>
                <a:gd name="T16" fmla="*/ 21 w 1020"/>
                <a:gd name="T17" fmla="*/ 98 h 473"/>
                <a:gd name="T18" fmla="*/ 57 w 1020"/>
                <a:gd name="T19" fmla="*/ 84 h 473"/>
                <a:gd name="T20" fmla="*/ 84 w 1020"/>
                <a:gd name="T21" fmla="*/ 56 h 473"/>
                <a:gd name="T22" fmla="*/ 100 w 1020"/>
                <a:gd name="T23" fmla="*/ 19 h 473"/>
                <a:gd name="T24" fmla="*/ 101 w 1020"/>
                <a:gd name="T25" fmla="*/ 0 h 473"/>
                <a:gd name="T26" fmla="*/ 919 w 1020"/>
                <a:gd name="T27" fmla="*/ 0 h 473"/>
                <a:gd name="T28" fmla="*/ 920 w 1020"/>
                <a:gd name="T29" fmla="*/ 19 h 473"/>
                <a:gd name="T30" fmla="*/ 936 w 1020"/>
                <a:gd name="T31" fmla="*/ 56 h 473"/>
                <a:gd name="T32" fmla="*/ 963 w 1020"/>
                <a:gd name="T33" fmla="*/ 84 h 473"/>
                <a:gd name="T34" fmla="*/ 1000 w 1020"/>
                <a:gd name="T35" fmla="*/ 98 h 473"/>
                <a:gd name="T36" fmla="*/ 1020 w 1020"/>
                <a:gd name="T37" fmla="*/ 101 h 473"/>
                <a:gd name="T38" fmla="*/ 1020 w 1020"/>
                <a:gd name="T39" fmla="*/ 236 h 473"/>
                <a:gd name="T40" fmla="*/ 1020 w 1020"/>
                <a:gd name="T41" fmla="*/ 372 h 473"/>
                <a:gd name="T42" fmla="*/ 1000 w 1020"/>
                <a:gd name="T43" fmla="*/ 373 h 473"/>
                <a:gd name="T44" fmla="*/ 963 w 1020"/>
                <a:gd name="T45" fmla="*/ 389 h 473"/>
                <a:gd name="T46" fmla="*/ 936 w 1020"/>
                <a:gd name="T47" fmla="*/ 416 h 473"/>
                <a:gd name="T48" fmla="*/ 920 w 1020"/>
                <a:gd name="T49" fmla="*/ 452 h 473"/>
                <a:gd name="T50" fmla="*/ 919 w 1020"/>
                <a:gd name="T51" fmla="*/ 473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20" h="473">
                  <a:moveTo>
                    <a:pt x="919" y="473"/>
                  </a:moveTo>
                  <a:lnTo>
                    <a:pt x="101" y="473"/>
                  </a:lnTo>
                  <a:lnTo>
                    <a:pt x="100" y="452"/>
                  </a:lnTo>
                  <a:lnTo>
                    <a:pt x="84" y="416"/>
                  </a:lnTo>
                  <a:lnTo>
                    <a:pt x="57" y="389"/>
                  </a:lnTo>
                  <a:lnTo>
                    <a:pt x="21" y="373"/>
                  </a:lnTo>
                  <a:lnTo>
                    <a:pt x="0" y="372"/>
                  </a:lnTo>
                  <a:lnTo>
                    <a:pt x="0" y="101"/>
                  </a:lnTo>
                  <a:lnTo>
                    <a:pt x="21" y="98"/>
                  </a:lnTo>
                  <a:lnTo>
                    <a:pt x="57" y="84"/>
                  </a:lnTo>
                  <a:lnTo>
                    <a:pt x="84" y="56"/>
                  </a:lnTo>
                  <a:lnTo>
                    <a:pt x="100" y="19"/>
                  </a:lnTo>
                  <a:lnTo>
                    <a:pt x="101" y="0"/>
                  </a:lnTo>
                  <a:lnTo>
                    <a:pt x="919" y="0"/>
                  </a:lnTo>
                  <a:lnTo>
                    <a:pt x="920" y="19"/>
                  </a:lnTo>
                  <a:lnTo>
                    <a:pt x="936" y="56"/>
                  </a:lnTo>
                  <a:lnTo>
                    <a:pt x="963" y="84"/>
                  </a:lnTo>
                  <a:lnTo>
                    <a:pt x="1000" y="98"/>
                  </a:lnTo>
                  <a:lnTo>
                    <a:pt x="1020" y="101"/>
                  </a:lnTo>
                  <a:lnTo>
                    <a:pt x="1020" y="236"/>
                  </a:lnTo>
                  <a:lnTo>
                    <a:pt x="1020" y="372"/>
                  </a:lnTo>
                  <a:lnTo>
                    <a:pt x="1000" y="373"/>
                  </a:lnTo>
                  <a:lnTo>
                    <a:pt x="963" y="389"/>
                  </a:lnTo>
                  <a:lnTo>
                    <a:pt x="936" y="416"/>
                  </a:lnTo>
                  <a:lnTo>
                    <a:pt x="920" y="452"/>
                  </a:lnTo>
                  <a:lnTo>
                    <a:pt x="919" y="473"/>
                  </a:lnTo>
                  <a:close/>
                </a:path>
              </a:pathLst>
            </a:custGeom>
            <a:solidFill>
              <a:srgbClr val="C68F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s-CO" sz="1350"/>
            </a:p>
          </p:txBody>
        </p:sp>
      </p:grpSp>
      <p:grpSp>
        <p:nvGrpSpPr>
          <p:cNvPr id="42" name="Group 97">
            <a:extLst>
              <a:ext uri="{FF2B5EF4-FFF2-40B4-BE49-F238E27FC236}">
                <a16:creationId xmlns:a16="http://schemas.microsoft.com/office/drawing/2014/main" id="{8E981FAA-77CE-4F2A-A5DC-5CDE95F3D2CC}"/>
              </a:ext>
            </a:extLst>
          </p:cNvPr>
          <p:cNvGrpSpPr/>
          <p:nvPr/>
        </p:nvGrpSpPr>
        <p:grpSpPr>
          <a:xfrm>
            <a:off x="872034" y="4059524"/>
            <a:ext cx="8265258" cy="1940468"/>
            <a:chOff x="1143000" y="2315679"/>
            <a:chExt cx="8436202" cy="3180246"/>
          </a:xfrm>
        </p:grpSpPr>
        <p:grpSp>
          <p:nvGrpSpPr>
            <p:cNvPr id="43" name="Group 71">
              <a:extLst>
                <a:ext uri="{FF2B5EF4-FFF2-40B4-BE49-F238E27FC236}">
                  <a16:creationId xmlns:a16="http://schemas.microsoft.com/office/drawing/2014/main" id="{D2691887-98CE-4727-B080-28C283C42CDC}"/>
                </a:ext>
              </a:extLst>
            </p:cNvPr>
            <p:cNvGrpSpPr/>
            <p:nvPr/>
          </p:nvGrpSpPr>
          <p:grpSpPr>
            <a:xfrm>
              <a:off x="1143000" y="2315679"/>
              <a:ext cx="8436202" cy="3180246"/>
              <a:chOff x="2493141" y="2782404"/>
              <a:chExt cx="7667086" cy="2423160"/>
            </a:xfrm>
          </p:grpSpPr>
          <p:sp>
            <p:nvSpPr>
              <p:cNvPr id="59" name="Freeform 68">
                <a:extLst>
                  <a:ext uri="{FF2B5EF4-FFF2-40B4-BE49-F238E27FC236}">
                    <a16:creationId xmlns:a16="http://schemas.microsoft.com/office/drawing/2014/main" id="{B0240DC6-2737-4621-B3DB-4C10415C85EA}"/>
                  </a:ext>
                </a:extLst>
              </p:cNvPr>
              <p:cNvSpPr/>
              <p:nvPr/>
            </p:nvSpPr>
            <p:spPr>
              <a:xfrm>
                <a:off x="4442380" y="2928227"/>
                <a:ext cx="144084" cy="2130552"/>
              </a:xfrm>
              <a:custGeom>
                <a:avLst/>
                <a:gdLst>
                  <a:gd name="connsiteX0" fmla="*/ 71718 w 144084"/>
                  <a:gd name="connsiteY0" fmla="*/ 0 h 2407617"/>
                  <a:gd name="connsiteX1" fmla="*/ 90900 w 144084"/>
                  <a:gd name="connsiteY1" fmla="*/ 153532 h 2407617"/>
                  <a:gd name="connsiteX2" fmla="*/ 144084 w 144084"/>
                  <a:gd name="connsiteY2" fmla="*/ 1203809 h 2407617"/>
                  <a:gd name="connsiteX3" fmla="*/ 90900 w 144084"/>
                  <a:gd name="connsiteY3" fmla="*/ 2254086 h 2407617"/>
                  <a:gd name="connsiteX4" fmla="*/ 71718 w 144084"/>
                  <a:gd name="connsiteY4" fmla="*/ 2407617 h 2407617"/>
                  <a:gd name="connsiteX5" fmla="*/ 60256 w 144084"/>
                  <a:gd name="connsiteY5" fmla="*/ 2318734 h 2407617"/>
                  <a:gd name="connsiteX6" fmla="*/ 0 w 144084"/>
                  <a:gd name="connsiteY6" fmla="*/ 1203808 h 2407617"/>
                  <a:gd name="connsiteX7" fmla="*/ 60256 w 144084"/>
                  <a:gd name="connsiteY7" fmla="*/ 88882 h 2407617"/>
                  <a:gd name="connsiteX8" fmla="*/ 71718 w 144084"/>
                  <a:gd name="connsiteY8" fmla="*/ 0 h 240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084" h="2407617">
                    <a:moveTo>
                      <a:pt x="71718" y="0"/>
                    </a:moveTo>
                    <a:lnTo>
                      <a:pt x="90900" y="153532"/>
                    </a:lnTo>
                    <a:cubicBezTo>
                      <a:pt x="125228" y="478735"/>
                      <a:pt x="144084" y="833045"/>
                      <a:pt x="144084" y="1203809"/>
                    </a:cubicBezTo>
                    <a:cubicBezTo>
                      <a:pt x="144084" y="1574573"/>
                      <a:pt x="125228" y="1928883"/>
                      <a:pt x="90900" y="2254086"/>
                    </a:cubicBezTo>
                    <a:lnTo>
                      <a:pt x="71718" y="2407617"/>
                    </a:lnTo>
                    <a:lnTo>
                      <a:pt x="60256" y="2318734"/>
                    </a:lnTo>
                    <a:cubicBezTo>
                      <a:pt x="21456" y="1976051"/>
                      <a:pt x="0" y="1599289"/>
                      <a:pt x="0" y="1203808"/>
                    </a:cubicBezTo>
                    <a:cubicBezTo>
                      <a:pt x="0" y="808327"/>
                      <a:pt x="21456" y="431566"/>
                      <a:pt x="60256" y="88882"/>
                    </a:cubicBezTo>
                    <a:lnTo>
                      <a:pt x="71718" y="0"/>
                    </a:lnTo>
                    <a:close/>
                  </a:path>
                </a:pathLst>
              </a:custGeom>
              <a:solidFill>
                <a:schemeClr val="accent1">
                  <a:lumMod val="50000"/>
                </a:schemeClr>
              </a:solidFill>
              <a:ln w="12700" cap="flat" cmpd="sng" algn="ctr">
                <a:noFill/>
                <a:prstDash val="solid"/>
                <a:miter lim="800000"/>
              </a:ln>
              <a:effectLst/>
            </p:spPr>
            <p:txBody>
              <a:bodyPr rtlCol="0" anchor="ctr"/>
              <a:lstStyle/>
              <a:p>
                <a:pPr algn="ctr">
                  <a:defRPr/>
                </a:pPr>
                <a:endParaRPr lang="es-CO" sz="1350" kern="0">
                  <a:solidFill>
                    <a:prstClr val="white"/>
                  </a:solidFill>
                  <a:latin typeface="Calibri" panose="020F0502020204030204"/>
                </a:endParaRPr>
              </a:p>
            </p:txBody>
          </p:sp>
          <p:sp>
            <p:nvSpPr>
              <p:cNvPr id="60" name="Freeform 69">
                <a:extLst>
                  <a:ext uri="{FF2B5EF4-FFF2-40B4-BE49-F238E27FC236}">
                    <a16:creationId xmlns:a16="http://schemas.microsoft.com/office/drawing/2014/main" id="{1E98B0D9-7004-46B9-8451-8C057B00D302}"/>
                  </a:ext>
                </a:extLst>
              </p:cNvPr>
              <p:cNvSpPr/>
              <p:nvPr/>
            </p:nvSpPr>
            <p:spPr>
              <a:xfrm>
                <a:off x="6462712" y="3079525"/>
                <a:ext cx="92717" cy="1828800"/>
              </a:xfrm>
              <a:custGeom>
                <a:avLst/>
                <a:gdLst>
                  <a:gd name="connsiteX0" fmla="*/ 71718 w 144084"/>
                  <a:gd name="connsiteY0" fmla="*/ 0 h 2407617"/>
                  <a:gd name="connsiteX1" fmla="*/ 90900 w 144084"/>
                  <a:gd name="connsiteY1" fmla="*/ 153532 h 2407617"/>
                  <a:gd name="connsiteX2" fmla="*/ 144084 w 144084"/>
                  <a:gd name="connsiteY2" fmla="*/ 1203809 h 2407617"/>
                  <a:gd name="connsiteX3" fmla="*/ 90900 w 144084"/>
                  <a:gd name="connsiteY3" fmla="*/ 2254086 h 2407617"/>
                  <a:gd name="connsiteX4" fmla="*/ 71718 w 144084"/>
                  <a:gd name="connsiteY4" fmla="*/ 2407617 h 2407617"/>
                  <a:gd name="connsiteX5" fmla="*/ 60256 w 144084"/>
                  <a:gd name="connsiteY5" fmla="*/ 2318734 h 2407617"/>
                  <a:gd name="connsiteX6" fmla="*/ 0 w 144084"/>
                  <a:gd name="connsiteY6" fmla="*/ 1203808 h 2407617"/>
                  <a:gd name="connsiteX7" fmla="*/ 60256 w 144084"/>
                  <a:gd name="connsiteY7" fmla="*/ 88882 h 2407617"/>
                  <a:gd name="connsiteX8" fmla="*/ 71718 w 144084"/>
                  <a:gd name="connsiteY8" fmla="*/ 0 h 240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084" h="2407617">
                    <a:moveTo>
                      <a:pt x="71718" y="0"/>
                    </a:moveTo>
                    <a:lnTo>
                      <a:pt x="90900" y="153532"/>
                    </a:lnTo>
                    <a:cubicBezTo>
                      <a:pt x="125228" y="478735"/>
                      <a:pt x="144084" y="833045"/>
                      <a:pt x="144084" y="1203809"/>
                    </a:cubicBezTo>
                    <a:cubicBezTo>
                      <a:pt x="144084" y="1574573"/>
                      <a:pt x="125228" y="1928883"/>
                      <a:pt x="90900" y="2254086"/>
                    </a:cubicBezTo>
                    <a:lnTo>
                      <a:pt x="71718" y="2407617"/>
                    </a:lnTo>
                    <a:lnTo>
                      <a:pt x="60256" y="2318734"/>
                    </a:lnTo>
                    <a:cubicBezTo>
                      <a:pt x="21456" y="1976051"/>
                      <a:pt x="0" y="1599289"/>
                      <a:pt x="0" y="1203808"/>
                    </a:cubicBezTo>
                    <a:cubicBezTo>
                      <a:pt x="0" y="808327"/>
                      <a:pt x="21456" y="431566"/>
                      <a:pt x="60256" y="88882"/>
                    </a:cubicBezTo>
                    <a:lnTo>
                      <a:pt x="71718" y="0"/>
                    </a:lnTo>
                    <a:close/>
                  </a:path>
                </a:pathLst>
              </a:custGeom>
              <a:solidFill>
                <a:schemeClr val="accent3">
                  <a:lumMod val="50000"/>
                </a:schemeClr>
              </a:solidFill>
              <a:ln w="12700" cap="flat" cmpd="sng" algn="ctr">
                <a:noFill/>
                <a:prstDash val="solid"/>
                <a:miter lim="800000"/>
              </a:ln>
              <a:effectLst/>
            </p:spPr>
            <p:txBody>
              <a:bodyPr rtlCol="0" anchor="ctr"/>
              <a:lstStyle/>
              <a:p>
                <a:pPr algn="ctr">
                  <a:defRPr/>
                </a:pPr>
                <a:endParaRPr lang="es-CO" sz="1350" kern="0">
                  <a:solidFill>
                    <a:prstClr val="white"/>
                  </a:solidFill>
                  <a:latin typeface="Calibri" panose="020F0502020204030204"/>
                </a:endParaRPr>
              </a:p>
            </p:txBody>
          </p:sp>
          <p:sp>
            <p:nvSpPr>
              <p:cNvPr id="61" name="Freeform 70">
                <a:extLst>
                  <a:ext uri="{FF2B5EF4-FFF2-40B4-BE49-F238E27FC236}">
                    <a16:creationId xmlns:a16="http://schemas.microsoft.com/office/drawing/2014/main" id="{63E1E77E-E823-4B95-A066-445C36FFA4AC}"/>
                  </a:ext>
                </a:extLst>
              </p:cNvPr>
              <p:cNvSpPr/>
              <p:nvPr/>
            </p:nvSpPr>
            <p:spPr>
              <a:xfrm>
                <a:off x="8478016" y="3231670"/>
                <a:ext cx="61804" cy="1527048"/>
              </a:xfrm>
              <a:custGeom>
                <a:avLst/>
                <a:gdLst>
                  <a:gd name="connsiteX0" fmla="*/ 71718 w 144084"/>
                  <a:gd name="connsiteY0" fmla="*/ 0 h 2407617"/>
                  <a:gd name="connsiteX1" fmla="*/ 90900 w 144084"/>
                  <a:gd name="connsiteY1" fmla="*/ 153532 h 2407617"/>
                  <a:gd name="connsiteX2" fmla="*/ 144084 w 144084"/>
                  <a:gd name="connsiteY2" fmla="*/ 1203809 h 2407617"/>
                  <a:gd name="connsiteX3" fmla="*/ 90900 w 144084"/>
                  <a:gd name="connsiteY3" fmla="*/ 2254086 h 2407617"/>
                  <a:gd name="connsiteX4" fmla="*/ 71718 w 144084"/>
                  <a:gd name="connsiteY4" fmla="*/ 2407617 h 2407617"/>
                  <a:gd name="connsiteX5" fmla="*/ 60256 w 144084"/>
                  <a:gd name="connsiteY5" fmla="*/ 2318734 h 2407617"/>
                  <a:gd name="connsiteX6" fmla="*/ 0 w 144084"/>
                  <a:gd name="connsiteY6" fmla="*/ 1203808 h 2407617"/>
                  <a:gd name="connsiteX7" fmla="*/ 60256 w 144084"/>
                  <a:gd name="connsiteY7" fmla="*/ 88882 h 2407617"/>
                  <a:gd name="connsiteX8" fmla="*/ 71718 w 144084"/>
                  <a:gd name="connsiteY8" fmla="*/ 0 h 240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084" h="2407617">
                    <a:moveTo>
                      <a:pt x="71718" y="0"/>
                    </a:moveTo>
                    <a:lnTo>
                      <a:pt x="90900" y="153532"/>
                    </a:lnTo>
                    <a:cubicBezTo>
                      <a:pt x="125228" y="478735"/>
                      <a:pt x="144084" y="833045"/>
                      <a:pt x="144084" y="1203809"/>
                    </a:cubicBezTo>
                    <a:cubicBezTo>
                      <a:pt x="144084" y="1574573"/>
                      <a:pt x="125228" y="1928883"/>
                      <a:pt x="90900" y="2254086"/>
                    </a:cubicBezTo>
                    <a:lnTo>
                      <a:pt x="71718" y="2407617"/>
                    </a:lnTo>
                    <a:lnTo>
                      <a:pt x="60256" y="2318734"/>
                    </a:lnTo>
                    <a:cubicBezTo>
                      <a:pt x="21456" y="1976051"/>
                      <a:pt x="0" y="1599289"/>
                      <a:pt x="0" y="1203808"/>
                    </a:cubicBezTo>
                    <a:cubicBezTo>
                      <a:pt x="0" y="808327"/>
                      <a:pt x="21456" y="431566"/>
                      <a:pt x="60256" y="88882"/>
                    </a:cubicBezTo>
                    <a:lnTo>
                      <a:pt x="71718" y="0"/>
                    </a:lnTo>
                    <a:close/>
                  </a:path>
                </a:pathLst>
              </a:custGeom>
              <a:solidFill>
                <a:schemeClr val="accent4">
                  <a:lumMod val="50000"/>
                </a:schemeClr>
              </a:solidFill>
              <a:ln w="12700" cap="flat" cmpd="sng" algn="ctr">
                <a:noFill/>
                <a:prstDash val="solid"/>
                <a:miter lim="800000"/>
              </a:ln>
              <a:effectLst/>
            </p:spPr>
            <p:txBody>
              <a:bodyPr rtlCol="0" anchor="ctr"/>
              <a:lstStyle/>
              <a:p>
                <a:pPr algn="ctr">
                  <a:defRPr/>
                </a:pPr>
                <a:endParaRPr lang="es-CO" sz="1350" kern="0">
                  <a:solidFill>
                    <a:prstClr val="white"/>
                  </a:solidFill>
                  <a:latin typeface="Calibri" panose="020F0502020204030204"/>
                </a:endParaRPr>
              </a:p>
            </p:txBody>
          </p:sp>
          <p:sp>
            <p:nvSpPr>
              <p:cNvPr id="62" name="Pentagon 62">
                <a:extLst>
                  <a:ext uri="{FF2B5EF4-FFF2-40B4-BE49-F238E27FC236}">
                    <a16:creationId xmlns:a16="http://schemas.microsoft.com/office/drawing/2014/main" id="{1AB96CFD-4E64-4D75-86F3-E119B0426024}"/>
                  </a:ext>
                </a:extLst>
              </p:cNvPr>
              <p:cNvSpPr/>
              <p:nvPr/>
            </p:nvSpPr>
            <p:spPr>
              <a:xfrm>
                <a:off x="3576439" y="3820872"/>
                <a:ext cx="968027" cy="345595"/>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350"/>
              </a:p>
            </p:txBody>
          </p:sp>
          <p:sp>
            <p:nvSpPr>
              <p:cNvPr id="63" name="Pentagon 63">
                <a:extLst>
                  <a:ext uri="{FF2B5EF4-FFF2-40B4-BE49-F238E27FC236}">
                    <a16:creationId xmlns:a16="http://schemas.microsoft.com/office/drawing/2014/main" id="{76A818F1-1E2F-4E3E-8E30-5D9FD45711F3}"/>
                  </a:ext>
                </a:extLst>
              </p:cNvPr>
              <p:cNvSpPr/>
              <p:nvPr/>
            </p:nvSpPr>
            <p:spPr>
              <a:xfrm>
                <a:off x="5579534" y="3820872"/>
                <a:ext cx="968027" cy="34559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350"/>
              </a:p>
            </p:txBody>
          </p:sp>
          <p:sp>
            <p:nvSpPr>
              <p:cNvPr id="64" name="Pentagon 64">
                <a:extLst>
                  <a:ext uri="{FF2B5EF4-FFF2-40B4-BE49-F238E27FC236}">
                    <a16:creationId xmlns:a16="http://schemas.microsoft.com/office/drawing/2014/main" id="{56BEB846-3F93-46A4-A1B2-9E80AD2A8550}"/>
                  </a:ext>
                </a:extLst>
              </p:cNvPr>
              <p:cNvSpPr/>
              <p:nvPr/>
            </p:nvSpPr>
            <p:spPr>
              <a:xfrm>
                <a:off x="7558373" y="3820871"/>
                <a:ext cx="968027" cy="345595"/>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350"/>
              </a:p>
            </p:txBody>
          </p:sp>
          <p:sp>
            <p:nvSpPr>
              <p:cNvPr id="65" name="Pentagon 65">
                <a:extLst>
                  <a:ext uri="{FF2B5EF4-FFF2-40B4-BE49-F238E27FC236}">
                    <a16:creationId xmlns:a16="http://schemas.microsoft.com/office/drawing/2014/main" id="{10D32905-0921-4A12-ABDB-0CC6F77DA964}"/>
                  </a:ext>
                </a:extLst>
              </p:cNvPr>
              <p:cNvSpPr/>
              <p:nvPr/>
            </p:nvSpPr>
            <p:spPr>
              <a:xfrm>
                <a:off x="9503838" y="3820871"/>
                <a:ext cx="656389" cy="345595"/>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sz="1350"/>
              </a:p>
            </p:txBody>
          </p:sp>
          <p:sp>
            <p:nvSpPr>
              <p:cNvPr id="66" name="Freeform 67">
                <a:extLst>
                  <a:ext uri="{FF2B5EF4-FFF2-40B4-BE49-F238E27FC236}">
                    <a16:creationId xmlns:a16="http://schemas.microsoft.com/office/drawing/2014/main" id="{2C3E7187-2A73-459C-B24B-D6535BAA435A}"/>
                  </a:ext>
                </a:extLst>
              </p:cNvPr>
              <p:cNvSpPr/>
              <p:nvPr/>
            </p:nvSpPr>
            <p:spPr>
              <a:xfrm>
                <a:off x="2493141" y="2782404"/>
                <a:ext cx="144084" cy="2423160"/>
              </a:xfrm>
              <a:custGeom>
                <a:avLst/>
                <a:gdLst>
                  <a:gd name="connsiteX0" fmla="*/ 71718 w 144084"/>
                  <a:gd name="connsiteY0" fmla="*/ 0 h 2407617"/>
                  <a:gd name="connsiteX1" fmla="*/ 90900 w 144084"/>
                  <a:gd name="connsiteY1" fmla="*/ 153532 h 2407617"/>
                  <a:gd name="connsiteX2" fmla="*/ 144084 w 144084"/>
                  <a:gd name="connsiteY2" fmla="*/ 1203809 h 2407617"/>
                  <a:gd name="connsiteX3" fmla="*/ 90900 w 144084"/>
                  <a:gd name="connsiteY3" fmla="*/ 2254086 h 2407617"/>
                  <a:gd name="connsiteX4" fmla="*/ 71718 w 144084"/>
                  <a:gd name="connsiteY4" fmla="*/ 2407617 h 2407617"/>
                  <a:gd name="connsiteX5" fmla="*/ 60256 w 144084"/>
                  <a:gd name="connsiteY5" fmla="*/ 2318734 h 2407617"/>
                  <a:gd name="connsiteX6" fmla="*/ 0 w 144084"/>
                  <a:gd name="connsiteY6" fmla="*/ 1203808 h 2407617"/>
                  <a:gd name="connsiteX7" fmla="*/ 60256 w 144084"/>
                  <a:gd name="connsiteY7" fmla="*/ 88882 h 2407617"/>
                  <a:gd name="connsiteX8" fmla="*/ 71718 w 144084"/>
                  <a:gd name="connsiteY8" fmla="*/ 0 h 2407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084" h="2407617">
                    <a:moveTo>
                      <a:pt x="71718" y="0"/>
                    </a:moveTo>
                    <a:lnTo>
                      <a:pt x="90900" y="153532"/>
                    </a:lnTo>
                    <a:cubicBezTo>
                      <a:pt x="125228" y="478735"/>
                      <a:pt x="144084" y="833045"/>
                      <a:pt x="144084" y="1203809"/>
                    </a:cubicBezTo>
                    <a:cubicBezTo>
                      <a:pt x="144084" y="1574573"/>
                      <a:pt x="125228" y="1928883"/>
                      <a:pt x="90900" y="2254086"/>
                    </a:cubicBezTo>
                    <a:lnTo>
                      <a:pt x="71718" y="2407617"/>
                    </a:lnTo>
                    <a:lnTo>
                      <a:pt x="60256" y="2318734"/>
                    </a:lnTo>
                    <a:cubicBezTo>
                      <a:pt x="21456" y="1976051"/>
                      <a:pt x="0" y="1599289"/>
                      <a:pt x="0" y="1203808"/>
                    </a:cubicBezTo>
                    <a:cubicBezTo>
                      <a:pt x="0" y="808327"/>
                      <a:pt x="21456" y="431566"/>
                      <a:pt x="60256" y="88882"/>
                    </a:cubicBezTo>
                    <a:lnTo>
                      <a:pt x="71718" y="0"/>
                    </a:lnTo>
                    <a:close/>
                  </a:path>
                </a:pathLst>
              </a:custGeom>
              <a:solidFill>
                <a:schemeClr val="tx1"/>
              </a:solidFill>
              <a:ln w="12700" cap="flat" cmpd="sng" algn="ctr">
                <a:noFill/>
                <a:prstDash val="solid"/>
                <a:miter lim="800000"/>
              </a:ln>
              <a:effectLst/>
            </p:spPr>
            <p:txBody>
              <a:bodyPr rtlCol="0" anchor="ctr"/>
              <a:lstStyle/>
              <a:p>
                <a:pPr algn="ctr">
                  <a:defRPr/>
                </a:pPr>
                <a:endParaRPr lang="es-CO" sz="1350" kern="0">
                  <a:solidFill>
                    <a:prstClr val="white"/>
                  </a:solidFill>
                  <a:latin typeface="Calibri" panose="020F0502020204030204"/>
                </a:endParaRPr>
              </a:p>
            </p:txBody>
          </p:sp>
          <p:sp>
            <p:nvSpPr>
              <p:cNvPr id="67" name="Freeform 58">
                <a:extLst>
                  <a:ext uri="{FF2B5EF4-FFF2-40B4-BE49-F238E27FC236}">
                    <a16:creationId xmlns:a16="http://schemas.microsoft.com/office/drawing/2014/main" id="{93E44472-F58E-45E5-AFC8-82472B7B096C}"/>
                  </a:ext>
                </a:extLst>
              </p:cNvPr>
              <p:cNvSpPr/>
              <p:nvPr/>
            </p:nvSpPr>
            <p:spPr>
              <a:xfrm rot="5400000">
                <a:off x="2116991" y="3278063"/>
                <a:ext cx="2422532" cy="1431220"/>
              </a:xfrm>
              <a:custGeom>
                <a:avLst/>
                <a:gdLst>
                  <a:gd name="connsiteX0" fmla="*/ 0 w 2422532"/>
                  <a:gd name="connsiteY0" fmla="*/ 1031331 h 1031331"/>
                  <a:gd name="connsiteX1" fmla="*/ 72672 w 2422532"/>
                  <a:gd name="connsiteY1" fmla="*/ 63695 h 1031331"/>
                  <a:gd name="connsiteX2" fmla="*/ 96342 w 2422532"/>
                  <a:gd name="connsiteY2" fmla="*/ 60256 h 1031331"/>
                  <a:gd name="connsiteX3" fmla="*/ 1211268 w 2422532"/>
                  <a:gd name="connsiteY3" fmla="*/ 0 h 1031331"/>
                  <a:gd name="connsiteX4" fmla="*/ 2326194 w 2422532"/>
                  <a:gd name="connsiteY4" fmla="*/ 60256 h 1031331"/>
                  <a:gd name="connsiteX5" fmla="*/ 2349860 w 2422532"/>
                  <a:gd name="connsiteY5" fmla="*/ 63694 h 1031331"/>
                  <a:gd name="connsiteX6" fmla="*/ 2422532 w 2422532"/>
                  <a:gd name="connsiteY6" fmla="*/ 1031331 h 1031331"/>
                  <a:gd name="connsiteX7" fmla="*/ 2261543 w 2422532"/>
                  <a:gd name="connsiteY7" fmla="*/ 1011218 h 1031331"/>
                  <a:gd name="connsiteX8" fmla="*/ 1211266 w 2422532"/>
                  <a:gd name="connsiteY8" fmla="*/ 958033 h 1031331"/>
                  <a:gd name="connsiteX9" fmla="*/ 160989 w 2422532"/>
                  <a:gd name="connsiteY9" fmla="*/ 1011218 h 1031331"/>
                  <a:gd name="connsiteX10" fmla="*/ 0 w 2422532"/>
                  <a:gd name="connsiteY10" fmla="*/ 1031331 h 103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22532" h="1031331">
                    <a:moveTo>
                      <a:pt x="0" y="1031331"/>
                    </a:moveTo>
                    <a:lnTo>
                      <a:pt x="72672" y="63695"/>
                    </a:lnTo>
                    <a:lnTo>
                      <a:pt x="96342" y="60256"/>
                    </a:lnTo>
                    <a:cubicBezTo>
                      <a:pt x="439025" y="21456"/>
                      <a:pt x="815787" y="0"/>
                      <a:pt x="1211268" y="0"/>
                    </a:cubicBezTo>
                    <a:cubicBezTo>
                      <a:pt x="1606749" y="0"/>
                      <a:pt x="1983510" y="21456"/>
                      <a:pt x="2326194" y="60256"/>
                    </a:cubicBezTo>
                    <a:lnTo>
                      <a:pt x="2349860" y="63694"/>
                    </a:lnTo>
                    <a:lnTo>
                      <a:pt x="2422532" y="1031331"/>
                    </a:lnTo>
                    <a:lnTo>
                      <a:pt x="2261543" y="1011218"/>
                    </a:lnTo>
                    <a:cubicBezTo>
                      <a:pt x="1936340" y="976890"/>
                      <a:pt x="1582030" y="958033"/>
                      <a:pt x="1211266" y="958033"/>
                    </a:cubicBezTo>
                    <a:cubicBezTo>
                      <a:pt x="840502" y="958033"/>
                      <a:pt x="486192" y="976890"/>
                      <a:pt x="160989" y="1011218"/>
                    </a:cubicBezTo>
                    <a:lnTo>
                      <a:pt x="0" y="1031331"/>
                    </a:lnTo>
                    <a:close/>
                  </a:path>
                </a:pathLst>
              </a:custGeom>
              <a:solidFill>
                <a:schemeClr val="tx2"/>
              </a:solidFill>
              <a:ln w="12700" cap="flat" cmpd="sng" algn="ctr">
                <a:noFill/>
                <a:prstDash val="solid"/>
                <a:miter lim="800000"/>
              </a:ln>
              <a:effectLst/>
            </p:spPr>
            <p:txBody>
              <a:bodyPr rtlCol="0" anchor="ctr"/>
              <a:lstStyle/>
              <a:p>
                <a:pPr algn="ctr">
                  <a:defRPr/>
                </a:pPr>
                <a:endParaRPr lang="es-CO" sz="1350" kern="0">
                  <a:solidFill>
                    <a:prstClr val="white"/>
                  </a:solidFill>
                  <a:latin typeface="Calibri" panose="020F0502020204030204"/>
                </a:endParaRPr>
              </a:p>
            </p:txBody>
          </p:sp>
          <p:sp>
            <p:nvSpPr>
              <p:cNvPr id="68" name="Freeform 59">
                <a:extLst>
                  <a:ext uri="{FF2B5EF4-FFF2-40B4-BE49-F238E27FC236}">
                    <a16:creationId xmlns:a16="http://schemas.microsoft.com/office/drawing/2014/main" id="{F0D2DA07-073A-4D40-AF3A-2851D484762B}"/>
                  </a:ext>
                </a:extLst>
              </p:cNvPr>
              <p:cNvSpPr/>
              <p:nvPr/>
            </p:nvSpPr>
            <p:spPr>
              <a:xfrm rot="5400000">
                <a:off x="4044516" y="3456221"/>
                <a:ext cx="2130217" cy="1074898"/>
              </a:xfrm>
              <a:custGeom>
                <a:avLst/>
                <a:gdLst>
                  <a:gd name="connsiteX0" fmla="*/ 0 w 2130217"/>
                  <a:gd name="connsiteY0" fmla="*/ 1074898 h 1074898"/>
                  <a:gd name="connsiteX1" fmla="*/ 77137 w 2130217"/>
                  <a:gd name="connsiteY1" fmla="*/ 47817 h 1074898"/>
                  <a:gd name="connsiteX2" fmla="*/ 213347 w 2130217"/>
                  <a:gd name="connsiteY2" fmla="*/ 34472 h 1074898"/>
                  <a:gd name="connsiteX3" fmla="*/ 1065111 w 2130217"/>
                  <a:gd name="connsiteY3" fmla="*/ 0 h 1074898"/>
                  <a:gd name="connsiteX4" fmla="*/ 1916875 w 2130217"/>
                  <a:gd name="connsiteY4" fmla="*/ 34472 h 1074898"/>
                  <a:gd name="connsiteX5" fmla="*/ 2053081 w 2130217"/>
                  <a:gd name="connsiteY5" fmla="*/ 47817 h 1074898"/>
                  <a:gd name="connsiteX6" fmla="*/ 2130217 w 2130217"/>
                  <a:gd name="connsiteY6" fmla="*/ 1074898 h 1074898"/>
                  <a:gd name="connsiteX7" fmla="*/ 2115386 w 2130217"/>
                  <a:gd name="connsiteY7" fmla="*/ 1073045 h 1074898"/>
                  <a:gd name="connsiteX8" fmla="*/ 1065109 w 2130217"/>
                  <a:gd name="connsiteY8" fmla="*/ 1019860 h 1074898"/>
                  <a:gd name="connsiteX9" fmla="*/ 14832 w 2130217"/>
                  <a:gd name="connsiteY9" fmla="*/ 1073045 h 1074898"/>
                  <a:gd name="connsiteX10" fmla="*/ 0 w 2130217"/>
                  <a:gd name="connsiteY10" fmla="*/ 1074898 h 1074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30217" h="1074898">
                    <a:moveTo>
                      <a:pt x="0" y="1074898"/>
                    </a:moveTo>
                    <a:lnTo>
                      <a:pt x="77137" y="47817"/>
                    </a:lnTo>
                    <a:lnTo>
                      <a:pt x="213347" y="34472"/>
                    </a:lnTo>
                    <a:cubicBezTo>
                      <a:pt x="482419" y="12069"/>
                      <a:pt x="768500" y="0"/>
                      <a:pt x="1065111" y="0"/>
                    </a:cubicBezTo>
                    <a:cubicBezTo>
                      <a:pt x="1361722" y="0"/>
                      <a:pt x="1647802" y="12069"/>
                      <a:pt x="1916875" y="34472"/>
                    </a:cubicBezTo>
                    <a:lnTo>
                      <a:pt x="2053081" y="47817"/>
                    </a:lnTo>
                    <a:lnTo>
                      <a:pt x="2130217" y="1074898"/>
                    </a:lnTo>
                    <a:lnTo>
                      <a:pt x="2115386" y="1073045"/>
                    </a:lnTo>
                    <a:cubicBezTo>
                      <a:pt x="1790183" y="1038717"/>
                      <a:pt x="1435873" y="1019860"/>
                      <a:pt x="1065109" y="1019860"/>
                    </a:cubicBezTo>
                    <a:cubicBezTo>
                      <a:pt x="694345" y="1019860"/>
                      <a:pt x="340035" y="1038717"/>
                      <a:pt x="14832" y="1073045"/>
                    </a:cubicBezTo>
                    <a:lnTo>
                      <a:pt x="0" y="1074898"/>
                    </a:lnTo>
                    <a:close/>
                  </a:path>
                </a:pathLst>
              </a:custGeom>
              <a:solidFill>
                <a:schemeClr val="accent1"/>
              </a:solidFill>
              <a:ln w="12700" cap="flat" cmpd="sng" algn="ctr">
                <a:noFill/>
                <a:prstDash val="solid"/>
                <a:miter lim="800000"/>
              </a:ln>
              <a:effectLst/>
            </p:spPr>
            <p:txBody>
              <a:bodyPr rtlCol="0" anchor="ctr"/>
              <a:lstStyle/>
              <a:p>
                <a:pPr algn="ctr">
                  <a:defRPr/>
                </a:pPr>
                <a:endParaRPr lang="es-CO" sz="1350" kern="0">
                  <a:solidFill>
                    <a:prstClr val="white"/>
                  </a:solidFill>
                  <a:latin typeface="Calibri" panose="020F0502020204030204"/>
                </a:endParaRPr>
              </a:p>
            </p:txBody>
          </p:sp>
          <p:sp>
            <p:nvSpPr>
              <p:cNvPr id="69" name="Freeform 60">
                <a:extLst>
                  <a:ext uri="{FF2B5EF4-FFF2-40B4-BE49-F238E27FC236}">
                    <a16:creationId xmlns:a16="http://schemas.microsoft.com/office/drawing/2014/main" id="{B121D910-1345-43EA-B78E-95DC149D8530}"/>
                  </a:ext>
                </a:extLst>
              </p:cNvPr>
              <p:cNvSpPr/>
              <p:nvPr/>
            </p:nvSpPr>
            <p:spPr>
              <a:xfrm rot="5400000">
                <a:off x="6185937" y="3468349"/>
                <a:ext cx="1829310" cy="1050642"/>
              </a:xfrm>
              <a:custGeom>
                <a:avLst/>
                <a:gdLst>
                  <a:gd name="connsiteX0" fmla="*/ 0 w 1829310"/>
                  <a:gd name="connsiteY0" fmla="*/ 1050642 h 1050642"/>
                  <a:gd name="connsiteX1" fmla="*/ 76386 w 1829310"/>
                  <a:gd name="connsiteY1" fmla="*/ 33543 h 1050642"/>
                  <a:gd name="connsiteX2" fmla="*/ 337395 w 1829310"/>
                  <a:gd name="connsiteY2" fmla="*/ 15578 h 1050642"/>
                  <a:gd name="connsiteX3" fmla="*/ 914657 w 1829310"/>
                  <a:gd name="connsiteY3" fmla="*/ 0 h 1050642"/>
                  <a:gd name="connsiteX4" fmla="*/ 1491919 w 1829310"/>
                  <a:gd name="connsiteY4" fmla="*/ 15578 h 1050642"/>
                  <a:gd name="connsiteX5" fmla="*/ 1752923 w 1829310"/>
                  <a:gd name="connsiteY5" fmla="*/ 33543 h 1050642"/>
                  <a:gd name="connsiteX6" fmla="*/ 1829310 w 1829310"/>
                  <a:gd name="connsiteY6" fmla="*/ 1050642 h 1050642"/>
                  <a:gd name="connsiteX7" fmla="*/ 1630495 w 1829310"/>
                  <a:gd name="connsiteY7" fmla="*/ 1033376 h 1050642"/>
                  <a:gd name="connsiteX8" fmla="*/ 914655 w 1829310"/>
                  <a:gd name="connsiteY8" fmla="*/ 1009236 h 1050642"/>
                  <a:gd name="connsiteX9" fmla="*/ 198815 w 1829310"/>
                  <a:gd name="connsiteY9" fmla="*/ 1033376 h 1050642"/>
                  <a:gd name="connsiteX10" fmla="*/ 0 w 1829310"/>
                  <a:gd name="connsiteY10" fmla="*/ 1050642 h 1050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29310" h="1050642">
                    <a:moveTo>
                      <a:pt x="0" y="1050642"/>
                    </a:moveTo>
                    <a:lnTo>
                      <a:pt x="76386" y="33543"/>
                    </a:lnTo>
                    <a:lnTo>
                      <a:pt x="337395" y="15578"/>
                    </a:lnTo>
                    <a:cubicBezTo>
                      <a:pt x="523855" y="5364"/>
                      <a:pt x="716916" y="0"/>
                      <a:pt x="914657" y="0"/>
                    </a:cubicBezTo>
                    <a:cubicBezTo>
                      <a:pt x="1112397" y="0"/>
                      <a:pt x="1305458" y="5364"/>
                      <a:pt x="1491919" y="15578"/>
                    </a:cubicBezTo>
                    <a:lnTo>
                      <a:pt x="1752923" y="33543"/>
                    </a:lnTo>
                    <a:lnTo>
                      <a:pt x="1829310" y="1050642"/>
                    </a:lnTo>
                    <a:lnTo>
                      <a:pt x="1630495" y="1033376"/>
                    </a:lnTo>
                    <a:cubicBezTo>
                      <a:pt x="1401694" y="1017617"/>
                      <a:pt x="1161831" y="1009236"/>
                      <a:pt x="914655" y="1009236"/>
                    </a:cubicBezTo>
                    <a:cubicBezTo>
                      <a:pt x="667479" y="1009236"/>
                      <a:pt x="427616" y="1017617"/>
                      <a:pt x="198815" y="1033376"/>
                    </a:cubicBezTo>
                    <a:lnTo>
                      <a:pt x="0" y="1050642"/>
                    </a:lnTo>
                    <a:close/>
                  </a:path>
                </a:pathLst>
              </a:custGeom>
              <a:solidFill>
                <a:schemeClr val="accent3"/>
              </a:solidFill>
              <a:ln w="12700" cap="flat" cmpd="sng" algn="ctr">
                <a:noFill/>
                <a:prstDash val="solid"/>
                <a:miter lim="800000"/>
              </a:ln>
              <a:effectLst/>
            </p:spPr>
            <p:txBody>
              <a:bodyPr rtlCol="0" anchor="ctr"/>
              <a:lstStyle/>
              <a:p>
                <a:pPr algn="ctr">
                  <a:defRPr/>
                </a:pPr>
                <a:endParaRPr lang="es-CO" sz="1350" kern="0">
                  <a:solidFill>
                    <a:prstClr val="white"/>
                  </a:solidFill>
                  <a:latin typeface="Calibri" panose="020F0502020204030204"/>
                </a:endParaRPr>
              </a:p>
            </p:txBody>
          </p:sp>
          <p:sp>
            <p:nvSpPr>
              <p:cNvPr id="70" name="Freeform 61">
                <a:extLst>
                  <a:ext uri="{FF2B5EF4-FFF2-40B4-BE49-F238E27FC236}">
                    <a16:creationId xmlns:a16="http://schemas.microsoft.com/office/drawing/2014/main" id="{3561C933-9F14-4F0B-9166-8C0A7DCB1967}"/>
                  </a:ext>
                </a:extLst>
              </p:cNvPr>
              <p:cNvSpPr/>
              <p:nvPr/>
            </p:nvSpPr>
            <p:spPr>
              <a:xfrm rot="5400000">
                <a:off x="8313198" y="3469534"/>
                <a:ext cx="1530095" cy="1048272"/>
              </a:xfrm>
              <a:custGeom>
                <a:avLst/>
                <a:gdLst>
                  <a:gd name="connsiteX0" fmla="*/ 0 w 1530095"/>
                  <a:gd name="connsiteY0" fmla="*/ 1048272 h 1048272"/>
                  <a:gd name="connsiteX1" fmla="*/ 76985 w 1530095"/>
                  <a:gd name="connsiteY1" fmla="*/ 23205 h 1048272"/>
                  <a:gd name="connsiteX2" fmla="*/ 187788 w 1530095"/>
                  <a:gd name="connsiteY2" fmla="*/ 15578 h 1048272"/>
                  <a:gd name="connsiteX3" fmla="*/ 765050 w 1530095"/>
                  <a:gd name="connsiteY3" fmla="*/ 0 h 1048272"/>
                  <a:gd name="connsiteX4" fmla="*/ 1342312 w 1530095"/>
                  <a:gd name="connsiteY4" fmla="*/ 15578 h 1048272"/>
                  <a:gd name="connsiteX5" fmla="*/ 1453110 w 1530095"/>
                  <a:gd name="connsiteY5" fmla="*/ 23204 h 1048272"/>
                  <a:gd name="connsiteX6" fmla="*/ 1530095 w 1530095"/>
                  <a:gd name="connsiteY6" fmla="*/ 1048272 h 1048272"/>
                  <a:gd name="connsiteX7" fmla="*/ 1480888 w 1530095"/>
                  <a:gd name="connsiteY7" fmla="*/ 1043998 h 1048272"/>
                  <a:gd name="connsiteX8" fmla="*/ 765048 w 1530095"/>
                  <a:gd name="connsiteY8" fmla="*/ 1019858 h 1048272"/>
                  <a:gd name="connsiteX9" fmla="*/ 49208 w 1530095"/>
                  <a:gd name="connsiteY9" fmla="*/ 1043998 h 1048272"/>
                  <a:gd name="connsiteX10" fmla="*/ 0 w 1530095"/>
                  <a:gd name="connsiteY10" fmla="*/ 1048272 h 1048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0095" h="1048272">
                    <a:moveTo>
                      <a:pt x="0" y="1048272"/>
                    </a:moveTo>
                    <a:lnTo>
                      <a:pt x="76985" y="23205"/>
                    </a:lnTo>
                    <a:lnTo>
                      <a:pt x="187788" y="15578"/>
                    </a:lnTo>
                    <a:cubicBezTo>
                      <a:pt x="374248" y="5364"/>
                      <a:pt x="567309" y="0"/>
                      <a:pt x="765050" y="0"/>
                    </a:cubicBezTo>
                    <a:cubicBezTo>
                      <a:pt x="962790" y="0"/>
                      <a:pt x="1155851" y="5364"/>
                      <a:pt x="1342312" y="15578"/>
                    </a:cubicBezTo>
                    <a:lnTo>
                      <a:pt x="1453110" y="23204"/>
                    </a:lnTo>
                    <a:lnTo>
                      <a:pt x="1530095" y="1048272"/>
                    </a:lnTo>
                    <a:lnTo>
                      <a:pt x="1480888" y="1043998"/>
                    </a:lnTo>
                    <a:cubicBezTo>
                      <a:pt x="1252087" y="1028239"/>
                      <a:pt x="1012224" y="1019858"/>
                      <a:pt x="765048" y="1019858"/>
                    </a:cubicBezTo>
                    <a:cubicBezTo>
                      <a:pt x="517872" y="1019858"/>
                      <a:pt x="278009" y="1028239"/>
                      <a:pt x="49208" y="1043998"/>
                    </a:cubicBezTo>
                    <a:lnTo>
                      <a:pt x="0" y="1048272"/>
                    </a:lnTo>
                    <a:close/>
                  </a:path>
                </a:pathLst>
              </a:custGeom>
              <a:solidFill>
                <a:schemeClr val="accent4"/>
              </a:solidFill>
              <a:ln w="12700" cap="flat" cmpd="sng" algn="ctr">
                <a:noFill/>
                <a:prstDash val="solid"/>
                <a:miter lim="800000"/>
              </a:ln>
              <a:effectLst/>
            </p:spPr>
            <p:txBody>
              <a:bodyPr rtlCol="0" anchor="ctr"/>
              <a:lstStyle/>
              <a:p>
                <a:pPr algn="ctr">
                  <a:defRPr/>
                </a:pPr>
                <a:endParaRPr lang="es-CO" sz="1350" kern="0">
                  <a:solidFill>
                    <a:prstClr val="white"/>
                  </a:solidFill>
                  <a:latin typeface="Calibri" panose="020F0502020204030204"/>
                </a:endParaRPr>
              </a:p>
            </p:txBody>
          </p:sp>
        </p:grpSp>
        <p:sp>
          <p:nvSpPr>
            <p:cNvPr id="44" name="TextBox 82">
              <a:extLst>
                <a:ext uri="{FF2B5EF4-FFF2-40B4-BE49-F238E27FC236}">
                  <a16:creationId xmlns:a16="http://schemas.microsoft.com/office/drawing/2014/main" id="{31B0BFE2-421C-46B3-83A7-AD5B8A72F6A9}"/>
                </a:ext>
              </a:extLst>
            </p:cNvPr>
            <p:cNvSpPr txBox="1"/>
            <p:nvPr/>
          </p:nvSpPr>
          <p:spPr>
            <a:xfrm>
              <a:off x="1367321" y="3220377"/>
              <a:ext cx="1400171" cy="1361927"/>
            </a:xfrm>
            <a:prstGeom prst="rect">
              <a:avLst/>
            </a:prstGeom>
            <a:noFill/>
          </p:spPr>
          <p:txBody>
            <a:bodyPr wrap="square" rtlCol="0" anchor="ctr">
              <a:spAutoFit/>
            </a:bodyPr>
            <a:lstStyle/>
            <a:p>
              <a:pPr algn="ctr"/>
              <a:r>
                <a:rPr lang="es-CO" sz="1600">
                  <a:solidFill>
                    <a:schemeClr val="bg1"/>
                  </a:solidFill>
                </a:rPr>
                <a:t>Claridad en documentos corporativos</a:t>
              </a:r>
            </a:p>
          </p:txBody>
        </p:sp>
        <p:sp>
          <p:nvSpPr>
            <p:cNvPr id="45" name="TextBox 83">
              <a:extLst>
                <a:ext uri="{FF2B5EF4-FFF2-40B4-BE49-F238E27FC236}">
                  <a16:creationId xmlns:a16="http://schemas.microsoft.com/office/drawing/2014/main" id="{683E2618-7B62-4887-92D0-DE6E9D28CE26}"/>
                </a:ext>
              </a:extLst>
            </p:cNvPr>
            <p:cNvSpPr txBox="1"/>
            <p:nvPr/>
          </p:nvSpPr>
          <p:spPr>
            <a:xfrm>
              <a:off x="3447610" y="2918759"/>
              <a:ext cx="1058878" cy="2168993"/>
            </a:xfrm>
            <a:prstGeom prst="rect">
              <a:avLst/>
            </a:prstGeom>
            <a:noFill/>
          </p:spPr>
          <p:txBody>
            <a:bodyPr wrap="square" rtlCol="0" anchor="ctr">
              <a:spAutoFit/>
            </a:bodyPr>
            <a:lstStyle>
              <a:defPPr>
                <a:defRPr lang="es-CO"/>
              </a:defPPr>
              <a:lvl1pPr algn="ctr">
                <a:defRPr sz="1600">
                  <a:solidFill>
                    <a:schemeClr val="bg1"/>
                  </a:solidFill>
                </a:defRPr>
              </a:lvl1pPr>
            </a:lstStyle>
            <a:p>
              <a:r>
                <a:rPr lang="es-CO">
                  <a:solidFill>
                    <a:schemeClr val="tx1"/>
                  </a:solidFill>
                </a:rPr>
                <a:t>Órganos de toma de decisión claros</a:t>
              </a:r>
            </a:p>
          </p:txBody>
        </p:sp>
        <p:sp>
          <p:nvSpPr>
            <p:cNvPr id="46" name="TextBox 84">
              <a:extLst>
                <a:ext uri="{FF2B5EF4-FFF2-40B4-BE49-F238E27FC236}">
                  <a16:creationId xmlns:a16="http://schemas.microsoft.com/office/drawing/2014/main" id="{8C23E0A2-037D-4634-BC72-4BEA56E15133}"/>
                </a:ext>
              </a:extLst>
            </p:cNvPr>
            <p:cNvSpPr txBox="1"/>
            <p:nvPr/>
          </p:nvSpPr>
          <p:spPr>
            <a:xfrm>
              <a:off x="5588208" y="2989565"/>
              <a:ext cx="1277961" cy="1765460"/>
            </a:xfrm>
            <a:prstGeom prst="rect">
              <a:avLst/>
            </a:prstGeom>
            <a:noFill/>
          </p:spPr>
          <p:txBody>
            <a:bodyPr wrap="square" rtlCol="0" anchor="ctr">
              <a:spAutoFit/>
            </a:bodyPr>
            <a:lstStyle>
              <a:defPPr>
                <a:defRPr lang="es-CO"/>
              </a:defPPr>
              <a:lvl1pPr algn="ctr">
                <a:defRPr sz="1600">
                  <a:solidFill>
                    <a:schemeClr val="bg1"/>
                  </a:solidFill>
                </a:defRPr>
              </a:lvl1pPr>
            </a:lstStyle>
            <a:p>
              <a:r>
                <a:rPr lang="es-CO"/>
                <a:t>Roles y responsa-</a:t>
              </a:r>
              <a:r>
                <a:rPr lang="es-CO" err="1"/>
                <a:t>bilidades</a:t>
              </a:r>
              <a:r>
                <a:rPr lang="es-CO"/>
                <a:t> definidos</a:t>
              </a:r>
            </a:p>
          </p:txBody>
        </p:sp>
        <p:sp>
          <p:nvSpPr>
            <p:cNvPr id="47" name="TextBox 85">
              <a:extLst>
                <a:ext uri="{FF2B5EF4-FFF2-40B4-BE49-F238E27FC236}">
                  <a16:creationId xmlns:a16="http://schemas.microsoft.com/office/drawing/2014/main" id="{6538A16C-BDC4-434F-9828-22749E2E25AE}"/>
                </a:ext>
              </a:extLst>
            </p:cNvPr>
            <p:cNvSpPr txBox="1"/>
            <p:nvPr/>
          </p:nvSpPr>
          <p:spPr>
            <a:xfrm>
              <a:off x="7777952" y="3018609"/>
              <a:ext cx="1220586" cy="1765460"/>
            </a:xfrm>
            <a:prstGeom prst="rect">
              <a:avLst/>
            </a:prstGeom>
            <a:noFill/>
          </p:spPr>
          <p:txBody>
            <a:bodyPr wrap="square" rtlCol="0" anchor="ctr">
              <a:spAutoFit/>
            </a:bodyPr>
            <a:lstStyle>
              <a:defPPr>
                <a:defRPr lang="es-CO"/>
              </a:defPPr>
              <a:lvl1pPr algn="ctr">
                <a:defRPr sz="1600">
                  <a:solidFill>
                    <a:schemeClr val="bg1"/>
                  </a:solidFill>
                </a:defRPr>
              </a:lvl1pPr>
            </a:lstStyle>
            <a:p>
              <a:r>
                <a:rPr lang="es-CO"/>
                <a:t>Estructura de relaciona-miento</a:t>
              </a:r>
            </a:p>
          </p:txBody>
        </p:sp>
      </p:grpSp>
      <p:sp>
        <p:nvSpPr>
          <p:cNvPr id="2" name="CuadroTexto 1">
            <a:extLst>
              <a:ext uri="{FF2B5EF4-FFF2-40B4-BE49-F238E27FC236}">
                <a16:creationId xmlns:a16="http://schemas.microsoft.com/office/drawing/2014/main" id="{4C047322-E3F3-4E49-97EB-CE1C080D5821}"/>
              </a:ext>
            </a:extLst>
          </p:cNvPr>
          <p:cNvSpPr txBox="1"/>
          <p:nvPr/>
        </p:nvSpPr>
        <p:spPr>
          <a:xfrm>
            <a:off x="7902815" y="5882724"/>
            <a:ext cx="4185761" cy="369332"/>
          </a:xfrm>
          <a:prstGeom prst="rect">
            <a:avLst/>
          </a:prstGeom>
          <a:noFill/>
        </p:spPr>
        <p:txBody>
          <a:bodyPr wrap="none" rtlCol="0">
            <a:spAutoFit/>
          </a:bodyPr>
          <a:lstStyle/>
          <a:p>
            <a:r>
              <a:rPr lang="es-ES" b="1" dirty="0">
                <a:solidFill>
                  <a:schemeClr val="tx2"/>
                </a:solidFill>
              </a:rPr>
              <a:t>¡No nos volvamos </a:t>
            </a:r>
            <a:r>
              <a:rPr lang="es-ES" b="1" dirty="0" err="1">
                <a:solidFill>
                  <a:schemeClr val="tx2"/>
                </a:solidFill>
              </a:rPr>
              <a:t>MADependientes</a:t>
            </a:r>
            <a:r>
              <a:rPr lang="es-ES" b="1" dirty="0">
                <a:solidFill>
                  <a:schemeClr val="tx2"/>
                </a:solidFill>
              </a:rPr>
              <a:t>!</a:t>
            </a:r>
            <a:endParaRPr lang="es-CO" b="1" dirty="0">
              <a:solidFill>
                <a:schemeClr val="tx2"/>
              </a:solidFill>
            </a:endParaRPr>
          </a:p>
        </p:txBody>
      </p:sp>
    </p:spTree>
    <p:extLst>
      <p:ext uri="{BB962C8B-B14F-4D97-AF65-F5344CB8AC3E}">
        <p14:creationId xmlns:p14="http://schemas.microsoft.com/office/powerpoint/2010/main" val="39566126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41">
            <a:extLst>
              <a:ext uri="{FF2B5EF4-FFF2-40B4-BE49-F238E27FC236}">
                <a16:creationId xmlns:a16="http://schemas.microsoft.com/office/drawing/2014/main" id="{9333B746-8064-8449-9B04-F0504AC05014}"/>
              </a:ext>
            </a:extLst>
          </p:cNvPr>
          <p:cNvSpPr txBox="1"/>
          <p:nvPr/>
        </p:nvSpPr>
        <p:spPr>
          <a:xfrm>
            <a:off x="3744131" y="3567821"/>
            <a:ext cx="7435702" cy="369332"/>
          </a:xfrm>
          <a:prstGeom prst="rect">
            <a:avLst/>
          </a:prstGeom>
          <a:noFill/>
          <a:ln>
            <a:solidFill>
              <a:schemeClr val="bg2"/>
            </a:solidFill>
          </a:ln>
        </p:spPr>
        <p:txBody>
          <a:bodyPr wrap="square">
            <a:spAutoFit/>
          </a:bodyPr>
          <a:lstStyle/>
          <a:p>
            <a:pPr algn="just"/>
            <a:r>
              <a:rPr lang="es-ES">
                <a:solidFill>
                  <a:srgbClr val="10476B"/>
                </a:solidFill>
                <a:latin typeface="Arial" panose="020B0604020202020204" pitchFamily="34" charset="0"/>
                <a:cs typeface="Arial" panose="020B0604020202020204" pitchFamily="34" charset="0"/>
              </a:rPr>
              <a:t>M</a:t>
            </a:r>
            <a:r>
              <a:rPr lang="es-CO" err="1">
                <a:solidFill>
                  <a:srgbClr val="10476B"/>
                </a:solidFill>
                <a:latin typeface="Arial" panose="020B0604020202020204" pitchFamily="34" charset="0"/>
                <a:cs typeface="Arial" panose="020B0604020202020204" pitchFamily="34" charset="0"/>
              </a:rPr>
              <a:t>atrices</a:t>
            </a:r>
            <a:r>
              <a:rPr lang="es-CO">
                <a:solidFill>
                  <a:srgbClr val="10476B"/>
                </a:solidFill>
                <a:latin typeface="Arial" panose="020B0604020202020204" pitchFamily="34" charset="0"/>
                <a:cs typeface="Arial" panose="020B0604020202020204" pitchFamily="34" charset="0"/>
              </a:rPr>
              <a:t> del MAD </a:t>
            </a:r>
            <a:r>
              <a:rPr lang="es-CO" b="1">
                <a:solidFill>
                  <a:srgbClr val="10476B"/>
                </a:solidFill>
                <a:latin typeface="Arial" panose="020B0604020202020204" pitchFamily="34" charset="0"/>
                <a:cs typeface="Arial" panose="020B0604020202020204" pitchFamily="34" charset="0"/>
              </a:rPr>
              <a:t>actualizadas </a:t>
            </a:r>
            <a:r>
              <a:rPr lang="es-CO">
                <a:solidFill>
                  <a:srgbClr val="10476B"/>
                </a:solidFill>
                <a:latin typeface="Arial" panose="020B0604020202020204" pitchFamily="34" charset="0"/>
                <a:cs typeface="Arial" panose="020B0604020202020204" pitchFamily="34" charset="0"/>
              </a:rPr>
              <a:t>para los 12 macroprocesos.</a:t>
            </a:r>
          </a:p>
        </p:txBody>
      </p:sp>
      <p:sp>
        <p:nvSpPr>
          <p:cNvPr id="3" name="CuadroTexto 142">
            <a:extLst>
              <a:ext uri="{FF2B5EF4-FFF2-40B4-BE49-F238E27FC236}">
                <a16:creationId xmlns:a16="http://schemas.microsoft.com/office/drawing/2014/main" id="{FD10FE48-69AD-E749-A7B5-03B0174E8100}"/>
              </a:ext>
            </a:extLst>
          </p:cNvPr>
          <p:cNvSpPr txBox="1"/>
          <p:nvPr/>
        </p:nvSpPr>
        <p:spPr>
          <a:xfrm>
            <a:off x="3712397" y="2056577"/>
            <a:ext cx="7467436" cy="369332"/>
          </a:xfrm>
          <a:prstGeom prst="rect">
            <a:avLst/>
          </a:prstGeom>
          <a:noFill/>
          <a:ln>
            <a:solidFill>
              <a:schemeClr val="bg2"/>
            </a:solidFill>
          </a:ln>
        </p:spPr>
        <p:txBody>
          <a:bodyPr wrap="square">
            <a:spAutoFit/>
          </a:bodyPr>
          <a:lstStyle/>
          <a:p>
            <a:pPr algn="just"/>
            <a:r>
              <a:rPr lang="es-ES">
                <a:solidFill>
                  <a:srgbClr val="10476B"/>
                </a:solidFill>
                <a:latin typeface="Arial" panose="020B0604020202020204" pitchFamily="34" charset="0"/>
                <a:cs typeface="Arial" panose="020B0604020202020204" pitchFamily="34" charset="0"/>
              </a:rPr>
              <a:t>Definición de </a:t>
            </a:r>
            <a:r>
              <a:rPr lang="es-ES" b="1">
                <a:solidFill>
                  <a:srgbClr val="10476B"/>
                </a:solidFill>
                <a:latin typeface="Arial" panose="020B0604020202020204" pitchFamily="34" charset="0"/>
                <a:cs typeface="Arial" panose="020B0604020202020204" pitchFamily="34" charset="0"/>
              </a:rPr>
              <a:t>decisiones clave </a:t>
            </a:r>
            <a:r>
              <a:rPr lang="es-ES">
                <a:solidFill>
                  <a:srgbClr val="10476B"/>
                </a:solidFill>
                <a:latin typeface="Arial" panose="020B0604020202020204" pitchFamily="34" charset="0"/>
                <a:cs typeface="Arial" panose="020B0604020202020204" pitchFamily="34" charset="0"/>
              </a:rPr>
              <a:t>y </a:t>
            </a:r>
            <a:r>
              <a:rPr lang="es-ES" b="1">
                <a:solidFill>
                  <a:srgbClr val="10476B"/>
                </a:solidFill>
                <a:latin typeface="Arial" panose="020B0604020202020204" pitchFamily="34" charset="0"/>
                <a:cs typeface="Arial" panose="020B0604020202020204" pitchFamily="34" charset="0"/>
              </a:rPr>
              <a:t>tomadores </a:t>
            </a:r>
            <a:r>
              <a:rPr lang="es-ES">
                <a:solidFill>
                  <a:srgbClr val="10476B"/>
                </a:solidFill>
                <a:latin typeface="Arial" panose="020B0604020202020204" pitchFamily="34" charset="0"/>
                <a:cs typeface="Arial" panose="020B0604020202020204" pitchFamily="34" charset="0"/>
              </a:rPr>
              <a:t>de</a:t>
            </a:r>
            <a:r>
              <a:rPr lang="es-ES" b="1">
                <a:solidFill>
                  <a:srgbClr val="10476B"/>
                </a:solidFill>
                <a:latin typeface="Arial" panose="020B0604020202020204" pitchFamily="34" charset="0"/>
                <a:cs typeface="Arial" panose="020B0604020202020204" pitchFamily="34" charset="0"/>
              </a:rPr>
              <a:t> </a:t>
            </a:r>
            <a:r>
              <a:rPr lang="es-ES">
                <a:solidFill>
                  <a:srgbClr val="10476B"/>
                </a:solidFill>
                <a:latin typeface="Arial" panose="020B0604020202020204" pitchFamily="34" charset="0"/>
                <a:cs typeface="Arial" panose="020B0604020202020204" pitchFamily="34" charset="0"/>
              </a:rPr>
              <a:t>esas decisiones.</a:t>
            </a:r>
            <a:endParaRPr lang="es-CO">
              <a:solidFill>
                <a:srgbClr val="10476B"/>
              </a:solidFill>
              <a:latin typeface="Arial" panose="020B0604020202020204" pitchFamily="34" charset="0"/>
              <a:cs typeface="Arial" panose="020B0604020202020204" pitchFamily="34" charset="0"/>
            </a:endParaRPr>
          </a:p>
        </p:txBody>
      </p:sp>
      <p:sp>
        <p:nvSpPr>
          <p:cNvPr id="4" name="CuadroTexto 144">
            <a:extLst>
              <a:ext uri="{FF2B5EF4-FFF2-40B4-BE49-F238E27FC236}">
                <a16:creationId xmlns:a16="http://schemas.microsoft.com/office/drawing/2014/main" id="{00567431-B678-D640-9C52-AD0586099CB4}"/>
              </a:ext>
            </a:extLst>
          </p:cNvPr>
          <p:cNvSpPr txBox="1"/>
          <p:nvPr/>
        </p:nvSpPr>
        <p:spPr>
          <a:xfrm>
            <a:off x="3744131" y="2664980"/>
            <a:ext cx="7435702" cy="646331"/>
          </a:xfrm>
          <a:prstGeom prst="rect">
            <a:avLst/>
          </a:prstGeom>
          <a:noFill/>
          <a:ln>
            <a:solidFill>
              <a:schemeClr val="bg2"/>
            </a:solidFill>
          </a:ln>
        </p:spPr>
        <p:txBody>
          <a:bodyPr wrap="square">
            <a:spAutoFit/>
          </a:bodyPr>
          <a:lstStyle/>
          <a:p>
            <a:pPr algn="just"/>
            <a:r>
              <a:rPr lang="es-ES">
                <a:solidFill>
                  <a:srgbClr val="10476B"/>
                </a:solidFill>
                <a:latin typeface="Arial" panose="020B0604020202020204" pitchFamily="34" charset="0"/>
                <a:cs typeface="Arial" panose="020B0604020202020204" pitchFamily="34" charset="0"/>
              </a:rPr>
              <a:t>D</a:t>
            </a:r>
            <a:r>
              <a:rPr lang="es-CO" err="1">
                <a:solidFill>
                  <a:srgbClr val="10476B"/>
                </a:solidFill>
                <a:latin typeface="Arial" panose="020B0604020202020204" pitchFamily="34" charset="0"/>
                <a:cs typeface="Arial" panose="020B0604020202020204" pitchFamily="34" charset="0"/>
              </a:rPr>
              <a:t>elegación</a:t>
            </a:r>
            <a:r>
              <a:rPr lang="es-CO">
                <a:solidFill>
                  <a:srgbClr val="10476B"/>
                </a:solidFill>
                <a:latin typeface="Arial" panose="020B0604020202020204" pitchFamily="34" charset="0"/>
                <a:cs typeface="Arial" panose="020B0604020202020204" pitchFamily="34" charset="0"/>
              </a:rPr>
              <a:t> de </a:t>
            </a:r>
            <a:r>
              <a:rPr lang="es-CO" b="1">
                <a:solidFill>
                  <a:srgbClr val="10476B"/>
                </a:solidFill>
                <a:latin typeface="Arial" panose="020B0604020202020204" pitchFamily="34" charset="0"/>
                <a:cs typeface="Arial" panose="020B0604020202020204" pitchFamily="34" charset="0"/>
              </a:rPr>
              <a:t>decisiones críticas </a:t>
            </a:r>
            <a:r>
              <a:rPr lang="es-CO">
                <a:solidFill>
                  <a:srgbClr val="10476B"/>
                </a:solidFill>
                <a:latin typeface="Arial" panose="020B0604020202020204" pitchFamily="34" charset="0"/>
                <a:cs typeface="Arial" panose="020B0604020202020204" pitchFamily="34" charset="0"/>
              </a:rPr>
              <a:t>según</a:t>
            </a:r>
            <a:r>
              <a:rPr lang="es-CO" b="1">
                <a:solidFill>
                  <a:srgbClr val="10476B"/>
                </a:solidFill>
                <a:latin typeface="Arial" panose="020B0604020202020204" pitchFamily="34" charset="0"/>
                <a:cs typeface="Arial" panose="020B0604020202020204" pitchFamily="34" charset="0"/>
              </a:rPr>
              <a:t> </a:t>
            </a:r>
            <a:r>
              <a:rPr lang="es-CO">
                <a:solidFill>
                  <a:srgbClr val="10476B"/>
                </a:solidFill>
                <a:latin typeface="Arial" panose="020B0604020202020204" pitchFamily="34" charset="0"/>
                <a:cs typeface="Arial" panose="020B0604020202020204" pitchFamily="34" charset="0"/>
              </a:rPr>
              <a:t>palanca de agilidad, claridad y consistencia. </a:t>
            </a:r>
          </a:p>
        </p:txBody>
      </p:sp>
      <p:sp>
        <p:nvSpPr>
          <p:cNvPr id="10" name="CuadroTexto 44">
            <a:extLst>
              <a:ext uri="{FF2B5EF4-FFF2-40B4-BE49-F238E27FC236}">
                <a16:creationId xmlns:a16="http://schemas.microsoft.com/office/drawing/2014/main" id="{3E1CC9AC-897D-E04E-99AF-760D523DB0A8}"/>
              </a:ext>
            </a:extLst>
          </p:cNvPr>
          <p:cNvSpPr txBox="1"/>
          <p:nvPr/>
        </p:nvSpPr>
        <p:spPr>
          <a:xfrm>
            <a:off x="10752514" y="868602"/>
            <a:ext cx="863680" cy="400110"/>
          </a:xfrm>
          <a:prstGeom prst="rect">
            <a:avLst/>
          </a:prstGeom>
          <a:noFill/>
          <a:ln>
            <a:noFill/>
          </a:ln>
        </p:spPr>
        <p:txBody>
          <a:bodyPr wrap="square" rtlCol="0">
            <a:spAutoFit/>
          </a:bodyPr>
          <a:lstStyle>
            <a:defPPr>
              <a:defRPr lang="es-CO"/>
            </a:defPPr>
            <a:lvl1pPr algn="ctr">
              <a:defRPr sz="1600" b="1" u="sng">
                <a:solidFill>
                  <a:srgbClr val="4A8347"/>
                </a:solidFill>
                <a:latin typeface="Arial" panose="020B0604020202020204" pitchFamily="34" charset="0"/>
                <a:cs typeface="Arial" panose="020B0604020202020204" pitchFamily="34" charset="0"/>
              </a:defRPr>
            </a:lvl1pPr>
          </a:lstStyle>
          <a:p>
            <a:r>
              <a:rPr lang="es-ES" sz="2000"/>
              <a:t>100%</a:t>
            </a:r>
            <a:endParaRPr lang="es-CO" sz="2000"/>
          </a:p>
        </p:txBody>
      </p:sp>
      <p:sp>
        <p:nvSpPr>
          <p:cNvPr id="16" name="CuadroTexto 47">
            <a:extLst>
              <a:ext uri="{FF2B5EF4-FFF2-40B4-BE49-F238E27FC236}">
                <a16:creationId xmlns:a16="http://schemas.microsoft.com/office/drawing/2014/main" id="{08C4BC45-A881-BB43-8991-7F434CCD56A7}"/>
              </a:ext>
            </a:extLst>
          </p:cNvPr>
          <p:cNvSpPr txBox="1"/>
          <p:nvPr/>
        </p:nvSpPr>
        <p:spPr>
          <a:xfrm>
            <a:off x="3688322" y="597054"/>
            <a:ext cx="6828279" cy="954107"/>
          </a:xfrm>
          <a:prstGeom prst="rect">
            <a:avLst/>
          </a:prstGeom>
          <a:noFill/>
          <a:ln>
            <a:noFill/>
          </a:ln>
        </p:spPr>
        <p:txBody>
          <a:bodyPr wrap="square" rtlCol="0">
            <a:spAutoFit/>
          </a:bodyPr>
          <a:lstStyle/>
          <a:p>
            <a:pPr algn="ctr"/>
            <a:r>
              <a:rPr lang="es-ES" sz="2800" b="1">
                <a:solidFill>
                  <a:srgbClr val="10476B"/>
                </a:solidFill>
                <a:latin typeface="Century Gothic" panose="020B0502020202020204" pitchFamily="34" charset="0"/>
                <a:cs typeface="Arial" panose="020B0604020202020204" pitchFamily="34" charset="0"/>
              </a:rPr>
              <a:t>Manual de Delegación de Autoridad (MAD)</a:t>
            </a:r>
            <a:endParaRPr lang="es-CO" sz="2800" b="1">
              <a:solidFill>
                <a:srgbClr val="10476B"/>
              </a:solidFill>
              <a:latin typeface="Century Gothic" panose="020B0502020202020204" pitchFamily="34" charset="0"/>
              <a:cs typeface="Arial" panose="020B0604020202020204" pitchFamily="34" charset="0"/>
            </a:endParaRPr>
          </a:p>
        </p:txBody>
      </p:sp>
      <p:sp>
        <p:nvSpPr>
          <p:cNvPr id="6" name="Rectángulo 5">
            <a:extLst>
              <a:ext uri="{FF2B5EF4-FFF2-40B4-BE49-F238E27FC236}">
                <a16:creationId xmlns:a16="http://schemas.microsoft.com/office/drawing/2014/main" id="{5BB45E83-35DA-46EF-B4DB-5D71AD3B2EA6}"/>
              </a:ext>
            </a:extLst>
          </p:cNvPr>
          <p:cNvSpPr/>
          <p:nvPr/>
        </p:nvSpPr>
        <p:spPr>
          <a:xfrm rot="16200000">
            <a:off x="6369399" y="3505693"/>
            <a:ext cx="1284398" cy="319935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p>
        </p:txBody>
      </p:sp>
      <p:sp>
        <p:nvSpPr>
          <p:cNvPr id="7" name="CuadroTexto 6">
            <a:extLst>
              <a:ext uri="{FF2B5EF4-FFF2-40B4-BE49-F238E27FC236}">
                <a16:creationId xmlns:a16="http://schemas.microsoft.com/office/drawing/2014/main" id="{F6E3C441-DFAD-4F93-AD8E-85A0A709F810}"/>
              </a:ext>
            </a:extLst>
          </p:cNvPr>
          <p:cNvSpPr txBox="1"/>
          <p:nvPr/>
        </p:nvSpPr>
        <p:spPr>
          <a:xfrm>
            <a:off x="7182477" y="4682163"/>
            <a:ext cx="1451092" cy="861774"/>
          </a:xfrm>
          <a:prstGeom prst="rect">
            <a:avLst/>
          </a:prstGeom>
          <a:noFill/>
        </p:spPr>
        <p:txBody>
          <a:bodyPr wrap="square" rtlCol="0">
            <a:spAutoFit/>
          </a:bodyPr>
          <a:lstStyle/>
          <a:p>
            <a:pPr algn="ctr"/>
            <a:r>
              <a:rPr lang="es-ES" sz="5000" b="1">
                <a:solidFill>
                  <a:srgbClr val="99CC00"/>
                </a:solidFill>
              </a:rPr>
              <a:t>155</a:t>
            </a:r>
            <a:endParaRPr lang="es-CO" sz="5000">
              <a:solidFill>
                <a:srgbClr val="10476B"/>
              </a:solidFill>
            </a:endParaRPr>
          </a:p>
        </p:txBody>
      </p:sp>
      <p:sp>
        <p:nvSpPr>
          <p:cNvPr id="8" name="CuadroTexto 7">
            <a:extLst>
              <a:ext uri="{FF2B5EF4-FFF2-40B4-BE49-F238E27FC236}">
                <a16:creationId xmlns:a16="http://schemas.microsoft.com/office/drawing/2014/main" id="{E6D68CFE-9473-4259-985E-E73C54C0AB2C}"/>
              </a:ext>
            </a:extLst>
          </p:cNvPr>
          <p:cNvSpPr txBox="1"/>
          <p:nvPr/>
        </p:nvSpPr>
        <p:spPr>
          <a:xfrm>
            <a:off x="5434212" y="4721033"/>
            <a:ext cx="1785349" cy="784830"/>
          </a:xfrm>
          <a:prstGeom prst="rect">
            <a:avLst/>
          </a:prstGeom>
          <a:noFill/>
        </p:spPr>
        <p:txBody>
          <a:bodyPr wrap="square" rtlCol="0">
            <a:spAutoFit/>
          </a:bodyPr>
          <a:lstStyle/>
          <a:p>
            <a:pPr algn="ctr"/>
            <a:r>
              <a:rPr lang="es-ES" sz="1500">
                <a:solidFill>
                  <a:srgbClr val="10476B"/>
                </a:solidFill>
                <a:latin typeface="Arial" panose="020B0604020202020204" pitchFamily="34" charset="0"/>
                <a:cs typeface="Arial" panose="020B0604020202020204" pitchFamily="34" charset="0"/>
              </a:rPr>
              <a:t>Decisiones formalizadas en nuevo MAD</a:t>
            </a:r>
            <a:endParaRPr lang="es-CO" sz="1500">
              <a:solidFill>
                <a:srgbClr val="10476B"/>
              </a:solidFill>
              <a:latin typeface="Arial" panose="020B0604020202020204" pitchFamily="34" charset="0"/>
              <a:cs typeface="Arial" panose="020B0604020202020204" pitchFamily="34" charset="0"/>
            </a:endParaRPr>
          </a:p>
        </p:txBody>
      </p:sp>
      <p:cxnSp>
        <p:nvCxnSpPr>
          <p:cNvPr id="17" name="Conector recto 16">
            <a:extLst>
              <a:ext uri="{FF2B5EF4-FFF2-40B4-BE49-F238E27FC236}">
                <a16:creationId xmlns:a16="http://schemas.microsoft.com/office/drawing/2014/main" id="{C9BC9A7E-BBF8-45D2-8451-88207B9E08D1}"/>
              </a:ext>
            </a:extLst>
          </p:cNvPr>
          <p:cNvCxnSpPr>
            <a:cxnSpLocks/>
          </p:cNvCxnSpPr>
          <p:nvPr/>
        </p:nvCxnSpPr>
        <p:spPr>
          <a:xfrm flipV="1">
            <a:off x="7219561" y="4477192"/>
            <a:ext cx="22292" cy="127037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5" descr="A close up of a sign&#10;&#10;Description automatically generated">
            <a:extLst>
              <a:ext uri="{FF2B5EF4-FFF2-40B4-BE49-F238E27FC236}">
                <a16:creationId xmlns:a16="http://schemas.microsoft.com/office/drawing/2014/main" id="{A6846F95-AEC6-4C88-9C37-7C4AEC0514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2931" y="563804"/>
            <a:ext cx="2562373" cy="2562373"/>
          </a:xfrm>
          <a:prstGeom prst="rect">
            <a:avLst/>
          </a:prstGeom>
        </p:spPr>
      </p:pic>
      <p:sp>
        <p:nvSpPr>
          <p:cNvPr id="9" name="Oval 109">
            <a:extLst>
              <a:ext uri="{FF2B5EF4-FFF2-40B4-BE49-F238E27FC236}">
                <a16:creationId xmlns:a16="http://schemas.microsoft.com/office/drawing/2014/main" id="{5F717C8E-9030-4E5A-A099-28AAD3340896}"/>
              </a:ext>
            </a:extLst>
          </p:cNvPr>
          <p:cNvSpPr/>
          <p:nvPr/>
        </p:nvSpPr>
        <p:spPr>
          <a:xfrm>
            <a:off x="2209029" y="2036995"/>
            <a:ext cx="548470" cy="548470"/>
          </a:xfrm>
          <a:prstGeom prst="ellipse">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O" sz="2400" b="1">
                <a:solidFill>
                  <a:schemeClr val="accent1">
                    <a:lumMod val="50000"/>
                  </a:schemeClr>
                </a:solidFill>
                <a:latin typeface="Century Gothic" panose="020B0502020202020204" pitchFamily="34" charset="0"/>
              </a:rPr>
              <a:t>3</a:t>
            </a:r>
          </a:p>
        </p:txBody>
      </p:sp>
    </p:spTree>
    <p:extLst>
      <p:ext uri="{BB962C8B-B14F-4D97-AF65-F5344CB8AC3E}">
        <p14:creationId xmlns:p14="http://schemas.microsoft.com/office/powerpoint/2010/main" val="4789326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88CD34D3-37A5-43E2-9025-AC1BD8625ED0}"/>
              </a:ext>
            </a:extLst>
          </p:cNvPr>
          <p:cNvSpPr>
            <a:spLocks noGrp="1"/>
          </p:cNvSpPr>
          <p:nvPr>
            <p:ph type="sldNum" sz="quarter" idx="10"/>
          </p:nvPr>
        </p:nvSpPr>
        <p:spPr/>
        <p:txBody>
          <a:bodyPr/>
          <a:lstStyle/>
          <a:p>
            <a:fld id="{02F25750-4209-4357-A72F-45445C8044EF}" type="slidenum">
              <a:rPr lang="es-CO" smtClean="0"/>
              <a:pPr/>
              <a:t>22</a:t>
            </a:fld>
            <a:endParaRPr lang="es-CO"/>
          </a:p>
        </p:txBody>
      </p:sp>
      <p:sp>
        <p:nvSpPr>
          <p:cNvPr id="4" name="CuadroTexto 3">
            <a:extLst>
              <a:ext uri="{FF2B5EF4-FFF2-40B4-BE49-F238E27FC236}">
                <a16:creationId xmlns:a16="http://schemas.microsoft.com/office/drawing/2014/main" id="{3C1F9665-9E41-4182-B593-DBC0D337A60A}"/>
              </a:ext>
            </a:extLst>
          </p:cNvPr>
          <p:cNvSpPr txBox="1"/>
          <p:nvPr/>
        </p:nvSpPr>
        <p:spPr>
          <a:xfrm>
            <a:off x="395784" y="914400"/>
            <a:ext cx="2108269" cy="369332"/>
          </a:xfrm>
          <a:prstGeom prst="rect">
            <a:avLst/>
          </a:prstGeom>
          <a:noFill/>
        </p:spPr>
        <p:txBody>
          <a:bodyPr wrap="none" rtlCol="0">
            <a:spAutoFit/>
          </a:bodyPr>
          <a:lstStyle/>
          <a:p>
            <a:r>
              <a:rPr lang="es-ES" b="1">
                <a:solidFill>
                  <a:schemeClr val="accent4"/>
                </a:solidFill>
              </a:rPr>
              <a:t>Procesos Nivel 1:</a:t>
            </a:r>
            <a:endParaRPr lang="es-CO" b="1">
              <a:solidFill>
                <a:schemeClr val="accent4"/>
              </a:solidFill>
            </a:endParaRPr>
          </a:p>
        </p:txBody>
      </p:sp>
      <p:graphicFrame>
        <p:nvGraphicFramePr>
          <p:cNvPr id="6" name="Diagrama 5">
            <a:extLst>
              <a:ext uri="{FF2B5EF4-FFF2-40B4-BE49-F238E27FC236}">
                <a16:creationId xmlns:a16="http://schemas.microsoft.com/office/drawing/2014/main" id="{A59B256B-D5A4-4295-9C7D-D6F3F456F5F7}"/>
              </a:ext>
            </a:extLst>
          </p:cNvPr>
          <p:cNvGraphicFramePr/>
          <p:nvPr/>
        </p:nvGraphicFramePr>
        <p:xfrm>
          <a:off x="582067" y="751850"/>
          <a:ext cx="11027865"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CuadroTexto 47">
            <a:extLst>
              <a:ext uri="{FF2B5EF4-FFF2-40B4-BE49-F238E27FC236}">
                <a16:creationId xmlns:a16="http://schemas.microsoft.com/office/drawing/2014/main" id="{B3A6CED5-36CB-4973-8B44-FFAAB5E34F97}"/>
              </a:ext>
            </a:extLst>
          </p:cNvPr>
          <p:cNvSpPr txBox="1"/>
          <p:nvPr/>
        </p:nvSpPr>
        <p:spPr>
          <a:xfrm>
            <a:off x="48137" y="267053"/>
            <a:ext cx="12102613" cy="461665"/>
          </a:xfrm>
          <a:prstGeom prst="rect">
            <a:avLst/>
          </a:prstGeom>
          <a:noFill/>
          <a:ln>
            <a:noFill/>
          </a:ln>
        </p:spPr>
        <p:txBody>
          <a:bodyPr wrap="square" rtlCol="0">
            <a:spAutoFit/>
          </a:bodyPr>
          <a:lstStyle/>
          <a:p>
            <a:pPr algn="ctr"/>
            <a:r>
              <a:rPr lang="es-ES" sz="2400" b="1" dirty="0">
                <a:solidFill>
                  <a:srgbClr val="10476B"/>
                </a:solidFill>
                <a:latin typeface="Century Gothic" panose="020B0502020202020204" pitchFamily="34" charset="0"/>
                <a:cs typeface="Arial" panose="020B0604020202020204" pitchFamily="34" charset="0"/>
              </a:rPr>
              <a:t>Macroproceso Finanzas</a:t>
            </a:r>
            <a:endParaRPr lang="es-CO" sz="2400" b="1" dirty="0">
              <a:solidFill>
                <a:srgbClr val="10476B"/>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10682108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ángulo 6">
            <a:extLst>
              <a:ext uri="{FF2B5EF4-FFF2-40B4-BE49-F238E27FC236}">
                <a16:creationId xmlns:a16="http://schemas.microsoft.com/office/drawing/2014/main" id="{5BB1043D-9A90-43C6-BCE8-E8686C0B75E6}"/>
              </a:ext>
            </a:extLst>
          </p:cNvPr>
          <p:cNvSpPr>
            <a:spLocks/>
          </p:cNvSpPr>
          <p:nvPr/>
        </p:nvSpPr>
        <p:spPr>
          <a:xfrm>
            <a:off x="3429045" y="2153931"/>
            <a:ext cx="2538000" cy="955947"/>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r>
              <a:rPr lang="es-ES" sz="1100">
                <a:solidFill>
                  <a:schemeClr val="tx2"/>
                </a:solidFill>
              </a:rPr>
              <a:t>Autorizar ajustes contables que impliquen correcciones en declaraciones tributarias, siempre que implique pagar sanciones</a:t>
            </a:r>
          </a:p>
        </p:txBody>
      </p:sp>
      <p:sp>
        <p:nvSpPr>
          <p:cNvPr id="84" name="CuadroTexto 83">
            <a:extLst>
              <a:ext uri="{FF2B5EF4-FFF2-40B4-BE49-F238E27FC236}">
                <a16:creationId xmlns:a16="http://schemas.microsoft.com/office/drawing/2014/main" id="{293DBAF3-3942-4C58-8A63-D4484E215E20}"/>
              </a:ext>
            </a:extLst>
          </p:cNvPr>
          <p:cNvSpPr txBox="1"/>
          <p:nvPr/>
        </p:nvSpPr>
        <p:spPr>
          <a:xfrm>
            <a:off x="6600573" y="2506337"/>
            <a:ext cx="5224132" cy="2160000"/>
          </a:xfrm>
          <a:prstGeom prst="rect">
            <a:avLst/>
          </a:prstGeom>
          <a:noFill/>
          <a:ln>
            <a:solidFill>
              <a:schemeClr val="accent6"/>
            </a:solidFill>
          </a:ln>
        </p:spPr>
        <p:txBody>
          <a:bodyPr wrap="square" rtlCol="0">
            <a:spAutoFit/>
          </a:bodyPr>
          <a:lstStyle/>
          <a:p>
            <a:endParaRPr lang="es-CO" sz="2000"/>
          </a:p>
        </p:txBody>
      </p:sp>
      <p:sp>
        <p:nvSpPr>
          <p:cNvPr id="86" name="Rectángulo 85">
            <a:extLst>
              <a:ext uri="{FF2B5EF4-FFF2-40B4-BE49-F238E27FC236}">
                <a16:creationId xmlns:a16="http://schemas.microsoft.com/office/drawing/2014/main" id="{7696A978-4362-4DE3-8C58-0F58608C4AA6}"/>
              </a:ext>
            </a:extLst>
          </p:cNvPr>
          <p:cNvSpPr/>
          <p:nvPr/>
        </p:nvSpPr>
        <p:spPr>
          <a:xfrm>
            <a:off x="6666739" y="2606399"/>
            <a:ext cx="5091800" cy="461665"/>
          </a:xfrm>
          <a:prstGeom prst="rect">
            <a:avLst/>
          </a:prstGeom>
          <a:ln>
            <a:noFill/>
          </a:ln>
        </p:spPr>
        <p:txBody>
          <a:bodyPr wrap="square" anchor="t">
            <a:spAutoFit/>
          </a:bodyPr>
          <a:lstStyle/>
          <a:p>
            <a:pPr algn="just"/>
            <a:r>
              <a:rPr lang="es-ES" sz="1200" b="1">
                <a:solidFill>
                  <a:schemeClr val="accent4"/>
                </a:solidFill>
                <a:sym typeface="Wingdings" panose="05000000000000000000" pitchFamily="2" charset="2"/>
              </a:rPr>
              <a:t>Total Proceso Nivel 1 de Gestión Contable: </a:t>
            </a:r>
            <a:r>
              <a:rPr lang="es-ES" sz="1200">
                <a:solidFill>
                  <a:schemeClr val="accent4"/>
                </a:solidFill>
                <a:sym typeface="Wingdings" panose="05000000000000000000" pitchFamily="2" charset="2"/>
              </a:rPr>
              <a:t>2 decisiones críticas distribuidas en 7 categorías</a:t>
            </a:r>
            <a:endParaRPr lang="es-CO" sz="1200">
              <a:solidFill>
                <a:srgbClr val="254147"/>
              </a:solidFill>
            </a:endParaRPr>
          </a:p>
        </p:txBody>
      </p:sp>
      <p:graphicFrame>
        <p:nvGraphicFramePr>
          <p:cNvPr id="5" name="Objeto 4" hidden="1">
            <a:extLst>
              <a:ext uri="{FF2B5EF4-FFF2-40B4-BE49-F238E27FC236}">
                <a16:creationId xmlns:a16="http://schemas.microsoft.com/office/drawing/2014/main" id="{0740088A-8ABF-414B-8746-763C3F660F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421" imgH="423" progId="TCLayout.ActiveDocument.1">
                  <p:embed/>
                </p:oleObj>
              </mc:Choice>
              <mc:Fallback>
                <p:oleObj name="Diapositiva de think-cell" r:id="rId5" imgW="421" imgH="423" progId="TCLayout.ActiveDocument.1">
                  <p:embed/>
                  <p:pic>
                    <p:nvPicPr>
                      <p:cNvPr id="5" name="Objeto 4" hidden="1">
                        <a:extLst>
                          <a:ext uri="{FF2B5EF4-FFF2-40B4-BE49-F238E27FC236}">
                            <a16:creationId xmlns:a16="http://schemas.microsoft.com/office/drawing/2014/main" id="{0740088A-8ABF-414B-8746-763C3F660F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42B40C10-F876-4F1B-842D-C3F6355B6C8A}"/>
              </a:ext>
            </a:extLst>
          </p:cNvPr>
          <p:cNvSpPr/>
          <p:nvPr>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419" sz="2000" b="1">
              <a:solidFill>
                <a:schemeClr val="tx1"/>
              </a:solidFill>
              <a:latin typeface="Arial" panose="020B0604020202020204" pitchFamily="34" charset="0"/>
              <a:ea typeface="+mj-ea"/>
              <a:cs typeface="+mj-cs"/>
              <a:sym typeface="Arial" panose="020B0604020202020204" pitchFamily="34" charset="0"/>
            </a:endParaRPr>
          </a:p>
        </p:txBody>
      </p:sp>
      <p:sp>
        <p:nvSpPr>
          <p:cNvPr id="2" name="Marcador de número de diapositiva 1">
            <a:extLst>
              <a:ext uri="{FF2B5EF4-FFF2-40B4-BE49-F238E27FC236}">
                <a16:creationId xmlns:a16="http://schemas.microsoft.com/office/drawing/2014/main" id="{3A93B487-116E-4767-AA0D-CAE2A460FBE4}"/>
              </a:ext>
            </a:extLst>
          </p:cNvPr>
          <p:cNvSpPr>
            <a:spLocks noGrp="1"/>
          </p:cNvSpPr>
          <p:nvPr>
            <p:ph type="sldNum" sz="quarter" idx="10"/>
          </p:nvPr>
        </p:nvSpPr>
        <p:spPr>
          <a:xfrm>
            <a:off x="11344876" y="6428983"/>
            <a:ext cx="847124" cy="365125"/>
          </a:xfrm>
        </p:spPr>
        <p:txBody>
          <a:bodyPr/>
          <a:lstStyle/>
          <a:p>
            <a:fld id="{02F25750-4209-4357-A72F-45445C8044EF}" type="slidenum">
              <a:rPr lang="es-CO" smtClean="0"/>
              <a:pPr/>
              <a:t>23</a:t>
            </a:fld>
            <a:endParaRPr lang="es-CO"/>
          </a:p>
        </p:txBody>
      </p:sp>
      <p:sp>
        <p:nvSpPr>
          <p:cNvPr id="97" name="Rectángulo 96">
            <a:extLst>
              <a:ext uri="{FF2B5EF4-FFF2-40B4-BE49-F238E27FC236}">
                <a16:creationId xmlns:a16="http://schemas.microsoft.com/office/drawing/2014/main" id="{99300021-C267-43BD-A0F5-B3ECE622345E}"/>
              </a:ext>
            </a:extLst>
          </p:cNvPr>
          <p:cNvSpPr>
            <a:spLocks/>
          </p:cNvSpPr>
          <p:nvPr/>
        </p:nvSpPr>
        <p:spPr>
          <a:xfrm>
            <a:off x="3430702" y="1198160"/>
            <a:ext cx="2538000" cy="764206"/>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400">
                <a:solidFill>
                  <a:schemeClr val="tx2"/>
                </a:solidFill>
              </a:rPr>
              <a:t>Autorizar ajustes contables</a:t>
            </a:r>
          </a:p>
        </p:txBody>
      </p:sp>
      <p:sp>
        <p:nvSpPr>
          <p:cNvPr id="3" name="Elipse 2">
            <a:extLst>
              <a:ext uri="{FF2B5EF4-FFF2-40B4-BE49-F238E27FC236}">
                <a16:creationId xmlns:a16="http://schemas.microsoft.com/office/drawing/2014/main" id="{815B10B7-60B3-4C63-8431-70CC556387C9}"/>
              </a:ext>
            </a:extLst>
          </p:cNvPr>
          <p:cNvSpPr/>
          <p:nvPr/>
        </p:nvSpPr>
        <p:spPr>
          <a:xfrm>
            <a:off x="3272797" y="1031835"/>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2</a:t>
            </a:r>
            <a:endParaRPr lang="es-CO" sz="1200" b="1">
              <a:solidFill>
                <a:schemeClr val="bg1"/>
              </a:solidFill>
            </a:endParaRPr>
          </a:p>
        </p:txBody>
      </p:sp>
      <p:sp>
        <p:nvSpPr>
          <p:cNvPr id="117" name="CuadroTexto 116">
            <a:extLst>
              <a:ext uri="{FF2B5EF4-FFF2-40B4-BE49-F238E27FC236}">
                <a16:creationId xmlns:a16="http://schemas.microsoft.com/office/drawing/2014/main" id="{8960734A-1053-42D2-BD72-6674DCCE6A97}"/>
              </a:ext>
            </a:extLst>
          </p:cNvPr>
          <p:cNvSpPr txBox="1"/>
          <p:nvPr/>
        </p:nvSpPr>
        <p:spPr>
          <a:xfrm>
            <a:off x="6881666" y="4309060"/>
            <a:ext cx="1391405" cy="230832"/>
          </a:xfrm>
          <a:prstGeom prst="rect">
            <a:avLst/>
          </a:prstGeom>
          <a:noFill/>
          <a:ln w="19050">
            <a:solidFill>
              <a:srgbClr val="002060"/>
            </a:solidFill>
          </a:ln>
        </p:spPr>
        <p:txBody>
          <a:bodyPr wrap="square" rtlCol="0">
            <a:spAutoFit/>
          </a:bodyPr>
          <a:lstStyle/>
          <a:p>
            <a:pPr algn="ctr"/>
            <a:r>
              <a:rPr lang="es-ES" sz="900">
                <a:solidFill>
                  <a:schemeClr val="tx2"/>
                </a:solidFill>
              </a:rPr>
              <a:t>Palanca de Agilidad </a:t>
            </a:r>
            <a:endParaRPr lang="es-CO" sz="900">
              <a:solidFill>
                <a:schemeClr val="tx2"/>
              </a:solidFill>
            </a:endParaRPr>
          </a:p>
        </p:txBody>
      </p:sp>
      <p:sp>
        <p:nvSpPr>
          <p:cNvPr id="118" name="CuadroTexto 117">
            <a:extLst>
              <a:ext uri="{FF2B5EF4-FFF2-40B4-BE49-F238E27FC236}">
                <a16:creationId xmlns:a16="http://schemas.microsoft.com/office/drawing/2014/main" id="{C77431EE-A761-4323-B75F-692D4CAEC462}"/>
              </a:ext>
            </a:extLst>
          </p:cNvPr>
          <p:cNvSpPr txBox="1"/>
          <p:nvPr/>
        </p:nvSpPr>
        <p:spPr>
          <a:xfrm>
            <a:off x="8516039" y="4306576"/>
            <a:ext cx="1393200" cy="230832"/>
          </a:xfrm>
          <a:prstGeom prst="rect">
            <a:avLst/>
          </a:prstGeom>
          <a:noFill/>
          <a:ln w="19050">
            <a:solidFill>
              <a:schemeClr val="accent3"/>
            </a:solidFill>
          </a:ln>
        </p:spPr>
        <p:txBody>
          <a:bodyPr wrap="square" rtlCol="0">
            <a:spAutoFit/>
          </a:bodyPr>
          <a:lstStyle/>
          <a:p>
            <a:pPr algn="ctr"/>
            <a:r>
              <a:rPr lang="es-ES" sz="900">
                <a:solidFill>
                  <a:schemeClr val="tx2"/>
                </a:solidFill>
              </a:rPr>
              <a:t>Palanca de Claridad</a:t>
            </a:r>
            <a:endParaRPr lang="es-CO" sz="900">
              <a:solidFill>
                <a:schemeClr val="tx2"/>
              </a:solidFill>
            </a:endParaRPr>
          </a:p>
        </p:txBody>
      </p:sp>
      <p:sp>
        <p:nvSpPr>
          <p:cNvPr id="119" name="CuadroTexto 118">
            <a:extLst>
              <a:ext uri="{FF2B5EF4-FFF2-40B4-BE49-F238E27FC236}">
                <a16:creationId xmlns:a16="http://schemas.microsoft.com/office/drawing/2014/main" id="{A66DDFF6-8990-4632-9B16-3852035C81BA}"/>
              </a:ext>
            </a:extLst>
          </p:cNvPr>
          <p:cNvSpPr txBox="1"/>
          <p:nvPr/>
        </p:nvSpPr>
        <p:spPr>
          <a:xfrm>
            <a:off x="10136707" y="4307818"/>
            <a:ext cx="1486626" cy="230832"/>
          </a:xfrm>
          <a:prstGeom prst="rect">
            <a:avLst/>
          </a:prstGeom>
          <a:noFill/>
          <a:ln w="19050">
            <a:solidFill>
              <a:schemeClr val="bg2">
                <a:lumMod val="50000"/>
              </a:schemeClr>
            </a:solidFill>
          </a:ln>
        </p:spPr>
        <p:txBody>
          <a:bodyPr wrap="square" rtlCol="0">
            <a:spAutoFit/>
          </a:bodyPr>
          <a:lstStyle/>
          <a:p>
            <a:pPr algn="ctr"/>
            <a:r>
              <a:rPr lang="es-ES" sz="900">
                <a:solidFill>
                  <a:schemeClr val="tx2"/>
                </a:solidFill>
              </a:rPr>
              <a:t>Palanca de Consistencia</a:t>
            </a:r>
            <a:endParaRPr lang="es-CO" sz="900">
              <a:solidFill>
                <a:schemeClr val="tx2"/>
              </a:solidFill>
            </a:endParaRPr>
          </a:p>
        </p:txBody>
      </p:sp>
      <p:sp>
        <p:nvSpPr>
          <p:cNvPr id="147" name="Rectángulo 146">
            <a:extLst>
              <a:ext uri="{FF2B5EF4-FFF2-40B4-BE49-F238E27FC236}">
                <a16:creationId xmlns:a16="http://schemas.microsoft.com/office/drawing/2014/main" id="{28985963-B271-4E6A-83C5-F3A62A87E6BA}"/>
              </a:ext>
            </a:extLst>
          </p:cNvPr>
          <p:cNvSpPr>
            <a:spLocks/>
          </p:cNvSpPr>
          <p:nvPr/>
        </p:nvSpPr>
        <p:spPr>
          <a:xfrm>
            <a:off x="3411848" y="5422347"/>
            <a:ext cx="2538000" cy="682201"/>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r>
              <a:rPr lang="es-ES" sz="1100">
                <a:solidFill>
                  <a:schemeClr val="tx2"/>
                </a:solidFill>
              </a:rPr>
              <a:t>Aprobar ajustes posteriores a los cierres contables que impliquen reabrir la contabilidad</a:t>
            </a:r>
          </a:p>
        </p:txBody>
      </p:sp>
      <p:sp>
        <p:nvSpPr>
          <p:cNvPr id="21" name="Rectángulo 20">
            <a:extLst>
              <a:ext uri="{FF2B5EF4-FFF2-40B4-BE49-F238E27FC236}">
                <a16:creationId xmlns:a16="http://schemas.microsoft.com/office/drawing/2014/main" id="{6DF582FE-4ED3-41AC-A715-CB130A94E54C}"/>
              </a:ext>
            </a:extLst>
          </p:cNvPr>
          <p:cNvSpPr>
            <a:spLocks/>
          </p:cNvSpPr>
          <p:nvPr/>
        </p:nvSpPr>
        <p:spPr>
          <a:xfrm>
            <a:off x="3429045" y="3251216"/>
            <a:ext cx="2538000" cy="955947"/>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r>
              <a:rPr lang="es-ES" sz="1100">
                <a:solidFill>
                  <a:schemeClr val="tx2"/>
                </a:solidFill>
              </a:rPr>
              <a:t>Autorizar ajustes contables por existencias de bodega originados por cualquier causa mayores a 1.000 SMLMV</a:t>
            </a:r>
          </a:p>
        </p:txBody>
      </p:sp>
      <p:grpSp>
        <p:nvGrpSpPr>
          <p:cNvPr id="37" name="Grupo 36">
            <a:extLst>
              <a:ext uri="{FF2B5EF4-FFF2-40B4-BE49-F238E27FC236}">
                <a16:creationId xmlns:a16="http://schemas.microsoft.com/office/drawing/2014/main" id="{33A4F641-6F0E-462A-898E-0641B151AA65}"/>
              </a:ext>
            </a:extLst>
          </p:cNvPr>
          <p:cNvGrpSpPr/>
          <p:nvPr/>
        </p:nvGrpSpPr>
        <p:grpSpPr>
          <a:xfrm>
            <a:off x="8293785" y="3009202"/>
            <a:ext cx="1740102" cy="507831"/>
            <a:chOff x="11328566" y="5213037"/>
            <a:chExt cx="1740102" cy="507831"/>
          </a:xfrm>
        </p:grpSpPr>
        <p:sp>
          <p:nvSpPr>
            <p:cNvPr id="38" name="CuadroTexto 37">
              <a:extLst>
                <a:ext uri="{FF2B5EF4-FFF2-40B4-BE49-F238E27FC236}">
                  <a16:creationId xmlns:a16="http://schemas.microsoft.com/office/drawing/2014/main" id="{A70D06D3-12BC-4CDA-B9D7-EEF1588242C9}"/>
                </a:ext>
              </a:extLst>
            </p:cNvPr>
            <p:cNvSpPr txBox="1"/>
            <p:nvPr/>
          </p:nvSpPr>
          <p:spPr>
            <a:xfrm>
              <a:off x="11328566" y="5361946"/>
              <a:ext cx="432000" cy="215444"/>
            </a:xfrm>
            <a:prstGeom prst="rect">
              <a:avLst/>
            </a:prstGeom>
            <a:solidFill>
              <a:schemeClr val="bg1"/>
            </a:solidFill>
            <a:ln w="19050">
              <a:solidFill>
                <a:srgbClr val="92D050"/>
              </a:solidFill>
            </a:ln>
          </p:spPr>
          <p:txBody>
            <a:bodyPr wrap="square" rtlCol="0">
              <a:spAutoFit/>
            </a:bodyPr>
            <a:lstStyle/>
            <a:p>
              <a:pPr algn="ctr"/>
              <a:r>
                <a:rPr lang="es-ES" sz="800"/>
                <a:t>VAB</a:t>
              </a:r>
              <a:endParaRPr lang="es-CO" sz="800"/>
            </a:p>
          </p:txBody>
        </p:sp>
        <p:sp>
          <p:nvSpPr>
            <p:cNvPr id="39" name="CuadroTexto 38">
              <a:extLst>
                <a:ext uri="{FF2B5EF4-FFF2-40B4-BE49-F238E27FC236}">
                  <a16:creationId xmlns:a16="http://schemas.microsoft.com/office/drawing/2014/main" id="{5FAD9D39-0163-48A2-AB90-B7B2E4C2CCC8}"/>
                </a:ext>
              </a:extLst>
            </p:cNvPr>
            <p:cNvSpPr txBox="1"/>
            <p:nvPr/>
          </p:nvSpPr>
          <p:spPr>
            <a:xfrm>
              <a:off x="11754901" y="5213037"/>
              <a:ext cx="1313767" cy="507831"/>
            </a:xfrm>
            <a:prstGeom prst="rect">
              <a:avLst/>
            </a:prstGeom>
            <a:noFill/>
          </p:spPr>
          <p:txBody>
            <a:bodyPr wrap="square" rtlCol="0">
              <a:spAutoFit/>
            </a:bodyPr>
            <a:lstStyle/>
            <a:p>
              <a:r>
                <a:rPr lang="es-ES" sz="900">
                  <a:solidFill>
                    <a:schemeClr val="accent1">
                      <a:lumMod val="25000"/>
                    </a:schemeClr>
                  </a:solidFill>
                </a:rPr>
                <a:t>Vicepresidente de Abastecimiento</a:t>
              </a:r>
            </a:p>
            <a:p>
              <a:r>
                <a:rPr lang="es-ES" sz="900">
                  <a:solidFill>
                    <a:schemeClr val="accent1">
                      <a:lumMod val="25000"/>
                    </a:schemeClr>
                  </a:solidFill>
                </a:rPr>
                <a:t>13 % </a:t>
              </a:r>
              <a:endParaRPr lang="es-CO" sz="900">
                <a:solidFill>
                  <a:schemeClr val="accent1">
                    <a:lumMod val="25000"/>
                  </a:schemeClr>
                </a:solidFill>
              </a:endParaRPr>
            </a:p>
          </p:txBody>
        </p:sp>
      </p:grpSp>
      <p:grpSp>
        <p:nvGrpSpPr>
          <p:cNvPr id="26" name="Grupo 25">
            <a:extLst>
              <a:ext uri="{FF2B5EF4-FFF2-40B4-BE49-F238E27FC236}">
                <a16:creationId xmlns:a16="http://schemas.microsoft.com/office/drawing/2014/main" id="{5B1CDA9C-37CE-441A-94E7-5A5F38503613}"/>
              </a:ext>
            </a:extLst>
          </p:cNvPr>
          <p:cNvGrpSpPr/>
          <p:nvPr/>
        </p:nvGrpSpPr>
        <p:grpSpPr>
          <a:xfrm>
            <a:off x="6716474" y="3057328"/>
            <a:ext cx="1611503" cy="507831"/>
            <a:chOff x="9392140" y="4751078"/>
            <a:chExt cx="1611503" cy="507831"/>
          </a:xfrm>
        </p:grpSpPr>
        <p:sp>
          <p:nvSpPr>
            <p:cNvPr id="27" name="CuadroTexto 26">
              <a:extLst>
                <a:ext uri="{FF2B5EF4-FFF2-40B4-BE49-F238E27FC236}">
                  <a16:creationId xmlns:a16="http://schemas.microsoft.com/office/drawing/2014/main" id="{910DCB24-1C9B-45BE-9592-B8EC86E558A4}"/>
                </a:ext>
              </a:extLst>
            </p:cNvPr>
            <p:cNvSpPr txBox="1"/>
            <p:nvPr/>
          </p:nvSpPr>
          <p:spPr>
            <a:xfrm>
              <a:off x="9803585" y="4751078"/>
              <a:ext cx="1200058" cy="507831"/>
            </a:xfrm>
            <a:prstGeom prst="rect">
              <a:avLst/>
            </a:prstGeom>
            <a:noFill/>
          </p:spPr>
          <p:txBody>
            <a:bodyPr wrap="square" rtlCol="0" anchor="t">
              <a:spAutoFit/>
            </a:bodyPr>
            <a:lstStyle/>
            <a:p>
              <a:r>
                <a:rPr lang="es-ES" sz="900">
                  <a:solidFill>
                    <a:schemeClr val="accent1">
                      <a:lumMod val="25000"/>
                    </a:schemeClr>
                  </a:solidFill>
                </a:rPr>
                <a:t>Vicepresidente Finanzas</a:t>
              </a:r>
            </a:p>
            <a:p>
              <a:r>
                <a:rPr lang="es-ES" sz="900">
                  <a:solidFill>
                    <a:schemeClr val="accent1">
                      <a:lumMod val="25000"/>
                    </a:schemeClr>
                  </a:solidFill>
                </a:rPr>
                <a:t>13 %</a:t>
              </a:r>
              <a:endParaRPr lang="es-CO" sz="900">
                <a:solidFill>
                  <a:schemeClr val="accent1">
                    <a:lumMod val="25000"/>
                  </a:schemeClr>
                </a:solidFill>
              </a:endParaRPr>
            </a:p>
          </p:txBody>
        </p:sp>
        <p:sp>
          <p:nvSpPr>
            <p:cNvPr id="28" name="CuadroTexto 27">
              <a:extLst>
                <a:ext uri="{FF2B5EF4-FFF2-40B4-BE49-F238E27FC236}">
                  <a16:creationId xmlns:a16="http://schemas.microsoft.com/office/drawing/2014/main" id="{4A0F0E28-A961-4260-8BB9-16809CE2E13A}"/>
                </a:ext>
              </a:extLst>
            </p:cNvPr>
            <p:cNvSpPr txBox="1"/>
            <p:nvPr/>
          </p:nvSpPr>
          <p:spPr>
            <a:xfrm>
              <a:off x="9392140" y="4884294"/>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grpSp>
      <p:sp>
        <p:nvSpPr>
          <p:cNvPr id="6" name="CuadroTexto 5">
            <a:extLst>
              <a:ext uri="{FF2B5EF4-FFF2-40B4-BE49-F238E27FC236}">
                <a16:creationId xmlns:a16="http://schemas.microsoft.com/office/drawing/2014/main" id="{4BD45A74-756A-4BD2-A61F-C4804F955B32}"/>
              </a:ext>
            </a:extLst>
          </p:cNvPr>
          <p:cNvSpPr txBox="1"/>
          <p:nvPr/>
        </p:nvSpPr>
        <p:spPr>
          <a:xfrm>
            <a:off x="5672576" y="2932878"/>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grpSp>
        <p:nvGrpSpPr>
          <p:cNvPr id="31" name="Grupo 30">
            <a:extLst>
              <a:ext uri="{FF2B5EF4-FFF2-40B4-BE49-F238E27FC236}">
                <a16:creationId xmlns:a16="http://schemas.microsoft.com/office/drawing/2014/main" id="{A0B07E6C-42EA-42D4-BF18-74CF8467911A}"/>
              </a:ext>
            </a:extLst>
          </p:cNvPr>
          <p:cNvGrpSpPr/>
          <p:nvPr/>
        </p:nvGrpSpPr>
        <p:grpSpPr>
          <a:xfrm>
            <a:off x="8293785" y="3560832"/>
            <a:ext cx="1430263" cy="646331"/>
            <a:chOff x="9218732" y="3240922"/>
            <a:chExt cx="1430263" cy="646331"/>
          </a:xfrm>
        </p:grpSpPr>
        <p:sp>
          <p:nvSpPr>
            <p:cNvPr id="32" name="CuadroTexto 31">
              <a:extLst>
                <a:ext uri="{FF2B5EF4-FFF2-40B4-BE49-F238E27FC236}">
                  <a16:creationId xmlns:a16="http://schemas.microsoft.com/office/drawing/2014/main" id="{112CF6BB-B57E-4E30-BDB8-A663AA382E62}"/>
                </a:ext>
              </a:extLst>
            </p:cNvPr>
            <p:cNvSpPr txBox="1"/>
            <p:nvPr/>
          </p:nvSpPr>
          <p:spPr>
            <a:xfrm>
              <a:off x="9218732" y="3451146"/>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33" name="CuadroTexto 32">
              <a:extLst>
                <a:ext uri="{FF2B5EF4-FFF2-40B4-BE49-F238E27FC236}">
                  <a16:creationId xmlns:a16="http://schemas.microsoft.com/office/drawing/2014/main" id="{99A98136-5ADE-4ACF-97B1-9869591C8748}"/>
                </a:ext>
              </a:extLst>
            </p:cNvPr>
            <p:cNvSpPr txBox="1"/>
            <p:nvPr/>
          </p:nvSpPr>
          <p:spPr>
            <a:xfrm>
              <a:off x="9660121" y="3240922"/>
              <a:ext cx="988874" cy="646331"/>
            </a:xfrm>
            <a:prstGeom prst="rect">
              <a:avLst/>
            </a:prstGeom>
            <a:noFill/>
          </p:spPr>
          <p:txBody>
            <a:bodyPr wrap="square" rtlCol="0" anchor="t">
              <a:spAutoFit/>
            </a:bodyPr>
            <a:lstStyle/>
            <a:p>
              <a:r>
                <a:rPr lang="es-ES" sz="900">
                  <a:solidFill>
                    <a:schemeClr val="accent1">
                      <a:lumMod val="25000"/>
                    </a:schemeClr>
                  </a:solidFill>
                </a:rPr>
                <a:t>Gerente de Operaciones Financieras</a:t>
              </a:r>
            </a:p>
            <a:p>
              <a:r>
                <a:rPr lang="es-ES" sz="900">
                  <a:solidFill>
                    <a:schemeClr val="accent1">
                      <a:lumMod val="25000"/>
                    </a:schemeClr>
                  </a:solidFill>
                </a:rPr>
                <a:t>13 %</a:t>
              </a:r>
              <a:endParaRPr lang="es-CO" sz="900">
                <a:solidFill>
                  <a:schemeClr val="accent1">
                    <a:lumMod val="25000"/>
                  </a:schemeClr>
                </a:solidFill>
              </a:endParaRPr>
            </a:p>
          </p:txBody>
        </p:sp>
      </p:grpSp>
      <p:sp>
        <p:nvSpPr>
          <p:cNvPr id="9" name="CuadroTexto 8">
            <a:extLst>
              <a:ext uri="{FF2B5EF4-FFF2-40B4-BE49-F238E27FC236}">
                <a16:creationId xmlns:a16="http://schemas.microsoft.com/office/drawing/2014/main" id="{C4008514-F4D9-48F0-9D49-2B5F1B4FABAC}"/>
              </a:ext>
            </a:extLst>
          </p:cNvPr>
          <p:cNvSpPr txBox="1"/>
          <p:nvPr/>
        </p:nvSpPr>
        <p:spPr>
          <a:xfrm>
            <a:off x="5665613" y="5918344"/>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11" name="Rectángulo 10">
            <a:extLst>
              <a:ext uri="{FF2B5EF4-FFF2-40B4-BE49-F238E27FC236}">
                <a16:creationId xmlns:a16="http://schemas.microsoft.com/office/drawing/2014/main" id="{772CA61D-742C-45F0-BAFA-0F3B90176E98}"/>
              </a:ext>
            </a:extLst>
          </p:cNvPr>
          <p:cNvSpPr>
            <a:spLocks/>
          </p:cNvSpPr>
          <p:nvPr/>
        </p:nvSpPr>
        <p:spPr>
          <a:xfrm>
            <a:off x="524745" y="1198161"/>
            <a:ext cx="2415600" cy="764206"/>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400">
                <a:solidFill>
                  <a:schemeClr val="tx2"/>
                </a:solidFill>
              </a:rPr>
              <a:t>Autorizar propiedades y equipos</a:t>
            </a:r>
          </a:p>
        </p:txBody>
      </p:sp>
      <p:sp>
        <p:nvSpPr>
          <p:cNvPr id="12" name="Elipse 11">
            <a:extLst>
              <a:ext uri="{FF2B5EF4-FFF2-40B4-BE49-F238E27FC236}">
                <a16:creationId xmlns:a16="http://schemas.microsoft.com/office/drawing/2014/main" id="{7F3CEC4C-7588-4B74-823D-9CF22E2DAD79}"/>
              </a:ext>
            </a:extLst>
          </p:cNvPr>
          <p:cNvSpPr/>
          <p:nvPr/>
        </p:nvSpPr>
        <p:spPr>
          <a:xfrm>
            <a:off x="371300" y="1031836"/>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1</a:t>
            </a:r>
            <a:endParaRPr lang="es-CO" sz="1200" b="1">
              <a:solidFill>
                <a:schemeClr val="bg1"/>
              </a:solidFill>
            </a:endParaRPr>
          </a:p>
        </p:txBody>
      </p:sp>
      <p:sp>
        <p:nvSpPr>
          <p:cNvPr id="15" name="Rectangle 30">
            <a:extLst>
              <a:ext uri="{FF2B5EF4-FFF2-40B4-BE49-F238E27FC236}">
                <a16:creationId xmlns:a16="http://schemas.microsoft.com/office/drawing/2014/main" id="{62B74417-9DDC-43EE-A726-A2B51719A76E}"/>
              </a:ext>
            </a:extLst>
          </p:cNvPr>
          <p:cNvSpPr>
            <a:spLocks/>
          </p:cNvSpPr>
          <p:nvPr/>
        </p:nvSpPr>
        <p:spPr>
          <a:xfrm>
            <a:off x="524745" y="2153930"/>
            <a:ext cx="2415600" cy="1036921"/>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probar las bajas, sobrantes y faltantes de activos de la compañía y en consecuencia, autorizar los registros contables correspondientes</a:t>
            </a:r>
          </a:p>
        </p:txBody>
      </p:sp>
      <p:grpSp>
        <p:nvGrpSpPr>
          <p:cNvPr id="46" name="Grupo 45">
            <a:extLst>
              <a:ext uri="{FF2B5EF4-FFF2-40B4-BE49-F238E27FC236}">
                <a16:creationId xmlns:a16="http://schemas.microsoft.com/office/drawing/2014/main" id="{650AB62D-A12A-45DF-8E31-BF8EC5C56E7C}"/>
              </a:ext>
            </a:extLst>
          </p:cNvPr>
          <p:cNvGrpSpPr/>
          <p:nvPr/>
        </p:nvGrpSpPr>
        <p:grpSpPr>
          <a:xfrm>
            <a:off x="6716474" y="3664473"/>
            <a:ext cx="1435739" cy="507831"/>
            <a:chOff x="11328566" y="4715018"/>
            <a:chExt cx="1435739" cy="507831"/>
          </a:xfrm>
        </p:grpSpPr>
        <p:sp>
          <p:nvSpPr>
            <p:cNvPr id="47" name="CuadroTexto 46">
              <a:extLst>
                <a:ext uri="{FF2B5EF4-FFF2-40B4-BE49-F238E27FC236}">
                  <a16:creationId xmlns:a16="http://schemas.microsoft.com/office/drawing/2014/main" id="{F3DF7E95-E8CD-4D4B-91D9-C76F52367762}"/>
                </a:ext>
              </a:extLst>
            </p:cNvPr>
            <p:cNvSpPr txBox="1"/>
            <p:nvPr/>
          </p:nvSpPr>
          <p:spPr>
            <a:xfrm>
              <a:off x="11759311" y="4715018"/>
              <a:ext cx="1004994" cy="507831"/>
            </a:xfrm>
            <a:prstGeom prst="rect">
              <a:avLst/>
            </a:prstGeom>
            <a:noFill/>
          </p:spPr>
          <p:txBody>
            <a:bodyPr wrap="square" rtlCol="0">
              <a:spAutoFit/>
            </a:bodyPr>
            <a:lstStyle/>
            <a:p>
              <a:r>
                <a:rPr lang="es-ES" sz="900">
                  <a:solidFill>
                    <a:schemeClr val="accent1">
                      <a:lumMod val="25000"/>
                    </a:schemeClr>
                  </a:solidFill>
                </a:rPr>
                <a:t>Vicepresidente del área</a:t>
              </a:r>
            </a:p>
            <a:p>
              <a:r>
                <a:rPr lang="es-ES" sz="900">
                  <a:solidFill>
                    <a:schemeClr val="accent1">
                      <a:lumMod val="25000"/>
                    </a:schemeClr>
                  </a:solidFill>
                </a:rPr>
                <a:t>25 %</a:t>
              </a:r>
              <a:endParaRPr lang="es-CO" sz="900">
                <a:solidFill>
                  <a:schemeClr val="accent1">
                    <a:lumMod val="25000"/>
                  </a:schemeClr>
                </a:solidFill>
              </a:endParaRPr>
            </a:p>
          </p:txBody>
        </p:sp>
        <p:sp>
          <p:nvSpPr>
            <p:cNvPr id="51" name="CuadroTexto 50">
              <a:extLst>
                <a:ext uri="{FF2B5EF4-FFF2-40B4-BE49-F238E27FC236}">
                  <a16:creationId xmlns:a16="http://schemas.microsoft.com/office/drawing/2014/main" id="{434F470C-E23A-4F38-ABE9-7C1C6300E6CB}"/>
                </a:ext>
              </a:extLst>
            </p:cNvPr>
            <p:cNvSpPr txBox="1"/>
            <p:nvPr/>
          </p:nvSpPr>
          <p:spPr>
            <a:xfrm>
              <a:off x="11328566" y="4853823"/>
              <a:ext cx="432000" cy="215444"/>
            </a:xfrm>
            <a:prstGeom prst="rect">
              <a:avLst/>
            </a:prstGeom>
            <a:solidFill>
              <a:schemeClr val="bg1"/>
            </a:solidFill>
            <a:ln w="19050">
              <a:solidFill>
                <a:srgbClr val="FFC000"/>
              </a:solidFill>
            </a:ln>
          </p:spPr>
          <p:txBody>
            <a:bodyPr wrap="square" rtlCol="0">
              <a:spAutoFit/>
            </a:bodyPr>
            <a:lstStyle/>
            <a:p>
              <a:pPr algn="ctr"/>
              <a:r>
                <a:rPr lang="es-ES" sz="800"/>
                <a:t>VPÁ</a:t>
              </a:r>
              <a:endParaRPr lang="es-CO" sz="800"/>
            </a:p>
          </p:txBody>
        </p:sp>
      </p:grpSp>
      <p:sp>
        <p:nvSpPr>
          <p:cNvPr id="16" name="CuadroTexto 15">
            <a:extLst>
              <a:ext uri="{FF2B5EF4-FFF2-40B4-BE49-F238E27FC236}">
                <a16:creationId xmlns:a16="http://schemas.microsoft.com/office/drawing/2014/main" id="{BBFAD0BD-54FF-43F3-B1BD-AD87C3FE7182}"/>
              </a:ext>
            </a:extLst>
          </p:cNvPr>
          <p:cNvSpPr txBox="1"/>
          <p:nvPr/>
        </p:nvSpPr>
        <p:spPr>
          <a:xfrm>
            <a:off x="2607914" y="2987670"/>
            <a:ext cx="432000" cy="215444"/>
          </a:xfrm>
          <a:prstGeom prst="rect">
            <a:avLst/>
          </a:prstGeom>
          <a:solidFill>
            <a:schemeClr val="bg1"/>
          </a:solidFill>
          <a:ln w="19050">
            <a:solidFill>
              <a:srgbClr val="FFC000"/>
            </a:solidFill>
          </a:ln>
        </p:spPr>
        <p:txBody>
          <a:bodyPr wrap="square" rtlCol="0">
            <a:spAutoFit/>
          </a:bodyPr>
          <a:lstStyle/>
          <a:p>
            <a:pPr algn="ctr"/>
            <a:r>
              <a:rPr lang="es-ES" sz="800"/>
              <a:t>VPÁ</a:t>
            </a:r>
            <a:endParaRPr lang="es-CO" sz="800"/>
          </a:p>
        </p:txBody>
      </p:sp>
      <p:sp>
        <p:nvSpPr>
          <p:cNvPr id="17" name="CuadroTexto 16">
            <a:extLst>
              <a:ext uri="{FF2B5EF4-FFF2-40B4-BE49-F238E27FC236}">
                <a16:creationId xmlns:a16="http://schemas.microsoft.com/office/drawing/2014/main" id="{86A1E7C4-4E11-4F2F-8053-7E78A6509E45}"/>
              </a:ext>
            </a:extLst>
          </p:cNvPr>
          <p:cNvSpPr txBox="1"/>
          <p:nvPr/>
        </p:nvSpPr>
        <p:spPr>
          <a:xfrm>
            <a:off x="5664000" y="4043605"/>
            <a:ext cx="432000" cy="215444"/>
          </a:xfrm>
          <a:prstGeom prst="rect">
            <a:avLst/>
          </a:prstGeom>
          <a:solidFill>
            <a:schemeClr val="bg1"/>
          </a:solidFill>
          <a:ln w="19050">
            <a:solidFill>
              <a:srgbClr val="92D050"/>
            </a:solidFill>
          </a:ln>
        </p:spPr>
        <p:txBody>
          <a:bodyPr wrap="square" rtlCol="0">
            <a:spAutoFit/>
          </a:bodyPr>
          <a:lstStyle/>
          <a:p>
            <a:pPr algn="ctr"/>
            <a:r>
              <a:rPr lang="es-ES" sz="800"/>
              <a:t>VAB</a:t>
            </a:r>
            <a:endParaRPr lang="es-CO" sz="800"/>
          </a:p>
        </p:txBody>
      </p:sp>
      <p:sp>
        <p:nvSpPr>
          <p:cNvPr id="18" name="Rectangle 30">
            <a:extLst>
              <a:ext uri="{FF2B5EF4-FFF2-40B4-BE49-F238E27FC236}">
                <a16:creationId xmlns:a16="http://schemas.microsoft.com/office/drawing/2014/main" id="{2CBADE6D-1357-4956-98FE-882CB8F1AE15}"/>
              </a:ext>
            </a:extLst>
          </p:cNvPr>
          <p:cNvSpPr>
            <a:spLocks/>
          </p:cNvSpPr>
          <p:nvPr/>
        </p:nvSpPr>
        <p:spPr>
          <a:xfrm>
            <a:off x="524745" y="3340137"/>
            <a:ext cx="2415600" cy="1622531"/>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probar las permutas o daciones en pago, préstamo o alquiler a terceros (equipos nuevos y/o usados) y cesión sin costo de activos fijos dentro del marco de inversión social y en consecuencia, autorizar los registros contables correspondientes</a:t>
            </a:r>
          </a:p>
        </p:txBody>
      </p:sp>
      <p:sp>
        <p:nvSpPr>
          <p:cNvPr id="20" name="CuadroTexto 19">
            <a:extLst>
              <a:ext uri="{FF2B5EF4-FFF2-40B4-BE49-F238E27FC236}">
                <a16:creationId xmlns:a16="http://schemas.microsoft.com/office/drawing/2014/main" id="{5B6FAFEF-D75A-41DE-AC4B-45789181D623}"/>
              </a:ext>
            </a:extLst>
          </p:cNvPr>
          <p:cNvSpPr txBox="1"/>
          <p:nvPr/>
        </p:nvSpPr>
        <p:spPr>
          <a:xfrm>
            <a:off x="2607914" y="4772392"/>
            <a:ext cx="432000" cy="215444"/>
          </a:xfrm>
          <a:prstGeom prst="rect">
            <a:avLst/>
          </a:prstGeom>
          <a:solidFill>
            <a:schemeClr val="bg1"/>
          </a:solidFill>
          <a:ln w="19050">
            <a:solidFill>
              <a:srgbClr val="FFC000"/>
            </a:solidFill>
          </a:ln>
        </p:spPr>
        <p:txBody>
          <a:bodyPr wrap="square" rtlCol="0">
            <a:spAutoFit/>
          </a:bodyPr>
          <a:lstStyle/>
          <a:p>
            <a:pPr algn="ctr"/>
            <a:r>
              <a:rPr lang="es-ES" sz="800"/>
              <a:t>VPÁ</a:t>
            </a:r>
            <a:endParaRPr lang="es-CO" sz="800"/>
          </a:p>
        </p:txBody>
      </p:sp>
      <p:sp>
        <p:nvSpPr>
          <p:cNvPr id="23" name="Rectangle 30">
            <a:extLst>
              <a:ext uri="{FF2B5EF4-FFF2-40B4-BE49-F238E27FC236}">
                <a16:creationId xmlns:a16="http://schemas.microsoft.com/office/drawing/2014/main" id="{A396F205-286C-47F5-B29D-C5952F03BF6F}"/>
              </a:ext>
            </a:extLst>
          </p:cNvPr>
          <p:cNvSpPr>
            <a:spLocks/>
          </p:cNvSpPr>
          <p:nvPr/>
        </p:nvSpPr>
        <p:spPr>
          <a:xfrm>
            <a:off x="524745" y="5098007"/>
            <a:ext cx="2415600" cy="955947"/>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probar la capitalización de activos de la compañía y en consecuencia, autorizar los registros contable correspondientes</a:t>
            </a:r>
          </a:p>
        </p:txBody>
      </p:sp>
      <p:grpSp>
        <p:nvGrpSpPr>
          <p:cNvPr id="19" name="Grupo 18">
            <a:extLst>
              <a:ext uri="{FF2B5EF4-FFF2-40B4-BE49-F238E27FC236}">
                <a16:creationId xmlns:a16="http://schemas.microsoft.com/office/drawing/2014/main" id="{61C64EE8-FBB3-47C1-B4B0-BE60C5801CC2}"/>
              </a:ext>
            </a:extLst>
          </p:cNvPr>
          <p:cNvGrpSpPr/>
          <p:nvPr/>
        </p:nvGrpSpPr>
        <p:grpSpPr>
          <a:xfrm>
            <a:off x="10035197" y="3726550"/>
            <a:ext cx="1632058" cy="369332"/>
            <a:chOff x="7895437" y="4906436"/>
            <a:chExt cx="1632058" cy="369332"/>
          </a:xfrm>
        </p:grpSpPr>
        <p:sp>
          <p:nvSpPr>
            <p:cNvPr id="8" name="CuadroTexto 7">
              <a:extLst>
                <a:ext uri="{FF2B5EF4-FFF2-40B4-BE49-F238E27FC236}">
                  <a16:creationId xmlns:a16="http://schemas.microsoft.com/office/drawing/2014/main" id="{04E03E9B-25E7-4174-8132-CD2E4F3F4ECF}"/>
                </a:ext>
              </a:extLst>
            </p:cNvPr>
            <p:cNvSpPr txBox="1"/>
            <p:nvPr/>
          </p:nvSpPr>
          <p:spPr>
            <a:xfrm>
              <a:off x="7895437" y="4965075"/>
              <a:ext cx="432000" cy="215444"/>
            </a:xfrm>
            <a:prstGeom prst="rect">
              <a:avLst/>
            </a:prstGeom>
            <a:solidFill>
              <a:schemeClr val="bg1"/>
            </a:solidFill>
            <a:ln w="19050">
              <a:solidFill>
                <a:schemeClr val="tx2">
                  <a:lumMod val="60000"/>
                  <a:lumOff val="40000"/>
                </a:schemeClr>
              </a:solidFill>
            </a:ln>
          </p:spPr>
          <p:txBody>
            <a:bodyPr wrap="square" rtlCol="0">
              <a:spAutoFit/>
            </a:bodyPr>
            <a:lstStyle/>
            <a:p>
              <a:pPr algn="ctr"/>
              <a:r>
                <a:rPr lang="es-ES" sz="800"/>
                <a:t>LP</a:t>
              </a:r>
              <a:endParaRPr lang="es-CO" sz="800"/>
            </a:p>
          </p:txBody>
        </p:sp>
        <p:sp>
          <p:nvSpPr>
            <p:cNvPr id="10" name="CuadroTexto 9">
              <a:extLst>
                <a:ext uri="{FF2B5EF4-FFF2-40B4-BE49-F238E27FC236}">
                  <a16:creationId xmlns:a16="http://schemas.microsoft.com/office/drawing/2014/main" id="{BAEAA11C-2087-4293-A342-F40370054769}"/>
                </a:ext>
              </a:extLst>
            </p:cNvPr>
            <p:cNvSpPr txBox="1"/>
            <p:nvPr/>
          </p:nvSpPr>
          <p:spPr>
            <a:xfrm>
              <a:off x="8327437" y="4906436"/>
              <a:ext cx="1200058" cy="369332"/>
            </a:xfrm>
            <a:prstGeom prst="rect">
              <a:avLst/>
            </a:prstGeom>
            <a:noFill/>
          </p:spPr>
          <p:txBody>
            <a:bodyPr wrap="square" rtlCol="0" anchor="t">
              <a:spAutoFit/>
            </a:bodyPr>
            <a:lstStyle/>
            <a:p>
              <a:r>
                <a:rPr lang="es-ES" sz="900">
                  <a:solidFill>
                    <a:schemeClr val="accent1">
                      <a:lumMod val="25000"/>
                    </a:schemeClr>
                  </a:solidFill>
                </a:rPr>
                <a:t>Líder del Proyecto</a:t>
              </a:r>
            </a:p>
            <a:p>
              <a:r>
                <a:rPr lang="es-ES" sz="900">
                  <a:solidFill>
                    <a:schemeClr val="accent1">
                      <a:lumMod val="25000"/>
                    </a:schemeClr>
                  </a:solidFill>
                </a:rPr>
                <a:t>13 %</a:t>
              </a:r>
              <a:endParaRPr lang="es-CO" sz="900">
                <a:solidFill>
                  <a:schemeClr val="accent1">
                    <a:lumMod val="25000"/>
                  </a:schemeClr>
                </a:solidFill>
              </a:endParaRPr>
            </a:p>
          </p:txBody>
        </p:sp>
      </p:grpSp>
      <p:grpSp>
        <p:nvGrpSpPr>
          <p:cNvPr id="25" name="Grupo 24">
            <a:extLst>
              <a:ext uri="{FF2B5EF4-FFF2-40B4-BE49-F238E27FC236}">
                <a16:creationId xmlns:a16="http://schemas.microsoft.com/office/drawing/2014/main" id="{7BD04A0F-6044-44FB-A15C-87C578771698}"/>
              </a:ext>
            </a:extLst>
          </p:cNvPr>
          <p:cNvGrpSpPr/>
          <p:nvPr/>
        </p:nvGrpSpPr>
        <p:grpSpPr>
          <a:xfrm>
            <a:off x="2598528" y="5859221"/>
            <a:ext cx="450772" cy="261610"/>
            <a:chOff x="2493598" y="5859221"/>
            <a:chExt cx="450772" cy="261610"/>
          </a:xfrm>
        </p:grpSpPr>
        <p:sp>
          <p:nvSpPr>
            <p:cNvPr id="24" name="CuadroTexto 23">
              <a:extLst>
                <a:ext uri="{FF2B5EF4-FFF2-40B4-BE49-F238E27FC236}">
                  <a16:creationId xmlns:a16="http://schemas.microsoft.com/office/drawing/2014/main" id="{D596017A-217C-4030-AA0C-1C29D35BFF67}"/>
                </a:ext>
              </a:extLst>
            </p:cNvPr>
            <p:cNvSpPr txBox="1"/>
            <p:nvPr/>
          </p:nvSpPr>
          <p:spPr>
            <a:xfrm>
              <a:off x="2493598" y="5873304"/>
              <a:ext cx="432000" cy="215444"/>
            </a:xfrm>
            <a:prstGeom prst="rect">
              <a:avLst/>
            </a:prstGeom>
            <a:solidFill>
              <a:schemeClr val="bg1"/>
            </a:solidFill>
            <a:ln w="19050">
              <a:solidFill>
                <a:schemeClr val="tx2">
                  <a:lumMod val="60000"/>
                  <a:lumOff val="40000"/>
                </a:schemeClr>
              </a:solidFill>
            </a:ln>
          </p:spPr>
          <p:txBody>
            <a:bodyPr wrap="square" rtlCol="0">
              <a:spAutoFit/>
            </a:bodyPr>
            <a:lstStyle/>
            <a:p>
              <a:pPr algn="ctr"/>
              <a:r>
                <a:rPr lang="es-ES" sz="800"/>
                <a:t>LP</a:t>
              </a:r>
              <a:endParaRPr lang="es-CO" sz="800"/>
            </a:p>
          </p:txBody>
        </p:sp>
        <p:sp>
          <p:nvSpPr>
            <p:cNvPr id="13" name="CuadroTexto 12">
              <a:extLst>
                <a:ext uri="{FF2B5EF4-FFF2-40B4-BE49-F238E27FC236}">
                  <a16:creationId xmlns:a16="http://schemas.microsoft.com/office/drawing/2014/main" id="{6228884F-A0F8-4DF2-85C2-C4B92D5A8A77}"/>
                </a:ext>
              </a:extLst>
            </p:cNvPr>
            <p:cNvSpPr txBox="1"/>
            <p:nvPr/>
          </p:nvSpPr>
          <p:spPr>
            <a:xfrm>
              <a:off x="2677514" y="5859221"/>
              <a:ext cx="266856" cy="261610"/>
            </a:xfrm>
            <a:prstGeom prst="rect">
              <a:avLst/>
            </a:prstGeom>
            <a:noFill/>
          </p:spPr>
          <p:txBody>
            <a:bodyPr wrap="square" rtlCol="0" anchor="t">
              <a:spAutoFit/>
            </a:bodyPr>
            <a:lstStyle/>
            <a:p>
              <a:r>
                <a:rPr lang="es-ES" sz="1100">
                  <a:solidFill>
                    <a:schemeClr val="accent1">
                      <a:lumMod val="25000"/>
                    </a:schemeClr>
                  </a:solidFill>
                </a:rPr>
                <a:t>*</a:t>
              </a:r>
              <a:endParaRPr lang="es-CO" sz="1100">
                <a:solidFill>
                  <a:schemeClr val="accent1">
                    <a:lumMod val="25000"/>
                  </a:schemeClr>
                </a:solidFill>
              </a:endParaRPr>
            </a:p>
          </p:txBody>
        </p:sp>
      </p:grpSp>
      <p:sp>
        <p:nvSpPr>
          <p:cNvPr id="14" name="CuadroTexto 13">
            <a:extLst>
              <a:ext uri="{FF2B5EF4-FFF2-40B4-BE49-F238E27FC236}">
                <a16:creationId xmlns:a16="http://schemas.microsoft.com/office/drawing/2014/main" id="{46F7B6A0-E0D5-4D7B-9309-36A548429509}"/>
              </a:ext>
            </a:extLst>
          </p:cNvPr>
          <p:cNvSpPr txBox="1"/>
          <p:nvPr/>
        </p:nvSpPr>
        <p:spPr>
          <a:xfrm>
            <a:off x="0" y="6475203"/>
            <a:ext cx="3998210" cy="261610"/>
          </a:xfrm>
          <a:prstGeom prst="rect">
            <a:avLst/>
          </a:prstGeom>
          <a:noFill/>
        </p:spPr>
        <p:txBody>
          <a:bodyPr wrap="none" rtlCol="0">
            <a:spAutoFit/>
          </a:bodyPr>
          <a:lstStyle/>
          <a:p>
            <a:r>
              <a:rPr lang="es-ES" sz="1100">
                <a:solidFill>
                  <a:schemeClr val="tx2"/>
                </a:solidFill>
              </a:rPr>
              <a:t>*Líder del Proyecto o cargo asignado para liderar el Proyecto</a:t>
            </a:r>
            <a:endParaRPr lang="es-CO" sz="1100">
              <a:solidFill>
                <a:schemeClr val="tx2"/>
              </a:solidFill>
            </a:endParaRPr>
          </a:p>
        </p:txBody>
      </p:sp>
      <p:sp>
        <p:nvSpPr>
          <p:cNvPr id="45" name="Rectángulo 44">
            <a:extLst>
              <a:ext uri="{FF2B5EF4-FFF2-40B4-BE49-F238E27FC236}">
                <a16:creationId xmlns:a16="http://schemas.microsoft.com/office/drawing/2014/main" id="{655CAFC8-F786-4C94-ACA4-2866CBBDA16F}"/>
              </a:ext>
            </a:extLst>
          </p:cNvPr>
          <p:cNvSpPr>
            <a:spLocks/>
          </p:cNvSpPr>
          <p:nvPr/>
        </p:nvSpPr>
        <p:spPr>
          <a:xfrm>
            <a:off x="3411848" y="4383963"/>
            <a:ext cx="2538000" cy="776857"/>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r>
              <a:rPr lang="es-ES" sz="1100">
                <a:solidFill>
                  <a:schemeClr val="tx2"/>
                </a:solidFill>
              </a:rPr>
              <a:t>Autorizar ajustes contables por existencias de bodega originados por cualquier causa iguales y menores a 1.000 SMLMV</a:t>
            </a:r>
          </a:p>
        </p:txBody>
      </p:sp>
      <p:grpSp>
        <p:nvGrpSpPr>
          <p:cNvPr id="48" name="Grupo 47">
            <a:extLst>
              <a:ext uri="{FF2B5EF4-FFF2-40B4-BE49-F238E27FC236}">
                <a16:creationId xmlns:a16="http://schemas.microsoft.com/office/drawing/2014/main" id="{2521AF09-BDB9-422F-A971-BBB69771D0CC}"/>
              </a:ext>
            </a:extLst>
          </p:cNvPr>
          <p:cNvGrpSpPr/>
          <p:nvPr/>
        </p:nvGrpSpPr>
        <p:grpSpPr>
          <a:xfrm>
            <a:off x="10017835" y="3115846"/>
            <a:ext cx="1860202" cy="507831"/>
            <a:chOff x="7895437" y="4906436"/>
            <a:chExt cx="1632058" cy="507831"/>
          </a:xfrm>
        </p:grpSpPr>
        <p:sp>
          <p:nvSpPr>
            <p:cNvPr id="49" name="CuadroTexto 48">
              <a:extLst>
                <a:ext uri="{FF2B5EF4-FFF2-40B4-BE49-F238E27FC236}">
                  <a16:creationId xmlns:a16="http://schemas.microsoft.com/office/drawing/2014/main" id="{CBD059D8-90F7-4DAA-808A-416B6ABD6429}"/>
                </a:ext>
              </a:extLst>
            </p:cNvPr>
            <p:cNvSpPr txBox="1"/>
            <p:nvPr/>
          </p:nvSpPr>
          <p:spPr>
            <a:xfrm>
              <a:off x="7895437" y="4965075"/>
              <a:ext cx="432000" cy="215444"/>
            </a:xfrm>
            <a:prstGeom prst="rect">
              <a:avLst/>
            </a:prstGeom>
            <a:solidFill>
              <a:schemeClr val="bg1"/>
            </a:solidFill>
            <a:ln w="19050">
              <a:solidFill>
                <a:schemeClr val="accent5"/>
              </a:solidFill>
            </a:ln>
          </p:spPr>
          <p:txBody>
            <a:bodyPr wrap="square" rtlCol="0">
              <a:spAutoFit/>
            </a:bodyPr>
            <a:lstStyle/>
            <a:p>
              <a:pPr algn="ctr"/>
              <a:r>
                <a:rPr lang="es-ES" sz="800"/>
                <a:t>GCI</a:t>
              </a:r>
              <a:endParaRPr lang="es-CO" sz="800"/>
            </a:p>
          </p:txBody>
        </p:sp>
        <p:sp>
          <p:nvSpPr>
            <p:cNvPr id="50" name="CuadroTexto 49">
              <a:extLst>
                <a:ext uri="{FF2B5EF4-FFF2-40B4-BE49-F238E27FC236}">
                  <a16:creationId xmlns:a16="http://schemas.microsoft.com/office/drawing/2014/main" id="{0B558182-7133-4523-B1FC-55F078FE6C0C}"/>
                </a:ext>
              </a:extLst>
            </p:cNvPr>
            <p:cNvSpPr txBox="1"/>
            <p:nvPr/>
          </p:nvSpPr>
          <p:spPr>
            <a:xfrm>
              <a:off x="8327437" y="4906436"/>
              <a:ext cx="1200058" cy="507831"/>
            </a:xfrm>
            <a:prstGeom prst="rect">
              <a:avLst/>
            </a:prstGeom>
            <a:noFill/>
          </p:spPr>
          <p:txBody>
            <a:bodyPr wrap="square" rtlCol="0" anchor="t">
              <a:spAutoFit/>
            </a:bodyPr>
            <a:lstStyle/>
            <a:p>
              <a:r>
                <a:rPr lang="es-ES" sz="900">
                  <a:solidFill>
                    <a:schemeClr val="accent1">
                      <a:lumMod val="25000"/>
                    </a:schemeClr>
                  </a:solidFill>
                </a:rPr>
                <a:t>Gerente de Compras e Inventarios</a:t>
              </a:r>
            </a:p>
            <a:p>
              <a:r>
                <a:rPr lang="es-ES" sz="900">
                  <a:solidFill>
                    <a:schemeClr val="accent1">
                      <a:lumMod val="25000"/>
                    </a:schemeClr>
                  </a:solidFill>
                </a:rPr>
                <a:t>23 %</a:t>
              </a:r>
              <a:endParaRPr lang="es-CO" sz="900">
                <a:solidFill>
                  <a:schemeClr val="accent1">
                    <a:lumMod val="25000"/>
                  </a:schemeClr>
                </a:solidFill>
              </a:endParaRPr>
            </a:p>
          </p:txBody>
        </p:sp>
      </p:grpSp>
      <p:sp>
        <p:nvSpPr>
          <p:cNvPr id="52" name="CuadroTexto 51">
            <a:extLst>
              <a:ext uri="{FF2B5EF4-FFF2-40B4-BE49-F238E27FC236}">
                <a16:creationId xmlns:a16="http://schemas.microsoft.com/office/drawing/2014/main" id="{AEE53B50-35DD-46C9-89C1-79459CE4A84E}"/>
              </a:ext>
            </a:extLst>
          </p:cNvPr>
          <p:cNvSpPr txBox="1"/>
          <p:nvPr/>
        </p:nvSpPr>
        <p:spPr>
          <a:xfrm>
            <a:off x="5664000" y="5057542"/>
            <a:ext cx="492389" cy="215444"/>
          </a:xfrm>
          <a:prstGeom prst="rect">
            <a:avLst/>
          </a:prstGeom>
          <a:solidFill>
            <a:schemeClr val="bg1"/>
          </a:solidFill>
          <a:ln w="19050">
            <a:solidFill>
              <a:schemeClr val="accent5"/>
            </a:solidFill>
          </a:ln>
        </p:spPr>
        <p:txBody>
          <a:bodyPr wrap="square" rtlCol="0">
            <a:spAutoFit/>
          </a:bodyPr>
          <a:lstStyle/>
          <a:p>
            <a:pPr algn="ctr"/>
            <a:r>
              <a:rPr lang="es-ES" sz="800"/>
              <a:t>GCI</a:t>
            </a:r>
            <a:endParaRPr lang="es-CO" sz="800"/>
          </a:p>
        </p:txBody>
      </p:sp>
      <p:sp>
        <p:nvSpPr>
          <p:cNvPr id="22" name="CuadroTexto 47">
            <a:extLst>
              <a:ext uri="{FF2B5EF4-FFF2-40B4-BE49-F238E27FC236}">
                <a16:creationId xmlns:a16="http://schemas.microsoft.com/office/drawing/2014/main" id="{A7CD4928-13AF-414D-A56C-3AFE097F5740}"/>
              </a:ext>
            </a:extLst>
          </p:cNvPr>
          <p:cNvSpPr txBox="1"/>
          <p:nvPr/>
        </p:nvSpPr>
        <p:spPr>
          <a:xfrm>
            <a:off x="-616388" y="157949"/>
            <a:ext cx="12102613" cy="738664"/>
          </a:xfrm>
          <a:prstGeom prst="rect">
            <a:avLst/>
          </a:prstGeom>
          <a:noFill/>
          <a:ln>
            <a:noFill/>
          </a:ln>
        </p:spPr>
        <p:txBody>
          <a:bodyPr wrap="square" rtlCol="0">
            <a:spAutoFit/>
          </a:bodyPr>
          <a:lstStyle/>
          <a:p>
            <a:pPr algn="ctr"/>
            <a:r>
              <a:rPr lang="es-ES" sz="2400" b="1" dirty="0">
                <a:solidFill>
                  <a:srgbClr val="10476B"/>
                </a:solidFill>
                <a:latin typeface="Century Gothic" panose="020B0502020202020204" pitchFamily="34" charset="0"/>
                <a:cs typeface="Arial" panose="020B0604020202020204" pitchFamily="34" charset="0"/>
              </a:rPr>
              <a:t>Manual de Delegación de Autoridad (MAD) – Finanzas</a:t>
            </a:r>
          </a:p>
          <a:p>
            <a:pPr algn="ctr"/>
            <a:r>
              <a:rPr lang="es-ES" b="1" dirty="0">
                <a:solidFill>
                  <a:srgbClr val="10476B"/>
                </a:solidFill>
                <a:latin typeface="Century Gothic" panose="020B0502020202020204" pitchFamily="34" charset="0"/>
                <a:cs typeface="Arial" panose="020B0604020202020204" pitchFamily="34" charset="0"/>
              </a:rPr>
              <a:t>Proceso Nivel 1: Gestión Contable</a:t>
            </a:r>
            <a:endParaRPr lang="es-CO" b="1" dirty="0">
              <a:solidFill>
                <a:srgbClr val="10476B"/>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5873509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CuadroTexto 83">
            <a:extLst>
              <a:ext uri="{FF2B5EF4-FFF2-40B4-BE49-F238E27FC236}">
                <a16:creationId xmlns:a16="http://schemas.microsoft.com/office/drawing/2014/main" id="{293DBAF3-3942-4C58-8A63-D4484E215E20}"/>
              </a:ext>
            </a:extLst>
          </p:cNvPr>
          <p:cNvSpPr txBox="1"/>
          <p:nvPr/>
        </p:nvSpPr>
        <p:spPr>
          <a:xfrm>
            <a:off x="6725850" y="4340450"/>
            <a:ext cx="5107566" cy="1620000"/>
          </a:xfrm>
          <a:prstGeom prst="rect">
            <a:avLst/>
          </a:prstGeom>
          <a:noFill/>
          <a:ln>
            <a:solidFill>
              <a:schemeClr val="accent6"/>
            </a:solidFill>
          </a:ln>
        </p:spPr>
        <p:txBody>
          <a:bodyPr wrap="square" rtlCol="0">
            <a:spAutoFit/>
          </a:bodyPr>
          <a:lstStyle/>
          <a:p>
            <a:endParaRPr lang="es-CO" sz="2000"/>
          </a:p>
        </p:txBody>
      </p:sp>
      <p:sp>
        <p:nvSpPr>
          <p:cNvPr id="86" name="Rectángulo 85">
            <a:extLst>
              <a:ext uri="{FF2B5EF4-FFF2-40B4-BE49-F238E27FC236}">
                <a16:creationId xmlns:a16="http://schemas.microsoft.com/office/drawing/2014/main" id="{7696A978-4362-4DE3-8C58-0F58608C4AA6}"/>
              </a:ext>
            </a:extLst>
          </p:cNvPr>
          <p:cNvSpPr/>
          <p:nvPr/>
        </p:nvSpPr>
        <p:spPr>
          <a:xfrm>
            <a:off x="6733733" y="4392385"/>
            <a:ext cx="5091800" cy="276999"/>
          </a:xfrm>
          <a:prstGeom prst="rect">
            <a:avLst/>
          </a:prstGeom>
          <a:ln>
            <a:noFill/>
          </a:ln>
        </p:spPr>
        <p:txBody>
          <a:bodyPr wrap="square" anchor="t">
            <a:spAutoFit/>
          </a:bodyPr>
          <a:lstStyle/>
          <a:p>
            <a:pPr algn="just"/>
            <a:r>
              <a:rPr lang="es-ES" sz="1200" b="1">
                <a:solidFill>
                  <a:schemeClr val="accent4"/>
                </a:solidFill>
                <a:sym typeface="Wingdings" panose="05000000000000000000" pitchFamily="2" charset="2"/>
              </a:rPr>
              <a:t>Total Proceso Nivel 1 de Gestión Tributaria: </a:t>
            </a:r>
            <a:r>
              <a:rPr lang="es-ES" sz="1200">
                <a:solidFill>
                  <a:schemeClr val="accent4"/>
                </a:solidFill>
                <a:sym typeface="Wingdings" panose="05000000000000000000" pitchFamily="2" charset="2"/>
              </a:rPr>
              <a:t>4 decisiones críticas</a:t>
            </a:r>
            <a:endParaRPr lang="es-CO" sz="1200">
              <a:solidFill>
                <a:srgbClr val="254147"/>
              </a:solidFill>
            </a:endParaRPr>
          </a:p>
        </p:txBody>
      </p:sp>
      <p:graphicFrame>
        <p:nvGraphicFramePr>
          <p:cNvPr id="5" name="Objeto 4" hidden="1">
            <a:extLst>
              <a:ext uri="{FF2B5EF4-FFF2-40B4-BE49-F238E27FC236}">
                <a16:creationId xmlns:a16="http://schemas.microsoft.com/office/drawing/2014/main" id="{0740088A-8ABF-414B-8746-763C3F660F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421" imgH="423" progId="TCLayout.ActiveDocument.1">
                  <p:embed/>
                </p:oleObj>
              </mc:Choice>
              <mc:Fallback>
                <p:oleObj name="Diapositiva de think-cell" r:id="rId5" imgW="421" imgH="423" progId="TCLayout.ActiveDocument.1">
                  <p:embed/>
                  <p:pic>
                    <p:nvPicPr>
                      <p:cNvPr id="5" name="Objeto 4" hidden="1">
                        <a:extLst>
                          <a:ext uri="{FF2B5EF4-FFF2-40B4-BE49-F238E27FC236}">
                            <a16:creationId xmlns:a16="http://schemas.microsoft.com/office/drawing/2014/main" id="{0740088A-8ABF-414B-8746-763C3F660F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42B40C10-F876-4F1B-842D-C3F6355B6C8A}"/>
              </a:ext>
            </a:extLst>
          </p:cNvPr>
          <p:cNvSpPr/>
          <p:nvPr>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419" sz="2000" b="1">
              <a:solidFill>
                <a:schemeClr val="tx1"/>
              </a:solidFill>
              <a:latin typeface="Arial" panose="020B0604020202020204" pitchFamily="34" charset="0"/>
              <a:ea typeface="+mj-ea"/>
              <a:cs typeface="+mj-cs"/>
              <a:sym typeface="Arial" panose="020B0604020202020204" pitchFamily="34" charset="0"/>
            </a:endParaRPr>
          </a:p>
        </p:txBody>
      </p:sp>
      <p:sp>
        <p:nvSpPr>
          <p:cNvPr id="2" name="Marcador de número de diapositiva 1">
            <a:extLst>
              <a:ext uri="{FF2B5EF4-FFF2-40B4-BE49-F238E27FC236}">
                <a16:creationId xmlns:a16="http://schemas.microsoft.com/office/drawing/2014/main" id="{3A93B487-116E-4767-AA0D-CAE2A460FBE4}"/>
              </a:ext>
            </a:extLst>
          </p:cNvPr>
          <p:cNvSpPr>
            <a:spLocks noGrp="1"/>
          </p:cNvSpPr>
          <p:nvPr>
            <p:ph type="sldNum" sz="quarter" idx="10"/>
          </p:nvPr>
        </p:nvSpPr>
        <p:spPr>
          <a:xfrm>
            <a:off x="11344876" y="6428983"/>
            <a:ext cx="847124" cy="365125"/>
          </a:xfrm>
        </p:spPr>
        <p:txBody>
          <a:bodyPr/>
          <a:lstStyle/>
          <a:p>
            <a:fld id="{02F25750-4209-4357-A72F-45445C8044EF}" type="slidenum">
              <a:rPr lang="es-CO" smtClean="0"/>
              <a:pPr/>
              <a:t>24</a:t>
            </a:fld>
            <a:endParaRPr lang="es-CO"/>
          </a:p>
        </p:txBody>
      </p:sp>
      <p:sp>
        <p:nvSpPr>
          <p:cNvPr id="97" name="Rectángulo 96">
            <a:extLst>
              <a:ext uri="{FF2B5EF4-FFF2-40B4-BE49-F238E27FC236}">
                <a16:creationId xmlns:a16="http://schemas.microsoft.com/office/drawing/2014/main" id="{99300021-C267-43BD-A0F5-B3ECE622345E}"/>
              </a:ext>
            </a:extLst>
          </p:cNvPr>
          <p:cNvSpPr>
            <a:spLocks/>
          </p:cNvSpPr>
          <p:nvPr/>
        </p:nvSpPr>
        <p:spPr>
          <a:xfrm>
            <a:off x="3355436" y="1343563"/>
            <a:ext cx="2519356" cy="2189009"/>
          </a:xfrm>
          <a:prstGeom prst="rect">
            <a:avLst/>
          </a:prstGeom>
          <a:solidFill>
            <a:schemeClr val="accent1">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400">
                <a:solidFill>
                  <a:schemeClr val="tx2"/>
                </a:solidFill>
              </a:rPr>
              <a:t>Suscripción y presentación de la declaración de renta e impuesto al patrimonio</a:t>
            </a:r>
          </a:p>
        </p:txBody>
      </p:sp>
      <p:sp>
        <p:nvSpPr>
          <p:cNvPr id="3" name="Elipse 2">
            <a:extLst>
              <a:ext uri="{FF2B5EF4-FFF2-40B4-BE49-F238E27FC236}">
                <a16:creationId xmlns:a16="http://schemas.microsoft.com/office/drawing/2014/main" id="{815B10B7-60B3-4C63-8431-70CC556387C9}"/>
              </a:ext>
            </a:extLst>
          </p:cNvPr>
          <p:cNvSpPr/>
          <p:nvPr/>
        </p:nvSpPr>
        <p:spPr>
          <a:xfrm>
            <a:off x="3184080" y="1177239"/>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2</a:t>
            </a:r>
            <a:endParaRPr lang="es-CO" sz="1200" b="1">
              <a:solidFill>
                <a:schemeClr val="bg1"/>
              </a:solidFill>
            </a:endParaRPr>
          </a:p>
        </p:txBody>
      </p:sp>
      <p:sp>
        <p:nvSpPr>
          <p:cNvPr id="117" name="CuadroTexto 116">
            <a:extLst>
              <a:ext uri="{FF2B5EF4-FFF2-40B4-BE49-F238E27FC236}">
                <a16:creationId xmlns:a16="http://schemas.microsoft.com/office/drawing/2014/main" id="{8960734A-1053-42D2-BD72-6674DCCE6A97}"/>
              </a:ext>
            </a:extLst>
          </p:cNvPr>
          <p:cNvSpPr txBox="1"/>
          <p:nvPr/>
        </p:nvSpPr>
        <p:spPr>
          <a:xfrm>
            <a:off x="6970587" y="5581702"/>
            <a:ext cx="1391405" cy="230832"/>
          </a:xfrm>
          <a:prstGeom prst="rect">
            <a:avLst/>
          </a:prstGeom>
          <a:noFill/>
          <a:ln w="19050">
            <a:solidFill>
              <a:srgbClr val="002060"/>
            </a:solidFill>
          </a:ln>
        </p:spPr>
        <p:txBody>
          <a:bodyPr wrap="square" rtlCol="0">
            <a:spAutoFit/>
          </a:bodyPr>
          <a:lstStyle/>
          <a:p>
            <a:pPr algn="ctr"/>
            <a:r>
              <a:rPr lang="es-ES" sz="900">
                <a:solidFill>
                  <a:schemeClr val="tx2"/>
                </a:solidFill>
              </a:rPr>
              <a:t>Palanca de Agilidad </a:t>
            </a:r>
            <a:endParaRPr lang="es-CO" sz="900">
              <a:solidFill>
                <a:schemeClr val="tx2"/>
              </a:solidFill>
            </a:endParaRPr>
          </a:p>
        </p:txBody>
      </p:sp>
      <p:sp>
        <p:nvSpPr>
          <p:cNvPr id="118" name="CuadroTexto 117">
            <a:extLst>
              <a:ext uri="{FF2B5EF4-FFF2-40B4-BE49-F238E27FC236}">
                <a16:creationId xmlns:a16="http://schemas.microsoft.com/office/drawing/2014/main" id="{C77431EE-A761-4323-B75F-692D4CAEC462}"/>
              </a:ext>
            </a:extLst>
          </p:cNvPr>
          <p:cNvSpPr txBox="1"/>
          <p:nvPr/>
        </p:nvSpPr>
        <p:spPr>
          <a:xfrm>
            <a:off x="8557105" y="5579218"/>
            <a:ext cx="1393200" cy="230832"/>
          </a:xfrm>
          <a:prstGeom prst="rect">
            <a:avLst/>
          </a:prstGeom>
          <a:noFill/>
          <a:ln w="19050">
            <a:solidFill>
              <a:schemeClr val="accent3"/>
            </a:solidFill>
          </a:ln>
        </p:spPr>
        <p:txBody>
          <a:bodyPr wrap="square" rtlCol="0">
            <a:spAutoFit/>
          </a:bodyPr>
          <a:lstStyle/>
          <a:p>
            <a:pPr algn="ctr"/>
            <a:r>
              <a:rPr lang="es-ES" sz="900">
                <a:solidFill>
                  <a:schemeClr val="tx2"/>
                </a:solidFill>
              </a:rPr>
              <a:t>Palanca de Claridad</a:t>
            </a:r>
            <a:endParaRPr lang="es-CO" sz="900">
              <a:solidFill>
                <a:schemeClr val="tx2"/>
              </a:solidFill>
            </a:endParaRPr>
          </a:p>
        </p:txBody>
      </p:sp>
      <p:sp>
        <p:nvSpPr>
          <p:cNvPr id="119" name="CuadroTexto 118">
            <a:extLst>
              <a:ext uri="{FF2B5EF4-FFF2-40B4-BE49-F238E27FC236}">
                <a16:creationId xmlns:a16="http://schemas.microsoft.com/office/drawing/2014/main" id="{A66DDFF6-8990-4632-9B16-3852035C81BA}"/>
              </a:ext>
            </a:extLst>
          </p:cNvPr>
          <p:cNvSpPr txBox="1"/>
          <p:nvPr/>
        </p:nvSpPr>
        <p:spPr>
          <a:xfrm>
            <a:off x="10145418" y="5580460"/>
            <a:ext cx="1486626" cy="230832"/>
          </a:xfrm>
          <a:prstGeom prst="rect">
            <a:avLst/>
          </a:prstGeom>
          <a:noFill/>
          <a:ln w="19050">
            <a:solidFill>
              <a:schemeClr val="bg2">
                <a:lumMod val="50000"/>
              </a:schemeClr>
            </a:solidFill>
          </a:ln>
        </p:spPr>
        <p:txBody>
          <a:bodyPr wrap="square" rtlCol="0">
            <a:spAutoFit/>
          </a:bodyPr>
          <a:lstStyle/>
          <a:p>
            <a:pPr algn="ctr"/>
            <a:r>
              <a:rPr lang="es-ES" sz="900">
                <a:solidFill>
                  <a:schemeClr val="tx2"/>
                </a:solidFill>
              </a:rPr>
              <a:t>Palanca de Consistencia</a:t>
            </a:r>
            <a:endParaRPr lang="es-CO" sz="900">
              <a:solidFill>
                <a:schemeClr val="tx2"/>
              </a:solidFill>
            </a:endParaRPr>
          </a:p>
        </p:txBody>
      </p:sp>
      <p:sp>
        <p:nvSpPr>
          <p:cNvPr id="147" name="Rectángulo 146">
            <a:extLst>
              <a:ext uri="{FF2B5EF4-FFF2-40B4-BE49-F238E27FC236}">
                <a16:creationId xmlns:a16="http://schemas.microsoft.com/office/drawing/2014/main" id="{28985963-B271-4E6A-83C5-F3A62A87E6BA}"/>
              </a:ext>
            </a:extLst>
          </p:cNvPr>
          <p:cNvSpPr>
            <a:spLocks/>
          </p:cNvSpPr>
          <p:nvPr/>
        </p:nvSpPr>
        <p:spPr>
          <a:xfrm>
            <a:off x="6310814" y="1338632"/>
            <a:ext cx="2519356" cy="2189009"/>
          </a:xfrm>
          <a:prstGeom prst="rect">
            <a:avLst/>
          </a:prstGeom>
          <a:solidFill>
            <a:schemeClr val="accent1">
              <a:alpha val="68000"/>
            </a:schemeClr>
          </a:solidFill>
          <a:ln w="28575">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400">
                <a:solidFill>
                  <a:schemeClr val="tx2"/>
                </a:solidFill>
              </a:rPr>
              <a:t>Suscripción y presentación de las declaraciones de retenciones/</a:t>
            </a:r>
            <a:r>
              <a:rPr lang="es-ES" sz="1400" err="1">
                <a:solidFill>
                  <a:schemeClr val="tx2"/>
                </a:solidFill>
              </a:rPr>
              <a:t>autoretenciones</a:t>
            </a:r>
            <a:r>
              <a:rPr lang="es-ES" sz="1400">
                <a:solidFill>
                  <a:schemeClr val="tx2"/>
                </a:solidFill>
              </a:rPr>
              <a:t> en la fuente (por renta, IVA, ICA, timbre, CREE, estampilla UNAL y contribución de obra pública) superiores a 200 SMLMV</a:t>
            </a:r>
          </a:p>
        </p:txBody>
      </p:sp>
      <p:sp>
        <p:nvSpPr>
          <p:cNvPr id="156" name="Elipse 155">
            <a:extLst>
              <a:ext uri="{FF2B5EF4-FFF2-40B4-BE49-F238E27FC236}">
                <a16:creationId xmlns:a16="http://schemas.microsoft.com/office/drawing/2014/main" id="{D69C9D48-D741-473B-B9DB-21F11F279802}"/>
              </a:ext>
            </a:extLst>
          </p:cNvPr>
          <p:cNvSpPr/>
          <p:nvPr/>
        </p:nvSpPr>
        <p:spPr>
          <a:xfrm>
            <a:off x="6153343" y="1172308"/>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3</a:t>
            </a:r>
            <a:endParaRPr lang="es-CO" sz="1200" b="1">
              <a:solidFill>
                <a:schemeClr val="bg1"/>
              </a:solidFill>
            </a:endParaRPr>
          </a:p>
        </p:txBody>
      </p:sp>
      <p:sp>
        <p:nvSpPr>
          <p:cNvPr id="21" name="Rectángulo 20">
            <a:extLst>
              <a:ext uri="{FF2B5EF4-FFF2-40B4-BE49-F238E27FC236}">
                <a16:creationId xmlns:a16="http://schemas.microsoft.com/office/drawing/2014/main" id="{6DF582FE-4ED3-41AC-A715-CB130A94E54C}"/>
              </a:ext>
            </a:extLst>
          </p:cNvPr>
          <p:cNvSpPr>
            <a:spLocks/>
          </p:cNvSpPr>
          <p:nvPr/>
        </p:nvSpPr>
        <p:spPr>
          <a:xfrm>
            <a:off x="9286024" y="1343563"/>
            <a:ext cx="2519356" cy="2189009"/>
          </a:xfrm>
          <a:prstGeom prst="rect">
            <a:avLst/>
          </a:prstGeom>
          <a:solidFill>
            <a:schemeClr val="accent1">
              <a:alpha val="68000"/>
            </a:schemeClr>
          </a:solidFill>
          <a:ln w="28575">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400">
                <a:solidFill>
                  <a:schemeClr val="tx2"/>
                </a:solidFill>
              </a:rPr>
              <a:t>Suscripción y presentación de las declaraciones de retenciones/</a:t>
            </a:r>
            <a:r>
              <a:rPr lang="es-ES" sz="1400" err="1">
                <a:solidFill>
                  <a:schemeClr val="tx2"/>
                </a:solidFill>
              </a:rPr>
              <a:t>autoretenciones</a:t>
            </a:r>
            <a:r>
              <a:rPr lang="es-ES" sz="1400">
                <a:solidFill>
                  <a:schemeClr val="tx2"/>
                </a:solidFill>
              </a:rPr>
              <a:t> en la fuente (por renta, IVA, ICA, timbre, CREE, estampilla UNAL y contribución de obra pública) hasta 200 SMLMV</a:t>
            </a:r>
          </a:p>
        </p:txBody>
      </p:sp>
      <p:sp>
        <p:nvSpPr>
          <p:cNvPr id="22" name="Elipse 21">
            <a:extLst>
              <a:ext uri="{FF2B5EF4-FFF2-40B4-BE49-F238E27FC236}">
                <a16:creationId xmlns:a16="http://schemas.microsoft.com/office/drawing/2014/main" id="{E652DC89-A856-4D57-8E2C-B61602C127E1}"/>
              </a:ext>
            </a:extLst>
          </p:cNvPr>
          <p:cNvSpPr/>
          <p:nvPr/>
        </p:nvSpPr>
        <p:spPr>
          <a:xfrm>
            <a:off x="9128553" y="1177239"/>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4</a:t>
            </a:r>
            <a:endParaRPr lang="es-CO" sz="1200" b="1">
              <a:solidFill>
                <a:schemeClr val="bg1"/>
              </a:solidFill>
            </a:endParaRPr>
          </a:p>
        </p:txBody>
      </p:sp>
      <p:grpSp>
        <p:nvGrpSpPr>
          <p:cNvPr id="37" name="Grupo 36">
            <a:extLst>
              <a:ext uri="{FF2B5EF4-FFF2-40B4-BE49-F238E27FC236}">
                <a16:creationId xmlns:a16="http://schemas.microsoft.com/office/drawing/2014/main" id="{33A4F641-6F0E-462A-898E-0641B151AA65}"/>
              </a:ext>
            </a:extLst>
          </p:cNvPr>
          <p:cNvGrpSpPr/>
          <p:nvPr/>
        </p:nvGrpSpPr>
        <p:grpSpPr>
          <a:xfrm>
            <a:off x="9849709" y="4945323"/>
            <a:ext cx="1691976" cy="369332"/>
            <a:chOff x="11328566" y="5302977"/>
            <a:chExt cx="1691976" cy="369332"/>
          </a:xfrm>
        </p:grpSpPr>
        <p:sp>
          <p:nvSpPr>
            <p:cNvPr id="38" name="CuadroTexto 37">
              <a:extLst>
                <a:ext uri="{FF2B5EF4-FFF2-40B4-BE49-F238E27FC236}">
                  <a16:creationId xmlns:a16="http://schemas.microsoft.com/office/drawing/2014/main" id="{A70D06D3-12BC-4CDA-B9D7-EEF1588242C9}"/>
                </a:ext>
              </a:extLst>
            </p:cNvPr>
            <p:cNvSpPr txBox="1"/>
            <p:nvPr/>
          </p:nvSpPr>
          <p:spPr>
            <a:xfrm>
              <a:off x="11328566" y="5361946"/>
              <a:ext cx="432000" cy="215444"/>
            </a:xfrm>
            <a:prstGeom prst="rect">
              <a:avLst/>
            </a:prstGeom>
            <a:solidFill>
              <a:schemeClr val="bg1"/>
            </a:solidFill>
            <a:ln w="19050">
              <a:solidFill>
                <a:srgbClr val="92D050"/>
              </a:solidFill>
            </a:ln>
          </p:spPr>
          <p:txBody>
            <a:bodyPr wrap="square" rtlCol="0">
              <a:spAutoFit/>
            </a:bodyPr>
            <a:lstStyle/>
            <a:p>
              <a:pPr algn="ctr"/>
              <a:r>
                <a:rPr lang="es-ES" sz="800"/>
                <a:t>ET</a:t>
              </a:r>
              <a:endParaRPr lang="es-CO" sz="800"/>
            </a:p>
          </p:txBody>
        </p:sp>
        <p:sp>
          <p:nvSpPr>
            <p:cNvPr id="39" name="CuadroTexto 38">
              <a:extLst>
                <a:ext uri="{FF2B5EF4-FFF2-40B4-BE49-F238E27FC236}">
                  <a16:creationId xmlns:a16="http://schemas.microsoft.com/office/drawing/2014/main" id="{5FAD9D39-0163-48A2-AB90-B7B2E4C2CCC8}"/>
                </a:ext>
              </a:extLst>
            </p:cNvPr>
            <p:cNvSpPr txBox="1"/>
            <p:nvPr/>
          </p:nvSpPr>
          <p:spPr>
            <a:xfrm>
              <a:off x="11706775" y="5302977"/>
              <a:ext cx="1313767" cy="369332"/>
            </a:xfrm>
            <a:prstGeom prst="rect">
              <a:avLst/>
            </a:prstGeom>
            <a:noFill/>
          </p:spPr>
          <p:txBody>
            <a:bodyPr wrap="square" rtlCol="0">
              <a:spAutoFit/>
            </a:bodyPr>
            <a:lstStyle/>
            <a:p>
              <a:r>
                <a:rPr lang="es-ES" sz="900">
                  <a:solidFill>
                    <a:schemeClr val="accent1">
                      <a:lumMod val="25000"/>
                    </a:schemeClr>
                  </a:solidFill>
                </a:rPr>
                <a:t>Especialista Tributario</a:t>
              </a:r>
            </a:p>
            <a:p>
              <a:r>
                <a:rPr lang="es-ES" sz="900">
                  <a:solidFill>
                    <a:schemeClr val="accent1">
                      <a:lumMod val="25000"/>
                    </a:schemeClr>
                  </a:solidFill>
                </a:rPr>
                <a:t>25 % </a:t>
              </a:r>
              <a:endParaRPr lang="es-CO" sz="900">
                <a:solidFill>
                  <a:schemeClr val="accent1">
                    <a:lumMod val="25000"/>
                  </a:schemeClr>
                </a:solidFill>
              </a:endParaRPr>
            </a:p>
          </p:txBody>
        </p:sp>
      </p:grpSp>
      <p:grpSp>
        <p:nvGrpSpPr>
          <p:cNvPr id="48" name="Grupo 47">
            <a:extLst>
              <a:ext uri="{FF2B5EF4-FFF2-40B4-BE49-F238E27FC236}">
                <a16:creationId xmlns:a16="http://schemas.microsoft.com/office/drawing/2014/main" id="{BF9B7369-5424-4681-AAA3-C537D0F863B5}"/>
              </a:ext>
            </a:extLst>
          </p:cNvPr>
          <p:cNvGrpSpPr/>
          <p:nvPr/>
        </p:nvGrpSpPr>
        <p:grpSpPr>
          <a:xfrm>
            <a:off x="7310915" y="4924632"/>
            <a:ext cx="1693129" cy="369332"/>
            <a:chOff x="12393947" y="3591927"/>
            <a:chExt cx="1693129" cy="369332"/>
          </a:xfrm>
        </p:grpSpPr>
        <p:sp>
          <p:nvSpPr>
            <p:cNvPr id="49" name="CuadroTexto 48">
              <a:extLst>
                <a:ext uri="{FF2B5EF4-FFF2-40B4-BE49-F238E27FC236}">
                  <a16:creationId xmlns:a16="http://schemas.microsoft.com/office/drawing/2014/main" id="{C0197DAE-A62A-4F3E-9B20-3A2EF1F5519D}"/>
                </a:ext>
              </a:extLst>
            </p:cNvPr>
            <p:cNvSpPr txBox="1"/>
            <p:nvPr/>
          </p:nvSpPr>
          <p:spPr>
            <a:xfrm>
              <a:off x="12773308" y="3591927"/>
              <a:ext cx="1313768" cy="369332"/>
            </a:xfrm>
            <a:prstGeom prst="rect">
              <a:avLst/>
            </a:prstGeom>
            <a:noFill/>
          </p:spPr>
          <p:txBody>
            <a:bodyPr wrap="square" rtlCol="0">
              <a:spAutoFit/>
            </a:bodyPr>
            <a:lstStyle/>
            <a:p>
              <a:r>
                <a:rPr lang="es-ES" sz="900">
                  <a:solidFill>
                    <a:schemeClr val="accent1">
                      <a:lumMod val="25000"/>
                    </a:schemeClr>
                  </a:solidFill>
                </a:rPr>
                <a:t>Jefe Tributario</a:t>
              </a:r>
            </a:p>
            <a:p>
              <a:r>
                <a:rPr lang="es-ES" sz="900">
                  <a:solidFill>
                    <a:schemeClr val="accent1">
                      <a:lumMod val="25000"/>
                    </a:schemeClr>
                  </a:solidFill>
                </a:rPr>
                <a:t>75 %</a:t>
              </a:r>
              <a:endParaRPr lang="es-CO" sz="900">
                <a:solidFill>
                  <a:schemeClr val="accent1">
                    <a:lumMod val="25000"/>
                  </a:schemeClr>
                </a:solidFill>
              </a:endParaRPr>
            </a:p>
          </p:txBody>
        </p:sp>
        <p:sp>
          <p:nvSpPr>
            <p:cNvPr id="50" name="CuadroTexto 49">
              <a:extLst>
                <a:ext uri="{FF2B5EF4-FFF2-40B4-BE49-F238E27FC236}">
                  <a16:creationId xmlns:a16="http://schemas.microsoft.com/office/drawing/2014/main" id="{A7057143-C85B-44EE-92F1-EC9A480F7497}"/>
                </a:ext>
              </a:extLst>
            </p:cNvPr>
            <p:cNvSpPr txBox="1"/>
            <p:nvPr/>
          </p:nvSpPr>
          <p:spPr>
            <a:xfrm>
              <a:off x="12393947" y="3668485"/>
              <a:ext cx="432000" cy="215444"/>
            </a:xfrm>
            <a:prstGeom prst="rect">
              <a:avLst/>
            </a:prstGeom>
            <a:solidFill>
              <a:schemeClr val="bg1"/>
            </a:solidFill>
            <a:ln w="19050">
              <a:solidFill>
                <a:srgbClr val="FFFF00"/>
              </a:solidFill>
            </a:ln>
          </p:spPr>
          <p:txBody>
            <a:bodyPr wrap="square" rtlCol="0">
              <a:spAutoFit/>
            </a:bodyPr>
            <a:lstStyle/>
            <a:p>
              <a:pPr algn="ctr"/>
              <a:r>
                <a:rPr lang="es-ES" sz="800"/>
                <a:t>JT</a:t>
              </a:r>
              <a:endParaRPr lang="es-CO" sz="800"/>
            </a:p>
          </p:txBody>
        </p:sp>
      </p:grpSp>
      <p:sp>
        <p:nvSpPr>
          <p:cNvPr id="13" name="CuadroTexto 12">
            <a:extLst>
              <a:ext uri="{FF2B5EF4-FFF2-40B4-BE49-F238E27FC236}">
                <a16:creationId xmlns:a16="http://schemas.microsoft.com/office/drawing/2014/main" id="{AEA9A67C-1F4B-4E19-9DBD-B1E12EB37465}"/>
              </a:ext>
            </a:extLst>
          </p:cNvPr>
          <p:cNvSpPr txBox="1"/>
          <p:nvPr/>
        </p:nvSpPr>
        <p:spPr>
          <a:xfrm>
            <a:off x="4399114" y="3429083"/>
            <a:ext cx="432000" cy="215444"/>
          </a:xfrm>
          <a:prstGeom prst="rect">
            <a:avLst/>
          </a:prstGeom>
          <a:solidFill>
            <a:schemeClr val="bg1"/>
          </a:solidFill>
          <a:ln w="19050">
            <a:solidFill>
              <a:srgbClr val="FFFF00"/>
            </a:solidFill>
          </a:ln>
        </p:spPr>
        <p:txBody>
          <a:bodyPr wrap="square" rtlCol="0">
            <a:spAutoFit/>
          </a:bodyPr>
          <a:lstStyle/>
          <a:p>
            <a:pPr algn="ctr"/>
            <a:r>
              <a:rPr lang="es-ES" sz="800"/>
              <a:t>JT</a:t>
            </a:r>
            <a:endParaRPr lang="es-CO" sz="800"/>
          </a:p>
        </p:txBody>
      </p:sp>
      <p:sp>
        <p:nvSpPr>
          <p:cNvPr id="7" name="CuadroTexto 6">
            <a:extLst>
              <a:ext uri="{FF2B5EF4-FFF2-40B4-BE49-F238E27FC236}">
                <a16:creationId xmlns:a16="http://schemas.microsoft.com/office/drawing/2014/main" id="{2DD37304-F780-4D00-8578-4660EB8B73BC}"/>
              </a:ext>
            </a:extLst>
          </p:cNvPr>
          <p:cNvSpPr txBox="1"/>
          <p:nvPr/>
        </p:nvSpPr>
        <p:spPr>
          <a:xfrm>
            <a:off x="10329702" y="3429083"/>
            <a:ext cx="432000" cy="215444"/>
          </a:xfrm>
          <a:prstGeom prst="rect">
            <a:avLst/>
          </a:prstGeom>
          <a:solidFill>
            <a:schemeClr val="bg1"/>
          </a:solidFill>
          <a:ln w="19050">
            <a:solidFill>
              <a:srgbClr val="92D050"/>
            </a:solidFill>
          </a:ln>
        </p:spPr>
        <p:txBody>
          <a:bodyPr wrap="square" rtlCol="0">
            <a:spAutoFit/>
          </a:bodyPr>
          <a:lstStyle/>
          <a:p>
            <a:pPr algn="ctr"/>
            <a:r>
              <a:rPr lang="es-ES" sz="800"/>
              <a:t>ET</a:t>
            </a:r>
            <a:endParaRPr lang="es-CO" sz="800"/>
          </a:p>
        </p:txBody>
      </p:sp>
      <p:sp>
        <p:nvSpPr>
          <p:cNvPr id="8" name="CuadroTexto 7">
            <a:extLst>
              <a:ext uri="{FF2B5EF4-FFF2-40B4-BE49-F238E27FC236}">
                <a16:creationId xmlns:a16="http://schemas.microsoft.com/office/drawing/2014/main" id="{7290B7A8-9A60-4455-B01E-A7B6E8A853F9}"/>
              </a:ext>
            </a:extLst>
          </p:cNvPr>
          <p:cNvSpPr txBox="1"/>
          <p:nvPr/>
        </p:nvSpPr>
        <p:spPr>
          <a:xfrm>
            <a:off x="7354492" y="3429083"/>
            <a:ext cx="432000" cy="215444"/>
          </a:xfrm>
          <a:prstGeom prst="rect">
            <a:avLst/>
          </a:prstGeom>
          <a:solidFill>
            <a:schemeClr val="bg1"/>
          </a:solidFill>
          <a:ln w="19050">
            <a:solidFill>
              <a:srgbClr val="FFFF00"/>
            </a:solidFill>
          </a:ln>
        </p:spPr>
        <p:txBody>
          <a:bodyPr wrap="square" rtlCol="0">
            <a:spAutoFit/>
          </a:bodyPr>
          <a:lstStyle/>
          <a:p>
            <a:pPr algn="ctr"/>
            <a:r>
              <a:rPr lang="es-ES" sz="800"/>
              <a:t>JT</a:t>
            </a:r>
            <a:endParaRPr lang="es-CO" sz="800"/>
          </a:p>
        </p:txBody>
      </p:sp>
      <p:sp>
        <p:nvSpPr>
          <p:cNvPr id="6" name="Rectángulo 5">
            <a:extLst>
              <a:ext uri="{FF2B5EF4-FFF2-40B4-BE49-F238E27FC236}">
                <a16:creationId xmlns:a16="http://schemas.microsoft.com/office/drawing/2014/main" id="{CFDD94B0-11A5-4B79-A8C5-458B99EBF741}"/>
              </a:ext>
            </a:extLst>
          </p:cNvPr>
          <p:cNvSpPr>
            <a:spLocks/>
          </p:cNvSpPr>
          <p:nvPr/>
        </p:nvSpPr>
        <p:spPr>
          <a:xfrm>
            <a:off x="395127" y="1338632"/>
            <a:ext cx="2519356" cy="2189009"/>
          </a:xfrm>
          <a:prstGeom prst="rect">
            <a:avLst/>
          </a:prstGeom>
          <a:solidFill>
            <a:schemeClr val="accent1">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400">
                <a:solidFill>
                  <a:schemeClr val="tx2"/>
                </a:solidFill>
              </a:rPr>
              <a:t>Aprobar valor para registro y revelación de impuesto diferido (estados financieros separados y consolidados)*</a:t>
            </a:r>
          </a:p>
        </p:txBody>
      </p:sp>
      <p:sp>
        <p:nvSpPr>
          <p:cNvPr id="9" name="Elipse 8">
            <a:extLst>
              <a:ext uri="{FF2B5EF4-FFF2-40B4-BE49-F238E27FC236}">
                <a16:creationId xmlns:a16="http://schemas.microsoft.com/office/drawing/2014/main" id="{A59A6142-78A7-4551-AC12-F1B5BB83E030}"/>
              </a:ext>
            </a:extLst>
          </p:cNvPr>
          <p:cNvSpPr/>
          <p:nvPr/>
        </p:nvSpPr>
        <p:spPr>
          <a:xfrm>
            <a:off x="223771" y="1172308"/>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1</a:t>
            </a:r>
            <a:endParaRPr lang="es-CO" sz="1200" b="1">
              <a:solidFill>
                <a:schemeClr val="bg1"/>
              </a:solidFill>
            </a:endParaRPr>
          </a:p>
        </p:txBody>
      </p:sp>
      <p:sp>
        <p:nvSpPr>
          <p:cNvPr id="10" name="CuadroTexto 9">
            <a:extLst>
              <a:ext uri="{FF2B5EF4-FFF2-40B4-BE49-F238E27FC236}">
                <a16:creationId xmlns:a16="http://schemas.microsoft.com/office/drawing/2014/main" id="{3008CF17-98A5-48F4-8930-25B91D8D10B0}"/>
              </a:ext>
            </a:extLst>
          </p:cNvPr>
          <p:cNvSpPr txBox="1"/>
          <p:nvPr/>
        </p:nvSpPr>
        <p:spPr>
          <a:xfrm>
            <a:off x="1438805" y="3429083"/>
            <a:ext cx="432000" cy="215444"/>
          </a:xfrm>
          <a:prstGeom prst="rect">
            <a:avLst/>
          </a:prstGeom>
          <a:solidFill>
            <a:schemeClr val="bg1"/>
          </a:solidFill>
          <a:ln w="19050">
            <a:solidFill>
              <a:srgbClr val="FFFF00"/>
            </a:solidFill>
          </a:ln>
        </p:spPr>
        <p:txBody>
          <a:bodyPr wrap="square" rtlCol="0">
            <a:spAutoFit/>
          </a:bodyPr>
          <a:lstStyle/>
          <a:p>
            <a:pPr algn="ctr"/>
            <a:r>
              <a:rPr lang="es-ES" sz="800"/>
              <a:t>JT</a:t>
            </a:r>
            <a:endParaRPr lang="es-CO" sz="800"/>
          </a:p>
        </p:txBody>
      </p:sp>
      <p:sp>
        <p:nvSpPr>
          <p:cNvPr id="11" name="CuadroTexto 10">
            <a:extLst>
              <a:ext uri="{FF2B5EF4-FFF2-40B4-BE49-F238E27FC236}">
                <a16:creationId xmlns:a16="http://schemas.microsoft.com/office/drawing/2014/main" id="{2BDCFDBC-AD6F-45F7-A082-F9EECA923983}"/>
              </a:ext>
            </a:extLst>
          </p:cNvPr>
          <p:cNvSpPr txBox="1"/>
          <p:nvPr/>
        </p:nvSpPr>
        <p:spPr>
          <a:xfrm>
            <a:off x="0" y="6475203"/>
            <a:ext cx="1574470" cy="261610"/>
          </a:xfrm>
          <a:prstGeom prst="rect">
            <a:avLst/>
          </a:prstGeom>
          <a:noFill/>
        </p:spPr>
        <p:txBody>
          <a:bodyPr wrap="none" rtlCol="0">
            <a:spAutoFit/>
          </a:bodyPr>
          <a:lstStyle/>
          <a:p>
            <a:r>
              <a:rPr lang="es-ES" sz="1100">
                <a:solidFill>
                  <a:schemeClr val="tx2"/>
                </a:solidFill>
              </a:rPr>
              <a:t>*Con alcance a filiales</a:t>
            </a:r>
            <a:endParaRPr lang="es-CO" sz="1100">
              <a:solidFill>
                <a:schemeClr val="tx2"/>
              </a:solidFill>
            </a:endParaRPr>
          </a:p>
        </p:txBody>
      </p:sp>
      <p:sp>
        <p:nvSpPr>
          <p:cNvPr id="12" name="CuadroTexto 47">
            <a:extLst>
              <a:ext uri="{FF2B5EF4-FFF2-40B4-BE49-F238E27FC236}">
                <a16:creationId xmlns:a16="http://schemas.microsoft.com/office/drawing/2014/main" id="{325DDD76-1CC1-4621-A8EE-5AECFFA46573}"/>
              </a:ext>
            </a:extLst>
          </p:cNvPr>
          <p:cNvSpPr txBox="1"/>
          <p:nvPr/>
        </p:nvSpPr>
        <p:spPr>
          <a:xfrm>
            <a:off x="44970" y="129194"/>
            <a:ext cx="12102613" cy="738664"/>
          </a:xfrm>
          <a:prstGeom prst="rect">
            <a:avLst/>
          </a:prstGeom>
          <a:noFill/>
          <a:ln>
            <a:noFill/>
          </a:ln>
        </p:spPr>
        <p:txBody>
          <a:bodyPr wrap="square" rtlCol="0">
            <a:spAutoFit/>
          </a:bodyPr>
          <a:lstStyle/>
          <a:p>
            <a:pPr algn="ctr"/>
            <a:r>
              <a:rPr lang="es-ES" sz="2400" b="1" dirty="0">
                <a:solidFill>
                  <a:srgbClr val="10476B"/>
                </a:solidFill>
                <a:latin typeface="Century Gothic" panose="020B0502020202020204" pitchFamily="34" charset="0"/>
                <a:cs typeface="Arial" panose="020B0604020202020204" pitchFamily="34" charset="0"/>
              </a:rPr>
              <a:t>Manual de Delegación de Autoridad (MAD) – Finanzas</a:t>
            </a:r>
          </a:p>
          <a:p>
            <a:pPr algn="ctr"/>
            <a:r>
              <a:rPr lang="es-ES" b="1" dirty="0">
                <a:solidFill>
                  <a:srgbClr val="10476B"/>
                </a:solidFill>
                <a:latin typeface="Century Gothic" panose="020B0502020202020204" pitchFamily="34" charset="0"/>
                <a:cs typeface="Arial" panose="020B0604020202020204" pitchFamily="34" charset="0"/>
              </a:rPr>
              <a:t>Proceso Nivel 1: Gestión Tributaria</a:t>
            </a:r>
            <a:endParaRPr lang="es-CO" b="1" dirty="0">
              <a:solidFill>
                <a:srgbClr val="10476B"/>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29638982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30">
            <a:extLst>
              <a:ext uri="{FF2B5EF4-FFF2-40B4-BE49-F238E27FC236}">
                <a16:creationId xmlns:a16="http://schemas.microsoft.com/office/drawing/2014/main" id="{1B6EB9B8-45E2-4F88-8131-9C401AEBBBCF}"/>
              </a:ext>
            </a:extLst>
          </p:cNvPr>
          <p:cNvSpPr>
            <a:spLocks/>
          </p:cNvSpPr>
          <p:nvPr/>
        </p:nvSpPr>
        <p:spPr>
          <a:xfrm>
            <a:off x="291797" y="1958115"/>
            <a:ext cx="3466220" cy="4572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utorizar o cancelar la primera firma y/o firma refrendaria para cuentas principales </a:t>
            </a:r>
          </a:p>
        </p:txBody>
      </p:sp>
      <p:sp>
        <p:nvSpPr>
          <p:cNvPr id="6" name="Rectangle 30">
            <a:extLst>
              <a:ext uri="{FF2B5EF4-FFF2-40B4-BE49-F238E27FC236}">
                <a16:creationId xmlns:a16="http://schemas.microsoft.com/office/drawing/2014/main" id="{26EF451C-53F1-4D38-8304-40A934E147B1}"/>
              </a:ext>
            </a:extLst>
          </p:cNvPr>
          <p:cNvSpPr>
            <a:spLocks/>
          </p:cNvSpPr>
          <p:nvPr/>
        </p:nvSpPr>
        <p:spPr>
          <a:xfrm>
            <a:off x="6288396" y="2052222"/>
            <a:ext cx="2054982" cy="675459"/>
          </a:xfrm>
          <a:prstGeom prst="rect">
            <a:avLst/>
          </a:prstGeom>
          <a:solidFill>
            <a:schemeClr val="bg2">
              <a:lumMod val="95000"/>
              <a:alpha val="68000"/>
            </a:schemeClr>
          </a:solidFill>
          <a:ln w="28575">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probar castigo de cartera de difícil cobro mayor a 2000 SMLMV</a:t>
            </a:r>
          </a:p>
        </p:txBody>
      </p:sp>
      <p:sp>
        <p:nvSpPr>
          <p:cNvPr id="84" name="CuadroTexto 83">
            <a:extLst>
              <a:ext uri="{FF2B5EF4-FFF2-40B4-BE49-F238E27FC236}">
                <a16:creationId xmlns:a16="http://schemas.microsoft.com/office/drawing/2014/main" id="{293DBAF3-3942-4C58-8A63-D4484E215E20}"/>
              </a:ext>
            </a:extLst>
          </p:cNvPr>
          <p:cNvSpPr txBox="1"/>
          <p:nvPr/>
        </p:nvSpPr>
        <p:spPr>
          <a:xfrm>
            <a:off x="6639287" y="3738372"/>
            <a:ext cx="5224132" cy="2160000"/>
          </a:xfrm>
          <a:prstGeom prst="rect">
            <a:avLst/>
          </a:prstGeom>
          <a:noFill/>
          <a:ln>
            <a:solidFill>
              <a:schemeClr val="accent6"/>
            </a:solidFill>
          </a:ln>
        </p:spPr>
        <p:txBody>
          <a:bodyPr wrap="square" rtlCol="0">
            <a:spAutoFit/>
          </a:bodyPr>
          <a:lstStyle/>
          <a:p>
            <a:endParaRPr lang="es-CO" sz="2000"/>
          </a:p>
        </p:txBody>
      </p:sp>
      <p:sp>
        <p:nvSpPr>
          <p:cNvPr id="86" name="Rectángulo 85">
            <a:extLst>
              <a:ext uri="{FF2B5EF4-FFF2-40B4-BE49-F238E27FC236}">
                <a16:creationId xmlns:a16="http://schemas.microsoft.com/office/drawing/2014/main" id="{7696A978-4362-4DE3-8C58-0F58608C4AA6}"/>
              </a:ext>
            </a:extLst>
          </p:cNvPr>
          <p:cNvSpPr/>
          <p:nvPr/>
        </p:nvSpPr>
        <p:spPr>
          <a:xfrm>
            <a:off x="6705453" y="3838434"/>
            <a:ext cx="5091800" cy="461665"/>
          </a:xfrm>
          <a:prstGeom prst="rect">
            <a:avLst/>
          </a:prstGeom>
          <a:ln>
            <a:noFill/>
          </a:ln>
        </p:spPr>
        <p:txBody>
          <a:bodyPr wrap="square" anchor="t">
            <a:spAutoFit/>
          </a:bodyPr>
          <a:lstStyle/>
          <a:p>
            <a:pPr algn="just"/>
            <a:r>
              <a:rPr lang="es-ES" sz="1200" b="1">
                <a:solidFill>
                  <a:schemeClr val="accent4"/>
                </a:solidFill>
                <a:sym typeface="Wingdings" panose="05000000000000000000" pitchFamily="2" charset="2"/>
              </a:rPr>
              <a:t>Total Proceso Nivel 1 de Operaciones de Tesorería: </a:t>
            </a:r>
            <a:r>
              <a:rPr lang="es-ES" sz="1200">
                <a:solidFill>
                  <a:schemeClr val="accent4"/>
                </a:solidFill>
                <a:sym typeface="Wingdings" panose="05000000000000000000" pitchFamily="2" charset="2"/>
              </a:rPr>
              <a:t>9 decisiones críticas, distribuidas en 50 categorías.</a:t>
            </a:r>
            <a:endParaRPr lang="es-CO" sz="1200">
              <a:solidFill>
                <a:srgbClr val="254147"/>
              </a:solidFill>
            </a:endParaRPr>
          </a:p>
        </p:txBody>
      </p:sp>
      <p:graphicFrame>
        <p:nvGraphicFramePr>
          <p:cNvPr id="5" name="Objeto 4" hidden="1">
            <a:extLst>
              <a:ext uri="{FF2B5EF4-FFF2-40B4-BE49-F238E27FC236}">
                <a16:creationId xmlns:a16="http://schemas.microsoft.com/office/drawing/2014/main" id="{0740088A-8ABF-414B-8746-763C3F660F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421" imgH="423" progId="TCLayout.ActiveDocument.1">
                  <p:embed/>
                </p:oleObj>
              </mc:Choice>
              <mc:Fallback>
                <p:oleObj name="Diapositiva de think-cell" r:id="rId5" imgW="421" imgH="423" progId="TCLayout.ActiveDocument.1">
                  <p:embed/>
                  <p:pic>
                    <p:nvPicPr>
                      <p:cNvPr id="5" name="Objeto 4" hidden="1">
                        <a:extLst>
                          <a:ext uri="{FF2B5EF4-FFF2-40B4-BE49-F238E27FC236}">
                            <a16:creationId xmlns:a16="http://schemas.microsoft.com/office/drawing/2014/main" id="{0740088A-8ABF-414B-8746-763C3F660F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42B40C10-F876-4F1B-842D-C3F6355B6C8A}"/>
              </a:ext>
            </a:extLst>
          </p:cNvPr>
          <p:cNvSpPr/>
          <p:nvPr>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419" sz="2000" b="1">
              <a:solidFill>
                <a:schemeClr val="tx1"/>
              </a:solidFill>
              <a:latin typeface="Arial" panose="020B0604020202020204" pitchFamily="34" charset="0"/>
              <a:ea typeface="+mj-ea"/>
              <a:cs typeface="+mj-cs"/>
              <a:sym typeface="Arial" panose="020B0604020202020204" pitchFamily="34" charset="0"/>
            </a:endParaRPr>
          </a:p>
        </p:txBody>
      </p:sp>
      <p:sp>
        <p:nvSpPr>
          <p:cNvPr id="2" name="Marcador de número de diapositiva 1">
            <a:extLst>
              <a:ext uri="{FF2B5EF4-FFF2-40B4-BE49-F238E27FC236}">
                <a16:creationId xmlns:a16="http://schemas.microsoft.com/office/drawing/2014/main" id="{3A93B487-116E-4767-AA0D-CAE2A460FBE4}"/>
              </a:ext>
            </a:extLst>
          </p:cNvPr>
          <p:cNvSpPr>
            <a:spLocks noGrp="1"/>
          </p:cNvSpPr>
          <p:nvPr>
            <p:ph type="sldNum" sz="quarter" idx="10"/>
          </p:nvPr>
        </p:nvSpPr>
        <p:spPr>
          <a:xfrm>
            <a:off x="11344876" y="6428983"/>
            <a:ext cx="847124" cy="365125"/>
          </a:xfrm>
        </p:spPr>
        <p:txBody>
          <a:bodyPr/>
          <a:lstStyle/>
          <a:p>
            <a:fld id="{02F25750-4209-4357-A72F-45445C8044EF}" type="slidenum">
              <a:rPr lang="es-CO" smtClean="0"/>
              <a:pPr/>
              <a:t>25</a:t>
            </a:fld>
            <a:endParaRPr lang="es-CO"/>
          </a:p>
        </p:txBody>
      </p:sp>
      <p:sp>
        <p:nvSpPr>
          <p:cNvPr id="117" name="CuadroTexto 116">
            <a:extLst>
              <a:ext uri="{FF2B5EF4-FFF2-40B4-BE49-F238E27FC236}">
                <a16:creationId xmlns:a16="http://schemas.microsoft.com/office/drawing/2014/main" id="{8960734A-1053-42D2-BD72-6674DCCE6A97}"/>
              </a:ext>
            </a:extLst>
          </p:cNvPr>
          <p:cNvSpPr txBox="1"/>
          <p:nvPr/>
        </p:nvSpPr>
        <p:spPr>
          <a:xfrm>
            <a:off x="6920380" y="5492969"/>
            <a:ext cx="1391405" cy="230832"/>
          </a:xfrm>
          <a:prstGeom prst="rect">
            <a:avLst/>
          </a:prstGeom>
          <a:noFill/>
          <a:ln w="19050">
            <a:solidFill>
              <a:srgbClr val="002060"/>
            </a:solidFill>
          </a:ln>
        </p:spPr>
        <p:txBody>
          <a:bodyPr wrap="square" rtlCol="0">
            <a:spAutoFit/>
          </a:bodyPr>
          <a:lstStyle/>
          <a:p>
            <a:pPr algn="ctr"/>
            <a:r>
              <a:rPr lang="es-ES" sz="900">
                <a:solidFill>
                  <a:schemeClr val="tx2"/>
                </a:solidFill>
              </a:rPr>
              <a:t>Palanca de Agilidad </a:t>
            </a:r>
            <a:endParaRPr lang="es-CO" sz="900">
              <a:solidFill>
                <a:schemeClr val="tx2"/>
              </a:solidFill>
            </a:endParaRPr>
          </a:p>
        </p:txBody>
      </p:sp>
      <p:sp>
        <p:nvSpPr>
          <p:cNvPr id="118" name="CuadroTexto 117">
            <a:extLst>
              <a:ext uri="{FF2B5EF4-FFF2-40B4-BE49-F238E27FC236}">
                <a16:creationId xmlns:a16="http://schemas.microsoft.com/office/drawing/2014/main" id="{C77431EE-A761-4323-B75F-692D4CAEC462}"/>
              </a:ext>
            </a:extLst>
          </p:cNvPr>
          <p:cNvSpPr txBox="1"/>
          <p:nvPr/>
        </p:nvSpPr>
        <p:spPr>
          <a:xfrm>
            <a:off x="8554753" y="5490485"/>
            <a:ext cx="1393200" cy="230832"/>
          </a:xfrm>
          <a:prstGeom prst="rect">
            <a:avLst/>
          </a:prstGeom>
          <a:noFill/>
          <a:ln w="19050">
            <a:solidFill>
              <a:schemeClr val="accent3"/>
            </a:solidFill>
          </a:ln>
        </p:spPr>
        <p:txBody>
          <a:bodyPr wrap="square" rtlCol="0">
            <a:spAutoFit/>
          </a:bodyPr>
          <a:lstStyle/>
          <a:p>
            <a:pPr algn="ctr"/>
            <a:r>
              <a:rPr lang="es-ES" sz="900">
                <a:solidFill>
                  <a:schemeClr val="tx2"/>
                </a:solidFill>
              </a:rPr>
              <a:t>Palanca de Claridad</a:t>
            </a:r>
            <a:endParaRPr lang="es-CO" sz="900">
              <a:solidFill>
                <a:schemeClr val="tx2"/>
              </a:solidFill>
            </a:endParaRPr>
          </a:p>
        </p:txBody>
      </p:sp>
      <p:sp>
        <p:nvSpPr>
          <p:cNvPr id="119" name="CuadroTexto 118">
            <a:extLst>
              <a:ext uri="{FF2B5EF4-FFF2-40B4-BE49-F238E27FC236}">
                <a16:creationId xmlns:a16="http://schemas.microsoft.com/office/drawing/2014/main" id="{A66DDFF6-8990-4632-9B16-3852035C81BA}"/>
              </a:ext>
            </a:extLst>
          </p:cNvPr>
          <p:cNvSpPr txBox="1"/>
          <p:nvPr/>
        </p:nvSpPr>
        <p:spPr>
          <a:xfrm>
            <a:off x="10175421" y="5491727"/>
            <a:ext cx="1486626" cy="230832"/>
          </a:xfrm>
          <a:prstGeom prst="rect">
            <a:avLst/>
          </a:prstGeom>
          <a:noFill/>
          <a:ln w="19050">
            <a:solidFill>
              <a:schemeClr val="bg2">
                <a:lumMod val="50000"/>
              </a:schemeClr>
            </a:solidFill>
          </a:ln>
        </p:spPr>
        <p:txBody>
          <a:bodyPr wrap="square" rtlCol="0">
            <a:spAutoFit/>
          </a:bodyPr>
          <a:lstStyle/>
          <a:p>
            <a:pPr algn="ctr"/>
            <a:r>
              <a:rPr lang="es-ES" sz="900">
                <a:solidFill>
                  <a:schemeClr val="tx2"/>
                </a:solidFill>
              </a:rPr>
              <a:t>Palanca de Consistencia</a:t>
            </a:r>
            <a:endParaRPr lang="es-CO" sz="900">
              <a:solidFill>
                <a:schemeClr val="tx2"/>
              </a:solidFill>
            </a:endParaRPr>
          </a:p>
        </p:txBody>
      </p:sp>
      <p:grpSp>
        <p:nvGrpSpPr>
          <p:cNvPr id="37" name="Grupo 36">
            <a:extLst>
              <a:ext uri="{FF2B5EF4-FFF2-40B4-BE49-F238E27FC236}">
                <a16:creationId xmlns:a16="http://schemas.microsoft.com/office/drawing/2014/main" id="{33A4F641-6F0E-462A-898E-0641B151AA65}"/>
              </a:ext>
            </a:extLst>
          </p:cNvPr>
          <p:cNvGrpSpPr/>
          <p:nvPr/>
        </p:nvGrpSpPr>
        <p:grpSpPr>
          <a:xfrm>
            <a:off x="6854287" y="4317928"/>
            <a:ext cx="1410898" cy="369332"/>
            <a:chOff x="11328566" y="5293247"/>
            <a:chExt cx="1410898" cy="369332"/>
          </a:xfrm>
        </p:grpSpPr>
        <p:sp>
          <p:nvSpPr>
            <p:cNvPr id="38" name="CuadroTexto 37">
              <a:extLst>
                <a:ext uri="{FF2B5EF4-FFF2-40B4-BE49-F238E27FC236}">
                  <a16:creationId xmlns:a16="http://schemas.microsoft.com/office/drawing/2014/main" id="{A70D06D3-12BC-4CDA-B9D7-EEF1588242C9}"/>
                </a:ext>
              </a:extLst>
            </p:cNvPr>
            <p:cNvSpPr txBox="1"/>
            <p:nvPr/>
          </p:nvSpPr>
          <p:spPr>
            <a:xfrm>
              <a:off x="11328566" y="5361946"/>
              <a:ext cx="432000" cy="215444"/>
            </a:xfrm>
            <a:prstGeom prst="rect">
              <a:avLst/>
            </a:prstGeom>
            <a:solidFill>
              <a:schemeClr val="bg1"/>
            </a:solidFill>
            <a:ln w="19050">
              <a:solidFill>
                <a:srgbClr val="92D050"/>
              </a:solidFill>
            </a:ln>
          </p:spPr>
          <p:txBody>
            <a:bodyPr wrap="square" rtlCol="0">
              <a:spAutoFit/>
            </a:bodyPr>
            <a:lstStyle/>
            <a:p>
              <a:pPr algn="ctr"/>
              <a:r>
                <a:rPr lang="es-ES" sz="800"/>
                <a:t>JD</a:t>
              </a:r>
              <a:endParaRPr lang="es-CO" sz="800"/>
            </a:p>
          </p:txBody>
        </p:sp>
        <p:sp>
          <p:nvSpPr>
            <p:cNvPr id="39" name="CuadroTexto 38">
              <a:extLst>
                <a:ext uri="{FF2B5EF4-FFF2-40B4-BE49-F238E27FC236}">
                  <a16:creationId xmlns:a16="http://schemas.microsoft.com/office/drawing/2014/main" id="{5FAD9D39-0163-48A2-AB90-B7B2E4C2CCC8}"/>
                </a:ext>
              </a:extLst>
            </p:cNvPr>
            <p:cNvSpPr txBox="1"/>
            <p:nvPr/>
          </p:nvSpPr>
          <p:spPr>
            <a:xfrm>
              <a:off x="11706775" y="5293247"/>
              <a:ext cx="1032689" cy="369332"/>
            </a:xfrm>
            <a:prstGeom prst="rect">
              <a:avLst/>
            </a:prstGeom>
            <a:noFill/>
          </p:spPr>
          <p:txBody>
            <a:bodyPr wrap="square" rtlCol="0">
              <a:spAutoFit/>
            </a:bodyPr>
            <a:lstStyle/>
            <a:p>
              <a:r>
                <a:rPr lang="es-ES" sz="900">
                  <a:solidFill>
                    <a:schemeClr val="accent1">
                      <a:lumMod val="25000"/>
                    </a:schemeClr>
                  </a:solidFill>
                </a:rPr>
                <a:t>Junta Directiva</a:t>
              </a:r>
            </a:p>
            <a:p>
              <a:r>
                <a:rPr lang="es-ES" sz="900">
                  <a:solidFill>
                    <a:schemeClr val="accent1">
                      <a:lumMod val="25000"/>
                    </a:schemeClr>
                  </a:solidFill>
                </a:rPr>
                <a:t>2 %</a:t>
              </a:r>
              <a:endParaRPr lang="es-CO" sz="900">
                <a:solidFill>
                  <a:schemeClr val="accent1">
                    <a:lumMod val="25000"/>
                  </a:schemeClr>
                </a:solidFill>
              </a:endParaRPr>
            </a:p>
          </p:txBody>
        </p:sp>
      </p:grpSp>
      <p:grpSp>
        <p:nvGrpSpPr>
          <p:cNvPr id="26" name="Grupo 25">
            <a:extLst>
              <a:ext uri="{FF2B5EF4-FFF2-40B4-BE49-F238E27FC236}">
                <a16:creationId xmlns:a16="http://schemas.microsoft.com/office/drawing/2014/main" id="{5B1CDA9C-37CE-441A-94E7-5A5F38503613}"/>
              </a:ext>
            </a:extLst>
          </p:cNvPr>
          <p:cNvGrpSpPr/>
          <p:nvPr/>
        </p:nvGrpSpPr>
        <p:grpSpPr>
          <a:xfrm>
            <a:off x="8368534" y="4269800"/>
            <a:ext cx="1579419" cy="507831"/>
            <a:chOff x="9392140" y="4751078"/>
            <a:chExt cx="1579419" cy="507831"/>
          </a:xfrm>
        </p:grpSpPr>
        <p:sp>
          <p:nvSpPr>
            <p:cNvPr id="27" name="CuadroTexto 26">
              <a:extLst>
                <a:ext uri="{FF2B5EF4-FFF2-40B4-BE49-F238E27FC236}">
                  <a16:creationId xmlns:a16="http://schemas.microsoft.com/office/drawing/2014/main" id="{910DCB24-1C9B-45BE-9592-B8EC86E558A4}"/>
                </a:ext>
              </a:extLst>
            </p:cNvPr>
            <p:cNvSpPr txBox="1"/>
            <p:nvPr/>
          </p:nvSpPr>
          <p:spPr>
            <a:xfrm>
              <a:off x="9771501" y="4751078"/>
              <a:ext cx="1200058" cy="507831"/>
            </a:xfrm>
            <a:prstGeom prst="rect">
              <a:avLst/>
            </a:prstGeom>
            <a:noFill/>
          </p:spPr>
          <p:txBody>
            <a:bodyPr wrap="square" rtlCol="0" anchor="t">
              <a:spAutoFit/>
            </a:bodyPr>
            <a:lstStyle/>
            <a:p>
              <a:r>
                <a:rPr lang="es-ES" sz="900">
                  <a:solidFill>
                    <a:schemeClr val="accent1">
                      <a:lumMod val="25000"/>
                    </a:schemeClr>
                  </a:solidFill>
                </a:rPr>
                <a:t>Vicepresidente Finanzas</a:t>
              </a:r>
            </a:p>
            <a:p>
              <a:r>
                <a:rPr lang="es-ES" sz="900">
                  <a:solidFill>
                    <a:schemeClr val="accent1">
                      <a:lumMod val="25000"/>
                    </a:schemeClr>
                  </a:solidFill>
                </a:rPr>
                <a:t>10 %</a:t>
              </a:r>
              <a:endParaRPr lang="es-CO" sz="900">
                <a:solidFill>
                  <a:schemeClr val="accent1">
                    <a:lumMod val="25000"/>
                  </a:schemeClr>
                </a:solidFill>
              </a:endParaRPr>
            </a:p>
          </p:txBody>
        </p:sp>
        <p:sp>
          <p:nvSpPr>
            <p:cNvPr id="28" name="CuadroTexto 27">
              <a:extLst>
                <a:ext uri="{FF2B5EF4-FFF2-40B4-BE49-F238E27FC236}">
                  <a16:creationId xmlns:a16="http://schemas.microsoft.com/office/drawing/2014/main" id="{4A0F0E28-A961-4260-8BB9-16809CE2E13A}"/>
                </a:ext>
              </a:extLst>
            </p:cNvPr>
            <p:cNvSpPr txBox="1"/>
            <p:nvPr/>
          </p:nvSpPr>
          <p:spPr>
            <a:xfrm>
              <a:off x="9392140" y="4884294"/>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grpSp>
      <p:grpSp>
        <p:nvGrpSpPr>
          <p:cNvPr id="31" name="Grupo 30">
            <a:extLst>
              <a:ext uri="{FF2B5EF4-FFF2-40B4-BE49-F238E27FC236}">
                <a16:creationId xmlns:a16="http://schemas.microsoft.com/office/drawing/2014/main" id="{A0B07E6C-42EA-42D4-BF18-74CF8467911A}"/>
              </a:ext>
            </a:extLst>
          </p:cNvPr>
          <p:cNvGrpSpPr/>
          <p:nvPr/>
        </p:nvGrpSpPr>
        <p:grpSpPr>
          <a:xfrm>
            <a:off x="10213497" y="4218739"/>
            <a:ext cx="1382137" cy="507831"/>
            <a:chOff x="9218732" y="3305090"/>
            <a:chExt cx="1382137" cy="507831"/>
          </a:xfrm>
        </p:grpSpPr>
        <p:sp>
          <p:nvSpPr>
            <p:cNvPr id="32" name="CuadroTexto 31">
              <a:extLst>
                <a:ext uri="{FF2B5EF4-FFF2-40B4-BE49-F238E27FC236}">
                  <a16:creationId xmlns:a16="http://schemas.microsoft.com/office/drawing/2014/main" id="{112CF6BB-B57E-4E30-BDB8-A663AA382E62}"/>
                </a:ext>
              </a:extLst>
            </p:cNvPr>
            <p:cNvSpPr txBox="1"/>
            <p:nvPr/>
          </p:nvSpPr>
          <p:spPr>
            <a:xfrm>
              <a:off x="9218732" y="3451146"/>
              <a:ext cx="432000" cy="215444"/>
            </a:xfrm>
            <a:prstGeom prst="rect">
              <a:avLst/>
            </a:prstGeom>
            <a:solidFill>
              <a:schemeClr val="bg1"/>
            </a:solidFill>
            <a:ln w="19050">
              <a:solidFill>
                <a:srgbClr val="FF9999"/>
              </a:solidFill>
            </a:ln>
          </p:spPr>
          <p:txBody>
            <a:bodyPr wrap="square" rtlCol="0">
              <a:spAutoFit/>
            </a:bodyPr>
            <a:lstStyle/>
            <a:p>
              <a:pPr algn="ctr"/>
              <a:r>
                <a:rPr lang="es-ES" sz="800"/>
                <a:t>JT</a:t>
              </a:r>
              <a:endParaRPr lang="es-CO" sz="800"/>
            </a:p>
          </p:txBody>
        </p:sp>
        <p:sp>
          <p:nvSpPr>
            <p:cNvPr id="33" name="CuadroTexto 32">
              <a:extLst>
                <a:ext uri="{FF2B5EF4-FFF2-40B4-BE49-F238E27FC236}">
                  <a16:creationId xmlns:a16="http://schemas.microsoft.com/office/drawing/2014/main" id="{99A98136-5ADE-4ACF-97B1-9869591C8748}"/>
                </a:ext>
              </a:extLst>
            </p:cNvPr>
            <p:cNvSpPr txBox="1"/>
            <p:nvPr/>
          </p:nvSpPr>
          <p:spPr>
            <a:xfrm>
              <a:off x="9611995" y="3305090"/>
              <a:ext cx="988874" cy="507831"/>
            </a:xfrm>
            <a:prstGeom prst="rect">
              <a:avLst/>
            </a:prstGeom>
            <a:noFill/>
          </p:spPr>
          <p:txBody>
            <a:bodyPr wrap="square" rtlCol="0" anchor="t">
              <a:spAutoFit/>
            </a:bodyPr>
            <a:lstStyle/>
            <a:p>
              <a:r>
                <a:rPr lang="es-ES" sz="900">
                  <a:solidFill>
                    <a:schemeClr val="accent1">
                      <a:lumMod val="25000"/>
                    </a:schemeClr>
                  </a:solidFill>
                </a:rPr>
                <a:t>Jefe de Tesorería</a:t>
              </a:r>
            </a:p>
            <a:p>
              <a:r>
                <a:rPr lang="es-ES" sz="900">
                  <a:solidFill>
                    <a:schemeClr val="accent1">
                      <a:lumMod val="25000"/>
                    </a:schemeClr>
                  </a:solidFill>
                </a:rPr>
                <a:t>12 %</a:t>
              </a:r>
              <a:endParaRPr lang="es-CO" sz="900">
                <a:solidFill>
                  <a:schemeClr val="accent1">
                    <a:lumMod val="25000"/>
                  </a:schemeClr>
                </a:solidFill>
              </a:endParaRPr>
            </a:p>
          </p:txBody>
        </p:sp>
      </p:grpSp>
      <p:sp>
        <p:nvSpPr>
          <p:cNvPr id="11" name="Rectángulo 10">
            <a:extLst>
              <a:ext uri="{FF2B5EF4-FFF2-40B4-BE49-F238E27FC236}">
                <a16:creationId xmlns:a16="http://schemas.microsoft.com/office/drawing/2014/main" id="{772CA61D-742C-45F0-BAFA-0F3B90176E98}"/>
              </a:ext>
            </a:extLst>
          </p:cNvPr>
          <p:cNvSpPr>
            <a:spLocks/>
          </p:cNvSpPr>
          <p:nvPr/>
        </p:nvSpPr>
        <p:spPr>
          <a:xfrm>
            <a:off x="6288396" y="880214"/>
            <a:ext cx="2054982" cy="1054800"/>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300">
                <a:solidFill>
                  <a:schemeClr val="tx2"/>
                </a:solidFill>
              </a:rPr>
              <a:t>Aprobar cancelación de registros de cartera comercial originados en crédito</a:t>
            </a:r>
          </a:p>
        </p:txBody>
      </p:sp>
      <p:sp>
        <p:nvSpPr>
          <p:cNvPr id="12" name="Elipse 11">
            <a:extLst>
              <a:ext uri="{FF2B5EF4-FFF2-40B4-BE49-F238E27FC236}">
                <a16:creationId xmlns:a16="http://schemas.microsoft.com/office/drawing/2014/main" id="{7F3CEC4C-7588-4B74-823D-9CF22E2DAD79}"/>
              </a:ext>
            </a:extLst>
          </p:cNvPr>
          <p:cNvSpPr/>
          <p:nvPr/>
        </p:nvSpPr>
        <p:spPr>
          <a:xfrm>
            <a:off x="6131752" y="794100"/>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3</a:t>
            </a:r>
            <a:endParaRPr lang="es-CO" sz="1200" b="1">
              <a:solidFill>
                <a:schemeClr val="bg1"/>
              </a:solidFill>
            </a:endParaRPr>
          </a:p>
        </p:txBody>
      </p:sp>
      <p:sp>
        <p:nvSpPr>
          <p:cNvPr id="29" name="CuadroTexto 28">
            <a:extLst>
              <a:ext uri="{FF2B5EF4-FFF2-40B4-BE49-F238E27FC236}">
                <a16:creationId xmlns:a16="http://schemas.microsoft.com/office/drawing/2014/main" id="{46F67329-EAA2-4B09-AD5B-91FE70391A81}"/>
              </a:ext>
            </a:extLst>
          </p:cNvPr>
          <p:cNvSpPr txBox="1"/>
          <p:nvPr/>
        </p:nvSpPr>
        <p:spPr>
          <a:xfrm>
            <a:off x="7889531" y="2550778"/>
            <a:ext cx="432000" cy="215444"/>
          </a:xfrm>
          <a:prstGeom prst="rect">
            <a:avLst/>
          </a:prstGeom>
          <a:solidFill>
            <a:schemeClr val="bg1"/>
          </a:solidFill>
          <a:ln w="19050">
            <a:solidFill>
              <a:srgbClr val="92D050"/>
            </a:solidFill>
          </a:ln>
        </p:spPr>
        <p:txBody>
          <a:bodyPr wrap="square" rtlCol="0">
            <a:spAutoFit/>
          </a:bodyPr>
          <a:lstStyle/>
          <a:p>
            <a:pPr algn="ctr"/>
            <a:r>
              <a:rPr lang="es-ES" sz="800"/>
              <a:t>JD</a:t>
            </a:r>
            <a:endParaRPr lang="es-CO" sz="800"/>
          </a:p>
        </p:txBody>
      </p:sp>
      <p:sp>
        <p:nvSpPr>
          <p:cNvPr id="7" name="Rectangle 30">
            <a:extLst>
              <a:ext uri="{FF2B5EF4-FFF2-40B4-BE49-F238E27FC236}">
                <a16:creationId xmlns:a16="http://schemas.microsoft.com/office/drawing/2014/main" id="{6EA46AB2-D46D-465D-9B99-C8FCD330B565}"/>
              </a:ext>
            </a:extLst>
          </p:cNvPr>
          <p:cNvSpPr>
            <a:spLocks/>
          </p:cNvSpPr>
          <p:nvPr/>
        </p:nvSpPr>
        <p:spPr>
          <a:xfrm>
            <a:off x="6288396" y="2835764"/>
            <a:ext cx="2054982" cy="537553"/>
          </a:xfrm>
          <a:prstGeom prst="rect">
            <a:avLst/>
          </a:prstGeom>
          <a:solidFill>
            <a:schemeClr val="bg2">
              <a:lumMod val="95000"/>
              <a:alpha val="68000"/>
            </a:schemeClr>
          </a:solidFill>
          <a:ln w="28575">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probar la </a:t>
            </a:r>
            <a:r>
              <a:rPr lang="es-ES" sz="1100" err="1">
                <a:solidFill>
                  <a:schemeClr val="tx2"/>
                </a:solidFill>
              </a:rPr>
              <a:t>la</a:t>
            </a:r>
            <a:r>
              <a:rPr lang="es-ES" sz="1100">
                <a:solidFill>
                  <a:schemeClr val="tx2"/>
                </a:solidFill>
              </a:rPr>
              <a:t> cancelación de saldos incobrables</a:t>
            </a:r>
          </a:p>
        </p:txBody>
      </p:sp>
      <p:grpSp>
        <p:nvGrpSpPr>
          <p:cNvPr id="46" name="Grupo 45">
            <a:extLst>
              <a:ext uri="{FF2B5EF4-FFF2-40B4-BE49-F238E27FC236}">
                <a16:creationId xmlns:a16="http://schemas.microsoft.com/office/drawing/2014/main" id="{4DCAF9D3-E260-43CE-8958-9F0BA7AFCD3A}"/>
              </a:ext>
            </a:extLst>
          </p:cNvPr>
          <p:cNvGrpSpPr/>
          <p:nvPr/>
        </p:nvGrpSpPr>
        <p:grpSpPr>
          <a:xfrm>
            <a:off x="6854287" y="4781123"/>
            <a:ext cx="1387613" cy="646331"/>
            <a:chOff x="11328566" y="4633130"/>
            <a:chExt cx="1387613" cy="646331"/>
          </a:xfrm>
        </p:grpSpPr>
        <p:sp>
          <p:nvSpPr>
            <p:cNvPr id="47" name="CuadroTexto 46">
              <a:extLst>
                <a:ext uri="{FF2B5EF4-FFF2-40B4-BE49-F238E27FC236}">
                  <a16:creationId xmlns:a16="http://schemas.microsoft.com/office/drawing/2014/main" id="{EFA49506-2534-42A7-80DC-155A5CF0A7FB}"/>
                </a:ext>
              </a:extLst>
            </p:cNvPr>
            <p:cNvSpPr txBox="1"/>
            <p:nvPr/>
          </p:nvSpPr>
          <p:spPr>
            <a:xfrm>
              <a:off x="11711185" y="4633130"/>
              <a:ext cx="1004994" cy="646331"/>
            </a:xfrm>
            <a:prstGeom prst="rect">
              <a:avLst/>
            </a:prstGeom>
            <a:noFill/>
          </p:spPr>
          <p:txBody>
            <a:bodyPr wrap="square" rtlCol="0">
              <a:spAutoFit/>
            </a:bodyPr>
            <a:lstStyle/>
            <a:p>
              <a:r>
                <a:rPr lang="es-ES" sz="900">
                  <a:solidFill>
                    <a:schemeClr val="accent1">
                      <a:lumMod val="25000"/>
                    </a:schemeClr>
                  </a:solidFill>
                </a:rPr>
                <a:t>Comité de Crédito y Cartera</a:t>
              </a:r>
            </a:p>
            <a:p>
              <a:r>
                <a:rPr lang="es-ES" sz="900">
                  <a:solidFill>
                    <a:schemeClr val="accent1">
                      <a:lumMod val="25000"/>
                    </a:schemeClr>
                  </a:solidFill>
                </a:rPr>
                <a:t>2 %</a:t>
              </a:r>
              <a:endParaRPr lang="es-CO" sz="900">
                <a:solidFill>
                  <a:schemeClr val="accent1">
                    <a:lumMod val="25000"/>
                  </a:schemeClr>
                </a:solidFill>
              </a:endParaRPr>
            </a:p>
          </p:txBody>
        </p:sp>
        <p:sp>
          <p:nvSpPr>
            <p:cNvPr id="48" name="CuadroTexto 47">
              <a:extLst>
                <a:ext uri="{FF2B5EF4-FFF2-40B4-BE49-F238E27FC236}">
                  <a16:creationId xmlns:a16="http://schemas.microsoft.com/office/drawing/2014/main" id="{8C75352D-0E5E-4A6A-AD3B-F1CC559DB11C}"/>
                </a:ext>
              </a:extLst>
            </p:cNvPr>
            <p:cNvSpPr txBox="1"/>
            <p:nvPr/>
          </p:nvSpPr>
          <p:spPr>
            <a:xfrm>
              <a:off x="11328566" y="4853823"/>
              <a:ext cx="432000" cy="215444"/>
            </a:xfrm>
            <a:prstGeom prst="rect">
              <a:avLst/>
            </a:prstGeom>
            <a:solidFill>
              <a:schemeClr val="bg1"/>
            </a:solidFill>
            <a:ln w="19050">
              <a:solidFill>
                <a:srgbClr val="FFC000"/>
              </a:solidFill>
            </a:ln>
          </p:spPr>
          <p:txBody>
            <a:bodyPr wrap="square" rtlCol="0">
              <a:spAutoFit/>
            </a:bodyPr>
            <a:lstStyle/>
            <a:p>
              <a:pPr algn="ctr"/>
              <a:r>
                <a:rPr lang="es-ES" sz="800"/>
                <a:t>CC</a:t>
              </a:r>
              <a:endParaRPr lang="es-CO" sz="800"/>
            </a:p>
          </p:txBody>
        </p:sp>
      </p:grpSp>
      <p:sp>
        <p:nvSpPr>
          <p:cNvPr id="9" name="CuadroTexto 8">
            <a:extLst>
              <a:ext uri="{FF2B5EF4-FFF2-40B4-BE49-F238E27FC236}">
                <a16:creationId xmlns:a16="http://schemas.microsoft.com/office/drawing/2014/main" id="{0D2D0AC5-B7D8-497B-ABD3-7AE73B6363FD}"/>
              </a:ext>
            </a:extLst>
          </p:cNvPr>
          <p:cNvSpPr txBox="1"/>
          <p:nvPr/>
        </p:nvSpPr>
        <p:spPr>
          <a:xfrm>
            <a:off x="7898625" y="3277697"/>
            <a:ext cx="432000" cy="215444"/>
          </a:xfrm>
          <a:prstGeom prst="rect">
            <a:avLst/>
          </a:prstGeom>
          <a:solidFill>
            <a:schemeClr val="bg1"/>
          </a:solidFill>
          <a:ln w="19050">
            <a:solidFill>
              <a:srgbClr val="FFC000"/>
            </a:solidFill>
          </a:ln>
        </p:spPr>
        <p:txBody>
          <a:bodyPr wrap="square" rtlCol="0">
            <a:spAutoFit/>
          </a:bodyPr>
          <a:lstStyle/>
          <a:p>
            <a:pPr algn="ctr"/>
            <a:r>
              <a:rPr lang="es-ES" sz="800"/>
              <a:t>CC</a:t>
            </a:r>
            <a:endParaRPr lang="es-CO" sz="800"/>
          </a:p>
        </p:txBody>
      </p:sp>
      <p:sp>
        <p:nvSpPr>
          <p:cNvPr id="10" name="Rectángulo 9">
            <a:extLst>
              <a:ext uri="{FF2B5EF4-FFF2-40B4-BE49-F238E27FC236}">
                <a16:creationId xmlns:a16="http://schemas.microsoft.com/office/drawing/2014/main" id="{8CBE0999-A3DB-4ABC-B7A0-9F684B332B8D}"/>
              </a:ext>
            </a:extLst>
          </p:cNvPr>
          <p:cNvSpPr>
            <a:spLocks/>
          </p:cNvSpPr>
          <p:nvPr/>
        </p:nvSpPr>
        <p:spPr>
          <a:xfrm>
            <a:off x="8568401" y="880214"/>
            <a:ext cx="2054982" cy="1054800"/>
          </a:xfrm>
          <a:prstGeom prst="rect">
            <a:avLst/>
          </a:prstGeom>
          <a:solidFill>
            <a:schemeClr val="accent1">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300">
                <a:solidFill>
                  <a:schemeClr val="tx2"/>
                </a:solidFill>
              </a:rPr>
              <a:t>Aprobar la refinanciación de deudas de clientes y/u otros deudores a favor de Cenit</a:t>
            </a:r>
          </a:p>
        </p:txBody>
      </p:sp>
      <p:sp>
        <p:nvSpPr>
          <p:cNvPr id="13" name="Elipse 12">
            <a:extLst>
              <a:ext uri="{FF2B5EF4-FFF2-40B4-BE49-F238E27FC236}">
                <a16:creationId xmlns:a16="http://schemas.microsoft.com/office/drawing/2014/main" id="{78F97E90-AFC7-4D4D-A94D-7BA5464F668B}"/>
              </a:ext>
            </a:extLst>
          </p:cNvPr>
          <p:cNvSpPr/>
          <p:nvPr/>
        </p:nvSpPr>
        <p:spPr>
          <a:xfrm>
            <a:off x="8413917" y="794100"/>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4</a:t>
            </a:r>
            <a:endParaRPr lang="es-CO" sz="1200" b="1">
              <a:solidFill>
                <a:schemeClr val="bg1"/>
              </a:solidFill>
            </a:endParaRPr>
          </a:p>
        </p:txBody>
      </p:sp>
      <p:grpSp>
        <p:nvGrpSpPr>
          <p:cNvPr id="53" name="Grupo 52">
            <a:extLst>
              <a:ext uri="{FF2B5EF4-FFF2-40B4-BE49-F238E27FC236}">
                <a16:creationId xmlns:a16="http://schemas.microsoft.com/office/drawing/2014/main" id="{3873BDF9-02E9-44FD-9510-89955A3B3E89}"/>
              </a:ext>
            </a:extLst>
          </p:cNvPr>
          <p:cNvGrpSpPr/>
          <p:nvPr/>
        </p:nvGrpSpPr>
        <p:grpSpPr>
          <a:xfrm>
            <a:off x="8365034" y="4751997"/>
            <a:ext cx="1382137" cy="646331"/>
            <a:chOff x="9218732" y="3240922"/>
            <a:chExt cx="1382137" cy="646331"/>
          </a:xfrm>
        </p:grpSpPr>
        <p:sp>
          <p:nvSpPr>
            <p:cNvPr id="55" name="CuadroTexto 54">
              <a:extLst>
                <a:ext uri="{FF2B5EF4-FFF2-40B4-BE49-F238E27FC236}">
                  <a16:creationId xmlns:a16="http://schemas.microsoft.com/office/drawing/2014/main" id="{890E6358-E7F1-4BAE-B3A3-26D27855B414}"/>
                </a:ext>
              </a:extLst>
            </p:cNvPr>
            <p:cNvSpPr txBox="1"/>
            <p:nvPr/>
          </p:nvSpPr>
          <p:spPr>
            <a:xfrm>
              <a:off x="9218732" y="3451146"/>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56" name="CuadroTexto 55">
              <a:extLst>
                <a:ext uri="{FF2B5EF4-FFF2-40B4-BE49-F238E27FC236}">
                  <a16:creationId xmlns:a16="http://schemas.microsoft.com/office/drawing/2014/main" id="{30228C31-EF71-4412-B19C-CEFAE9DC60E1}"/>
                </a:ext>
              </a:extLst>
            </p:cNvPr>
            <p:cNvSpPr txBox="1"/>
            <p:nvPr/>
          </p:nvSpPr>
          <p:spPr>
            <a:xfrm>
              <a:off x="9611995" y="3240922"/>
              <a:ext cx="988874" cy="646331"/>
            </a:xfrm>
            <a:prstGeom prst="rect">
              <a:avLst/>
            </a:prstGeom>
            <a:noFill/>
          </p:spPr>
          <p:txBody>
            <a:bodyPr wrap="square" rtlCol="0" anchor="t">
              <a:spAutoFit/>
            </a:bodyPr>
            <a:lstStyle/>
            <a:p>
              <a:r>
                <a:rPr lang="es-ES" sz="900">
                  <a:solidFill>
                    <a:schemeClr val="accent1">
                      <a:lumMod val="25000"/>
                    </a:schemeClr>
                  </a:solidFill>
                </a:rPr>
                <a:t>Gerente de Operaciones Financieras</a:t>
              </a:r>
            </a:p>
            <a:p>
              <a:r>
                <a:rPr lang="es-ES" sz="900">
                  <a:solidFill>
                    <a:schemeClr val="accent1">
                      <a:lumMod val="25000"/>
                    </a:schemeClr>
                  </a:solidFill>
                </a:rPr>
                <a:t>20 %</a:t>
              </a:r>
              <a:endParaRPr lang="es-CO" sz="900">
                <a:solidFill>
                  <a:schemeClr val="accent1">
                    <a:lumMod val="25000"/>
                  </a:schemeClr>
                </a:solidFill>
              </a:endParaRPr>
            </a:p>
          </p:txBody>
        </p:sp>
      </p:grpSp>
      <p:sp>
        <p:nvSpPr>
          <p:cNvPr id="14" name="CuadroTexto 13">
            <a:extLst>
              <a:ext uri="{FF2B5EF4-FFF2-40B4-BE49-F238E27FC236}">
                <a16:creationId xmlns:a16="http://schemas.microsoft.com/office/drawing/2014/main" id="{76F42040-B3A4-4E28-A977-80873F0B5FCD}"/>
              </a:ext>
            </a:extLst>
          </p:cNvPr>
          <p:cNvSpPr txBox="1"/>
          <p:nvPr/>
        </p:nvSpPr>
        <p:spPr>
          <a:xfrm>
            <a:off x="10184640" y="1811895"/>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70" name="Rectángulo 69">
            <a:extLst>
              <a:ext uri="{FF2B5EF4-FFF2-40B4-BE49-F238E27FC236}">
                <a16:creationId xmlns:a16="http://schemas.microsoft.com/office/drawing/2014/main" id="{4C2BB393-8F3A-4793-B4F9-99B289273F73}"/>
              </a:ext>
            </a:extLst>
          </p:cNvPr>
          <p:cNvSpPr>
            <a:spLocks/>
          </p:cNvSpPr>
          <p:nvPr/>
        </p:nvSpPr>
        <p:spPr>
          <a:xfrm>
            <a:off x="281867" y="880214"/>
            <a:ext cx="3466220" cy="457200"/>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300">
                <a:solidFill>
                  <a:schemeClr val="tx2"/>
                </a:solidFill>
              </a:rPr>
              <a:t>Autorizar el manejo de dineros en bancos y caja menor</a:t>
            </a:r>
          </a:p>
        </p:txBody>
      </p:sp>
      <p:sp>
        <p:nvSpPr>
          <p:cNvPr id="72" name="Elipse 71">
            <a:extLst>
              <a:ext uri="{FF2B5EF4-FFF2-40B4-BE49-F238E27FC236}">
                <a16:creationId xmlns:a16="http://schemas.microsoft.com/office/drawing/2014/main" id="{12DFD4E0-B30F-4AA4-92EC-1B5D501F7F20}"/>
              </a:ext>
            </a:extLst>
          </p:cNvPr>
          <p:cNvSpPr/>
          <p:nvPr/>
        </p:nvSpPr>
        <p:spPr>
          <a:xfrm>
            <a:off x="56983" y="794100"/>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1</a:t>
            </a:r>
            <a:endParaRPr lang="es-CO" sz="1200" b="1">
              <a:solidFill>
                <a:schemeClr val="bg1"/>
              </a:solidFill>
            </a:endParaRPr>
          </a:p>
        </p:txBody>
      </p:sp>
      <p:sp>
        <p:nvSpPr>
          <p:cNvPr id="76" name="Rectangle 30">
            <a:extLst>
              <a:ext uri="{FF2B5EF4-FFF2-40B4-BE49-F238E27FC236}">
                <a16:creationId xmlns:a16="http://schemas.microsoft.com/office/drawing/2014/main" id="{40DFE32F-CAB8-49D6-A7AD-D6BF8E59BE91}"/>
              </a:ext>
            </a:extLst>
          </p:cNvPr>
          <p:cNvSpPr>
            <a:spLocks/>
          </p:cNvSpPr>
          <p:nvPr/>
        </p:nvSpPr>
        <p:spPr>
          <a:xfrm>
            <a:off x="281867" y="1407922"/>
            <a:ext cx="3466220" cy="4572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probar la apertura o cancelación de cuentas bancarias</a:t>
            </a:r>
          </a:p>
        </p:txBody>
      </p:sp>
      <p:sp>
        <p:nvSpPr>
          <p:cNvPr id="88" name="Rectangle 30">
            <a:extLst>
              <a:ext uri="{FF2B5EF4-FFF2-40B4-BE49-F238E27FC236}">
                <a16:creationId xmlns:a16="http://schemas.microsoft.com/office/drawing/2014/main" id="{5287C6BB-7462-47AA-82FC-0995E12885D0}"/>
              </a:ext>
            </a:extLst>
          </p:cNvPr>
          <p:cNvSpPr>
            <a:spLocks/>
          </p:cNvSpPr>
          <p:nvPr/>
        </p:nvSpPr>
        <p:spPr>
          <a:xfrm>
            <a:off x="306085" y="3001434"/>
            <a:ext cx="3466220" cy="6156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utorizar la constitución, definición y modificación de cuantía, o cancelación de caja menor.</a:t>
            </a:r>
          </a:p>
        </p:txBody>
      </p:sp>
      <p:sp>
        <p:nvSpPr>
          <p:cNvPr id="90" name="Rectangle 30">
            <a:extLst>
              <a:ext uri="{FF2B5EF4-FFF2-40B4-BE49-F238E27FC236}">
                <a16:creationId xmlns:a16="http://schemas.microsoft.com/office/drawing/2014/main" id="{9CA5C34E-F534-4DBB-8CB2-C4A73E40BE1D}"/>
              </a:ext>
            </a:extLst>
          </p:cNvPr>
          <p:cNvSpPr>
            <a:spLocks/>
          </p:cNvSpPr>
          <p:nvPr/>
        </p:nvSpPr>
        <p:spPr>
          <a:xfrm>
            <a:off x="291797" y="3687542"/>
            <a:ext cx="3466220" cy="6156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Designar el responsable para el control y manejo de caja menor y de fondos con destinación específica.</a:t>
            </a:r>
          </a:p>
        </p:txBody>
      </p:sp>
      <p:sp>
        <p:nvSpPr>
          <p:cNvPr id="92" name="Rectangle 30">
            <a:extLst>
              <a:ext uri="{FF2B5EF4-FFF2-40B4-BE49-F238E27FC236}">
                <a16:creationId xmlns:a16="http://schemas.microsoft.com/office/drawing/2014/main" id="{3C2594EF-C944-4301-B969-227960A0B177}"/>
              </a:ext>
            </a:extLst>
          </p:cNvPr>
          <p:cNvSpPr>
            <a:spLocks/>
          </p:cNvSpPr>
          <p:nvPr/>
        </p:nvSpPr>
        <p:spPr>
          <a:xfrm>
            <a:off x="298941" y="4373650"/>
            <a:ext cx="3466220" cy="3024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utorizar el reembolso de caja menor</a:t>
            </a:r>
          </a:p>
        </p:txBody>
      </p:sp>
      <p:sp>
        <p:nvSpPr>
          <p:cNvPr id="94" name="CuadroTexto 93">
            <a:extLst>
              <a:ext uri="{FF2B5EF4-FFF2-40B4-BE49-F238E27FC236}">
                <a16:creationId xmlns:a16="http://schemas.microsoft.com/office/drawing/2014/main" id="{A3043AD2-8100-4019-8A49-7AA41719F6D3}"/>
              </a:ext>
            </a:extLst>
          </p:cNvPr>
          <p:cNvSpPr txBox="1"/>
          <p:nvPr/>
        </p:nvSpPr>
        <p:spPr>
          <a:xfrm>
            <a:off x="3365294" y="1700796"/>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sp>
        <p:nvSpPr>
          <p:cNvPr id="96" name="CuadroTexto 95">
            <a:extLst>
              <a:ext uri="{FF2B5EF4-FFF2-40B4-BE49-F238E27FC236}">
                <a16:creationId xmlns:a16="http://schemas.microsoft.com/office/drawing/2014/main" id="{E8463BFA-5949-4D95-9B51-6F1E89D0DF70}"/>
              </a:ext>
            </a:extLst>
          </p:cNvPr>
          <p:cNvSpPr txBox="1"/>
          <p:nvPr/>
        </p:nvSpPr>
        <p:spPr>
          <a:xfrm>
            <a:off x="3365294" y="3393938"/>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100" name="CuadroTexto 99">
            <a:extLst>
              <a:ext uri="{FF2B5EF4-FFF2-40B4-BE49-F238E27FC236}">
                <a16:creationId xmlns:a16="http://schemas.microsoft.com/office/drawing/2014/main" id="{E8484252-6E98-4F7D-9394-AD684F126CB1}"/>
              </a:ext>
            </a:extLst>
          </p:cNvPr>
          <p:cNvSpPr txBox="1"/>
          <p:nvPr/>
        </p:nvSpPr>
        <p:spPr>
          <a:xfrm>
            <a:off x="3365294" y="4096481"/>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102" name="CuadroTexto 101">
            <a:extLst>
              <a:ext uri="{FF2B5EF4-FFF2-40B4-BE49-F238E27FC236}">
                <a16:creationId xmlns:a16="http://schemas.microsoft.com/office/drawing/2014/main" id="{7812F223-75D3-476A-89FF-B22C9D312EA6}"/>
              </a:ext>
            </a:extLst>
          </p:cNvPr>
          <p:cNvSpPr txBox="1"/>
          <p:nvPr/>
        </p:nvSpPr>
        <p:spPr>
          <a:xfrm>
            <a:off x="3365294" y="4464716"/>
            <a:ext cx="432000" cy="215444"/>
          </a:xfrm>
          <a:prstGeom prst="rect">
            <a:avLst/>
          </a:prstGeom>
          <a:solidFill>
            <a:schemeClr val="bg1"/>
          </a:solidFill>
          <a:ln w="19050">
            <a:solidFill>
              <a:srgbClr val="FF9999"/>
            </a:solidFill>
          </a:ln>
        </p:spPr>
        <p:txBody>
          <a:bodyPr wrap="square" rtlCol="0">
            <a:spAutoFit/>
          </a:bodyPr>
          <a:lstStyle/>
          <a:p>
            <a:pPr algn="ctr"/>
            <a:r>
              <a:rPr lang="es-ES" sz="800"/>
              <a:t>JT</a:t>
            </a:r>
            <a:endParaRPr lang="es-CO" sz="800"/>
          </a:p>
        </p:txBody>
      </p:sp>
      <p:sp>
        <p:nvSpPr>
          <p:cNvPr id="106" name="Rectangle 30">
            <a:extLst>
              <a:ext uri="{FF2B5EF4-FFF2-40B4-BE49-F238E27FC236}">
                <a16:creationId xmlns:a16="http://schemas.microsoft.com/office/drawing/2014/main" id="{FCC08065-7019-4222-B77B-FB007CEA4423}"/>
              </a:ext>
            </a:extLst>
          </p:cNvPr>
          <p:cNvSpPr>
            <a:spLocks/>
          </p:cNvSpPr>
          <p:nvPr/>
        </p:nvSpPr>
        <p:spPr>
          <a:xfrm>
            <a:off x="284653" y="2485823"/>
            <a:ext cx="3466220" cy="4572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utorizar o cancelar la firma principal y suplente para fondos rotatorios y cajas menores</a:t>
            </a:r>
          </a:p>
        </p:txBody>
      </p:sp>
      <p:sp>
        <p:nvSpPr>
          <p:cNvPr id="108" name="Rectangle 30">
            <a:extLst>
              <a:ext uri="{FF2B5EF4-FFF2-40B4-BE49-F238E27FC236}">
                <a16:creationId xmlns:a16="http://schemas.microsoft.com/office/drawing/2014/main" id="{6F2232EE-FB4E-4DD9-AD82-A570467F39DB}"/>
              </a:ext>
            </a:extLst>
          </p:cNvPr>
          <p:cNvSpPr>
            <a:spLocks/>
          </p:cNvSpPr>
          <p:nvPr/>
        </p:nvSpPr>
        <p:spPr>
          <a:xfrm>
            <a:off x="298330" y="4796130"/>
            <a:ext cx="3466220" cy="332371"/>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probar las conciliaciones de cuentas bancarias</a:t>
            </a:r>
          </a:p>
        </p:txBody>
      </p:sp>
      <p:sp>
        <p:nvSpPr>
          <p:cNvPr id="110" name="Rectangle 30">
            <a:extLst>
              <a:ext uri="{FF2B5EF4-FFF2-40B4-BE49-F238E27FC236}">
                <a16:creationId xmlns:a16="http://schemas.microsoft.com/office/drawing/2014/main" id="{7D09FF47-4E46-4C38-80B0-B607480382EC}"/>
              </a:ext>
            </a:extLst>
          </p:cNvPr>
          <p:cNvSpPr>
            <a:spLocks/>
          </p:cNvSpPr>
          <p:nvPr/>
        </p:nvSpPr>
        <p:spPr>
          <a:xfrm>
            <a:off x="305474" y="5248888"/>
            <a:ext cx="3466220" cy="3024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Notas débito por servicios bancarios</a:t>
            </a:r>
          </a:p>
        </p:txBody>
      </p:sp>
      <p:sp>
        <p:nvSpPr>
          <p:cNvPr id="126" name="Rectangle 30">
            <a:extLst>
              <a:ext uri="{FF2B5EF4-FFF2-40B4-BE49-F238E27FC236}">
                <a16:creationId xmlns:a16="http://schemas.microsoft.com/office/drawing/2014/main" id="{AD4ED8B4-B12A-4144-927B-9A51E646655A}"/>
              </a:ext>
            </a:extLst>
          </p:cNvPr>
          <p:cNvSpPr>
            <a:spLocks/>
          </p:cNvSpPr>
          <p:nvPr/>
        </p:nvSpPr>
        <p:spPr>
          <a:xfrm>
            <a:off x="312618" y="5636785"/>
            <a:ext cx="3466220" cy="4572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utorizar el traslado de fondos entre cuentas de Cenit del mismo banco y en diferentes bancos</a:t>
            </a:r>
          </a:p>
        </p:txBody>
      </p:sp>
      <p:sp>
        <p:nvSpPr>
          <p:cNvPr id="130" name="CuadroTexto 129">
            <a:extLst>
              <a:ext uri="{FF2B5EF4-FFF2-40B4-BE49-F238E27FC236}">
                <a16:creationId xmlns:a16="http://schemas.microsoft.com/office/drawing/2014/main" id="{4B371648-981F-4F04-B54B-17ED9277E5EC}"/>
              </a:ext>
            </a:extLst>
          </p:cNvPr>
          <p:cNvSpPr txBox="1"/>
          <p:nvPr/>
        </p:nvSpPr>
        <p:spPr>
          <a:xfrm>
            <a:off x="3365294" y="2216605"/>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sp>
        <p:nvSpPr>
          <p:cNvPr id="132" name="CuadroTexto 131">
            <a:extLst>
              <a:ext uri="{FF2B5EF4-FFF2-40B4-BE49-F238E27FC236}">
                <a16:creationId xmlns:a16="http://schemas.microsoft.com/office/drawing/2014/main" id="{F2FA82D5-94D3-4AB3-A3CE-1F9A90BA1114}"/>
              </a:ext>
            </a:extLst>
          </p:cNvPr>
          <p:cNvSpPr txBox="1"/>
          <p:nvPr/>
        </p:nvSpPr>
        <p:spPr>
          <a:xfrm>
            <a:off x="3365294" y="2867264"/>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sp>
        <p:nvSpPr>
          <p:cNvPr id="134" name="CuadroTexto 133">
            <a:extLst>
              <a:ext uri="{FF2B5EF4-FFF2-40B4-BE49-F238E27FC236}">
                <a16:creationId xmlns:a16="http://schemas.microsoft.com/office/drawing/2014/main" id="{F84823E7-913E-47FA-86F5-4B4BDFBA1ED3}"/>
              </a:ext>
            </a:extLst>
          </p:cNvPr>
          <p:cNvSpPr txBox="1"/>
          <p:nvPr/>
        </p:nvSpPr>
        <p:spPr>
          <a:xfrm>
            <a:off x="3365294" y="6025853"/>
            <a:ext cx="432000" cy="215444"/>
          </a:xfrm>
          <a:prstGeom prst="rect">
            <a:avLst/>
          </a:prstGeom>
          <a:solidFill>
            <a:schemeClr val="bg1"/>
          </a:solidFill>
          <a:ln w="19050">
            <a:solidFill>
              <a:srgbClr val="FF9999"/>
            </a:solidFill>
          </a:ln>
        </p:spPr>
        <p:txBody>
          <a:bodyPr wrap="square" rtlCol="0">
            <a:spAutoFit/>
          </a:bodyPr>
          <a:lstStyle/>
          <a:p>
            <a:pPr algn="ctr"/>
            <a:r>
              <a:rPr lang="es-ES" sz="800"/>
              <a:t>JT</a:t>
            </a:r>
            <a:endParaRPr lang="es-CO" sz="800"/>
          </a:p>
        </p:txBody>
      </p:sp>
      <p:sp>
        <p:nvSpPr>
          <p:cNvPr id="138" name="CuadroTexto 137">
            <a:extLst>
              <a:ext uri="{FF2B5EF4-FFF2-40B4-BE49-F238E27FC236}">
                <a16:creationId xmlns:a16="http://schemas.microsoft.com/office/drawing/2014/main" id="{3C5F2085-6F06-447D-B929-A77300FE8871}"/>
              </a:ext>
            </a:extLst>
          </p:cNvPr>
          <p:cNvSpPr txBox="1"/>
          <p:nvPr/>
        </p:nvSpPr>
        <p:spPr>
          <a:xfrm>
            <a:off x="3365294" y="5293749"/>
            <a:ext cx="432000" cy="215444"/>
          </a:xfrm>
          <a:prstGeom prst="rect">
            <a:avLst/>
          </a:prstGeom>
          <a:solidFill>
            <a:schemeClr val="bg1"/>
          </a:solidFill>
          <a:ln w="19050">
            <a:solidFill>
              <a:srgbClr val="FF9999"/>
            </a:solidFill>
          </a:ln>
        </p:spPr>
        <p:txBody>
          <a:bodyPr wrap="square" rtlCol="0">
            <a:spAutoFit/>
          </a:bodyPr>
          <a:lstStyle/>
          <a:p>
            <a:pPr algn="ctr"/>
            <a:r>
              <a:rPr lang="es-ES" sz="800"/>
              <a:t>JT</a:t>
            </a:r>
            <a:endParaRPr lang="es-CO" sz="800"/>
          </a:p>
        </p:txBody>
      </p:sp>
      <p:sp>
        <p:nvSpPr>
          <p:cNvPr id="142" name="CuadroTexto 141">
            <a:extLst>
              <a:ext uri="{FF2B5EF4-FFF2-40B4-BE49-F238E27FC236}">
                <a16:creationId xmlns:a16="http://schemas.microsoft.com/office/drawing/2014/main" id="{D39CDA84-7131-4DBC-87CE-38CEAA79AB44}"/>
              </a:ext>
            </a:extLst>
          </p:cNvPr>
          <p:cNvSpPr txBox="1"/>
          <p:nvPr/>
        </p:nvSpPr>
        <p:spPr>
          <a:xfrm>
            <a:off x="3365294" y="5010046"/>
            <a:ext cx="432000" cy="215444"/>
          </a:xfrm>
          <a:prstGeom prst="rect">
            <a:avLst/>
          </a:prstGeom>
          <a:solidFill>
            <a:schemeClr val="bg1"/>
          </a:solidFill>
          <a:ln w="19050">
            <a:solidFill>
              <a:srgbClr val="00FF00"/>
            </a:solidFill>
          </a:ln>
        </p:spPr>
        <p:txBody>
          <a:bodyPr wrap="square" rtlCol="0">
            <a:spAutoFit/>
          </a:bodyPr>
          <a:lstStyle/>
          <a:p>
            <a:pPr algn="ctr"/>
            <a:r>
              <a:rPr lang="es-ES" sz="800"/>
              <a:t>JC</a:t>
            </a:r>
            <a:endParaRPr lang="es-CO" sz="800"/>
          </a:p>
        </p:txBody>
      </p:sp>
      <p:grpSp>
        <p:nvGrpSpPr>
          <p:cNvPr id="165" name="Grupo 164">
            <a:extLst>
              <a:ext uri="{FF2B5EF4-FFF2-40B4-BE49-F238E27FC236}">
                <a16:creationId xmlns:a16="http://schemas.microsoft.com/office/drawing/2014/main" id="{3E88F80D-5F8F-4B0A-A23A-B734C2EE0391}"/>
              </a:ext>
            </a:extLst>
          </p:cNvPr>
          <p:cNvGrpSpPr/>
          <p:nvPr/>
        </p:nvGrpSpPr>
        <p:grpSpPr>
          <a:xfrm>
            <a:off x="10213497" y="4837565"/>
            <a:ext cx="1378369" cy="507831"/>
            <a:chOff x="11141563" y="8970648"/>
            <a:chExt cx="1378369" cy="507831"/>
          </a:xfrm>
        </p:grpSpPr>
        <p:sp>
          <p:nvSpPr>
            <p:cNvPr id="140" name="CuadroTexto 139">
              <a:extLst>
                <a:ext uri="{FF2B5EF4-FFF2-40B4-BE49-F238E27FC236}">
                  <a16:creationId xmlns:a16="http://schemas.microsoft.com/office/drawing/2014/main" id="{A0784CC9-2A17-4126-B3F2-462D49C105F3}"/>
                </a:ext>
              </a:extLst>
            </p:cNvPr>
            <p:cNvSpPr txBox="1"/>
            <p:nvPr/>
          </p:nvSpPr>
          <p:spPr>
            <a:xfrm>
              <a:off x="11141563" y="9116807"/>
              <a:ext cx="432000" cy="215444"/>
            </a:xfrm>
            <a:prstGeom prst="rect">
              <a:avLst/>
            </a:prstGeom>
            <a:solidFill>
              <a:schemeClr val="bg1"/>
            </a:solidFill>
            <a:ln w="19050">
              <a:solidFill>
                <a:srgbClr val="00FF00"/>
              </a:solidFill>
            </a:ln>
          </p:spPr>
          <p:txBody>
            <a:bodyPr wrap="square" rtlCol="0">
              <a:spAutoFit/>
            </a:bodyPr>
            <a:lstStyle/>
            <a:p>
              <a:pPr algn="ctr"/>
              <a:r>
                <a:rPr lang="es-ES" sz="800"/>
                <a:t>JC</a:t>
              </a:r>
              <a:endParaRPr lang="es-CO" sz="800"/>
            </a:p>
          </p:txBody>
        </p:sp>
        <p:sp>
          <p:nvSpPr>
            <p:cNvPr id="144" name="CuadroTexto 143">
              <a:extLst>
                <a:ext uri="{FF2B5EF4-FFF2-40B4-BE49-F238E27FC236}">
                  <a16:creationId xmlns:a16="http://schemas.microsoft.com/office/drawing/2014/main" id="{90BA0115-64E2-4DF6-B718-035B37850FBA}"/>
                </a:ext>
              </a:extLst>
            </p:cNvPr>
            <p:cNvSpPr txBox="1"/>
            <p:nvPr/>
          </p:nvSpPr>
          <p:spPr>
            <a:xfrm>
              <a:off x="11531058" y="8970648"/>
              <a:ext cx="988874" cy="507831"/>
            </a:xfrm>
            <a:prstGeom prst="rect">
              <a:avLst/>
            </a:prstGeom>
            <a:noFill/>
          </p:spPr>
          <p:txBody>
            <a:bodyPr wrap="square" rtlCol="0" anchor="t">
              <a:spAutoFit/>
            </a:bodyPr>
            <a:lstStyle/>
            <a:p>
              <a:r>
                <a:rPr lang="es-ES" sz="900">
                  <a:solidFill>
                    <a:schemeClr val="accent1">
                      <a:lumMod val="25000"/>
                    </a:schemeClr>
                  </a:solidFill>
                </a:rPr>
                <a:t>Jefe de Contabilidad</a:t>
              </a:r>
            </a:p>
            <a:p>
              <a:r>
                <a:rPr lang="es-ES" sz="900">
                  <a:solidFill>
                    <a:schemeClr val="accent1">
                      <a:lumMod val="25000"/>
                    </a:schemeClr>
                  </a:solidFill>
                </a:rPr>
                <a:t>4 %</a:t>
              </a:r>
              <a:endParaRPr lang="es-CO" sz="900">
                <a:solidFill>
                  <a:schemeClr val="accent1">
                    <a:lumMod val="25000"/>
                  </a:schemeClr>
                </a:solidFill>
              </a:endParaRPr>
            </a:p>
          </p:txBody>
        </p:sp>
      </p:grpSp>
      <p:sp>
        <p:nvSpPr>
          <p:cNvPr id="146" name="Rectángulo 145">
            <a:extLst>
              <a:ext uri="{FF2B5EF4-FFF2-40B4-BE49-F238E27FC236}">
                <a16:creationId xmlns:a16="http://schemas.microsoft.com/office/drawing/2014/main" id="{B3BB3076-1D21-43F9-8C2F-1244A032F030}"/>
              </a:ext>
            </a:extLst>
          </p:cNvPr>
          <p:cNvSpPr>
            <a:spLocks/>
          </p:cNvSpPr>
          <p:nvPr/>
        </p:nvSpPr>
        <p:spPr>
          <a:xfrm>
            <a:off x="3994882" y="880214"/>
            <a:ext cx="2025939" cy="1054800"/>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300">
                <a:solidFill>
                  <a:schemeClr val="tx2"/>
                </a:solidFill>
              </a:rPr>
              <a:t>Autorizar operaciones de inversión, de mercado de capitales y moneda extranjera</a:t>
            </a:r>
          </a:p>
        </p:txBody>
      </p:sp>
      <p:sp>
        <p:nvSpPr>
          <p:cNvPr id="148" name="Elipse 147">
            <a:extLst>
              <a:ext uri="{FF2B5EF4-FFF2-40B4-BE49-F238E27FC236}">
                <a16:creationId xmlns:a16="http://schemas.microsoft.com/office/drawing/2014/main" id="{133CBE66-89BD-47D1-AF66-2E6A36C8D665}"/>
              </a:ext>
            </a:extLst>
          </p:cNvPr>
          <p:cNvSpPr/>
          <p:nvPr/>
        </p:nvSpPr>
        <p:spPr>
          <a:xfrm>
            <a:off x="3797294" y="794100"/>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2</a:t>
            </a:r>
            <a:endParaRPr lang="es-CO" sz="1200" b="1">
              <a:solidFill>
                <a:schemeClr val="bg1"/>
              </a:solidFill>
            </a:endParaRPr>
          </a:p>
        </p:txBody>
      </p:sp>
      <p:sp>
        <p:nvSpPr>
          <p:cNvPr id="152" name="Rectangle 30">
            <a:extLst>
              <a:ext uri="{FF2B5EF4-FFF2-40B4-BE49-F238E27FC236}">
                <a16:creationId xmlns:a16="http://schemas.microsoft.com/office/drawing/2014/main" id="{BABCCD2D-BE76-4FC2-ADA5-9D144AA6B4B2}"/>
              </a:ext>
            </a:extLst>
          </p:cNvPr>
          <p:cNvSpPr>
            <a:spLocks/>
          </p:cNvSpPr>
          <p:nvPr/>
        </p:nvSpPr>
        <p:spPr>
          <a:xfrm>
            <a:off x="3994882" y="2052222"/>
            <a:ext cx="2025939" cy="1342653"/>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utorizar operaciones con derivados (opciones, forwards, futuros o combinaciones de estos) sobre tasa de cambio y/o sobre tasa de interés de corto plazo*</a:t>
            </a:r>
          </a:p>
        </p:txBody>
      </p:sp>
      <p:sp>
        <p:nvSpPr>
          <p:cNvPr id="154" name="Rectangle 30">
            <a:extLst>
              <a:ext uri="{FF2B5EF4-FFF2-40B4-BE49-F238E27FC236}">
                <a16:creationId xmlns:a16="http://schemas.microsoft.com/office/drawing/2014/main" id="{023A45C0-4000-48FB-9E82-3BD6579F07E8}"/>
              </a:ext>
            </a:extLst>
          </p:cNvPr>
          <p:cNvSpPr>
            <a:spLocks/>
          </p:cNvSpPr>
          <p:nvPr/>
        </p:nvSpPr>
        <p:spPr>
          <a:xfrm>
            <a:off x="4014761" y="3540497"/>
            <a:ext cx="2025939" cy="893357"/>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utorizar la compra – venta de títulos de renta fija en moneda local y extranjera y compra - venta de divisas</a:t>
            </a:r>
          </a:p>
        </p:txBody>
      </p:sp>
      <p:sp>
        <p:nvSpPr>
          <p:cNvPr id="156" name="CuadroTexto 155">
            <a:extLst>
              <a:ext uri="{FF2B5EF4-FFF2-40B4-BE49-F238E27FC236}">
                <a16:creationId xmlns:a16="http://schemas.microsoft.com/office/drawing/2014/main" id="{4B1B618B-F4A7-453D-8DBC-1B58A68C9F85}"/>
              </a:ext>
            </a:extLst>
          </p:cNvPr>
          <p:cNvSpPr txBox="1"/>
          <p:nvPr/>
        </p:nvSpPr>
        <p:spPr>
          <a:xfrm>
            <a:off x="5545666" y="3190851"/>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160" name="CuadroTexto 159">
            <a:extLst>
              <a:ext uri="{FF2B5EF4-FFF2-40B4-BE49-F238E27FC236}">
                <a16:creationId xmlns:a16="http://schemas.microsoft.com/office/drawing/2014/main" id="{DBE1EC54-D4BD-4052-902D-3C8C6BEB8411}"/>
              </a:ext>
            </a:extLst>
          </p:cNvPr>
          <p:cNvSpPr txBox="1"/>
          <p:nvPr/>
        </p:nvSpPr>
        <p:spPr>
          <a:xfrm>
            <a:off x="5545666" y="4361006"/>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162" name="Rectangle 30">
            <a:extLst>
              <a:ext uri="{FF2B5EF4-FFF2-40B4-BE49-F238E27FC236}">
                <a16:creationId xmlns:a16="http://schemas.microsoft.com/office/drawing/2014/main" id="{F90D48DD-6D46-46CC-B160-D915402FD8FC}"/>
              </a:ext>
            </a:extLst>
          </p:cNvPr>
          <p:cNvSpPr>
            <a:spLocks/>
          </p:cNvSpPr>
          <p:nvPr/>
        </p:nvSpPr>
        <p:spPr>
          <a:xfrm>
            <a:off x="4014761" y="4663017"/>
            <a:ext cx="2025939" cy="842596"/>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Cumplimiento de operaciones de inversión y compra venta de divisas</a:t>
            </a:r>
          </a:p>
        </p:txBody>
      </p:sp>
      <p:sp>
        <p:nvSpPr>
          <p:cNvPr id="164" name="CuadroTexto 163">
            <a:extLst>
              <a:ext uri="{FF2B5EF4-FFF2-40B4-BE49-F238E27FC236}">
                <a16:creationId xmlns:a16="http://schemas.microsoft.com/office/drawing/2014/main" id="{515E4648-9B8D-462B-BC7B-13914451D0CB}"/>
              </a:ext>
            </a:extLst>
          </p:cNvPr>
          <p:cNvSpPr txBox="1"/>
          <p:nvPr/>
        </p:nvSpPr>
        <p:spPr>
          <a:xfrm>
            <a:off x="5545666" y="5368003"/>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3" name="CuadroTexto 2">
            <a:extLst>
              <a:ext uri="{FF2B5EF4-FFF2-40B4-BE49-F238E27FC236}">
                <a16:creationId xmlns:a16="http://schemas.microsoft.com/office/drawing/2014/main" id="{56FBA060-681E-4374-A378-879EA744ABAD}"/>
              </a:ext>
            </a:extLst>
          </p:cNvPr>
          <p:cNvSpPr txBox="1"/>
          <p:nvPr/>
        </p:nvSpPr>
        <p:spPr>
          <a:xfrm>
            <a:off x="13246" y="6513784"/>
            <a:ext cx="4599336" cy="253916"/>
          </a:xfrm>
          <a:prstGeom prst="rect">
            <a:avLst/>
          </a:prstGeom>
          <a:noFill/>
        </p:spPr>
        <p:txBody>
          <a:bodyPr wrap="none" rtlCol="0">
            <a:spAutoFit/>
          </a:bodyPr>
          <a:lstStyle/>
          <a:p>
            <a:r>
              <a:rPr lang="es-ES" sz="1050">
                <a:solidFill>
                  <a:schemeClr val="accent4"/>
                </a:solidFill>
              </a:rPr>
              <a:t>*Las operaciones con derivados de largo plazo son aprobadas por la VPF</a:t>
            </a:r>
            <a:endParaRPr lang="es-CO" sz="1050">
              <a:solidFill>
                <a:schemeClr val="accent4"/>
              </a:solidFill>
            </a:endParaRPr>
          </a:p>
        </p:txBody>
      </p:sp>
      <p:sp>
        <p:nvSpPr>
          <p:cNvPr id="8" name="CuadroTexto 47">
            <a:extLst>
              <a:ext uri="{FF2B5EF4-FFF2-40B4-BE49-F238E27FC236}">
                <a16:creationId xmlns:a16="http://schemas.microsoft.com/office/drawing/2014/main" id="{EA3059C1-B6C1-4E5C-8CC9-EDEEF72F21E1}"/>
              </a:ext>
            </a:extLst>
          </p:cNvPr>
          <p:cNvSpPr txBox="1"/>
          <p:nvPr/>
        </p:nvSpPr>
        <p:spPr>
          <a:xfrm>
            <a:off x="13246" y="38633"/>
            <a:ext cx="12102613" cy="738664"/>
          </a:xfrm>
          <a:prstGeom prst="rect">
            <a:avLst/>
          </a:prstGeom>
          <a:noFill/>
          <a:ln>
            <a:noFill/>
          </a:ln>
        </p:spPr>
        <p:txBody>
          <a:bodyPr wrap="square" rtlCol="0">
            <a:spAutoFit/>
          </a:bodyPr>
          <a:lstStyle/>
          <a:p>
            <a:pPr algn="ctr"/>
            <a:r>
              <a:rPr lang="es-ES" sz="2400" b="1" dirty="0">
                <a:solidFill>
                  <a:srgbClr val="10476B"/>
                </a:solidFill>
                <a:latin typeface="Century Gothic" panose="020B0502020202020204" pitchFamily="34" charset="0"/>
                <a:cs typeface="Arial" panose="020B0604020202020204" pitchFamily="34" charset="0"/>
              </a:rPr>
              <a:t>Manual de Delegación de Autoridad (MAD) – Finanzas</a:t>
            </a:r>
          </a:p>
          <a:p>
            <a:pPr algn="ctr"/>
            <a:r>
              <a:rPr lang="es-ES" b="1" dirty="0">
                <a:solidFill>
                  <a:srgbClr val="10476B"/>
                </a:solidFill>
                <a:latin typeface="Century Gothic" panose="020B0502020202020204" pitchFamily="34" charset="0"/>
                <a:cs typeface="Arial" panose="020B0604020202020204" pitchFamily="34" charset="0"/>
              </a:rPr>
              <a:t>Proceso Nivel 1: Operaciones de Tesorería (1/3)</a:t>
            </a:r>
            <a:endParaRPr lang="es-CO" b="1" dirty="0">
              <a:solidFill>
                <a:srgbClr val="10476B"/>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32268956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 name="CuadroTexto 300">
            <a:extLst>
              <a:ext uri="{FF2B5EF4-FFF2-40B4-BE49-F238E27FC236}">
                <a16:creationId xmlns:a16="http://schemas.microsoft.com/office/drawing/2014/main" id="{0E573AE5-DF92-430B-AF2D-D0BFB9CB96C8}"/>
              </a:ext>
            </a:extLst>
          </p:cNvPr>
          <p:cNvSpPr txBox="1"/>
          <p:nvPr/>
        </p:nvSpPr>
        <p:spPr>
          <a:xfrm>
            <a:off x="4339375" y="3899708"/>
            <a:ext cx="7604254" cy="2160000"/>
          </a:xfrm>
          <a:prstGeom prst="rect">
            <a:avLst/>
          </a:prstGeom>
          <a:noFill/>
          <a:ln>
            <a:solidFill>
              <a:schemeClr val="accent6"/>
            </a:solidFill>
          </a:ln>
        </p:spPr>
        <p:txBody>
          <a:bodyPr wrap="square" rtlCol="0">
            <a:spAutoFit/>
          </a:bodyPr>
          <a:lstStyle/>
          <a:p>
            <a:endParaRPr lang="es-CO" sz="2000"/>
          </a:p>
        </p:txBody>
      </p:sp>
      <p:graphicFrame>
        <p:nvGraphicFramePr>
          <p:cNvPr id="5" name="Objeto 4" hidden="1">
            <a:extLst>
              <a:ext uri="{FF2B5EF4-FFF2-40B4-BE49-F238E27FC236}">
                <a16:creationId xmlns:a16="http://schemas.microsoft.com/office/drawing/2014/main" id="{0740088A-8ABF-414B-8746-763C3F660F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421" imgH="423" progId="TCLayout.ActiveDocument.1">
                  <p:embed/>
                </p:oleObj>
              </mc:Choice>
              <mc:Fallback>
                <p:oleObj name="Diapositiva de think-cell" r:id="rId5" imgW="421" imgH="423" progId="TCLayout.ActiveDocument.1">
                  <p:embed/>
                  <p:pic>
                    <p:nvPicPr>
                      <p:cNvPr id="5" name="Objeto 4" hidden="1">
                        <a:extLst>
                          <a:ext uri="{FF2B5EF4-FFF2-40B4-BE49-F238E27FC236}">
                            <a16:creationId xmlns:a16="http://schemas.microsoft.com/office/drawing/2014/main" id="{0740088A-8ABF-414B-8746-763C3F660F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42B40C10-F876-4F1B-842D-C3F6355B6C8A}"/>
              </a:ext>
            </a:extLst>
          </p:cNvPr>
          <p:cNvSpPr/>
          <p:nvPr>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419" sz="2000" b="1">
              <a:solidFill>
                <a:schemeClr val="tx1"/>
              </a:solidFill>
              <a:latin typeface="Arial" panose="020B0604020202020204" pitchFamily="34" charset="0"/>
              <a:ea typeface="+mj-ea"/>
              <a:cs typeface="+mj-cs"/>
              <a:sym typeface="Arial" panose="020B0604020202020204" pitchFamily="34" charset="0"/>
            </a:endParaRPr>
          </a:p>
        </p:txBody>
      </p:sp>
      <p:sp>
        <p:nvSpPr>
          <p:cNvPr id="2" name="Marcador de número de diapositiva 1">
            <a:extLst>
              <a:ext uri="{FF2B5EF4-FFF2-40B4-BE49-F238E27FC236}">
                <a16:creationId xmlns:a16="http://schemas.microsoft.com/office/drawing/2014/main" id="{3A93B487-116E-4767-AA0D-CAE2A460FBE4}"/>
              </a:ext>
            </a:extLst>
          </p:cNvPr>
          <p:cNvSpPr>
            <a:spLocks noGrp="1"/>
          </p:cNvSpPr>
          <p:nvPr>
            <p:ph type="sldNum" sz="quarter" idx="10"/>
          </p:nvPr>
        </p:nvSpPr>
        <p:spPr>
          <a:xfrm>
            <a:off x="11344876" y="6428983"/>
            <a:ext cx="847124" cy="365125"/>
          </a:xfrm>
        </p:spPr>
        <p:txBody>
          <a:bodyPr/>
          <a:lstStyle/>
          <a:p>
            <a:fld id="{02F25750-4209-4357-A72F-45445C8044EF}" type="slidenum">
              <a:rPr lang="es-CO" smtClean="0"/>
              <a:pPr/>
              <a:t>26</a:t>
            </a:fld>
            <a:endParaRPr lang="es-CO"/>
          </a:p>
        </p:txBody>
      </p:sp>
      <p:grpSp>
        <p:nvGrpSpPr>
          <p:cNvPr id="53" name="Grupo 52">
            <a:extLst>
              <a:ext uri="{FF2B5EF4-FFF2-40B4-BE49-F238E27FC236}">
                <a16:creationId xmlns:a16="http://schemas.microsoft.com/office/drawing/2014/main" id="{3873BDF9-02E9-44FD-9510-89955A3B3E89}"/>
              </a:ext>
            </a:extLst>
          </p:cNvPr>
          <p:cNvGrpSpPr/>
          <p:nvPr/>
        </p:nvGrpSpPr>
        <p:grpSpPr>
          <a:xfrm>
            <a:off x="4487913" y="4317335"/>
            <a:ext cx="1382137" cy="646331"/>
            <a:chOff x="9218732" y="3240922"/>
            <a:chExt cx="1382137" cy="646331"/>
          </a:xfrm>
        </p:grpSpPr>
        <p:sp>
          <p:nvSpPr>
            <p:cNvPr id="55" name="CuadroTexto 54">
              <a:extLst>
                <a:ext uri="{FF2B5EF4-FFF2-40B4-BE49-F238E27FC236}">
                  <a16:creationId xmlns:a16="http://schemas.microsoft.com/office/drawing/2014/main" id="{890E6358-E7F1-4BAE-B3A3-26D27855B414}"/>
                </a:ext>
              </a:extLst>
            </p:cNvPr>
            <p:cNvSpPr txBox="1"/>
            <p:nvPr/>
          </p:nvSpPr>
          <p:spPr>
            <a:xfrm>
              <a:off x="9218732" y="3451146"/>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56" name="CuadroTexto 55">
              <a:extLst>
                <a:ext uri="{FF2B5EF4-FFF2-40B4-BE49-F238E27FC236}">
                  <a16:creationId xmlns:a16="http://schemas.microsoft.com/office/drawing/2014/main" id="{30228C31-EF71-4412-B19C-CEFAE9DC60E1}"/>
                </a:ext>
              </a:extLst>
            </p:cNvPr>
            <p:cNvSpPr txBox="1"/>
            <p:nvPr/>
          </p:nvSpPr>
          <p:spPr>
            <a:xfrm>
              <a:off x="9611995" y="3240922"/>
              <a:ext cx="988874" cy="646331"/>
            </a:xfrm>
            <a:prstGeom prst="rect">
              <a:avLst/>
            </a:prstGeom>
            <a:noFill/>
          </p:spPr>
          <p:txBody>
            <a:bodyPr wrap="square" rtlCol="0" anchor="t">
              <a:spAutoFit/>
            </a:bodyPr>
            <a:lstStyle/>
            <a:p>
              <a:r>
                <a:rPr lang="es-ES" sz="900">
                  <a:solidFill>
                    <a:schemeClr val="accent1">
                      <a:lumMod val="25000"/>
                    </a:schemeClr>
                  </a:solidFill>
                </a:rPr>
                <a:t>Gerente de Operaciones Financieras</a:t>
              </a:r>
            </a:p>
            <a:p>
              <a:r>
                <a:rPr lang="es-ES" sz="900">
                  <a:solidFill>
                    <a:schemeClr val="accent1">
                      <a:lumMod val="25000"/>
                    </a:schemeClr>
                  </a:solidFill>
                </a:rPr>
                <a:t>20 %</a:t>
              </a:r>
              <a:endParaRPr lang="es-CO" sz="900">
                <a:solidFill>
                  <a:schemeClr val="accent1">
                    <a:lumMod val="25000"/>
                  </a:schemeClr>
                </a:solidFill>
              </a:endParaRPr>
            </a:p>
          </p:txBody>
        </p:sp>
      </p:grpSp>
      <p:sp>
        <p:nvSpPr>
          <p:cNvPr id="15" name="Rectangle 30">
            <a:extLst>
              <a:ext uri="{FF2B5EF4-FFF2-40B4-BE49-F238E27FC236}">
                <a16:creationId xmlns:a16="http://schemas.microsoft.com/office/drawing/2014/main" id="{F5F6020F-918E-4261-B79A-8D7C5966BB0C}"/>
              </a:ext>
            </a:extLst>
          </p:cNvPr>
          <p:cNvSpPr>
            <a:spLocks/>
          </p:cNvSpPr>
          <p:nvPr/>
        </p:nvSpPr>
        <p:spPr>
          <a:xfrm>
            <a:off x="4085803" y="2229235"/>
            <a:ext cx="2025939" cy="5652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utorizar el cruce de cuentas de los clientes</a:t>
            </a:r>
          </a:p>
        </p:txBody>
      </p:sp>
      <p:sp>
        <p:nvSpPr>
          <p:cNvPr id="16" name="Rectángulo 15">
            <a:extLst>
              <a:ext uri="{FF2B5EF4-FFF2-40B4-BE49-F238E27FC236}">
                <a16:creationId xmlns:a16="http://schemas.microsoft.com/office/drawing/2014/main" id="{ECDAB3D1-5BE4-45F7-BE33-9D8F60352953}"/>
              </a:ext>
            </a:extLst>
          </p:cNvPr>
          <p:cNvSpPr>
            <a:spLocks/>
          </p:cNvSpPr>
          <p:nvPr/>
        </p:nvSpPr>
        <p:spPr>
          <a:xfrm>
            <a:off x="4085372" y="934434"/>
            <a:ext cx="2026800" cy="1141200"/>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300">
                <a:solidFill>
                  <a:schemeClr val="tx2"/>
                </a:solidFill>
              </a:rPr>
              <a:t>Autorizaciones a clientes</a:t>
            </a:r>
          </a:p>
        </p:txBody>
      </p:sp>
      <p:sp>
        <p:nvSpPr>
          <p:cNvPr id="17" name="Elipse 16">
            <a:extLst>
              <a:ext uri="{FF2B5EF4-FFF2-40B4-BE49-F238E27FC236}">
                <a16:creationId xmlns:a16="http://schemas.microsoft.com/office/drawing/2014/main" id="{27EF5D95-3B07-44E6-B011-1AC68AA3644F}"/>
              </a:ext>
            </a:extLst>
          </p:cNvPr>
          <p:cNvSpPr/>
          <p:nvPr/>
        </p:nvSpPr>
        <p:spPr>
          <a:xfrm>
            <a:off x="3900144" y="815522"/>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6</a:t>
            </a:r>
            <a:endParaRPr lang="es-CO" sz="1200" b="1">
              <a:solidFill>
                <a:schemeClr val="bg1"/>
              </a:solidFill>
            </a:endParaRPr>
          </a:p>
        </p:txBody>
      </p:sp>
      <p:sp>
        <p:nvSpPr>
          <p:cNvPr id="19" name="Rectangle 30">
            <a:extLst>
              <a:ext uri="{FF2B5EF4-FFF2-40B4-BE49-F238E27FC236}">
                <a16:creationId xmlns:a16="http://schemas.microsoft.com/office/drawing/2014/main" id="{F04331EA-3C34-4632-A33B-964C955FEA5B}"/>
              </a:ext>
            </a:extLst>
          </p:cNvPr>
          <p:cNvSpPr>
            <a:spLocks/>
          </p:cNvSpPr>
          <p:nvPr/>
        </p:nvSpPr>
        <p:spPr>
          <a:xfrm>
            <a:off x="4085803" y="2976680"/>
            <a:ext cx="2025939" cy="5652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Descuentos otorgados por pronto pago de clientes</a:t>
            </a:r>
          </a:p>
        </p:txBody>
      </p:sp>
      <p:sp>
        <p:nvSpPr>
          <p:cNvPr id="21" name="CuadroTexto 20">
            <a:extLst>
              <a:ext uri="{FF2B5EF4-FFF2-40B4-BE49-F238E27FC236}">
                <a16:creationId xmlns:a16="http://schemas.microsoft.com/office/drawing/2014/main" id="{D56367BF-110C-466E-A427-18C278C78276}"/>
              </a:ext>
            </a:extLst>
          </p:cNvPr>
          <p:cNvSpPr txBox="1"/>
          <p:nvPr/>
        </p:nvSpPr>
        <p:spPr>
          <a:xfrm>
            <a:off x="4882772" y="2683762"/>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23" name="CuadroTexto 22">
            <a:extLst>
              <a:ext uri="{FF2B5EF4-FFF2-40B4-BE49-F238E27FC236}">
                <a16:creationId xmlns:a16="http://schemas.microsoft.com/office/drawing/2014/main" id="{53BFD633-DD81-4820-8BB0-84F3F711C502}"/>
              </a:ext>
            </a:extLst>
          </p:cNvPr>
          <p:cNvSpPr txBox="1"/>
          <p:nvPr/>
        </p:nvSpPr>
        <p:spPr>
          <a:xfrm>
            <a:off x="4882772" y="3449251"/>
            <a:ext cx="432000" cy="215444"/>
          </a:xfrm>
          <a:prstGeom prst="rect">
            <a:avLst/>
          </a:prstGeom>
          <a:solidFill>
            <a:schemeClr val="bg1"/>
          </a:solidFill>
          <a:ln w="19050">
            <a:solidFill>
              <a:srgbClr val="FF9999"/>
            </a:solidFill>
          </a:ln>
        </p:spPr>
        <p:txBody>
          <a:bodyPr wrap="square" rtlCol="0">
            <a:spAutoFit/>
          </a:bodyPr>
          <a:lstStyle/>
          <a:p>
            <a:pPr algn="ctr"/>
            <a:r>
              <a:rPr lang="es-ES" sz="800"/>
              <a:t>JT</a:t>
            </a:r>
            <a:endParaRPr lang="es-CO" sz="800"/>
          </a:p>
        </p:txBody>
      </p:sp>
      <p:grpSp>
        <p:nvGrpSpPr>
          <p:cNvPr id="22" name="Grupo 21">
            <a:extLst>
              <a:ext uri="{FF2B5EF4-FFF2-40B4-BE49-F238E27FC236}">
                <a16:creationId xmlns:a16="http://schemas.microsoft.com/office/drawing/2014/main" id="{2B98B6A7-7227-4CB8-80CE-DF246B94E3DA}"/>
              </a:ext>
            </a:extLst>
          </p:cNvPr>
          <p:cNvGrpSpPr/>
          <p:nvPr/>
        </p:nvGrpSpPr>
        <p:grpSpPr>
          <a:xfrm>
            <a:off x="10509057" y="4729502"/>
            <a:ext cx="1464689" cy="507831"/>
            <a:chOff x="8574512" y="3021098"/>
            <a:chExt cx="1464689" cy="507831"/>
          </a:xfrm>
        </p:grpSpPr>
        <p:sp>
          <p:nvSpPr>
            <p:cNvPr id="18" name="CuadroTexto 17">
              <a:extLst>
                <a:ext uri="{FF2B5EF4-FFF2-40B4-BE49-F238E27FC236}">
                  <a16:creationId xmlns:a16="http://schemas.microsoft.com/office/drawing/2014/main" id="{76E6C307-14D6-4CAF-BA46-BDFBBCCF6F26}"/>
                </a:ext>
              </a:extLst>
            </p:cNvPr>
            <p:cNvSpPr txBox="1"/>
            <p:nvPr/>
          </p:nvSpPr>
          <p:spPr>
            <a:xfrm>
              <a:off x="8574512" y="3138420"/>
              <a:ext cx="432000" cy="215444"/>
            </a:xfrm>
            <a:prstGeom prst="rect">
              <a:avLst/>
            </a:prstGeom>
            <a:solidFill>
              <a:schemeClr val="bg1"/>
            </a:solidFill>
            <a:ln w="19050">
              <a:solidFill>
                <a:srgbClr val="FFFF66"/>
              </a:solidFill>
            </a:ln>
          </p:spPr>
          <p:txBody>
            <a:bodyPr wrap="square" rtlCol="0">
              <a:spAutoFit/>
            </a:bodyPr>
            <a:lstStyle/>
            <a:p>
              <a:pPr algn="ctr"/>
              <a:r>
                <a:rPr lang="es-ES" sz="800"/>
                <a:t>AC</a:t>
              </a:r>
              <a:endParaRPr lang="es-CO" sz="800"/>
            </a:p>
          </p:txBody>
        </p:sp>
        <p:sp>
          <p:nvSpPr>
            <p:cNvPr id="20" name="CuadroTexto 19">
              <a:extLst>
                <a:ext uri="{FF2B5EF4-FFF2-40B4-BE49-F238E27FC236}">
                  <a16:creationId xmlns:a16="http://schemas.microsoft.com/office/drawing/2014/main" id="{61B4F436-B882-46F2-9213-21298E84A788}"/>
                </a:ext>
              </a:extLst>
            </p:cNvPr>
            <p:cNvSpPr txBox="1"/>
            <p:nvPr/>
          </p:nvSpPr>
          <p:spPr>
            <a:xfrm>
              <a:off x="9006512" y="3021098"/>
              <a:ext cx="1032689" cy="507831"/>
            </a:xfrm>
            <a:prstGeom prst="rect">
              <a:avLst/>
            </a:prstGeom>
            <a:noFill/>
          </p:spPr>
          <p:txBody>
            <a:bodyPr wrap="square" rtlCol="0">
              <a:spAutoFit/>
            </a:bodyPr>
            <a:lstStyle/>
            <a:p>
              <a:r>
                <a:rPr lang="es-ES" sz="900">
                  <a:solidFill>
                    <a:schemeClr val="accent1">
                      <a:lumMod val="25000"/>
                    </a:schemeClr>
                  </a:solidFill>
                </a:rPr>
                <a:t>Administrador de Contratos</a:t>
              </a:r>
            </a:p>
            <a:p>
              <a:r>
                <a:rPr lang="es-ES" sz="900">
                  <a:solidFill>
                    <a:schemeClr val="accent1">
                      <a:lumMod val="25000"/>
                    </a:schemeClr>
                  </a:solidFill>
                </a:rPr>
                <a:t>12 %</a:t>
              </a:r>
              <a:endParaRPr lang="es-CO" sz="900">
                <a:solidFill>
                  <a:schemeClr val="accent1">
                    <a:lumMod val="25000"/>
                  </a:schemeClr>
                </a:solidFill>
              </a:endParaRPr>
            </a:p>
          </p:txBody>
        </p:sp>
      </p:grpSp>
      <p:sp>
        <p:nvSpPr>
          <p:cNvPr id="69" name="Rectangle 30">
            <a:extLst>
              <a:ext uri="{FF2B5EF4-FFF2-40B4-BE49-F238E27FC236}">
                <a16:creationId xmlns:a16="http://schemas.microsoft.com/office/drawing/2014/main" id="{19A1630B-DA92-4FE5-8C69-AFF7139B1FFA}"/>
              </a:ext>
            </a:extLst>
          </p:cNvPr>
          <p:cNvSpPr>
            <a:spLocks/>
          </p:cNvSpPr>
          <p:nvPr/>
        </p:nvSpPr>
        <p:spPr>
          <a:xfrm>
            <a:off x="255616" y="4300715"/>
            <a:ext cx="3549356" cy="792000"/>
          </a:xfrm>
          <a:prstGeom prst="rect">
            <a:avLst/>
          </a:prstGeom>
          <a:solidFill>
            <a:schemeClr val="bg2">
              <a:lumMod val="95000"/>
              <a:alpha val="68000"/>
            </a:schemeClr>
          </a:solidFill>
          <a:ln w="2857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utorizar el pago de retenciones/</a:t>
            </a:r>
            <a:r>
              <a:rPr lang="es-ES" sz="1100" err="1">
                <a:solidFill>
                  <a:schemeClr val="tx2"/>
                </a:solidFill>
              </a:rPr>
              <a:t>autoretenciones</a:t>
            </a:r>
            <a:r>
              <a:rPr lang="es-ES" sz="1100">
                <a:solidFill>
                  <a:schemeClr val="tx2"/>
                </a:solidFill>
              </a:rPr>
              <a:t> en la fuente  (por renta, IVA, ICA, timbre, CREE, estampilla UNAL y contribución de obra pública) superiores a 200 SMLMV</a:t>
            </a:r>
          </a:p>
        </p:txBody>
      </p:sp>
      <p:sp>
        <p:nvSpPr>
          <p:cNvPr id="71" name="Rectángulo 70">
            <a:extLst>
              <a:ext uri="{FF2B5EF4-FFF2-40B4-BE49-F238E27FC236}">
                <a16:creationId xmlns:a16="http://schemas.microsoft.com/office/drawing/2014/main" id="{1781D2B9-25A1-4883-B3CF-CA0BB0C946D1}"/>
              </a:ext>
            </a:extLst>
          </p:cNvPr>
          <p:cNvSpPr>
            <a:spLocks/>
          </p:cNvSpPr>
          <p:nvPr/>
        </p:nvSpPr>
        <p:spPr>
          <a:xfrm>
            <a:off x="255616" y="934434"/>
            <a:ext cx="3549356" cy="346223"/>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300">
                <a:solidFill>
                  <a:schemeClr val="tx2"/>
                </a:solidFill>
              </a:rPr>
              <a:t>Autorizar pagos de impuestos liquidados</a:t>
            </a:r>
          </a:p>
        </p:txBody>
      </p:sp>
      <p:sp>
        <p:nvSpPr>
          <p:cNvPr id="73" name="Elipse 72">
            <a:extLst>
              <a:ext uri="{FF2B5EF4-FFF2-40B4-BE49-F238E27FC236}">
                <a16:creationId xmlns:a16="http://schemas.microsoft.com/office/drawing/2014/main" id="{B6699A73-EDB1-419B-ADD3-D71E0B177E0A}"/>
              </a:ext>
            </a:extLst>
          </p:cNvPr>
          <p:cNvSpPr/>
          <p:nvPr/>
        </p:nvSpPr>
        <p:spPr>
          <a:xfrm>
            <a:off x="98972" y="815522"/>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5</a:t>
            </a:r>
            <a:endParaRPr lang="es-CO" sz="1200" b="1">
              <a:solidFill>
                <a:schemeClr val="bg1"/>
              </a:solidFill>
            </a:endParaRPr>
          </a:p>
        </p:txBody>
      </p:sp>
      <p:sp>
        <p:nvSpPr>
          <p:cNvPr id="74" name="Rectangle 30">
            <a:extLst>
              <a:ext uri="{FF2B5EF4-FFF2-40B4-BE49-F238E27FC236}">
                <a16:creationId xmlns:a16="http://schemas.microsoft.com/office/drawing/2014/main" id="{02238FA8-CD97-4ED0-9834-B628DBE001FC}"/>
              </a:ext>
            </a:extLst>
          </p:cNvPr>
          <p:cNvSpPr>
            <a:spLocks/>
          </p:cNvSpPr>
          <p:nvPr/>
        </p:nvSpPr>
        <p:spPr>
          <a:xfrm>
            <a:off x="255616" y="1824227"/>
            <a:ext cx="3549356" cy="3384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utorizar el pago del impuesto de transporte</a:t>
            </a:r>
          </a:p>
        </p:txBody>
      </p:sp>
      <p:sp>
        <p:nvSpPr>
          <p:cNvPr id="219" name="Rectangle 30">
            <a:extLst>
              <a:ext uri="{FF2B5EF4-FFF2-40B4-BE49-F238E27FC236}">
                <a16:creationId xmlns:a16="http://schemas.microsoft.com/office/drawing/2014/main" id="{62FC86D8-1E1F-477E-A8C1-DE0EA4C4AB17}"/>
              </a:ext>
            </a:extLst>
          </p:cNvPr>
          <p:cNvSpPr>
            <a:spLocks/>
          </p:cNvSpPr>
          <p:nvPr/>
        </p:nvSpPr>
        <p:spPr>
          <a:xfrm>
            <a:off x="255616" y="2233814"/>
            <a:ext cx="3549356" cy="529168"/>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utorizar el pago de impuestos y contribuciones relacionadas a los activos inmobiliarios de la Compañía</a:t>
            </a:r>
          </a:p>
        </p:txBody>
      </p:sp>
      <p:sp>
        <p:nvSpPr>
          <p:cNvPr id="221" name="Rectangle 30">
            <a:extLst>
              <a:ext uri="{FF2B5EF4-FFF2-40B4-BE49-F238E27FC236}">
                <a16:creationId xmlns:a16="http://schemas.microsoft.com/office/drawing/2014/main" id="{C23958D9-8D2A-476C-A650-5C5842068126}"/>
              </a:ext>
            </a:extLst>
          </p:cNvPr>
          <p:cNvSpPr>
            <a:spLocks/>
          </p:cNvSpPr>
          <p:nvPr/>
        </p:nvSpPr>
        <p:spPr>
          <a:xfrm>
            <a:off x="255616" y="2835671"/>
            <a:ext cx="3549356" cy="4788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utorizar el pago del impuesto de renta e impuesto al patrimonio </a:t>
            </a:r>
          </a:p>
        </p:txBody>
      </p:sp>
      <p:sp>
        <p:nvSpPr>
          <p:cNvPr id="223" name="Rectangle 30">
            <a:extLst>
              <a:ext uri="{FF2B5EF4-FFF2-40B4-BE49-F238E27FC236}">
                <a16:creationId xmlns:a16="http://schemas.microsoft.com/office/drawing/2014/main" id="{99E0F853-4FD1-46B7-8A75-EA8670F01C90}"/>
              </a:ext>
            </a:extLst>
          </p:cNvPr>
          <p:cNvSpPr>
            <a:spLocks/>
          </p:cNvSpPr>
          <p:nvPr/>
        </p:nvSpPr>
        <p:spPr>
          <a:xfrm>
            <a:off x="255616" y="3411593"/>
            <a:ext cx="3549356" cy="792000"/>
          </a:xfrm>
          <a:prstGeom prst="rect">
            <a:avLst/>
          </a:prstGeom>
          <a:solidFill>
            <a:schemeClr val="bg2">
              <a:lumMod val="95000"/>
              <a:alpha val="68000"/>
            </a:schemeClr>
          </a:solidFill>
          <a:ln w="2857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utorizar el pago de retenciones/</a:t>
            </a:r>
            <a:r>
              <a:rPr lang="es-ES" sz="1100" err="1">
                <a:solidFill>
                  <a:schemeClr val="tx2"/>
                </a:solidFill>
              </a:rPr>
              <a:t>autoretenciones</a:t>
            </a:r>
            <a:r>
              <a:rPr lang="es-ES" sz="1100">
                <a:solidFill>
                  <a:schemeClr val="tx2"/>
                </a:solidFill>
              </a:rPr>
              <a:t> en la fuente (por renta, IVA, ICA, timbre, CREE, estampilla UNAL y contribución de obra pública) hasta 200 SMLMV</a:t>
            </a:r>
          </a:p>
        </p:txBody>
      </p:sp>
      <p:sp>
        <p:nvSpPr>
          <p:cNvPr id="233" name="Rectangle 30">
            <a:extLst>
              <a:ext uri="{FF2B5EF4-FFF2-40B4-BE49-F238E27FC236}">
                <a16:creationId xmlns:a16="http://schemas.microsoft.com/office/drawing/2014/main" id="{A9C794B6-CC7C-44F8-BC30-A0E42B3A6EAF}"/>
              </a:ext>
            </a:extLst>
          </p:cNvPr>
          <p:cNvSpPr>
            <a:spLocks/>
          </p:cNvSpPr>
          <p:nvPr/>
        </p:nvSpPr>
        <p:spPr>
          <a:xfrm>
            <a:off x="255616" y="5189837"/>
            <a:ext cx="3549356" cy="4788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utorizar el pago del impuesto de alumbrado público y estampillas</a:t>
            </a:r>
          </a:p>
        </p:txBody>
      </p:sp>
      <p:sp>
        <p:nvSpPr>
          <p:cNvPr id="235" name="Rectangle 30">
            <a:extLst>
              <a:ext uri="{FF2B5EF4-FFF2-40B4-BE49-F238E27FC236}">
                <a16:creationId xmlns:a16="http://schemas.microsoft.com/office/drawing/2014/main" id="{67397329-06CB-4EAD-BB20-9DB9C847A3B1}"/>
              </a:ext>
            </a:extLst>
          </p:cNvPr>
          <p:cNvSpPr>
            <a:spLocks/>
          </p:cNvSpPr>
          <p:nvPr/>
        </p:nvSpPr>
        <p:spPr>
          <a:xfrm>
            <a:off x="255616" y="5765759"/>
            <a:ext cx="3549356" cy="3384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utorizar el pago de estampillas</a:t>
            </a:r>
          </a:p>
        </p:txBody>
      </p:sp>
      <p:sp>
        <p:nvSpPr>
          <p:cNvPr id="237" name="Rectangle 30">
            <a:extLst>
              <a:ext uri="{FF2B5EF4-FFF2-40B4-BE49-F238E27FC236}">
                <a16:creationId xmlns:a16="http://schemas.microsoft.com/office/drawing/2014/main" id="{51598549-7FE1-4A9E-8F40-B2099285B661}"/>
              </a:ext>
            </a:extLst>
          </p:cNvPr>
          <p:cNvSpPr>
            <a:spLocks/>
          </p:cNvSpPr>
          <p:nvPr/>
        </p:nvSpPr>
        <p:spPr>
          <a:xfrm>
            <a:off x="254858" y="1363230"/>
            <a:ext cx="3549356" cy="3384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Autorizar el pago del impuesto sobre vehículos</a:t>
            </a:r>
          </a:p>
        </p:txBody>
      </p:sp>
      <p:sp>
        <p:nvSpPr>
          <p:cNvPr id="245" name="CuadroTexto 244">
            <a:extLst>
              <a:ext uri="{FF2B5EF4-FFF2-40B4-BE49-F238E27FC236}">
                <a16:creationId xmlns:a16="http://schemas.microsoft.com/office/drawing/2014/main" id="{949AE6BC-C4BD-42D8-A565-AB7EDB4317E3}"/>
              </a:ext>
            </a:extLst>
          </p:cNvPr>
          <p:cNvSpPr txBox="1"/>
          <p:nvPr/>
        </p:nvSpPr>
        <p:spPr>
          <a:xfrm>
            <a:off x="3373730" y="2044691"/>
            <a:ext cx="432000" cy="215444"/>
          </a:xfrm>
          <a:prstGeom prst="rect">
            <a:avLst/>
          </a:prstGeom>
          <a:solidFill>
            <a:schemeClr val="bg1"/>
          </a:solidFill>
          <a:ln w="19050">
            <a:solidFill>
              <a:srgbClr val="00FF00"/>
            </a:solidFill>
          </a:ln>
        </p:spPr>
        <p:txBody>
          <a:bodyPr wrap="square" rtlCol="0">
            <a:spAutoFit/>
          </a:bodyPr>
          <a:lstStyle/>
          <a:p>
            <a:pPr algn="ctr"/>
            <a:r>
              <a:rPr lang="es-ES" sz="800"/>
              <a:t>JC</a:t>
            </a:r>
            <a:endParaRPr lang="es-CO" sz="800"/>
          </a:p>
        </p:txBody>
      </p:sp>
      <p:grpSp>
        <p:nvGrpSpPr>
          <p:cNvPr id="246" name="Grupo 245">
            <a:extLst>
              <a:ext uri="{FF2B5EF4-FFF2-40B4-BE49-F238E27FC236}">
                <a16:creationId xmlns:a16="http://schemas.microsoft.com/office/drawing/2014/main" id="{33576133-5A00-4266-B126-B2653B04E131}"/>
              </a:ext>
            </a:extLst>
          </p:cNvPr>
          <p:cNvGrpSpPr/>
          <p:nvPr/>
        </p:nvGrpSpPr>
        <p:grpSpPr>
          <a:xfrm>
            <a:off x="9137145" y="4394821"/>
            <a:ext cx="1464689" cy="507831"/>
            <a:chOff x="8574512" y="3021099"/>
            <a:chExt cx="1464689" cy="507831"/>
          </a:xfrm>
        </p:grpSpPr>
        <p:sp>
          <p:nvSpPr>
            <p:cNvPr id="247" name="CuadroTexto 246">
              <a:extLst>
                <a:ext uri="{FF2B5EF4-FFF2-40B4-BE49-F238E27FC236}">
                  <a16:creationId xmlns:a16="http://schemas.microsoft.com/office/drawing/2014/main" id="{B8484EBA-632F-468B-8A55-DF6D49291298}"/>
                </a:ext>
              </a:extLst>
            </p:cNvPr>
            <p:cNvSpPr txBox="1"/>
            <p:nvPr/>
          </p:nvSpPr>
          <p:spPr>
            <a:xfrm>
              <a:off x="8574512" y="3138420"/>
              <a:ext cx="432000" cy="215444"/>
            </a:xfrm>
            <a:prstGeom prst="rect">
              <a:avLst/>
            </a:prstGeom>
            <a:solidFill>
              <a:schemeClr val="bg1"/>
            </a:solidFill>
            <a:ln w="19050">
              <a:solidFill>
                <a:srgbClr val="E09AE2"/>
              </a:solidFill>
            </a:ln>
          </p:spPr>
          <p:txBody>
            <a:bodyPr wrap="square" rtlCol="0">
              <a:spAutoFit/>
            </a:bodyPr>
            <a:lstStyle/>
            <a:p>
              <a:pPr algn="ctr"/>
              <a:r>
                <a:rPr lang="es-ES" sz="800"/>
                <a:t>JTG</a:t>
              </a:r>
              <a:endParaRPr lang="es-CO" sz="800"/>
            </a:p>
          </p:txBody>
        </p:sp>
        <p:sp>
          <p:nvSpPr>
            <p:cNvPr id="248" name="CuadroTexto 247">
              <a:extLst>
                <a:ext uri="{FF2B5EF4-FFF2-40B4-BE49-F238E27FC236}">
                  <a16:creationId xmlns:a16="http://schemas.microsoft.com/office/drawing/2014/main" id="{341C5711-6039-4120-9EF9-63F5E71B5122}"/>
                </a:ext>
              </a:extLst>
            </p:cNvPr>
            <p:cNvSpPr txBox="1"/>
            <p:nvPr/>
          </p:nvSpPr>
          <p:spPr>
            <a:xfrm>
              <a:off x="9006512" y="3021099"/>
              <a:ext cx="1032689" cy="507831"/>
            </a:xfrm>
            <a:prstGeom prst="rect">
              <a:avLst/>
            </a:prstGeom>
            <a:noFill/>
          </p:spPr>
          <p:txBody>
            <a:bodyPr wrap="square" rtlCol="0">
              <a:spAutoFit/>
            </a:bodyPr>
            <a:lstStyle/>
            <a:p>
              <a:r>
                <a:rPr lang="es-ES" sz="900">
                  <a:solidFill>
                    <a:schemeClr val="accent1">
                      <a:lumMod val="25000"/>
                    </a:schemeClr>
                  </a:solidFill>
                </a:rPr>
                <a:t>Jefe de Tierras y Geomática</a:t>
              </a:r>
            </a:p>
            <a:p>
              <a:r>
                <a:rPr lang="es-ES" sz="900">
                  <a:solidFill>
                    <a:schemeClr val="accent1">
                      <a:lumMod val="25000"/>
                    </a:schemeClr>
                  </a:solidFill>
                </a:rPr>
                <a:t>4 %</a:t>
              </a:r>
              <a:endParaRPr lang="es-CO" sz="900">
                <a:solidFill>
                  <a:schemeClr val="accent1">
                    <a:lumMod val="25000"/>
                  </a:schemeClr>
                </a:solidFill>
              </a:endParaRPr>
            </a:p>
          </p:txBody>
        </p:sp>
      </p:grpSp>
      <p:sp>
        <p:nvSpPr>
          <p:cNvPr id="250" name="CuadroTexto 249">
            <a:extLst>
              <a:ext uri="{FF2B5EF4-FFF2-40B4-BE49-F238E27FC236}">
                <a16:creationId xmlns:a16="http://schemas.microsoft.com/office/drawing/2014/main" id="{283034AC-573E-4107-9EF2-89F51EF2A205}"/>
              </a:ext>
            </a:extLst>
          </p:cNvPr>
          <p:cNvSpPr txBox="1"/>
          <p:nvPr/>
        </p:nvSpPr>
        <p:spPr>
          <a:xfrm>
            <a:off x="3373730" y="2579189"/>
            <a:ext cx="432000" cy="215444"/>
          </a:xfrm>
          <a:prstGeom prst="rect">
            <a:avLst/>
          </a:prstGeom>
          <a:solidFill>
            <a:schemeClr val="bg1"/>
          </a:solidFill>
          <a:ln w="19050">
            <a:solidFill>
              <a:srgbClr val="E09AE2"/>
            </a:solidFill>
          </a:ln>
        </p:spPr>
        <p:txBody>
          <a:bodyPr wrap="square" rtlCol="0">
            <a:spAutoFit/>
          </a:bodyPr>
          <a:lstStyle/>
          <a:p>
            <a:pPr algn="ctr"/>
            <a:r>
              <a:rPr lang="es-ES" sz="800"/>
              <a:t>JTG</a:t>
            </a:r>
            <a:endParaRPr lang="es-CO" sz="800"/>
          </a:p>
        </p:txBody>
      </p:sp>
      <p:grpSp>
        <p:nvGrpSpPr>
          <p:cNvPr id="251" name="Grupo 250">
            <a:extLst>
              <a:ext uri="{FF2B5EF4-FFF2-40B4-BE49-F238E27FC236}">
                <a16:creationId xmlns:a16="http://schemas.microsoft.com/office/drawing/2014/main" id="{02EFA6D4-9012-466E-B2A2-328E003E9AE2}"/>
              </a:ext>
            </a:extLst>
          </p:cNvPr>
          <p:cNvGrpSpPr/>
          <p:nvPr/>
        </p:nvGrpSpPr>
        <p:grpSpPr>
          <a:xfrm>
            <a:off x="7551208" y="5154274"/>
            <a:ext cx="1464689" cy="369332"/>
            <a:chOff x="8574512" y="3075690"/>
            <a:chExt cx="1464689" cy="369332"/>
          </a:xfrm>
        </p:grpSpPr>
        <p:sp>
          <p:nvSpPr>
            <p:cNvPr id="252" name="CuadroTexto 251">
              <a:extLst>
                <a:ext uri="{FF2B5EF4-FFF2-40B4-BE49-F238E27FC236}">
                  <a16:creationId xmlns:a16="http://schemas.microsoft.com/office/drawing/2014/main" id="{0069B35A-C24F-4A0A-9A31-0FFD81D00CC0}"/>
                </a:ext>
              </a:extLst>
            </p:cNvPr>
            <p:cNvSpPr txBox="1"/>
            <p:nvPr/>
          </p:nvSpPr>
          <p:spPr>
            <a:xfrm>
              <a:off x="8574512" y="3138420"/>
              <a:ext cx="432000" cy="215444"/>
            </a:xfrm>
            <a:prstGeom prst="rect">
              <a:avLst/>
            </a:prstGeom>
            <a:solidFill>
              <a:schemeClr val="bg1"/>
            </a:solidFill>
            <a:ln w="19050">
              <a:solidFill>
                <a:srgbClr val="336699"/>
              </a:solidFill>
            </a:ln>
          </p:spPr>
          <p:txBody>
            <a:bodyPr wrap="square" rtlCol="0">
              <a:spAutoFit/>
            </a:bodyPr>
            <a:lstStyle/>
            <a:p>
              <a:pPr algn="ctr"/>
              <a:r>
                <a:rPr lang="es-ES" sz="800"/>
                <a:t>JTR</a:t>
              </a:r>
              <a:endParaRPr lang="es-CO" sz="800"/>
            </a:p>
          </p:txBody>
        </p:sp>
        <p:sp>
          <p:nvSpPr>
            <p:cNvPr id="253" name="CuadroTexto 252">
              <a:extLst>
                <a:ext uri="{FF2B5EF4-FFF2-40B4-BE49-F238E27FC236}">
                  <a16:creationId xmlns:a16="http://schemas.microsoft.com/office/drawing/2014/main" id="{45FCA639-0D47-47C8-B1D3-8D8990C817EE}"/>
                </a:ext>
              </a:extLst>
            </p:cNvPr>
            <p:cNvSpPr txBox="1"/>
            <p:nvPr/>
          </p:nvSpPr>
          <p:spPr>
            <a:xfrm>
              <a:off x="9006512" y="3075690"/>
              <a:ext cx="1032689" cy="369332"/>
            </a:xfrm>
            <a:prstGeom prst="rect">
              <a:avLst/>
            </a:prstGeom>
            <a:noFill/>
          </p:spPr>
          <p:txBody>
            <a:bodyPr wrap="square" rtlCol="0">
              <a:spAutoFit/>
            </a:bodyPr>
            <a:lstStyle/>
            <a:p>
              <a:r>
                <a:rPr lang="es-ES" sz="900">
                  <a:solidFill>
                    <a:schemeClr val="accent1">
                      <a:lumMod val="25000"/>
                    </a:schemeClr>
                  </a:solidFill>
                </a:rPr>
                <a:t>Jefe Tributario</a:t>
              </a:r>
            </a:p>
            <a:p>
              <a:r>
                <a:rPr lang="es-ES" sz="900">
                  <a:solidFill>
                    <a:schemeClr val="accent1">
                      <a:lumMod val="25000"/>
                    </a:schemeClr>
                  </a:solidFill>
                </a:rPr>
                <a:t>4 %</a:t>
              </a:r>
              <a:endParaRPr lang="es-CO" sz="900">
                <a:solidFill>
                  <a:schemeClr val="accent1">
                    <a:lumMod val="25000"/>
                  </a:schemeClr>
                </a:solidFill>
              </a:endParaRPr>
            </a:p>
          </p:txBody>
        </p:sp>
      </p:grpSp>
      <p:sp>
        <p:nvSpPr>
          <p:cNvPr id="259" name="CuadroTexto 258">
            <a:extLst>
              <a:ext uri="{FF2B5EF4-FFF2-40B4-BE49-F238E27FC236}">
                <a16:creationId xmlns:a16="http://schemas.microsoft.com/office/drawing/2014/main" id="{06833351-5094-45E5-BD2C-6B56549573F5}"/>
              </a:ext>
            </a:extLst>
          </p:cNvPr>
          <p:cNvSpPr txBox="1"/>
          <p:nvPr/>
        </p:nvSpPr>
        <p:spPr>
          <a:xfrm>
            <a:off x="3373730" y="3117957"/>
            <a:ext cx="432000" cy="215444"/>
          </a:xfrm>
          <a:prstGeom prst="rect">
            <a:avLst/>
          </a:prstGeom>
          <a:solidFill>
            <a:schemeClr val="bg1"/>
          </a:solidFill>
          <a:ln w="19050">
            <a:solidFill>
              <a:srgbClr val="336699"/>
            </a:solidFill>
          </a:ln>
        </p:spPr>
        <p:txBody>
          <a:bodyPr wrap="square" rtlCol="0">
            <a:spAutoFit/>
          </a:bodyPr>
          <a:lstStyle/>
          <a:p>
            <a:pPr algn="ctr"/>
            <a:r>
              <a:rPr lang="es-ES" sz="800"/>
              <a:t>JTR</a:t>
            </a:r>
            <a:endParaRPr lang="es-CO" sz="800"/>
          </a:p>
        </p:txBody>
      </p:sp>
      <p:grpSp>
        <p:nvGrpSpPr>
          <p:cNvPr id="260" name="Grupo 259">
            <a:extLst>
              <a:ext uri="{FF2B5EF4-FFF2-40B4-BE49-F238E27FC236}">
                <a16:creationId xmlns:a16="http://schemas.microsoft.com/office/drawing/2014/main" id="{5094BFE4-6DFA-4A2B-A74D-946C007D2253}"/>
              </a:ext>
            </a:extLst>
          </p:cNvPr>
          <p:cNvGrpSpPr/>
          <p:nvPr/>
        </p:nvGrpSpPr>
        <p:grpSpPr>
          <a:xfrm>
            <a:off x="9147552" y="5129684"/>
            <a:ext cx="1464689" cy="507831"/>
            <a:chOff x="8574512" y="2936816"/>
            <a:chExt cx="1464689" cy="507831"/>
          </a:xfrm>
        </p:grpSpPr>
        <p:sp>
          <p:nvSpPr>
            <p:cNvPr id="261" name="CuadroTexto 260">
              <a:extLst>
                <a:ext uri="{FF2B5EF4-FFF2-40B4-BE49-F238E27FC236}">
                  <a16:creationId xmlns:a16="http://schemas.microsoft.com/office/drawing/2014/main" id="{08D97BAE-17E1-45F6-9117-4038993B3089}"/>
                </a:ext>
              </a:extLst>
            </p:cNvPr>
            <p:cNvSpPr txBox="1"/>
            <p:nvPr/>
          </p:nvSpPr>
          <p:spPr>
            <a:xfrm>
              <a:off x="8574512" y="3138420"/>
              <a:ext cx="432000" cy="215444"/>
            </a:xfrm>
            <a:prstGeom prst="rect">
              <a:avLst/>
            </a:prstGeom>
            <a:solidFill>
              <a:schemeClr val="bg1"/>
            </a:solidFill>
            <a:ln w="19050">
              <a:solidFill>
                <a:srgbClr val="FF0000"/>
              </a:solidFill>
            </a:ln>
          </p:spPr>
          <p:txBody>
            <a:bodyPr wrap="square" rtlCol="0">
              <a:spAutoFit/>
            </a:bodyPr>
            <a:lstStyle/>
            <a:p>
              <a:pPr algn="ctr"/>
              <a:r>
                <a:rPr lang="es-ES" sz="800"/>
                <a:t>ET</a:t>
              </a:r>
              <a:endParaRPr lang="es-CO" sz="800"/>
            </a:p>
          </p:txBody>
        </p:sp>
        <p:sp>
          <p:nvSpPr>
            <p:cNvPr id="262" name="CuadroTexto 261">
              <a:extLst>
                <a:ext uri="{FF2B5EF4-FFF2-40B4-BE49-F238E27FC236}">
                  <a16:creationId xmlns:a16="http://schemas.microsoft.com/office/drawing/2014/main" id="{C9754506-870B-4CD8-8AE9-F1B3BA7B6C91}"/>
                </a:ext>
              </a:extLst>
            </p:cNvPr>
            <p:cNvSpPr txBox="1"/>
            <p:nvPr/>
          </p:nvSpPr>
          <p:spPr>
            <a:xfrm>
              <a:off x="9006512" y="2936816"/>
              <a:ext cx="1032689" cy="507831"/>
            </a:xfrm>
            <a:prstGeom prst="rect">
              <a:avLst/>
            </a:prstGeom>
            <a:noFill/>
          </p:spPr>
          <p:txBody>
            <a:bodyPr wrap="square" rtlCol="0">
              <a:spAutoFit/>
            </a:bodyPr>
            <a:lstStyle/>
            <a:p>
              <a:r>
                <a:rPr lang="es-ES" sz="900">
                  <a:solidFill>
                    <a:schemeClr val="accent1">
                      <a:lumMod val="25000"/>
                    </a:schemeClr>
                  </a:solidFill>
                </a:rPr>
                <a:t>Especialista Tributario</a:t>
              </a:r>
            </a:p>
            <a:p>
              <a:r>
                <a:rPr lang="es-ES" sz="900">
                  <a:solidFill>
                    <a:schemeClr val="accent1">
                      <a:lumMod val="25000"/>
                    </a:schemeClr>
                  </a:solidFill>
                </a:rPr>
                <a:t>2 %</a:t>
              </a:r>
              <a:endParaRPr lang="es-CO" sz="900">
                <a:solidFill>
                  <a:schemeClr val="accent1">
                    <a:lumMod val="25000"/>
                  </a:schemeClr>
                </a:solidFill>
              </a:endParaRPr>
            </a:p>
          </p:txBody>
        </p:sp>
      </p:grpSp>
      <p:sp>
        <p:nvSpPr>
          <p:cNvPr id="264" name="CuadroTexto 263">
            <a:extLst>
              <a:ext uri="{FF2B5EF4-FFF2-40B4-BE49-F238E27FC236}">
                <a16:creationId xmlns:a16="http://schemas.microsoft.com/office/drawing/2014/main" id="{38FBE262-4DE2-4BFB-92ED-2D8B628EA74B}"/>
              </a:ext>
            </a:extLst>
          </p:cNvPr>
          <p:cNvSpPr txBox="1"/>
          <p:nvPr/>
        </p:nvSpPr>
        <p:spPr>
          <a:xfrm>
            <a:off x="3373730" y="4003822"/>
            <a:ext cx="432000" cy="215444"/>
          </a:xfrm>
          <a:prstGeom prst="rect">
            <a:avLst/>
          </a:prstGeom>
          <a:solidFill>
            <a:schemeClr val="bg1"/>
          </a:solidFill>
          <a:ln w="19050">
            <a:solidFill>
              <a:srgbClr val="FF0000"/>
            </a:solidFill>
          </a:ln>
        </p:spPr>
        <p:txBody>
          <a:bodyPr wrap="square" rtlCol="0">
            <a:spAutoFit/>
          </a:bodyPr>
          <a:lstStyle/>
          <a:p>
            <a:pPr algn="ctr"/>
            <a:r>
              <a:rPr lang="es-ES" sz="800"/>
              <a:t>ET</a:t>
            </a:r>
            <a:endParaRPr lang="es-CO" sz="800"/>
          </a:p>
        </p:txBody>
      </p:sp>
      <p:sp>
        <p:nvSpPr>
          <p:cNvPr id="266" name="CuadroTexto 265">
            <a:extLst>
              <a:ext uri="{FF2B5EF4-FFF2-40B4-BE49-F238E27FC236}">
                <a16:creationId xmlns:a16="http://schemas.microsoft.com/office/drawing/2014/main" id="{3F5EB619-321B-4051-ADC8-A5FF99ED0CED}"/>
              </a:ext>
            </a:extLst>
          </p:cNvPr>
          <p:cNvSpPr txBox="1"/>
          <p:nvPr/>
        </p:nvSpPr>
        <p:spPr>
          <a:xfrm>
            <a:off x="3373730" y="4891433"/>
            <a:ext cx="432000" cy="215444"/>
          </a:xfrm>
          <a:prstGeom prst="rect">
            <a:avLst/>
          </a:prstGeom>
          <a:solidFill>
            <a:schemeClr val="bg1"/>
          </a:solidFill>
          <a:ln w="19050">
            <a:solidFill>
              <a:srgbClr val="336699"/>
            </a:solidFill>
          </a:ln>
        </p:spPr>
        <p:txBody>
          <a:bodyPr wrap="square" rtlCol="0">
            <a:spAutoFit/>
          </a:bodyPr>
          <a:lstStyle/>
          <a:p>
            <a:pPr algn="ctr"/>
            <a:r>
              <a:rPr lang="es-ES" sz="800"/>
              <a:t>JTR</a:t>
            </a:r>
            <a:endParaRPr lang="es-CO" sz="800"/>
          </a:p>
        </p:txBody>
      </p:sp>
      <p:sp>
        <p:nvSpPr>
          <p:cNvPr id="268" name="CuadroTexto 267">
            <a:extLst>
              <a:ext uri="{FF2B5EF4-FFF2-40B4-BE49-F238E27FC236}">
                <a16:creationId xmlns:a16="http://schemas.microsoft.com/office/drawing/2014/main" id="{BA6697D6-3D1D-4926-859F-D1F6118C71E9}"/>
              </a:ext>
            </a:extLst>
          </p:cNvPr>
          <p:cNvSpPr txBox="1"/>
          <p:nvPr/>
        </p:nvSpPr>
        <p:spPr>
          <a:xfrm>
            <a:off x="3373730" y="5461852"/>
            <a:ext cx="432000" cy="215444"/>
          </a:xfrm>
          <a:prstGeom prst="rect">
            <a:avLst/>
          </a:prstGeom>
          <a:solidFill>
            <a:schemeClr val="bg1"/>
          </a:solidFill>
          <a:ln w="19050">
            <a:solidFill>
              <a:srgbClr val="FFFF66"/>
            </a:solidFill>
          </a:ln>
        </p:spPr>
        <p:txBody>
          <a:bodyPr wrap="square" rtlCol="0">
            <a:spAutoFit/>
          </a:bodyPr>
          <a:lstStyle/>
          <a:p>
            <a:pPr algn="ctr"/>
            <a:r>
              <a:rPr lang="es-ES" sz="800"/>
              <a:t>AC</a:t>
            </a:r>
            <a:endParaRPr lang="es-CO" sz="800"/>
          </a:p>
        </p:txBody>
      </p:sp>
      <p:sp>
        <p:nvSpPr>
          <p:cNvPr id="270" name="CuadroTexto 269">
            <a:extLst>
              <a:ext uri="{FF2B5EF4-FFF2-40B4-BE49-F238E27FC236}">
                <a16:creationId xmlns:a16="http://schemas.microsoft.com/office/drawing/2014/main" id="{E0A77003-E797-44F0-AA39-E958F4CCF4F6}"/>
              </a:ext>
            </a:extLst>
          </p:cNvPr>
          <p:cNvSpPr txBox="1"/>
          <p:nvPr/>
        </p:nvSpPr>
        <p:spPr>
          <a:xfrm>
            <a:off x="3373730" y="5970370"/>
            <a:ext cx="432000" cy="215444"/>
          </a:xfrm>
          <a:prstGeom prst="rect">
            <a:avLst/>
          </a:prstGeom>
          <a:solidFill>
            <a:schemeClr val="bg1"/>
          </a:solidFill>
          <a:ln w="19050">
            <a:solidFill>
              <a:srgbClr val="FFFF66"/>
            </a:solidFill>
          </a:ln>
        </p:spPr>
        <p:txBody>
          <a:bodyPr wrap="square" rtlCol="0">
            <a:spAutoFit/>
          </a:bodyPr>
          <a:lstStyle/>
          <a:p>
            <a:pPr algn="ctr"/>
            <a:r>
              <a:rPr lang="es-ES" sz="800"/>
              <a:t>AC</a:t>
            </a:r>
            <a:endParaRPr lang="es-CO" sz="800"/>
          </a:p>
        </p:txBody>
      </p:sp>
      <p:grpSp>
        <p:nvGrpSpPr>
          <p:cNvPr id="271" name="Grupo 270">
            <a:extLst>
              <a:ext uri="{FF2B5EF4-FFF2-40B4-BE49-F238E27FC236}">
                <a16:creationId xmlns:a16="http://schemas.microsoft.com/office/drawing/2014/main" id="{766436A5-C27B-4952-9D9F-B481DE6E179A}"/>
              </a:ext>
            </a:extLst>
          </p:cNvPr>
          <p:cNvGrpSpPr/>
          <p:nvPr/>
        </p:nvGrpSpPr>
        <p:grpSpPr>
          <a:xfrm>
            <a:off x="5952883" y="4369675"/>
            <a:ext cx="1464689" cy="507831"/>
            <a:chOff x="8574512" y="3023492"/>
            <a:chExt cx="1464689" cy="507831"/>
          </a:xfrm>
        </p:grpSpPr>
        <p:sp>
          <p:nvSpPr>
            <p:cNvPr id="272" name="CuadroTexto 271">
              <a:extLst>
                <a:ext uri="{FF2B5EF4-FFF2-40B4-BE49-F238E27FC236}">
                  <a16:creationId xmlns:a16="http://schemas.microsoft.com/office/drawing/2014/main" id="{EBD1B0C5-8E1A-4AB2-A905-5E75134BE2FD}"/>
                </a:ext>
              </a:extLst>
            </p:cNvPr>
            <p:cNvSpPr txBox="1"/>
            <p:nvPr/>
          </p:nvSpPr>
          <p:spPr>
            <a:xfrm>
              <a:off x="8574512" y="3138420"/>
              <a:ext cx="432000" cy="215444"/>
            </a:xfrm>
            <a:prstGeom prst="rect">
              <a:avLst/>
            </a:prstGeom>
            <a:solidFill>
              <a:schemeClr val="bg1"/>
            </a:solidFill>
            <a:ln w="19050">
              <a:solidFill>
                <a:srgbClr val="FF00FF"/>
              </a:solidFill>
            </a:ln>
          </p:spPr>
          <p:txBody>
            <a:bodyPr wrap="square" rtlCol="0">
              <a:spAutoFit/>
            </a:bodyPr>
            <a:lstStyle/>
            <a:p>
              <a:pPr algn="ctr"/>
              <a:r>
                <a:rPr lang="es-ES" sz="800"/>
                <a:t>GA</a:t>
              </a:r>
              <a:endParaRPr lang="es-CO" sz="800"/>
            </a:p>
          </p:txBody>
        </p:sp>
        <p:sp>
          <p:nvSpPr>
            <p:cNvPr id="273" name="CuadroTexto 272">
              <a:extLst>
                <a:ext uri="{FF2B5EF4-FFF2-40B4-BE49-F238E27FC236}">
                  <a16:creationId xmlns:a16="http://schemas.microsoft.com/office/drawing/2014/main" id="{EA361EF9-01F1-454A-A9C1-4547F2902902}"/>
                </a:ext>
              </a:extLst>
            </p:cNvPr>
            <p:cNvSpPr txBox="1"/>
            <p:nvPr/>
          </p:nvSpPr>
          <p:spPr>
            <a:xfrm>
              <a:off x="9006512" y="3023492"/>
              <a:ext cx="1032689" cy="507831"/>
            </a:xfrm>
            <a:prstGeom prst="rect">
              <a:avLst/>
            </a:prstGeom>
            <a:noFill/>
          </p:spPr>
          <p:txBody>
            <a:bodyPr wrap="square" rtlCol="0">
              <a:spAutoFit/>
            </a:bodyPr>
            <a:lstStyle/>
            <a:p>
              <a:r>
                <a:rPr lang="es-ES" sz="900">
                  <a:solidFill>
                    <a:schemeClr val="accent1">
                      <a:lumMod val="25000"/>
                    </a:schemeClr>
                  </a:solidFill>
                </a:rPr>
                <a:t>Gerente Administrativa</a:t>
              </a:r>
            </a:p>
            <a:p>
              <a:r>
                <a:rPr lang="es-ES" sz="900">
                  <a:solidFill>
                    <a:schemeClr val="accent1">
                      <a:lumMod val="25000"/>
                    </a:schemeClr>
                  </a:solidFill>
                </a:rPr>
                <a:t>2 %</a:t>
              </a:r>
              <a:endParaRPr lang="es-CO" sz="900">
                <a:solidFill>
                  <a:schemeClr val="accent1">
                    <a:lumMod val="25000"/>
                  </a:schemeClr>
                </a:solidFill>
              </a:endParaRPr>
            </a:p>
          </p:txBody>
        </p:sp>
      </p:grpSp>
      <p:sp>
        <p:nvSpPr>
          <p:cNvPr id="275" name="CuadroTexto 274">
            <a:extLst>
              <a:ext uri="{FF2B5EF4-FFF2-40B4-BE49-F238E27FC236}">
                <a16:creationId xmlns:a16="http://schemas.microsoft.com/office/drawing/2014/main" id="{AA44D995-3733-4034-9C79-2150FB82BEAD}"/>
              </a:ext>
            </a:extLst>
          </p:cNvPr>
          <p:cNvSpPr txBox="1"/>
          <p:nvPr/>
        </p:nvSpPr>
        <p:spPr>
          <a:xfrm>
            <a:off x="3372972" y="1613444"/>
            <a:ext cx="432000" cy="215444"/>
          </a:xfrm>
          <a:prstGeom prst="rect">
            <a:avLst/>
          </a:prstGeom>
          <a:solidFill>
            <a:schemeClr val="bg1"/>
          </a:solidFill>
          <a:ln w="19050">
            <a:solidFill>
              <a:srgbClr val="FF00FF"/>
            </a:solidFill>
          </a:ln>
        </p:spPr>
        <p:txBody>
          <a:bodyPr wrap="square" rtlCol="0">
            <a:spAutoFit/>
          </a:bodyPr>
          <a:lstStyle/>
          <a:p>
            <a:pPr algn="ctr"/>
            <a:r>
              <a:rPr lang="es-ES" sz="800"/>
              <a:t>GA</a:t>
            </a:r>
            <a:endParaRPr lang="es-CO" sz="800"/>
          </a:p>
        </p:txBody>
      </p:sp>
      <p:sp>
        <p:nvSpPr>
          <p:cNvPr id="277" name="Rectangle 30">
            <a:extLst>
              <a:ext uri="{FF2B5EF4-FFF2-40B4-BE49-F238E27FC236}">
                <a16:creationId xmlns:a16="http://schemas.microsoft.com/office/drawing/2014/main" id="{8C179BE5-9C31-4DC6-92CF-18666A46155E}"/>
              </a:ext>
            </a:extLst>
          </p:cNvPr>
          <p:cNvSpPr>
            <a:spLocks/>
          </p:cNvSpPr>
          <p:nvPr/>
        </p:nvSpPr>
        <p:spPr>
          <a:xfrm>
            <a:off x="9047663" y="2950877"/>
            <a:ext cx="2865600" cy="565797"/>
          </a:xfrm>
          <a:prstGeom prst="rect">
            <a:avLst/>
          </a:prstGeom>
          <a:solidFill>
            <a:schemeClr val="bg2">
              <a:lumMod val="95000"/>
              <a:alpha val="68000"/>
            </a:schemeClr>
          </a:solidFill>
          <a:ln w="2857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 Hasta 35 SMLMV</a:t>
            </a:r>
          </a:p>
        </p:txBody>
      </p:sp>
      <p:sp>
        <p:nvSpPr>
          <p:cNvPr id="279" name="Rectángulo 278">
            <a:extLst>
              <a:ext uri="{FF2B5EF4-FFF2-40B4-BE49-F238E27FC236}">
                <a16:creationId xmlns:a16="http://schemas.microsoft.com/office/drawing/2014/main" id="{D2382CA9-8FE7-409F-94B6-FC3C93B2E2C2}"/>
              </a:ext>
            </a:extLst>
          </p:cNvPr>
          <p:cNvSpPr>
            <a:spLocks/>
          </p:cNvSpPr>
          <p:nvPr/>
        </p:nvSpPr>
        <p:spPr>
          <a:xfrm>
            <a:off x="9015311" y="934600"/>
            <a:ext cx="2864225" cy="1141200"/>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300">
                <a:solidFill>
                  <a:schemeClr val="tx2"/>
                </a:solidFill>
              </a:rPr>
              <a:t>Suscripción y pago de acuerdos de indemnizaciones prediales a terceros por desarrollo de obras de mantenimiento o nuevos proyectos </a:t>
            </a:r>
          </a:p>
        </p:txBody>
      </p:sp>
      <p:sp>
        <p:nvSpPr>
          <p:cNvPr id="281" name="Elipse 280">
            <a:extLst>
              <a:ext uri="{FF2B5EF4-FFF2-40B4-BE49-F238E27FC236}">
                <a16:creationId xmlns:a16="http://schemas.microsoft.com/office/drawing/2014/main" id="{BFE021B3-7541-4086-AE13-E0AEBDB16A7C}"/>
              </a:ext>
            </a:extLst>
          </p:cNvPr>
          <p:cNvSpPr/>
          <p:nvPr/>
        </p:nvSpPr>
        <p:spPr>
          <a:xfrm>
            <a:off x="8852748" y="815688"/>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8</a:t>
            </a:r>
            <a:endParaRPr lang="es-CO" sz="1200" b="1">
              <a:solidFill>
                <a:schemeClr val="bg1"/>
              </a:solidFill>
            </a:endParaRPr>
          </a:p>
        </p:txBody>
      </p:sp>
      <p:sp>
        <p:nvSpPr>
          <p:cNvPr id="283" name="Rectangle 30">
            <a:extLst>
              <a:ext uri="{FF2B5EF4-FFF2-40B4-BE49-F238E27FC236}">
                <a16:creationId xmlns:a16="http://schemas.microsoft.com/office/drawing/2014/main" id="{5B397935-C4A0-45CD-9F44-64AC2D6438E5}"/>
              </a:ext>
            </a:extLst>
          </p:cNvPr>
          <p:cNvSpPr>
            <a:spLocks/>
          </p:cNvSpPr>
          <p:nvPr/>
        </p:nvSpPr>
        <p:spPr>
          <a:xfrm>
            <a:off x="9047663" y="2204868"/>
            <a:ext cx="2871134" cy="485882"/>
          </a:xfrm>
          <a:prstGeom prst="rect">
            <a:avLst/>
          </a:prstGeom>
          <a:solidFill>
            <a:schemeClr val="bg2">
              <a:lumMod val="95000"/>
              <a:alpha val="68000"/>
            </a:schemeClr>
          </a:solidFill>
          <a:ln w="28575">
            <a:solidFill>
              <a:schemeClr val="tx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100">
                <a:solidFill>
                  <a:schemeClr val="tx2"/>
                </a:solidFill>
              </a:rPr>
              <a:t> Superiores de 35 SMLMV</a:t>
            </a:r>
          </a:p>
        </p:txBody>
      </p:sp>
      <p:sp>
        <p:nvSpPr>
          <p:cNvPr id="289" name="CuadroTexto 288">
            <a:extLst>
              <a:ext uri="{FF2B5EF4-FFF2-40B4-BE49-F238E27FC236}">
                <a16:creationId xmlns:a16="http://schemas.microsoft.com/office/drawing/2014/main" id="{31F7DDF3-B54D-4052-9A28-CCF92FB2E3A4}"/>
              </a:ext>
            </a:extLst>
          </p:cNvPr>
          <p:cNvSpPr txBox="1"/>
          <p:nvPr/>
        </p:nvSpPr>
        <p:spPr>
          <a:xfrm>
            <a:off x="10264463" y="3392353"/>
            <a:ext cx="432000" cy="215444"/>
          </a:xfrm>
          <a:prstGeom prst="rect">
            <a:avLst/>
          </a:prstGeom>
          <a:solidFill>
            <a:schemeClr val="bg1"/>
          </a:solidFill>
          <a:ln w="19050">
            <a:solidFill>
              <a:srgbClr val="E09AE2"/>
            </a:solidFill>
          </a:ln>
        </p:spPr>
        <p:txBody>
          <a:bodyPr wrap="square" rtlCol="0">
            <a:spAutoFit/>
          </a:bodyPr>
          <a:lstStyle/>
          <a:p>
            <a:pPr algn="ctr"/>
            <a:r>
              <a:rPr lang="es-ES" sz="800"/>
              <a:t>JTG</a:t>
            </a:r>
            <a:endParaRPr lang="es-CO" sz="800"/>
          </a:p>
        </p:txBody>
      </p:sp>
      <p:grpSp>
        <p:nvGrpSpPr>
          <p:cNvPr id="290" name="Grupo 289">
            <a:extLst>
              <a:ext uri="{FF2B5EF4-FFF2-40B4-BE49-F238E27FC236}">
                <a16:creationId xmlns:a16="http://schemas.microsoft.com/office/drawing/2014/main" id="{C77DBACA-5EAA-4731-9D52-2BFF5E1F4F24}"/>
              </a:ext>
            </a:extLst>
          </p:cNvPr>
          <p:cNvGrpSpPr/>
          <p:nvPr/>
        </p:nvGrpSpPr>
        <p:grpSpPr>
          <a:xfrm>
            <a:off x="4488194" y="5058488"/>
            <a:ext cx="1464689" cy="507831"/>
            <a:chOff x="8574512" y="3023492"/>
            <a:chExt cx="1464689" cy="507831"/>
          </a:xfrm>
        </p:grpSpPr>
        <p:sp>
          <p:nvSpPr>
            <p:cNvPr id="291" name="CuadroTexto 290">
              <a:extLst>
                <a:ext uri="{FF2B5EF4-FFF2-40B4-BE49-F238E27FC236}">
                  <a16:creationId xmlns:a16="http://schemas.microsoft.com/office/drawing/2014/main" id="{C01273E8-B11F-462E-94CB-72065A6C11FA}"/>
                </a:ext>
              </a:extLst>
            </p:cNvPr>
            <p:cNvSpPr txBox="1"/>
            <p:nvPr/>
          </p:nvSpPr>
          <p:spPr>
            <a:xfrm>
              <a:off x="8574512" y="3138420"/>
              <a:ext cx="432000" cy="215444"/>
            </a:xfrm>
            <a:prstGeom prst="rect">
              <a:avLst/>
            </a:prstGeom>
            <a:solidFill>
              <a:schemeClr val="bg1"/>
            </a:solidFill>
            <a:ln w="19050">
              <a:solidFill>
                <a:srgbClr val="666699"/>
              </a:solidFill>
            </a:ln>
          </p:spPr>
          <p:txBody>
            <a:bodyPr wrap="square" rtlCol="0">
              <a:spAutoFit/>
            </a:bodyPr>
            <a:lstStyle/>
            <a:p>
              <a:pPr algn="ctr"/>
              <a:r>
                <a:rPr lang="es-ES" sz="800"/>
                <a:t>GLO</a:t>
              </a:r>
              <a:endParaRPr lang="es-CO" sz="800"/>
            </a:p>
          </p:txBody>
        </p:sp>
        <p:sp>
          <p:nvSpPr>
            <p:cNvPr id="292" name="CuadroTexto 291">
              <a:extLst>
                <a:ext uri="{FF2B5EF4-FFF2-40B4-BE49-F238E27FC236}">
                  <a16:creationId xmlns:a16="http://schemas.microsoft.com/office/drawing/2014/main" id="{834BE181-51D9-44B2-93C1-604A03DBB48A}"/>
                </a:ext>
              </a:extLst>
            </p:cNvPr>
            <p:cNvSpPr txBox="1"/>
            <p:nvPr/>
          </p:nvSpPr>
          <p:spPr>
            <a:xfrm>
              <a:off x="9006512" y="3023492"/>
              <a:ext cx="1032689" cy="507831"/>
            </a:xfrm>
            <a:prstGeom prst="rect">
              <a:avLst/>
            </a:prstGeom>
            <a:noFill/>
          </p:spPr>
          <p:txBody>
            <a:bodyPr wrap="square" rtlCol="0">
              <a:spAutoFit/>
            </a:bodyPr>
            <a:lstStyle/>
            <a:p>
              <a:r>
                <a:rPr lang="es-ES" sz="900">
                  <a:solidFill>
                    <a:schemeClr val="accent1">
                      <a:lumMod val="25000"/>
                    </a:schemeClr>
                  </a:solidFill>
                </a:rPr>
                <a:t>Gerente Legal Operacional</a:t>
              </a:r>
            </a:p>
            <a:p>
              <a:r>
                <a:rPr lang="es-ES" sz="900">
                  <a:solidFill>
                    <a:schemeClr val="accent1">
                      <a:lumMod val="25000"/>
                    </a:schemeClr>
                  </a:solidFill>
                </a:rPr>
                <a:t>2 %</a:t>
              </a:r>
              <a:endParaRPr lang="es-CO" sz="900">
                <a:solidFill>
                  <a:schemeClr val="accent1">
                    <a:lumMod val="25000"/>
                  </a:schemeClr>
                </a:solidFill>
              </a:endParaRPr>
            </a:p>
          </p:txBody>
        </p:sp>
      </p:grpSp>
      <p:sp>
        <p:nvSpPr>
          <p:cNvPr id="294" name="CuadroTexto 293">
            <a:extLst>
              <a:ext uri="{FF2B5EF4-FFF2-40B4-BE49-F238E27FC236}">
                <a16:creationId xmlns:a16="http://schemas.microsoft.com/office/drawing/2014/main" id="{79DB0C09-F46C-41B0-9923-1FFB6676262E}"/>
              </a:ext>
            </a:extLst>
          </p:cNvPr>
          <p:cNvSpPr txBox="1"/>
          <p:nvPr/>
        </p:nvSpPr>
        <p:spPr>
          <a:xfrm>
            <a:off x="10269163" y="2650142"/>
            <a:ext cx="432834" cy="215444"/>
          </a:xfrm>
          <a:prstGeom prst="rect">
            <a:avLst/>
          </a:prstGeom>
          <a:solidFill>
            <a:schemeClr val="bg1"/>
          </a:solidFill>
          <a:ln w="19050">
            <a:solidFill>
              <a:srgbClr val="666699"/>
            </a:solidFill>
          </a:ln>
        </p:spPr>
        <p:txBody>
          <a:bodyPr wrap="square" rtlCol="0">
            <a:spAutoFit/>
          </a:bodyPr>
          <a:lstStyle/>
          <a:p>
            <a:pPr algn="ctr"/>
            <a:r>
              <a:rPr lang="es-ES" sz="800"/>
              <a:t>GLO</a:t>
            </a:r>
            <a:endParaRPr lang="es-CO" sz="800"/>
          </a:p>
        </p:txBody>
      </p:sp>
      <p:sp>
        <p:nvSpPr>
          <p:cNvPr id="296" name="Rectángulo 295">
            <a:extLst>
              <a:ext uri="{FF2B5EF4-FFF2-40B4-BE49-F238E27FC236}">
                <a16:creationId xmlns:a16="http://schemas.microsoft.com/office/drawing/2014/main" id="{6EB1D654-7D2E-4C5A-A742-EC00673A449F}"/>
              </a:ext>
            </a:extLst>
          </p:cNvPr>
          <p:cNvSpPr>
            <a:spLocks/>
          </p:cNvSpPr>
          <p:nvPr/>
        </p:nvSpPr>
        <p:spPr>
          <a:xfrm>
            <a:off x="6519011" y="934313"/>
            <a:ext cx="2026800" cy="1141200"/>
          </a:xfrm>
          <a:prstGeom prst="rect">
            <a:avLst/>
          </a:prstGeom>
          <a:solidFill>
            <a:schemeClr val="accent1">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300">
                <a:solidFill>
                  <a:schemeClr val="tx2"/>
                </a:solidFill>
              </a:rPr>
              <a:t>Autorizar declaraciones, informes, registros y certificaciones ante autoridades cambiarias</a:t>
            </a:r>
          </a:p>
        </p:txBody>
      </p:sp>
      <p:sp>
        <p:nvSpPr>
          <p:cNvPr id="298" name="Elipse 297">
            <a:extLst>
              <a:ext uri="{FF2B5EF4-FFF2-40B4-BE49-F238E27FC236}">
                <a16:creationId xmlns:a16="http://schemas.microsoft.com/office/drawing/2014/main" id="{E63674CF-E64A-4722-BF49-DC977CD3117D}"/>
              </a:ext>
            </a:extLst>
          </p:cNvPr>
          <p:cNvSpPr/>
          <p:nvPr/>
        </p:nvSpPr>
        <p:spPr>
          <a:xfrm>
            <a:off x="6366921" y="815401"/>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7</a:t>
            </a:r>
            <a:endParaRPr lang="es-CO" sz="1200" b="1">
              <a:solidFill>
                <a:schemeClr val="bg1"/>
              </a:solidFill>
            </a:endParaRPr>
          </a:p>
        </p:txBody>
      </p:sp>
      <p:sp>
        <p:nvSpPr>
          <p:cNvPr id="300" name="CuadroTexto 299">
            <a:extLst>
              <a:ext uri="{FF2B5EF4-FFF2-40B4-BE49-F238E27FC236}">
                <a16:creationId xmlns:a16="http://schemas.microsoft.com/office/drawing/2014/main" id="{ADB7BF7A-1AB1-4E8E-9A63-84ACED84A019}"/>
              </a:ext>
            </a:extLst>
          </p:cNvPr>
          <p:cNvSpPr txBox="1"/>
          <p:nvPr/>
        </p:nvSpPr>
        <p:spPr>
          <a:xfrm>
            <a:off x="7316411" y="1993427"/>
            <a:ext cx="432000" cy="215444"/>
          </a:xfrm>
          <a:prstGeom prst="rect">
            <a:avLst/>
          </a:prstGeom>
          <a:solidFill>
            <a:schemeClr val="bg1"/>
          </a:solidFill>
          <a:ln w="19050">
            <a:solidFill>
              <a:srgbClr val="FF9999"/>
            </a:solidFill>
          </a:ln>
        </p:spPr>
        <p:txBody>
          <a:bodyPr wrap="square" rtlCol="0">
            <a:spAutoFit/>
          </a:bodyPr>
          <a:lstStyle/>
          <a:p>
            <a:pPr algn="ctr"/>
            <a:r>
              <a:rPr lang="es-ES" sz="800"/>
              <a:t>JT</a:t>
            </a:r>
            <a:endParaRPr lang="es-CO" sz="800"/>
          </a:p>
        </p:txBody>
      </p:sp>
      <p:sp>
        <p:nvSpPr>
          <p:cNvPr id="302" name="Rectángulo 301">
            <a:extLst>
              <a:ext uri="{FF2B5EF4-FFF2-40B4-BE49-F238E27FC236}">
                <a16:creationId xmlns:a16="http://schemas.microsoft.com/office/drawing/2014/main" id="{C642D50B-C6B3-4A0C-87B7-132C6B2DE4AC}"/>
              </a:ext>
            </a:extLst>
          </p:cNvPr>
          <p:cNvSpPr/>
          <p:nvPr/>
        </p:nvSpPr>
        <p:spPr>
          <a:xfrm>
            <a:off x="4338617" y="3915488"/>
            <a:ext cx="7538846" cy="276999"/>
          </a:xfrm>
          <a:prstGeom prst="rect">
            <a:avLst/>
          </a:prstGeom>
          <a:ln>
            <a:noFill/>
          </a:ln>
        </p:spPr>
        <p:txBody>
          <a:bodyPr wrap="square" anchor="t">
            <a:spAutoFit/>
          </a:bodyPr>
          <a:lstStyle/>
          <a:p>
            <a:pPr algn="just"/>
            <a:r>
              <a:rPr lang="es-ES" sz="1200" b="1">
                <a:solidFill>
                  <a:schemeClr val="accent4"/>
                </a:solidFill>
                <a:sym typeface="Wingdings" panose="05000000000000000000" pitchFamily="2" charset="2"/>
              </a:rPr>
              <a:t>Total Proceso Nivel 1 de Operaciones de Tesorería : </a:t>
            </a:r>
            <a:r>
              <a:rPr lang="es-ES" sz="1200">
                <a:solidFill>
                  <a:schemeClr val="accent4"/>
                </a:solidFill>
                <a:sym typeface="Wingdings" panose="05000000000000000000" pitchFamily="2" charset="2"/>
              </a:rPr>
              <a:t>9 decisiones críticas, distribuidas en 50 categorías.</a:t>
            </a:r>
            <a:endParaRPr lang="es-CO" sz="1200">
              <a:solidFill>
                <a:srgbClr val="254147"/>
              </a:solidFill>
            </a:endParaRPr>
          </a:p>
        </p:txBody>
      </p:sp>
      <p:sp>
        <p:nvSpPr>
          <p:cNvPr id="303" name="CuadroTexto 302">
            <a:extLst>
              <a:ext uri="{FF2B5EF4-FFF2-40B4-BE49-F238E27FC236}">
                <a16:creationId xmlns:a16="http://schemas.microsoft.com/office/drawing/2014/main" id="{7A8C0DAD-15A1-4E21-9EEF-3BB84FFF5235}"/>
              </a:ext>
            </a:extLst>
          </p:cNvPr>
          <p:cNvSpPr txBox="1"/>
          <p:nvPr/>
        </p:nvSpPr>
        <p:spPr>
          <a:xfrm>
            <a:off x="4462104" y="5692855"/>
            <a:ext cx="1391405" cy="230832"/>
          </a:xfrm>
          <a:prstGeom prst="rect">
            <a:avLst/>
          </a:prstGeom>
          <a:noFill/>
          <a:ln w="19050">
            <a:solidFill>
              <a:srgbClr val="002060"/>
            </a:solidFill>
          </a:ln>
        </p:spPr>
        <p:txBody>
          <a:bodyPr wrap="square" rtlCol="0">
            <a:spAutoFit/>
          </a:bodyPr>
          <a:lstStyle/>
          <a:p>
            <a:pPr algn="ctr"/>
            <a:r>
              <a:rPr lang="es-ES" sz="900">
                <a:solidFill>
                  <a:schemeClr val="tx2"/>
                </a:solidFill>
              </a:rPr>
              <a:t>Palanca de Agilidad </a:t>
            </a:r>
            <a:endParaRPr lang="es-CO" sz="900">
              <a:solidFill>
                <a:schemeClr val="tx2"/>
              </a:solidFill>
            </a:endParaRPr>
          </a:p>
        </p:txBody>
      </p:sp>
      <p:sp>
        <p:nvSpPr>
          <p:cNvPr id="304" name="CuadroTexto 303">
            <a:extLst>
              <a:ext uri="{FF2B5EF4-FFF2-40B4-BE49-F238E27FC236}">
                <a16:creationId xmlns:a16="http://schemas.microsoft.com/office/drawing/2014/main" id="{AD12CFBE-FF54-48D4-BB80-C905202AD6B5}"/>
              </a:ext>
            </a:extLst>
          </p:cNvPr>
          <p:cNvSpPr txBox="1"/>
          <p:nvPr/>
        </p:nvSpPr>
        <p:spPr>
          <a:xfrm>
            <a:off x="7385266" y="5692855"/>
            <a:ext cx="1393200" cy="230832"/>
          </a:xfrm>
          <a:prstGeom prst="rect">
            <a:avLst/>
          </a:prstGeom>
          <a:noFill/>
          <a:ln w="19050">
            <a:solidFill>
              <a:schemeClr val="accent3"/>
            </a:solidFill>
          </a:ln>
        </p:spPr>
        <p:txBody>
          <a:bodyPr wrap="square" rtlCol="0">
            <a:spAutoFit/>
          </a:bodyPr>
          <a:lstStyle/>
          <a:p>
            <a:pPr algn="ctr"/>
            <a:r>
              <a:rPr lang="es-ES" sz="900">
                <a:solidFill>
                  <a:schemeClr val="tx2"/>
                </a:solidFill>
              </a:rPr>
              <a:t>Palanca de Claridad</a:t>
            </a:r>
            <a:endParaRPr lang="es-CO" sz="900">
              <a:solidFill>
                <a:schemeClr val="tx2"/>
              </a:solidFill>
            </a:endParaRPr>
          </a:p>
        </p:txBody>
      </p:sp>
      <p:sp>
        <p:nvSpPr>
          <p:cNvPr id="305" name="CuadroTexto 304">
            <a:extLst>
              <a:ext uri="{FF2B5EF4-FFF2-40B4-BE49-F238E27FC236}">
                <a16:creationId xmlns:a16="http://schemas.microsoft.com/office/drawing/2014/main" id="{8D8A1F30-9BAF-4913-891F-152F9D904D9F}"/>
              </a:ext>
            </a:extLst>
          </p:cNvPr>
          <p:cNvSpPr txBox="1"/>
          <p:nvPr/>
        </p:nvSpPr>
        <p:spPr>
          <a:xfrm>
            <a:off x="10310223" y="5692855"/>
            <a:ext cx="1486626" cy="230832"/>
          </a:xfrm>
          <a:prstGeom prst="rect">
            <a:avLst/>
          </a:prstGeom>
          <a:noFill/>
          <a:ln w="19050">
            <a:solidFill>
              <a:schemeClr val="bg2">
                <a:lumMod val="50000"/>
              </a:schemeClr>
            </a:solidFill>
          </a:ln>
        </p:spPr>
        <p:txBody>
          <a:bodyPr wrap="square" rtlCol="0">
            <a:spAutoFit/>
          </a:bodyPr>
          <a:lstStyle/>
          <a:p>
            <a:pPr algn="ctr"/>
            <a:r>
              <a:rPr lang="es-ES" sz="900">
                <a:solidFill>
                  <a:schemeClr val="tx2"/>
                </a:solidFill>
              </a:rPr>
              <a:t>Palanca de Consistencia</a:t>
            </a:r>
            <a:endParaRPr lang="es-CO" sz="900">
              <a:solidFill>
                <a:schemeClr val="tx2"/>
              </a:solidFill>
            </a:endParaRPr>
          </a:p>
        </p:txBody>
      </p:sp>
      <p:grpSp>
        <p:nvGrpSpPr>
          <p:cNvPr id="312" name="Grupo 311">
            <a:extLst>
              <a:ext uri="{FF2B5EF4-FFF2-40B4-BE49-F238E27FC236}">
                <a16:creationId xmlns:a16="http://schemas.microsoft.com/office/drawing/2014/main" id="{F50A07A5-682F-42EC-ABCB-06A749AADF93}"/>
              </a:ext>
            </a:extLst>
          </p:cNvPr>
          <p:cNvGrpSpPr/>
          <p:nvPr/>
        </p:nvGrpSpPr>
        <p:grpSpPr>
          <a:xfrm>
            <a:off x="5953126" y="5045912"/>
            <a:ext cx="1382137" cy="507831"/>
            <a:chOff x="9218732" y="3305090"/>
            <a:chExt cx="1382137" cy="507831"/>
          </a:xfrm>
        </p:grpSpPr>
        <p:sp>
          <p:nvSpPr>
            <p:cNvPr id="313" name="CuadroTexto 312">
              <a:extLst>
                <a:ext uri="{FF2B5EF4-FFF2-40B4-BE49-F238E27FC236}">
                  <a16:creationId xmlns:a16="http://schemas.microsoft.com/office/drawing/2014/main" id="{57E0C7F2-F5C4-4FAC-AE0A-BA1A4764767E}"/>
                </a:ext>
              </a:extLst>
            </p:cNvPr>
            <p:cNvSpPr txBox="1"/>
            <p:nvPr/>
          </p:nvSpPr>
          <p:spPr>
            <a:xfrm>
              <a:off x="9218732" y="3451146"/>
              <a:ext cx="432000" cy="215444"/>
            </a:xfrm>
            <a:prstGeom prst="rect">
              <a:avLst/>
            </a:prstGeom>
            <a:solidFill>
              <a:schemeClr val="bg1"/>
            </a:solidFill>
            <a:ln w="19050">
              <a:solidFill>
                <a:srgbClr val="FF9999"/>
              </a:solidFill>
            </a:ln>
          </p:spPr>
          <p:txBody>
            <a:bodyPr wrap="square" rtlCol="0">
              <a:spAutoFit/>
            </a:bodyPr>
            <a:lstStyle/>
            <a:p>
              <a:pPr algn="ctr"/>
              <a:r>
                <a:rPr lang="es-ES" sz="800"/>
                <a:t>JT</a:t>
              </a:r>
              <a:endParaRPr lang="es-CO" sz="800"/>
            </a:p>
          </p:txBody>
        </p:sp>
        <p:sp>
          <p:nvSpPr>
            <p:cNvPr id="314" name="CuadroTexto 313">
              <a:extLst>
                <a:ext uri="{FF2B5EF4-FFF2-40B4-BE49-F238E27FC236}">
                  <a16:creationId xmlns:a16="http://schemas.microsoft.com/office/drawing/2014/main" id="{6319FAA4-2A4E-44B2-9CF1-2004083974BC}"/>
                </a:ext>
              </a:extLst>
            </p:cNvPr>
            <p:cNvSpPr txBox="1"/>
            <p:nvPr/>
          </p:nvSpPr>
          <p:spPr>
            <a:xfrm>
              <a:off x="9611995" y="3305090"/>
              <a:ext cx="988874" cy="507831"/>
            </a:xfrm>
            <a:prstGeom prst="rect">
              <a:avLst/>
            </a:prstGeom>
            <a:noFill/>
          </p:spPr>
          <p:txBody>
            <a:bodyPr wrap="square" rtlCol="0" anchor="t">
              <a:spAutoFit/>
            </a:bodyPr>
            <a:lstStyle/>
            <a:p>
              <a:r>
                <a:rPr lang="es-ES" sz="900">
                  <a:solidFill>
                    <a:schemeClr val="accent1">
                      <a:lumMod val="25000"/>
                    </a:schemeClr>
                  </a:solidFill>
                </a:rPr>
                <a:t>Jefe de Tesorería</a:t>
              </a:r>
            </a:p>
            <a:p>
              <a:r>
                <a:rPr lang="es-ES" sz="900">
                  <a:solidFill>
                    <a:schemeClr val="accent1">
                      <a:lumMod val="25000"/>
                    </a:schemeClr>
                  </a:solidFill>
                </a:rPr>
                <a:t>12 %</a:t>
              </a:r>
              <a:endParaRPr lang="es-CO" sz="900">
                <a:solidFill>
                  <a:schemeClr val="accent1">
                    <a:lumMod val="25000"/>
                  </a:schemeClr>
                </a:solidFill>
              </a:endParaRPr>
            </a:p>
          </p:txBody>
        </p:sp>
      </p:grpSp>
      <p:grpSp>
        <p:nvGrpSpPr>
          <p:cNvPr id="321" name="Grupo 320">
            <a:extLst>
              <a:ext uri="{FF2B5EF4-FFF2-40B4-BE49-F238E27FC236}">
                <a16:creationId xmlns:a16="http://schemas.microsoft.com/office/drawing/2014/main" id="{3FD3FABB-CBBB-409E-8690-2F43981E83A6}"/>
              </a:ext>
            </a:extLst>
          </p:cNvPr>
          <p:cNvGrpSpPr/>
          <p:nvPr/>
        </p:nvGrpSpPr>
        <p:grpSpPr>
          <a:xfrm>
            <a:off x="7551208" y="4354113"/>
            <a:ext cx="1378369" cy="507831"/>
            <a:chOff x="11141563" y="8970648"/>
            <a:chExt cx="1378369" cy="507831"/>
          </a:xfrm>
        </p:grpSpPr>
        <p:sp>
          <p:nvSpPr>
            <p:cNvPr id="322" name="CuadroTexto 321">
              <a:extLst>
                <a:ext uri="{FF2B5EF4-FFF2-40B4-BE49-F238E27FC236}">
                  <a16:creationId xmlns:a16="http://schemas.microsoft.com/office/drawing/2014/main" id="{E9AB33CF-3A2F-42F1-BAAF-DCC3184F3D91}"/>
                </a:ext>
              </a:extLst>
            </p:cNvPr>
            <p:cNvSpPr txBox="1"/>
            <p:nvPr/>
          </p:nvSpPr>
          <p:spPr>
            <a:xfrm>
              <a:off x="11141563" y="9116807"/>
              <a:ext cx="432000" cy="215444"/>
            </a:xfrm>
            <a:prstGeom prst="rect">
              <a:avLst/>
            </a:prstGeom>
            <a:solidFill>
              <a:schemeClr val="bg1"/>
            </a:solidFill>
            <a:ln w="19050">
              <a:solidFill>
                <a:srgbClr val="00FF00"/>
              </a:solidFill>
            </a:ln>
          </p:spPr>
          <p:txBody>
            <a:bodyPr wrap="square" rtlCol="0">
              <a:spAutoFit/>
            </a:bodyPr>
            <a:lstStyle/>
            <a:p>
              <a:pPr algn="ctr"/>
              <a:r>
                <a:rPr lang="es-ES" sz="800"/>
                <a:t>JC</a:t>
              </a:r>
              <a:endParaRPr lang="es-CO" sz="800"/>
            </a:p>
          </p:txBody>
        </p:sp>
        <p:sp>
          <p:nvSpPr>
            <p:cNvPr id="323" name="CuadroTexto 322">
              <a:extLst>
                <a:ext uri="{FF2B5EF4-FFF2-40B4-BE49-F238E27FC236}">
                  <a16:creationId xmlns:a16="http://schemas.microsoft.com/office/drawing/2014/main" id="{2131263B-D3B4-4AD4-A6DD-A27169006B37}"/>
                </a:ext>
              </a:extLst>
            </p:cNvPr>
            <p:cNvSpPr txBox="1"/>
            <p:nvPr/>
          </p:nvSpPr>
          <p:spPr>
            <a:xfrm>
              <a:off x="11531058" y="8970648"/>
              <a:ext cx="988874" cy="507831"/>
            </a:xfrm>
            <a:prstGeom prst="rect">
              <a:avLst/>
            </a:prstGeom>
            <a:noFill/>
          </p:spPr>
          <p:txBody>
            <a:bodyPr wrap="square" rtlCol="0" anchor="t">
              <a:spAutoFit/>
            </a:bodyPr>
            <a:lstStyle/>
            <a:p>
              <a:r>
                <a:rPr lang="es-ES" sz="900">
                  <a:solidFill>
                    <a:schemeClr val="accent1">
                      <a:lumMod val="25000"/>
                    </a:schemeClr>
                  </a:solidFill>
                </a:rPr>
                <a:t>Jefe de Contabilidad</a:t>
              </a:r>
            </a:p>
            <a:p>
              <a:r>
                <a:rPr lang="es-ES" sz="900">
                  <a:solidFill>
                    <a:schemeClr val="accent1">
                      <a:lumMod val="25000"/>
                    </a:schemeClr>
                  </a:solidFill>
                </a:rPr>
                <a:t>4 %</a:t>
              </a:r>
              <a:endParaRPr lang="es-CO" sz="900">
                <a:solidFill>
                  <a:schemeClr val="accent1">
                    <a:lumMod val="25000"/>
                  </a:schemeClr>
                </a:solidFill>
              </a:endParaRPr>
            </a:p>
          </p:txBody>
        </p:sp>
      </p:grpSp>
      <p:sp>
        <p:nvSpPr>
          <p:cNvPr id="3" name="CuadroTexto 47">
            <a:extLst>
              <a:ext uri="{FF2B5EF4-FFF2-40B4-BE49-F238E27FC236}">
                <a16:creationId xmlns:a16="http://schemas.microsoft.com/office/drawing/2014/main" id="{A73B688E-9E51-4527-8AA4-8245BC47EA8E}"/>
              </a:ext>
            </a:extLst>
          </p:cNvPr>
          <p:cNvSpPr txBox="1"/>
          <p:nvPr/>
        </p:nvSpPr>
        <p:spPr>
          <a:xfrm>
            <a:off x="13246" y="38633"/>
            <a:ext cx="12102613" cy="738664"/>
          </a:xfrm>
          <a:prstGeom prst="rect">
            <a:avLst/>
          </a:prstGeom>
          <a:noFill/>
          <a:ln>
            <a:noFill/>
          </a:ln>
        </p:spPr>
        <p:txBody>
          <a:bodyPr wrap="square" rtlCol="0">
            <a:spAutoFit/>
          </a:bodyPr>
          <a:lstStyle/>
          <a:p>
            <a:pPr algn="ctr"/>
            <a:r>
              <a:rPr lang="es-ES" sz="2400" b="1" dirty="0">
                <a:solidFill>
                  <a:srgbClr val="10476B"/>
                </a:solidFill>
                <a:latin typeface="Century Gothic" panose="020B0502020202020204" pitchFamily="34" charset="0"/>
                <a:cs typeface="Arial" panose="020B0604020202020204" pitchFamily="34" charset="0"/>
              </a:rPr>
              <a:t>Manual de Delegación de Autoridad (MAD) – Finanzas</a:t>
            </a:r>
          </a:p>
          <a:p>
            <a:pPr algn="ctr"/>
            <a:r>
              <a:rPr lang="es-ES" b="1" dirty="0">
                <a:solidFill>
                  <a:srgbClr val="10476B"/>
                </a:solidFill>
                <a:latin typeface="Century Gothic" panose="020B0502020202020204" pitchFamily="34" charset="0"/>
                <a:cs typeface="Arial" panose="020B0604020202020204" pitchFamily="34" charset="0"/>
              </a:rPr>
              <a:t>Proceso Nivel 1: Operaciones de Tesorería (2/3)</a:t>
            </a:r>
            <a:endParaRPr lang="es-CO" b="1" dirty="0">
              <a:solidFill>
                <a:srgbClr val="10476B"/>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2197465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CuadroTexto 83">
            <a:extLst>
              <a:ext uri="{FF2B5EF4-FFF2-40B4-BE49-F238E27FC236}">
                <a16:creationId xmlns:a16="http://schemas.microsoft.com/office/drawing/2014/main" id="{293DBAF3-3942-4C58-8A63-D4484E215E20}"/>
              </a:ext>
            </a:extLst>
          </p:cNvPr>
          <p:cNvSpPr txBox="1"/>
          <p:nvPr/>
        </p:nvSpPr>
        <p:spPr>
          <a:xfrm>
            <a:off x="7919520" y="1001748"/>
            <a:ext cx="3777832" cy="5040000"/>
          </a:xfrm>
          <a:prstGeom prst="rect">
            <a:avLst/>
          </a:prstGeom>
          <a:noFill/>
          <a:ln>
            <a:solidFill>
              <a:schemeClr val="accent6"/>
            </a:solidFill>
          </a:ln>
        </p:spPr>
        <p:txBody>
          <a:bodyPr wrap="square" rtlCol="0">
            <a:spAutoFit/>
          </a:bodyPr>
          <a:lstStyle/>
          <a:p>
            <a:endParaRPr lang="es-CO" sz="2000"/>
          </a:p>
        </p:txBody>
      </p:sp>
      <p:sp>
        <p:nvSpPr>
          <p:cNvPr id="86" name="Rectángulo 85">
            <a:extLst>
              <a:ext uri="{FF2B5EF4-FFF2-40B4-BE49-F238E27FC236}">
                <a16:creationId xmlns:a16="http://schemas.microsoft.com/office/drawing/2014/main" id="{7696A978-4362-4DE3-8C58-0F58608C4AA6}"/>
              </a:ext>
            </a:extLst>
          </p:cNvPr>
          <p:cNvSpPr/>
          <p:nvPr/>
        </p:nvSpPr>
        <p:spPr>
          <a:xfrm>
            <a:off x="7959710" y="1039742"/>
            <a:ext cx="3721598" cy="646331"/>
          </a:xfrm>
          <a:prstGeom prst="rect">
            <a:avLst/>
          </a:prstGeom>
          <a:ln>
            <a:noFill/>
          </a:ln>
        </p:spPr>
        <p:txBody>
          <a:bodyPr wrap="square" anchor="t">
            <a:spAutoFit/>
          </a:bodyPr>
          <a:lstStyle/>
          <a:p>
            <a:pPr algn="just"/>
            <a:r>
              <a:rPr lang="es-ES" sz="1200" b="1">
                <a:solidFill>
                  <a:schemeClr val="accent4"/>
                </a:solidFill>
                <a:sym typeface="Wingdings" panose="05000000000000000000" pitchFamily="2" charset="2"/>
              </a:rPr>
              <a:t>Total Proceso Nivel 1 de Operaciones de Tesorería: </a:t>
            </a:r>
            <a:r>
              <a:rPr lang="es-ES" sz="1200">
                <a:solidFill>
                  <a:schemeClr val="accent4"/>
                </a:solidFill>
                <a:sym typeface="Wingdings" panose="05000000000000000000" pitchFamily="2" charset="2"/>
              </a:rPr>
              <a:t>9 decisiones críticas, distribuidas en 50 categorías.</a:t>
            </a:r>
            <a:endParaRPr lang="es-CO" sz="1200">
              <a:solidFill>
                <a:srgbClr val="254147"/>
              </a:solidFill>
            </a:endParaRPr>
          </a:p>
        </p:txBody>
      </p:sp>
      <p:graphicFrame>
        <p:nvGraphicFramePr>
          <p:cNvPr id="5" name="Objeto 4" hidden="1">
            <a:extLst>
              <a:ext uri="{FF2B5EF4-FFF2-40B4-BE49-F238E27FC236}">
                <a16:creationId xmlns:a16="http://schemas.microsoft.com/office/drawing/2014/main" id="{0740088A-8ABF-414B-8746-763C3F660F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421" imgH="423" progId="TCLayout.ActiveDocument.1">
                  <p:embed/>
                </p:oleObj>
              </mc:Choice>
              <mc:Fallback>
                <p:oleObj name="Diapositiva de think-cell" r:id="rId5" imgW="421" imgH="423" progId="TCLayout.ActiveDocument.1">
                  <p:embed/>
                  <p:pic>
                    <p:nvPicPr>
                      <p:cNvPr id="5" name="Objeto 4" hidden="1">
                        <a:extLst>
                          <a:ext uri="{FF2B5EF4-FFF2-40B4-BE49-F238E27FC236}">
                            <a16:creationId xmlns:a16="http://schemas.microsoft.com/office/drawing/2014/main" id="{0740088A-8ABF-414B-8746-763C3F660F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42B40C10-F876-4F1B-842D-C3F6355B6C8A}"/>
              </a:ext>
            </a:extLst>
          </p:cNvPr>
          <p:cNvSpPr/>
          <p:nvPr>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419" sz="2000" b="1">
              <a:solidFill>
                <a:schemeClr val="tx1"/>
              </a:solidFill>
              <a:latin typeface="Arial" panose="020B0604020202020204" pitchFamily="34" charset="0"/>
              <a:ea typeface="+mj-ea"/>
              <a:cs typeface="+mj-cs"/>
              <a:sym typeface="Arial" panose="020B0604020202020204" pitchFamily="34" charset="0"/>
            </a:endParaRPr>
          </a:p>
        </p:txBody>
      </p:sp>
      <p:sp>
        <p:nvSpPr>
          <p:cNvPr id="2" name="Marcador de número de diapositiva 1">
            <a:extLst>
              <a:ext uri="{FF2B5EF4-FFF2-40B4-BE49-F238E27FC236}">
                <a16:creationId xmlns:a16="http://schemas.microsoft.com/office/drawing/2014/main" id="{3A93B487-116E-4767-AA0D-CAE2A460FBE4}"/>
              </a:ext>
            </a:extLst>
          </p:cNvPr>
          <p:cNvSpPr>
            <a:spLocks noGrp="1"/>
          </p:cNvSpPr>
          <p:nvPr>
            <p:ph type="sldNum" sz="quarter" idx="10"/>
          </p:nvPr>
        </p:nvSpPr>
        <p:spPr>
          <a:xfrm>
            <a:off x="11344876" y="6428983"/>
            <a:ext cx="847124" cy="365125"/>
          </a:xfrm>
        </p:spPr>
        <p:txBody>
          <a:bodyPr/>
          <a:lstStyle/>
          <a:p>
            <a:fld id="{02F25750-4209-4357-A72F-45445C8044EF}" type="slidenum">
              <a:rPr lang="es-CO" smtClean="0"/>
              <a:pPr/>
              <a:t>27</a:t>
            </a:fld>
            <a:endParaRPr lang="es-CO"/>
          </a:p>
        </p:txBody>
      </p:sp>
      <p:sp>
        <p:nvSpPr>
          <p:cNvPr id="117" name="CuadroTexto 116">
            <a:extLst>
              <a:ext uri="{FF2B5EF4-FFF2-40B4-BE49-F238E27FC236}">
                <a16:creationId xmlns:a16="http://schemas.microsoft.com/office/drawing/2014/main" id="{8960734A-1053-42D2-BD72-6674DCCE6A97}"/>
              </a:ext>
            </a:extLst>
          </p:cNvPr>
          <p:cNvSpPr txBox="1"/>
          <p:nvPr/>
        </p:nvSpPr>
        <p:spPr>
          <a:xfrm>
            <a:off x="8171438" y="5458126"/>
            <a:ext cx="1391405" cy="230832"/>
          </a:xfrm>
          <a:prstGeom prst="rect">
            <a:avLst/>
          </a:prstGeom>
          <a:noFill/>
          <a:ln w="19050">
            <a:solidFill>
              <a:srgbClr val="002060"/>
            </a:solidFill>
          </a:ln>
        </p:spPr>
        <p:txBody>
          <a:bodyPr wrap="square" rtlCol="0">
            <a:spAutoFit/>
          </a:bodyPr>
          <a:lstStyle/>
          <a:p>
            <a:pPr algn="ctr"/>
            <a:r>
              <a:rPr lang="es-ES" sz="900">
                <a:solidFill>
                  <a:schemeClr val="tx2"/>
                </a:solidFill>
              </a:rPr>
              <a:t>Palanca de Agilidad </a:t>
            </a:r>
            <a:endParaRPr lang="es-CO" sz="900">
              <a:solidFill>
                <a:schemeClr val="tx2"/>
              </a:solidFill>
            </a:endParaRPr>
          </a:p>
        </p:txBody>
      </p:sp>
      <p:sp>
        <p:nvSpPr>
          <p:cNvPr id="118" name="CuadroTexto 117">
            <a:extLst>
              <a:ext uri="{FF2B5EF4-FFF2-40B4-BE49-F238E27FC236}">
                <a16:creationId xmlns:a16="http://schemas.microsoft.com/office/drawing/2014/main" id="{C77431EE-A761-4323-B75F-692D4CAEC462}"/>
              </a:ext>
            </a:extLst>
          </p:cNvPr>
          <p:cNvSpPr txBox="1"/>
          <p:nvPr/>
        </p:nvSpPr>
        <p:spPr>
          <a:xfrm>
            <a:off x="9111836" y="5745226"/>
            <a:ext cx="1393200" cy="230832"/>
          </a:xfrm>
          <a:prstGeom prst="rect">
            <a:avLst/>
          </a:prstGeom>
          <a:noFill/>
          <a:ln w="19050">
            <a:solidFill>
              <a:schemeClr val="accent3"/>
            </a:solidFill>
          </a:ln>
        </p:spPr>
        <p:txBody>
          <a:bodyPr wrap="square" rtlCol="0">
            <a:spAutoFit/>
          </a:bodyPr>
          <a:lstStyle/>
          <a:p>
            <a:pPr algn="ctr"/>
            <a:r>
              <a:rPr lang="es-ES" sz="900">
                <a:solidFill>
                  <a:schemeClr val="tx2"/>
                </a:solidFill>
              </a:rPr>
              <a:t>Palanca de Claridad</a:t>
            </a:r>
            <a:endParaRPr lang="es-CO" sz="900">
              <a:solidFill>
                <a:schemeClr val="tx2"/>
              </a:solidFill>
            </a:endParaRPr>
          </a:p>
        </p:txBody>
      </p:sp>
      <p:sp>
        <p:nvSpPr>
          <p:cNvPr id="119" name="CuadroTexto 118">
            <a:extLst>
              <a:ext uri="{FF2B5EF4-FFF2-40B4-BE49-F238E27FC236}">
                <a16:creationId xmlns:a16="http://schemas.microsoft.com/office/drawing/2014/main" id="{A66DDFF6-8990-4632-9B16-3852035C81BA}"/>
              </a:ext>
            </a:extLst>
          </p:cNvPr>
          <p:cNvSpPr txBox="1"/>
          <p:nvPr/>
        </p:nvSpPr>
        <p:spPr>
          <a:xfrm>
            <a:off x="10004284" y="5459435"/>
            <a:ext cx="1486626" cy="230832"/>
          </a:xfrm>
          <a:prstGeom prst="rect">
            <a:avLst/>
          </a:prstGeom>
          <a:noFill/>
          <a:ln w="19050">
            <a:solidFill>
              <a:schemeClr val="bg2">
                <a:lumMod val="50000"/>
              </a:schemeClr>
            </a:solidFill>
          </a:ln>
        </p:spPr>
        <p:txBody>
          <a:bodyPr wrap="square" rtlCol="0">
            <a:spAutoFit/>
          </a:bodyPr>
          <a:lstStyle/>
          <a:p>
            <a:pPr algn="ctr"/>
            <a:r>
              <a:rPr lang="es-ES" sz="900">
                <a:solidFill>
                  <a:schemeClr val="tx2"/>
                </a:solidFill>
              </a:rPr>
              <a:t>Palanca de Consistencia</a:t>
            </a:r>
            <a:endParaRPr lang="es-CO" sz="900">
              <a:solidFill>
                <a:schemeClr val="tx2"/>
              </a:solidFill>
            </a:endParaRPr>
          </a:p>
        </p:txBody>
      </p:sp>
      <p:grpSp>
        <p:nvGrpSpPr>
          <p:cNvPr id="26" name="Grupo 25">
            <a:extLst>
              <a:ext uri="{FF2B5EF4-FFF2-40B4-BE49-F238E27FC236}">
                <a16:creationId xmlns:a16="http://schemas.microsoft.com/office/drawing/2014/main" id="{5B1CDA9C-37CE-441A-94E7-5A5F38503613}"/>
              </a:ext>
            </a:extLst>
          </p:cNvPr>
          <p:cNvGrpSpPr/>
          <p:nvPr/>
        </p:nvGrpSpPr>
        <p:grpSpPr>
          <a:xfrm>
            <a:off x="8175391" y="1610076"/>
            <a:ext cx="1659629" cy="507831"/>
            <a:chOff x="9392140" y="4751078"/>
            <a:chExt cx="1659629" cy="507831"/>
          </a:xfrm>
        </p:grpSpPr>
        <p:sp>
          <p:nvSpPr>
            <p:cNvPr id="27" name="CuadroTexto 26">
              <a:extLst>
                <a:ext uri="{FF2B5EF4-FFF2-40B4-BE49-F238E27FC236}">
                  <a16:creationId xmlns:a16="http://schemas.microsoft.com/office/drawing/2014/main" id="{910DCB24-1C9B-45BE-9592-B8EC86E558A4}"/>
                </a:ext>
              </a:extLst>
            </p:cNvPr>
            <p:cNvSpPr txBox="1"/>
            <p:nvPr/>
          </p:nvSpPr>
          <p:spPr>
            <a:xfrm>
              <a:off x="9851711" y="4751078"/>
              <a:ext cx="1200058" cy="507831"/>
            </a:xfrm>
            <a:prstGeom prst="rect">
              <a:avLst/>
            </a:prstGeom>
            <a:noFill/>
          </p:spPr>
          <p:txBody>
            <a:bodyPr wrap="square" rtlCol="0" anchor="t">
              <a:spAutoFit/>
            </a:bodyPr>
            <a:lstStyle/>
            <a:p>
              <a:r>
                <a:rPr lang="es-ES" sz="900">
                  <a:solidFill>
                    <a:schemeClr val="accent1">
                      <a:lumMod val="25000"/>
                    </a:schemeClr>
                  </a:solidFill>
                </a:rPr>
                <a:t>Vicepresidente Finanzas</a:t>
              </a:r>
            </a:p>
            <a:p>
              <a:r>
                <a:rPr lang="es-ES" sz="900">
                  <a:solidFill>
                    <a:schemeClr val="accent1">
                      <a:lumMod val="25000"/>
                    </a:schemeClr>
                  </a:solidFill>
                </a:rPr>
                <a:t>10 %</a:t>
              </a:r>
              <a:endParaRPr lang="es-CO" sz="900">
                <a:solidFill>
                  <a:schemeClr val="accent1">
                    <a:lumMod val="25000"/>
                  </a:schemeClr>
                </a:solidFill>
              </a:endParaRPr>
            </a:p>
          </p:txBody>
        </p:sp>
        <p:sp>
          <p:nvSpPr>
            <p:cNvPr id="28" name="CuadroTexto 27">
              <a:extLst>
                <a:ext uri="{FF2B5EF4-FFF2-40B4-BE49-F238E27FC236}">
                  <a16:creationId xmlns:a16="http://schemas.microsoft.com/office/drawing/2014/main" id="{4A0F0E28-A961-4260-8BB9-16809CE2E13A}"/>
                </a:ext>
              </a:extLst>
            </p:cNvPr>
            <p:cNvSpPr txBox="1"/>
            <p:nvPr/>
          </p:nvSpPr>
          <p:spPr>
            <a:xfrm>
              <a:off x="9392140" y="4884294"/>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grpSp>
      <p:grpSp>
        <p:nvGrpSpPr>
          <p:cNvPr id="31" name="Grupo 30">
            <a:extLst>
              <a:ext uri="{FF2B5EF4-FFF2-40B4-BE49-F238E27FC236}">
                <a16:creationId xmlns:a16="http://schemas.microsoft.com/office/drawing/2014/main" id="{A0B07E6C-42EA-42D4-BF18-74CF8467911A}"/>
              </a:ext>
            </a:extLst>
          </p:cNvPr>
          <p:cNvGrpSpPr/>
          <p:nvPr/>
        </p:nvGrpSpPr>
        <p:grpSpPr>
          <a:xfrm>
            <a:off x="8175391" y="4091519"/>
            <a:ext cx="1382137" cy="507831"/>
            <a:chOff x="9218732" y="3305090"/>
            <a:chExt cx="1382137" cy="507831"/>
          </a:xfrm>
        </p:grpSpPr>
        <p:sp>
          <p:nvSpPr>
            <p:cNvPr id="32" name="CuadroTexto 31">
              <a:extLst>
                <a:ext uri="{FF2B5EF4-FFF2-40B4-BE49-F238E27FC236}">
                  <a16:creationId xmlns:a16="http://schemas.microsoft.com/office/drawing/2014/main" id="{112CF6BB-B57E-4E30-BDB8-A663AA382E62}"/>
                </a:ext>
              </a:extLst>
            </p:cNvPr>
            <p:cNvSpPr txBox="1"/>
            <p:nvPr/>
          </p:nvSpPr>
          <p:spPr>
            <a:xfrm>
              <a:off x="9218732" y="3451146"/>
              <a:ext cx="432000" cy="215444"/>
            </a:xfrm>
            <a:prstGeom prst="rect">
              <a:avLst/>
            </a:prstGeom>
            <a:solidFill>
              <a:schemeClr val="bg1"/>
            </a:solidFill>
            <a:ln w="19050">
              <a:solidFill>
                <a:srgbClr val="FF9999"/>
              </a:solidFill>
            </a:ln>
          </p:spPr>
          <p:txBody>
            <a:bodyPr wrap="square" rtlCol="0">
              <a:spAutoFit/>
            </a:bodyPr>
            <a:lstStyle/>
            <a:p>
              <a:pPr algn="ctr"/>
              <a:r>
                <a:rPr lang="es-ES" sz="800"/>
                <a:t>JT</a:t>
              </a:r>
              <a:endParaRPr lang="es-CO" sz="800"/>
            </a:p>
          </p:txBody>
        </p:sp>
        <p:sp>
          <p:nvSpPr>
            <p:cNvPr id="33" name="CuadroTexto 32">
              <a:extLst>
                <a:ext uri="{FF2B5EF4-FFF2-40B4-BE49-F238E27FC236}">
                  <a16:creationId xmlns:a16="http://schemas.microsoft.com/office/drawing/2014/main" id="{99A98136-5ADE-4ACF-97B1-9869591C8748}"/>
                </a:ext>
              </a:extLst>
            </p:cNvPr>
            <p:cNvSpPr txBox="1"/>
            <p:nvPr/>
          </p:nvSpPr>
          <p:spPr>
            <a:xfrm>
              <a:off x="9611995" y="3305090"/>
              <a:ext cx="988874" cy="507831"/>
            </a:xfrm>
            <a:prstGeom prst="rect">
              <a:avLst/>
            </a:prstGeom>
            <a:noFill/>
          </p:spPr>
          <p:txBody>
            <a:bodyPr wrap="square" rtlCol="0" anchor="t">
              <a:spAutoFit/>
            </a:bodyPr>
            <a:lstStyle/>
            <a:p>
              <a:r>
                <a:rPr lang="es-ES" sz="900">
                  <a:solidFill>
                    <a:schemeClr val="accent1">
                      <a:lumMod val="25000"/>
                    </a:schemeClr>
                  </a:solidFill>
                </a:rPr>
                <a:t>Jefe de Tesorería</a:t>
              </a:r>
            </a:p>
            <a:p>
              <a:r>
                <a:rPr lang="es-ES" sz="900">
                  <a:solidFill>
                    <a:schemeClr val="accent1">
                      <a:lumMod val="25000"/>
                    </a:schemeClr>
                  </a:solidFill>
                </a:rPr>
                <a:t>12 %</a:t>
              </a:r>
              <a:endParaRPr lang="es-CO" sz="900">
                <a:solidFill>
                  <a:schemeClr val="accent1">
                    <a:lumMod val="25000"/>
                  </a:schemeClr>
                </a:solidFill>
              </a:endParaRPr>
            </a:p>
          </p:txBody>
        </p:sp>
      </p:grpSp>
      <p:grpSp>
        <p:nvGrpSpPr>
          <p:cNvPr id="53" name="Grupo 52">
            <a:extLst>
              <a:ext uri="{FF2B5EF4-FFF2-40B4-BE49-F238E27FC236}">
                <a16:creationId xmlns:a16="http://schemas.microsoft.com/office/drawing/2014/main" id="{3873BDF9-02E9-44FD-9510-89955A3B3E89}"/>
              </a:ext>
            </a:extLst>
          </p:cNvPr>
          <p:cNvGrpSpPr/>
          <p:nvPr/>
        </p:nvGrpSpPr>
        <p:grpSpPr>
          <a:xfrm>
            <a:off x="8175391" y="3393966"/>
            <a:ext cx="1430263" cy="646331"/>
            <a:chOff x="9218732" y="3240922"/>
            <a:chExt cx="1430263" cy="646331"/>
          </a:xfrm>
        </p:grpSpPr>
        <p:sp>
          <p:nvSpPr>
            <p:cNvPr id="55" name="CuadroTexto 54">
              <a:extLst>
                <a:ext uri="{FF2B5EF4-FFF2-40B4-BE49-F238E27FC236}">
                  <a16:creationId xmlns:a16="http://schemas.microsoft.com/office/drawing/2014/main" id="{890E6358-E7F1-4BAE-B3A3-26D27855B414}"/>
                </a:ext>
              </a:extLst>
            </p:cNvPr>
            <p:cNvSpPr txBox="1"/>
            <p:nvPr/>
          </p:nvSpPr>
          <p:spPr>
            <a:xfrm>
              <a:off x="9218732" y="3451146"/>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56" name="CuadroTexto 55">
              <a:extLst>
                <a:ext uri="{FF2B5EF4-FFF2-40B4-BE49-F238E27FC236}">
                  <a16:creationId xmlns:a16="http://schemas.microsoft.com/office/drawing/2014/main" id="{30228C31-EF71-4412-B19C-CEFAE9DC60E1}"/>
                </a:ext>
              </a:extLst>
            </p:cNvPr>
            <p:cNvSpPr txBox="1"/>
            <p:nvPr/>
          </p:nvSpPr>
          <p:spPr>
            <a:xfrm>
              <a:off x="9660121" y="3240922"/>
              <a:ext cx="988874" cy="646331"/>
            </a:xfrm>
            <a:prstGeom prst="rect">
              <a:avLst/>
            </a:prstGeom>
            <a:noFill/>
          </p:spPr>
          <p:txBody>
            <a:bodyPr wrap="square" rtlCol="0" anchor="t">
              <a:spAutoFit/>
            </a:bodyPr>
            <a:lstStyle/>
            <a:p>
              <a:r>
                <a:rPr lang="es-ES" sz="900">
                  <a:solidFill>
                    <a:schemeClr val="accent1">
                      <a:lumMod val="25000"/>
                    </a:schemeClr>
                  </a:solidFill>
                </a:rPr>
                <a:t>Gerente de Operaciones Financieras</a:t>
              </a:r>
            </a:p>
            <a:p>
              <a:r>
                <a:rPr lang="es-ES" sz="900">
                  <a:solidFill>
                    <a:schemeClr val="accent1">
                      <a:lumMod val="25000"/>
                    </a:schemeClr>
                  </a:solidFill>
                </a:rPr>
                <a:t>20 %</a:t>
              </a:r>
              <a:endParaRPr lang="es-CO" sz="900">
                <a:solidFill>
                  <a:schemeClr val="accent1">
                    <a:lumMod val="25000"/>
                  </a:schemeClr>
                </a:solidFill>
              </a:endParaRPr>
            </a:p>
          </p:txBody>
        </p:sp>
      </p:grpSp>
      <p:sp>
        <p:nvSpPr>
          <p:cNvPr id="75" name="Rectángulo 74">
            <a:extLst>
              <a:ext uri="{FF2B5EF4-FFF2-40B4-BE49-F238E27FC236}">
                <a16:creationId xmlns:a16="http://schemas.microsoft.com/office/drawing/2014/main" id="{2661451E-D5D5-4E61-ACCE-D44BDCEFB3E1}"/>
              </a:ext>
            </a:extLst>
          </p:cNvPr>
          <p:cNvSpPr>
            <a:spLocks/>
          </p:cNvSpPr>
          <p:nvPr/>
        </p:nvSpPr>
        <p:spPr>
          <a:xfrm>
            <a:off x="161326" y="859122"/>
            <a:ext cx="6934588" cy="214277"/>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300">
                <a:solidFill>
                  <a:schemeClr val="tx2"/>
                </a:solidFill>
              </a:rPr>
              <a:t>Autorizar pagos</a:t>
            </a:r>
          </a:p>
        </p:txBody>
      </p:sp>
      <p:sp>
        <p:nvSpPr>
          <p:cNvPr id="77" name="Rectangle 30">
            <a:extLst>
              <a:ext uri="{FF2B5EF4-FFF2-40B4-BE49-F238E27FC236}">
                <a16:creationId xmlns:a16="http://schemas.microsoft.com/office/drawing/2014/main" id="{19024DAF-FA7E-4978-AEF2-0968B2C95CEF}"/>
              </a:ext>
            </a:extLst>
          </p:cNvPr>
          <p:cNvSpPr>
            <a:spLocks/>
          </p:cNvSpPr>
          <p:nvPr/>
        </p:nvSpPr>
        <p:spPr>
          <a:xfrm>
            <a:off x="172412" y="1203911"/>
            <a:ext cx="1504800" cy="7560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utorizar descuentos comerciales por pago anticipado de facturas</a:t>
            </a:r>
            <a:endParaRPr lang="es-CO" sz="900">
              <a:solidFill>
                <a:schemeClr val="tx2"/>
              </a:solidFill>
            </a:endParaRPr>
          </a:p>
        </p:txBody>
      </p:sp>
      <p:sp>
        <p:nvSpPr>
          <p:cNvPr id="79" name="Rectangle 30">
            <a:extLst>
              <a:ext uri="{FF2B5EF4-FFF2-40B4-BE49-F238E27FC236}">
                <a16:creationId xmlns:a16="http://schemas.microsoft.com/office/drawing/2014/main" id="{760F56BD-3709-40D0-B01B-5BB74DB2FB5A}"/>
              </a:ext>
            </a:extLst>
          </p:cNvPr>
          <p:cNvSpPr>
            <a:spLocks/>
          </p:cNvSpPr>
          <p:nvPr/>
        </p:nvSpPr>
        <p:spPr>
          <a:xfrm>
            <a:off x="172412" y="2071215"/>
            <a:ext cx="1504800" cy="1386978"/>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utorizar pagos por bienes y/o servicios para el desarrollo normal de las operaciones de la sociedad con base en contratos, acuerdos, convenios y/u otras obligaciones adquiridas</a:t>
            </a:r>
            <a:endParaRPr lang="es-CO" sz="900">
              <a:solidFill>
                <a:schemeClr val="tx2"/>
              </a:solidFill>
            </a:endParaRPr>
          </a:p>
        </p:txBody>
      </p:sp>
      <p:sp>
        <p:nvSpPr>
          <p:cNvPr id="80" name="Rectangle 30">
            <a:extLst>
              <a:ext uri="{FF2B5EF4-FFF2-40B4-BE49-F238E27FC236}">
                <a16:creationId xmlns:a16="http://schemas.microsoft.com/office/drawing/2014/main" id="{69A65156-BB61-4872-83C3-69BE7DB70071}"/>
              </a:ext>
            </a:extLst>
          </p:cNvPr>
          <p:cNvSpPr>
            <a:spLocks/>
          </p:cNvSpPr>
          <p:nvPr/>
        </p:nvSpPr>
        <p:spPr>
          <a:xfrm>
            <a:off x="172412" y="3569497"/>
            <a:ext cx="1504800" cy="7560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probar reembolsos por depósitos errados no correspondientes a la empresa</a:t>
            </a:r>
            <a:endParaRPr lang="es-CO" sz="900">
              <a:solidFill>
                <a:schemeClr val="tx2"/>
              </a:solidFill>
            </a:endParaRPr>
          </a:p>
        </p:txBody>
      </p:sp>
      <p:sp>
        <p:nvSpPr>
          <p:cNvPr id="81" name="Rectangle 30">
            <a:extLst>
              <a:ext uri="{FF2B5EF4-FFF2-40B4-BE49-F238E27FC236}">
                <a16:creationId xmlns:a16="http://schemas.microsoft.com/office/drawing/2014/main" id="{9C01BBC6-8784-4E73-A8BF-AE202025C6D8}"/>
              </a:ext>
            </a:extLst>
          </p:cNvPr>
          <p:cNvSpPr>
            <a:spLocks/>
          </p:cNvSpPr>
          <p:nvPr/>
        </p:nvSpPr>
        <p:spPr>
          <a:xfrm>
            <a:off x="194870" y="4436801"/>
            <a:ext cx="1504800" cy="1014174"/>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utorizar pago de pólizas judiciales o causaciones dentro de procesos judiciales o investigaciones administrativas</a:t>
            </a:r>
            <a:endParaRPr lang="es-CO" sz="900">
              <a:solidFill>
                <a:schemeClr val="tx2"/>
              </a:solidFill>
            </a:endParaRPr>
          </a:p>
        </p:txBody>
      </p:sp>
      <p:sp>
        <p:nvSpPr>
          <p:cNvPr id="87" name="Rectangle 30">
            <a:extLst>
              <a:ext uri="{FF2B5EF4-FFF2-40B4-BE49-F238E27FC236}">
                <a16:creationId xmlns:a16="http://schemas.microsoft.com/office/drawing/2014/main" id="{F991C183-F691-42BB-986A-1D4B3D0103EB}"/>
              </a:ext>
            </a:extLst>
          </p:cNvPr>
          <p:cNvSpPr>
            <a:spLocks/>
          </p:cNvSpPr>
          <p:nvPr/>
        </p:nvSpPr>
        <p:spPr>
          <a:xfrm>
            <a:off x="172412" y="5562278"/>
            <a:ext cx="1504800" cy="547929"/>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utorizar pago de costas y agencias en derecho</a:t>
            </a:r>
            <a:endParaRPr lang="es-CO" sz="900">
              <a:solidFill>
                <a:schemeClr val="tx2"/>
              </a:solidFill>
            </a:endParaRPr>
          </a:p>
        </p:txBody>
      </p:sp>
      <p:sp>
        <p:nvSpPr>
          <p:cNvPr id="91" name="Rectangle 30">
            <a:extLst>
              <a:ext uri="{FF2B5EF4-FFF2-40B4-BE49-F238E27FC236}">
                <a16:creationId xmlns:a16="http://schemas.microsoft.com/office/drawing/2014/main" id="{18F9C7D0-B217-4434-8D0C-695D97120E3B}"/>
              </a:ext>
            </a:extLst>
          </p:cNvPr>
          <p:cNvSpPr>
            <a:spLocks/>
          </p:cNvSpPr>
          <p:nvPr/>
        </p:nvSpPr>
        <p:spPr>
          <a:xfrm>
            <a:off x="1973019" y="1247726"/>
            <a:ext cx="1504800" cy="525269"/>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utorizar pago de Convenios</a:t>
            </a:r>
            <a:endParaRPr lang="es-CO" sz="900">
              <a:solidFill>
                <a:schemeClr val="tx2"/>
              </a:solidFill>
            </a:endParaRPr>
          </a:p>
        </p:txBody>
      </p:sp>
      <p:sp>
        <p:nvSpPr>
          <p:cNvPr id="98" name="Rectangle 30">
            <a:extLst>
              <a:ext uri="{FF2B5EF4-FFF2-40B4-BE49-F238E27FC236}">
                <a16:creationId xmlns:a16="http://schemas.microsoft.com/office/drawing/2014/main" id="{D7FEAE21-9F37-4A63-909A-1A7AC2BC0417}"/>
              </a:ext>
            </a:extLst>
          </p:cNvPr>
          <p:cNvSpPr>
            <a:spLocks/>
          </p:cNvSpPr>
          <p:nvPr/>
        </p:nvSpPr>
        <p:spPr>
          <a:xfrm>
            <a:off x="1973019" y="1853778"/>
            <a:ext cx="1504800" cy="6336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utorizar pago de contraprestaciones portuarias</a:t>
            </a:r>
            <a:endParaRPr lang="es-CO" sz="900">
              <a:solidFill>
                <a:schemeClr val="tx2"/>
              </a:solidFill>
            </a:endParaRPr>
          </a:p>
        </p:txBody>
      </p:sp>
      <p:sp>
        <p:nvSpPr>
          <p:cNvPr id="101" name="Rectangle 30">
            <a:extLst>
              <a:ext uri="{FF2B5EF4-FFF2-40B4-BE49-F238E27FC236}">
                <a16:creationId xmlns:a16="http://schemas.microsoft.com/office/drawing/2014/main" id="{79B59DCD-FE2A-4CB0-A0BF-16552D365CC8}"/>
              </a:ext>
            </a:extLst>
          </p:cNvPr>
          <p:cNvSpPr>
            <a:spLocks/>
          </p:cNvSpPr>
          <p:nvPr/>
        </p:nvSpPr>
        <p:spPr>
          <a:xfrm>
            <a:off x="1973019" y="2568161"/>
            <a:ext cx="1504800" cy="6336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utorizar pago de reconocimiento de Inspecciones Ambientales</a:t>
            </a:r>
            <a:endParaRPr lang="es-CO" sz="900">
              <a:solidFill>
                <a:schemeClr val="tx2"/>
              </a:solidFill>
            </a:endParaRPr>
          </a:p>
        </p:txBody>
      </p:sp>
      <p:sp>
        <p:nvSpPr>
          <p:cNvPr id="107" name="Rectangle 30">
            <a:extLst>
              <a:ext uri="{FF2B5EF4-FFF2-40B4-BE49-F238E27FC236}">
                <a16:creationId xmlns:a16="http://schemas.microsoft.com/office/drawing/2014/main" id="{DCDB75E1-F08D-48E6-BD8F-C8C43CF0E9E4}"/>
              </a:ext>
            </a:extLst>
          </p:cNvPr>
          <p:cNvSpPr>
            <a:spLocks/>
          </p:cNvSpPr>
          <p:nvPr/>
        </p:nvSpPr>
        <p:spPr>
          <a:xfrm>
            <a:off x="1973019" y="3282544"/>
            <a:ext cx="1504800" cy="963793"/>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utorizar pago de avisos en medios escritos (licitaciones, concursos, autos, resoluciones, fallecimientos, etc.)</a:t>
            </a:r>
            <a:endParaRPr lang="es-CO" sz="900">
              <a:solidFill>
                <a:schemeClr val="tx2"/>
              </a:solidFill>
            </a:endParaRPr>
          </a:p>
        </p:txBody>
      </p:sp>
      <p:sp>
        <p:nvSpPr>
          <p:cNvPr id="112" name="Rectangle 30">
            <a:extLst>
              <a:ext uri="{FF2B5EF4-FFF2-40B4-BE49-F238E27FC236}">
                <a16:creationId xmlns:a16="http://schemas.microsoft.com/office/drawing/2014/main" id="{D3449E55-D9E7-48E9-9077-F060D307C218}"/>
              </a:ext>
            </a:extLst>
          </p:cNvPr>
          <p:cNvSpPr>
            <a:spLocks/>
          </p:cNvSpPr>
          <p:nvPr/>
        </p:nvSpPr>
        <p:spPr>
          <a:xfrm>
            <a:off x="1973019" y="4327120"/>
            <a:ext cx="1504800" cy="6336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utorizar pago por contribuciones a los entes de vigilancia y control</a:t>
            </a:r>
            <a:endParaRPr lang="es-CO" sz="900">
              <a:solidFill>
                <a:schemeClr val="tx2"/>
              </a:solidFill>
            </a:endParaRPr>
          </a:p>
        </p:txBody>
      </p:sp>
      <p:sp>
        <p:nvSpPr>
          <p:cNvPr id="113" name="Rectangle 30">
            <a:extLst>
              <a:ext uri="{FF2B5EF4-FFF2-40B4-BE49-F238E27FC236}">
                <a16:creationId xmlns:a16="http://schemas.microsoft.com/office/drawing/2014/main" id="{F23ED729-3677-42FF-A4D9-F74AADEEAC49}"/>
              </a:ext>
            </a:extLst>
          </p:cNvPr>
          <p:cNvSpPr>
            <a:spLocks/>
          </p:cNvSpPr>
          <p:nvPr/>
        </p:nvSpPr>
        <p:spPr>
          <a:xfrm>
            <a:off x="1973019" y="5041505"/>
            <a:ext cx="1504800" cy="1070865"/>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utorizar pagos de honorarios de los miembros de la Junta Directiva, gastos administrativos de las reuniones de la Junta Directiva </a:t>
            </a:r>
            <a:endParaRPr lang="es-CO" sz="900">
              <a:solidFill>
                <a:schemeClr val="tx2"/>
              </a:solidFill>
            </a:endParaRPr>
          </a:p>
        </p:txBody>
      </p:sp>
      <p:sp>
        <p:nvSpPr>
          <p:cNvPr id="114" name="Rectangle 30">
            <a:extLst>
              <a:ext uri="{FF2B5EF4-FFF2-40B4-BE49-F238E27FC236}">
                <a16:creationId xmlns:a16="http://schemas.microsoft.com/office/drawing/2014/main" id="{DAB2F9B5-A408-483C-BB0C-541C04A64603}"/>
              </a:ext>
            </a:extLst>
          </p:cNvPr>
          <p:cNvSpPr>
            <a:spLocks/>
          </p:cNvSpPr>
          <p:nvPr/>
        </p:nvSpPr>
        <p:spPr>
          <a:xfrm>
            <a:off x="3815818" y="4457605"/>
            <a:ext cx="1504800" cy="476945"/>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utorizar pago de dividendos*</a:t>
            </a:r>
            <a:endParaRPr lang="es-CO" sz="900">
              <a:solidFill>
                <a:schemeClr val="tx2"/>
              </a:solidFill>
            </a:endParaRPr>
          </a:p>
        </p:txBody>
      </p:sp>
      <p:sp>
        <p:nvSpPr>
          <p:cNvPr id="121" name="Rectangle 30">
            <a:extLst>
              <a:ext uri="{FF2B5EF4-FFF2-40B4-BE49-F238E27FC236}">
                <a16:creationId xmlns:a16="http://schemas.microsoft.com/office/drawing/2014/main" id="{DCD85B41-E0F2-49DE-BE7E-2285DCE4306F}"/>
              </a:ext>
            </a:extLst>
          </p:cNvPr>
          <p:cNvSpPr>
            <a:spLocks/>
          </p:cNvSpPr>
          <p:nvPr/>
        </p:nvSpPr>
        <p:spPr>
          <a:xfrm>
            <a:off x="3815818" y="5035370"/>
            <a:ext cx="1504800" cy="10770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utorizar pago por devoluciones a los accionistas, pago de dividendos por recálculos y pago de dividendos extemporáneos**</a:t>
            </a:r>
            <a:endParaRPr lang="es-CO" sz="900">
              <a:solidFill>
                <a:schemeClr val="tx2"/>
              </a:solidFill>
            </a:endParaRPr>
          </a:p>
        </p:txBody>
      </p:sp>
      <p:sp>
        <p:nvSpPr>
          <p:cNvPr id="123" name="Rectangle 30">
            <a:extLst>
              <a:ext uri="{FF2B5EF4-FFF2-40B4-BE49-F238E27FC236}">
                <a16:creationId xmlns:a16="http://schemas.microsoft.com/office/drawing/2014/main" id="{96309232-3CEA-4DD6-AFA6-EB7949BDC5D2}"/>
              </a:ext>
            </a:extLst>
          </p:cNvPr>
          <p:cNvSpPr>
            <a:spLocks/>
          </p:cNvSpPr>
          <p:nvPr/>
        </p:nvSpPr>
        <p:spPr>
          <a:xfrm>
            <a:off x="3815818" y="3396023"/>
            <a:ext cx="1504800" cy="960764"/>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utorizar pago por intereses de mora, multas o sanciones, intereses por sobregiros bancarios (incluidas las tributarias) </a:t>
            </a:r>
            <a:endParaRPr lang="es-CO" sz="900">
              <a:solidFill>
                <a:schemeClr val="tx2"/>
              </a:solidFill>
            </a:endParaRPr>
          </a:p>
        </p:txBody>
      </p:sp>
      <p:sp>
        <p:nvSpPr>
          <p:cNvPr id="128" name="Rectangle 30">
            <a:extLst>
              <a:ext uri="{FF2B5EF4-FFF2-40B4-BE49-F238E27FC236}">
                <a16:creationId xmlns:a16="http://schemas.microsoft.com/office/drawing/2014/main" id="{8C357E4C-4A5B-4328-8E90-B9521B819DA8}"/>
              </a:ext>
            </a:extLst>
          </p:cNvPr>
          <p:cNvSpPr>
            <a:spLocks/>
          </p:cNvSpPr>
          <p:nvPr/>
        </p:nvSpPr>
        <p:spPr>
          <a:xfrm>
            <a:off x="5591113" y="1199910"/>
            <a:ext cx="1504800" cy="895851"/>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utorizar pagos derivados de contratos de crédito de largo plazo: comisiones, servicio a la deuda </a:t>
            </a:r>
            <a:endParaRPr lang="es-CO" sz="900">
              <a:solidFill>
                <a:schemeClr val="tx2"/>
              </a:solidFill>
            </a:endParaRPr>
          </a:p>
        </p:txBody>
      </p:sp>
      <p:sp>
        <p:nvSpPr>
          <p:cNvPr id="129" name="Rectangle 30">
            <a:extLst>
              <a:ext uri="{FF2B5EF4-FFF2-40B4-BE49-F238E27FC236}">
                <a16:creationId xmlns:a16="http://schemas.microsoft.com/office/drawing/2014/main" id="{24CA492A-FC13-4941-B289-964D9D2C0595}"/>
              </a:ext>
            </a:extLst>
          </p:cNvPr>
          <p:cNvSpPr>
            <a:spLocks/>
          </p:cNvSpPr>
          <p:nvPr/>
        </p:nvSpPr>
        <p:spPr>
          <a:xfrm>
            <a:off x="5591113" y="2198785"/>
            <a:ext cx="1504800" cy="7560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utorizar pago de impuestos por importaciones de materiales y equipos</a:t>
            </a:r>
            <a:endParaRPr lang="es-CO" sz="900">
              <a:solidFill>
                <a:schemeClr val="tx2"/>
              </a:solidFill>
            </a:endParaRPr>
          </a:p>
        </p:txBody>
      </p:sp>
      <p:sp>
        <p:nvSpPr>
          <p:cNvPr id="131" name="Rectangle 30">
            <a:extLst>
              <a:ext uri="{FF2B5EF4-FFF2-40B4-BE49-F238E27FC236}">
                <a16:creationId xmlns:a16="http://schemas.microsoft.com/office/drawing/2014/main" id="{659F8239-3772-4B5D-84D9-B6820973AB7D}"/>
              </a:ext>
            </a:extLst>
          </p:cNvPr>
          <p:cNvSpPr>
            <a:spLocks/>
          </p:cNvSpPr>
          <p:nvPr/>
        </p:nvSpPr>
        <p:spPr>
          <a:xfrm>
            <a:off x="5591113" y="3057809"/>
            <a:ext cx="1504800" cy="6336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probar pago de amortización y servicio de la deuda externa</a:t>
            </a:r>
            <a:endParaRPr lang="es-CO" sz="900">
              <a:solidFill>
                <a:schemeClr val="tx2"/>
              </a:solidFill>
            </a:endParaRPr>
          </a:p>
        </p:txBody>
      </p:sp>
      <p:sp>
        <p:nvSpPr>
          <p:cNvPr id="139" name="Rectangle 30">
            <a:extLst>
              <a:ext uri="{FF2B5EF4-FFF2-40B4-BE49-F238E27FC236}">
                <a16:creationId xmlns:a16="http://schemas.microsoft.com/office/drawing/2014/main" id="{9F2C6947-6656-4F12-920F-7F25FE0E0A75}"/>
              </a:ext>
            </a:extLst>
          </p:cNvPr>
          <p:cNvSpPr>
            <a:spLocks/>
          </p:cNvSpPr>
          <p:nvPr/>
        </p:nvSpPr>
        <p:spPr>
          <a:xfrm>
            <a:off x="5591113" y="3794433"/>
            <a:ext cx="1504800" cy="97277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probar el pago de sentencias / conciliaciones y/o transacciones que se derivan de un proceso judicial (por SMMLV)</a:t>
            </a:r>
            <a:endParaRPr lang="es-CO" sz="900">
              <a:solidFill>
                <a:schemeClr val="tx2"/>
              </a:solidFill>
            </a:endParaRPr>
          </a:p>
        </p:txBody>
      </p:sp>
      <p:sp>
        <p:nvSpPr>
          <p:cNvPr id="141" name="Rectangle 30">
            <a:extLst>
              <a:ext uri="{FF2B5EF4-FFF2-40B4-BE49-F238E27FC236}">
                <a16:creationId xmlns:a16="http://schemas.microsoft.com/office/drawing/2014/main" id="{B4C15846-F4C9-4548-B734-938F5E1AC7DD}"/>
              </a:ext>
            </a:extLst>
          </p:cNvPr>
          <p:cNvSpPr>
            <a:spLocks/>
          </p:cNvSpPr>
          <p:nvPr/>
        </p:nvSpPr>
        <p:spPr>
          <a:xfrm>
            <a:off x="3815818" y="1205368"/>
            <a:ext cx="1504800" cy="7560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utorizar pagos en contratos para ejecutar actividades de compensación e inversión del 1%</a:t>
            </a:r>
            <a:endParaRPr lang="es-CO" sz="900">
              <a:solidFill>
                <a:schemeClr val="tx2"/>
              </a:solidFill>
            </a:endParaRPr>
          </a:p>
        </p:txBody>
      </p:sp>
      <p:sp>
        <p:nvSpPr>
          <p:cNvPr id="143" name="Rectangle 30">
            <a:extLst>
              <a:ext uri="{FF2B5EF4-FFF2-40B4-BE49-F238E27FC236}">
                <a16:creationId xmlns:a16="http://schemas.microsoft.com/office/drawing/2014/main" id="{D6B161C2-FF96-468A-8368-81C555D3426A}"/>
              </a:ext>
            </a:extLst>
          </p:cNvPr>
          <p:cNvSpPr>
            <a:spLocks/>
          </p:cNvSpPr>
          <p:nvPr/>
        </p:nvSpPr>
        <p:spPr>
          <a:xfrm>
            <a:off x="3815818" y="2062186"/>
            <a:ext cx="1504800" cy="498601"/>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utorizar pago a autoridades ambientales</a:t>
            </a:r>
            <a:endParaRPr lang="es-CO" sz="900">
              <a:solidFill>
                <a:schemeClr val="tx2"/>
              </a:solidFill>
            </a:endParaRPr>
          </a:p>
        </p:txBody>
      </p:sp>
      <p:sp>
        <p:nvSpPr>
          <p:cNvPr id="150" name="Rectangle 30">
            <a:extLst>
              <a:ext uri="{FF2B5EF4-FFF2-40B4-BE49-F238E27FC236}">
                <a16:creationId xmlns:a16="http://schemas.microsoft.com/office/drawing/2014/main" id="{C28A80CF-1701-4EF2-8A2B-1130DC0D68B0}"/>
              </a:ext>
            </a:extLst>
          </p:cNvPr>
          <p:cNvSpPr>
            <a:spLocks/>
          </p:cNvSpPr>
          <p:nvPr/>
        </p:nvSpPr>
        <p:spPr>
          <a:xfrm>
            <a:off x="3815818" y="2661605"/>
            <a:ext cx="1504800" cy="6336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utorizar pago de los contratos derivados del portafolio de inversión socioambiental </a:t>
            </a:r>
            <a:endParaRPr lang="es-CO" sz="900">
              <a:solidFill>
                <a:schemeClr val="tx2"/>
              </a:solidFill>
            </a:endParaRPr>
          </a:p>
        </p:txBody>
      </p:sp>
      <p:sp>
        <p:nvSpPr>
          <p:cNvPr id="155" name="Elipse 154">
            <a:extLst>
              <a:ext uri="{FF2B5EF4-FFF2-40B4-BE49-F238E27FC236}">
                <a16:creationId xmlns:a16="http://schemas.microsoft.com/office/drawing/2014/main" id="{FE76AC8F-D97E-47CE-BED9-B7092D0CB7B2}"/>
              </a:ext>
            </a:extLst>
          </p:cNvPr>
          <p:cNvSpPr/>
          <p:nvPr/>
        </p:nvSpPr>
        <p:spPr>
          <a:xfrm>
            <a:off x="5727" y="792281"/>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9</a:t>
            </a:r>
            <a:endParaRPr lang="es-CO" sz="1200" b="1">
              <a:solidFill>
                <a:schemeClr val="bg1"/>
              </a:solidFill>
            </a:endParaRPr>
          </a:p>
        </p:txBody>
      </p:sp>
      <p:sp>
        <p:nvSpPr>
          <p:cNvPr id="3" name="CuadroTexto 2">
            <a:extLst>
              <a:ext uri="{FF2B5EF4-FFF2-40B4-BE49-F238E27FC236}">
                <a16:creationId xmlns:a16="http://schemas.microsoft.com/office/drawing/2014/main" id="{DDD289A7-0369-45FE-98EE-B73187DDD6B0}"/>
              </a:ext>
            </a:extLst>
          </p:cNvPr>
          <p:cNvSpPr txBox="1"/>
          <p:nvPr/>
        </p:nvSpPr>
        <p:spPr>
          <a:xfrm>
            <a:off x="1271268" y="1771093"/>
            <a:ext cx="432000" cy="215444"/>
          </a:xfrm>
          <a:prstGeom prst="rect">
            <a:avLst/>
          </a:prstGeom>
          <a:solidFill>
            <a:schemeClr val="bg1"/>
          </a:solidFill>
          <a:ln w="19050">
            <a:solidFill>
              <a:srgbClr val="FF9999"/>
            </a:solidFill>
          </a:ln>
        </p:spPr>
        <p:txBody>
          <a:bodyPr wrap="square" rtlCol="0">
            <a:spAutoFit/>
          </a:bodyPr>
          <a:lstStyle/>
          <a:p>
            <a:pPr algn="ctr"/>
            <a:r>
              <a:rPr lang="es-ES" sz="800"/>
              <a:t>JT</a:t>
            </a:r>
            <a:endParaRPr lang="es-CO" sz="800"/>
          </a:p>
        </p:txBody>
      </p:sp>
      <p:sp>
        <p:nvSpPr>
          <p:cNvPr id="8" name="CuadroTexto 7">
            <a:extLst>
              <a:ext uri="{FF2B5EF4-FFF2-40B4-BE49-F238E27FC236}">
                <a16:creationId xmlns:a16="http://schemas.microsoft.com/office/drawing/2014/main" id="{0C366AD2-426E-4B9E-9347-2E20FFA2E6E0}"/>
              </a:ext>
            </a:extLst>
          </p:cNvPr>
          <p:cNvSpPr txBox="1"/>
          <p:nvPr/>
        </p:nvSpPr>
        <p:spPr>
          <a:xfrm>
            <a:off x="1271268" y="3324239"/>
            <a:ext cx="432000" cy="215444"/>
          </a:xfrm>
          <a:prstGeom prst="rect">
            <a:avLst/>
          </a:prstGeom>
          <a:solidFill>
            <a:schemeClr val="bg1"/>
          </a:solidFill>
          <a:ln w="19050">
            <a:solidFill>
              <a:srgbClr val="FFFF66"/>
            </a:solidFill>
          </a:ln>
        </p:spPr>
        <p:txBody>
          <a:bodyPr wrap="square" rtlCol="0">
            <a:spAutoFit/>
          </a:bodyPr>
          <a:lstStyle/>
          <a:p>
            <a:pPr algn="ctr"/>
            <a:r>
              <a:rPr lang="es-ES" sz="800"/>
              <a:t>AC</a:t>
            </a:r>
            <a:endParaRPr lang="es-CO" sz="800"/>
          </a:p>
        </p:txBody>
      </p:sp>
      <p:grpSp>
        <p:nvGrpSpPr>
          <p:cNvPr id="22" name="Grupo 21">
            <a:extLst>
              <a:ext uri="{FF2B5EF4-FFF2-40B4-BE49-F238E27FC236}">
                <a16:creationId xmlns:a16="http://schemas.microsoft.com/office/drawing/2014/main" id="{2B98B6A7-7227-4CB8-80CE-DF246B94E3DA}"/>
              </a:ext>
            </a:extLst>
          </p:cNvPr>
          <p:cNvGrpSpPr/>
          <p:nvPr/>
        </p:nvGrpSpPr>
        <p:grpSpPr>
          <a:xfrm>
            <a:off x="8175391" y="4669617"/>
            <a:ext cx="1464689" cy="507831"/>
            <a:chOff x="8574512" y="3021098"/>
            <a:chExt cx="1464689" cy="507831"/>
          </a:xfrm>
        </p:grpSpPr>
        <p:sp>
          <p:nvSpPr>
            <p:cNvPr id="18" name="CuadroTexto 17">
              <a:extLst>
                <a:ext uri="{FF2B5EF4-FFF2-40B4-BE49-F238E27FC236}">
                  <a16:creationId xmlns:a16="http://schemas.microsoft.com/office/drawing/2014/main" id="{76E6C307-14D6-4CAF-BA46-BDFBBCCF6F26}"/>
                </a:ext>
              </a:extLst>
            </p:cNvPr>
            <p:cNvSpPr txBox="1"/>
            <p:nvPr/>
          </p:nvSpPr>
          <p:spPr>
            <a:xfrm>
              <a:off x="8574512" y="3138420"/>
              <a:ext cx="432000" cy="215444"/>
            </a:xfrm>
            <a:prstGeom prst="rect">
              <a:avLst/>
            </a:prstGeom>
            <a:solidFill>
              <a:schemeClr val="bg1"/>
            </a:solidFill>
            <a:ln w="19050">
              <a:solidFill>
                <a:srgbClr val="FFFF66"/>
              </a:solidFill>
            </a:ln>
          </p:spPr>
          <p:txBody>
            <a:bodyPr wrap="square" rtlCol="0">
              <a:spAutoFit/>
            </a:bodyPr>
            <a:lstStyle/>
            <a:p>
              <a:pPr algn="ctr"/>
              <a:r>
                <a:rPr lang="es-ES" sz="800"/>
                <a:t>AC</a:t>
              </a:r>
              <a:endParaRPr lang="es-CO" sz="800"/>
            </a:p>
          </p:txBody>
        </p:sp>
        <p:sp>
          <p:nvSpPr>
            <p:cNvPr id="20" name="CuadroTexto 19">
              <a:extLst>
                <a:ext uri="{FF2B5EF4-FFF2-40B4-BE49-F238E27FC236}">
                  <a16:creationId xmlns:a16="http://schemas.microsoft.com/office/drawing/2014/main" id="{61B4F436-B882-46F2-9213-21298E84A788}"/>
                </a:ext>
              </a:extLst>
            </p:cNvPr>
            <p:cNvSpPr txBox="1"/>
            <p:nvPr/>
          </p:nvSpPr>
          <p:spPr>
            <a:xfrm>
              <a:off x="9006512" y="3021098"/>
              <a:ext cx="1032689" cy="507831"/>
            </a:xfrm>
            <a:prstGeom prst="rect">
              <a:avLst/>
            </a:prstGeom>
            <a:noFill/>
          </p:spPr>
          <p:txBody>
            <a:bodyPr wrap="square" rtlCol="0">
              <a:spAutoFit/>
            </a:bodyPr>
            <a:lstStyle/>
            <a:p>
              <a:r>
                <a:rPr lang="es-ES" sz="900">
                  <a:solidFill>
                    <a:schemeClr val="accent1">
                      <a:lumMod val="25000"/>
                    </a:schemeClr>
                  </a:solidFill>
                </a:rPr>
                <a:t>Administrador de Contratos</a:t>
              </a:r>
            </a:p>
            <a:p>
              <a:r>
                <a:rPr lang="es-ES" sz="900">
                  <a:solidFill>
                    <a:schemeClr val="accent1">
                      <a:lumMod val="25000"/>
                    </a:schemeClr>
                  </a:solidFill>
                </a:rPr>
                <a:t>12 %</a:t>
              </a:r>
              <a:endParaRPr lang="es-CO" sz="900">
                <a:solidFill>
                  <a:schemeClr val="accent1">
                    <a:lumMod val="25000"/>
                  </a:schemeClr>
                </a:solidFill>
              </a:endParaRPr>
            </a:p>
          </p:txBody>
        </p:sp>
      </p:grpSp>
      <p:sp>
        <p:nvSpPr>
          <p:cNvPr id="30" name="CuadroTexto 29">
            <a:extLst>
              <a:ext uri="{FF2B5EF4-FFF2-40B4-BE49-F238E27FC236}">
                <a16:creationId xmlns:a16="http://schemas.microsoft.com/office/drawing/2014/main" id="{5F7E5016-DD23-4661-804E-B6C4BAE33B30}"/>
              </a:ext>
            </a:extLst>
          </p:cNvPr>
          <p:cNvSpPr txBox="1"/>
          <p:nvPr/>
        </p:nvSpPr>
        <p:spPr>
          <a:xfrm>
            <a:off x="1271268" y="4139191"/>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grpSp>
        <p:nvGrpSpPr>
          <p:cNvPr id="167" name="Grupo 166">
            <a:extLst>
              <a:ext uri="{FF2B5EF4-FFF2-40B4-BE49-F238E27FC236}">
                <a16:creationId xmlns:a16="http://schemas.microsoft.com/office/drawing/2014/main" id="{63AEDB8E-9F96-4691-A9CB-A70EAAEF70B8}"/>
              </a:ext>
            </a:extLst>
          </p:cNvPr>
          <p:cNvGrpSpPr/>
          <p:nvPr/>
        </p:nvGrpSpPr>
        <p:grpSpPr>
          <a:xfrm>
            <a:off x="8175391" y="2056169"/>
            <a:ext cx="1464689" cy="784830"/>
            <a:chOff x="8574512" y="2873365"/>
            <a:chExt cx="1464689" cy="784830"/>
          </a:xfrm>
        </p:grpSpPr>
        <p:sp>
          <p:nvSpPr>
            <p:cNvPr id="168" name="CuadroTexto 167">
              <a:extLst>
                <a:ext uri="{FF2B5EF4-FFF2-40B4-BE49-F238E27FC236}">
                  <a16:creationId xmlns:a16="http://schemas.microsoft.com/office/drawing/2014/main" id="{5EB59FC4-E3CB-4F9C-B021-888F9A3421D8}"/>
                </a:ext>
              </a:extLst>
            </p:cNvPr>
            <p:cNvSpPr txBox="1"/>
            <p:nvPr/>
          </p:nvSpPr>
          <p:spPr>
            <a:xfrm>
              <a:off x="8574512" y="3138420"/>
              <a:ext cx="432000" cy="215444"/>
            </a:xfrm>
            <a:prstGeom prst="rect">
              <a:avLst/>
            </a:prstGeom>
            <a:solidFill>
              <a:schemeClr val="bg1"/>
            </a:solidFill>
            <a:ln w="19050">
              <a:solidFill>
                <a:srgbClr val="FFE07D"/>
              </a:solidFill>
            </a:ln>
          </p:spPr>
          <p:txBody>
            <a:bodyPr wrap="square" rtlCol="0">
              <a:spAutoFit/>
            </a:bodyPr>
            <a:lstStyle/>
            <a:p>
              <a:pPr algn="ctr"/>
              <a:r>
                <a:rPr lang="es-ES" sz="800"/>
                <a:t>VLS</a:t>
              </a:r>
              <a:endParaRPr lang="es-CO" sz="800"/>
            </a:p>
          </p:txBody>
        </p:sp>
        <p:sp>
          <p:nvSpPr>
            <p:cNvPr id="169" name="CuadroTexto 168">
              <a:extLst>
                <a:ext uri="{FF2B5EF4-FFF2-40B4-BE49-F238E27FC236}">
                  <a16:creationId xmlns:a16="http://schemas.microsoft.com/office/drawing/2014/main" id="{41B9922E-6AB6-4BE2-8AB9-1E9616B45BCF}"/>
                </a:ext>
              </a:extLst>
            </p:cNvPr>
            <p:cNvSpPr txBox="1"/>
            <p:nvPr/>
          </p:nvSpPr>
          <p:spPr>
            <a:xfrm>
              <a:off x="9006512" y="2873365"/>
              <a:ext cx="1032689" cy="784830"/>
            </a:xfrm>
            <a:prstGeom prst="rect">
              <a:avLst/>
            </a:prstGeom>
            <a:noFill/>
          </p:spPr>
          <p:txBody>
            <a:bodyPr wrap="square" rtlCol="0">
              <a:spAutoFit/>
            </a:bodyPr>
            <a:lstStyle/>
            <a:p>
              <a:r>
                <a:rPr lang="es-ES" sz="900">
                  <a:solidFill>
                    <a:schemeClr val="accent1">
                      <a:lumMod val="25000"/>
                    </a:schemeClr>
                  </a:solidFill>
                </a:rPr>
                <a:t>Vicepresidente Legal y de Secretaría General</a:t>
              </a:r>
            </a:p>
            <a:p>
              <a:r>
                <a:rPr lang="es-ES" sz="900">
                  <a:solidFill>
                    <a:schemeClr val="accent1">
                      <a:lumMod val="25000"/>
                    </a:schemeClr>
                  </a:solidFill>
                </a:rPr>
                <a:t>10 %</a:t>
              </a:r>
              <a:endParaRPr lang="es-CO" sz="900">
                <a:solidFill>
                  <a:schemeClr val="accent1">
                    <a:lumMod val="25000"/>
                  </a:schemeClr>
                </a:solidFill>
              </a:endParaRPr>
            </a:p>
          </p:txBody>
        </p:sp>
      </p:grpSp>
      <p:sp>
        <p:nvSpPr>
          <p:cNvPr id="35" name="CuadroTexto 34">
            <a:extLst>
              <a:ext uri="{FF2B5EF4-FFF2-40B4-BE49-F238E27FC236}">
                <a16:creationId xmlns:a16="http://schemas.microsoft.com/office/drawing/2014/main" id="{DFED8390-B0BE-47C4-A314-7B9F72D0F9E6}"/>
              </a:ext>
            </a:extLst>
          </p:cNvPr>
          <p:cNvSpPr txBox="1"/>
          <p:nvPr/>
        </p:nvSpPr>
        <p:spPr>
          <a:xfrm>
            <a:off x="1271268" y="5902863"/>
            <a:ext cx="432000" cy="215444"/>
          </a:xfrm>
          <a:prstGeom prst="rect">
            <a:avLst/>
          </a:prstGeom>
          <a:solidFill>
            <a:schemeClr val="bg1"/>
          </a:solidFill>
          <a:ln w="19050">
            <a:solidFill>
              <a:srgbClr val="FFE07D"/>
            </a:solidFill>
          </a:ln>
        </p:spPr>
        <p:txBody>
          <a:bodyPr wrap="square" rtlCol="0">
            <a:spAutoFit/>
          </a:bodyPr>
          <a:lstStyle/>
          <a:p>
            <a:pPr algn="ctr"/>
            <a:r>
              <a:rPr lang="es-ES" sz="800"/>
              <a:t>VLS</a:t>
            </a:r>
            <a:endParaRPr lang="es-CO" sz="800"/>
          </a:p>
        </p:txBody>
      </p:sp>
      <p:sp>
        <p:nvSpPr>
          <p:cNvPr id="36" name="CuadroTexto 35">
            <a:extLst>
              <a:ext uri="{FF2B5EF4-FFF2-40B4-BE49-F238E27FC236}">
                <a16:creationId xmlns:a16="http://schemas.microsoft.com/office/drawing/2014/main" id="{EDA60A94-0872-407F-85FC-F3F9C3EF25A4}"/>
              </a:ext>
            </a:extLst>
          </p:cNvPr>
          <p:cNvSpPr txBox="1"/>
          <p:nvPr/>
        </p:nvSpPr>
        <p:spPr>
          <a:xfrm>
            <a:off x="1271268" y="5245568"/>
            <a:ext cx="432000" cy="215444"/>
          </a:xfrm>
          <a:prstGeom prst="rect">
            <a:avLst/>
          </a:prstGeom>
          <a:solidFill>
            <a:schemeClr val="bg1"/>
          </a:solidFill>
          <a:ln w="19050">
            <a:solidFill>
              <a:srgbClr val="FFE07D"/>
            </a:solidFill>
          </a:ln>
        </p:spPr>
        <p:txBody>
          <a:bodyPr wrap="square" rtlCol="0">
            <a:spAutoFit/>
          </a:bodyPr>
          <a:lstStyle/>
          <a:p>
            <a:pPr algn="ctr"/>
            <a:r>
              <a:rPr lang="es-ES" sz="800"/>
              <a:t>VLS</a:t>
            </a:r>
            <a:endParaRPr lang="es-CO" sz="800"/>
          </a:p>
        </p:txBody>
      </p:sp>
      <p:grpSp>
        <p:nvGrpSpPr>
          <p:cNvPr id="174" name="Grupo 173">
            <a:extLst>
              <a:ext uri="{FF2B5EF4-FFF2-40B4-BE49-F238E27FC236}">
                <a16:creationId xmlns:a16="http://schemas.microsoft.com/office/drawing/2014/main" id="{C6C04382-85B7-4D3F-B803-EA4D1267F0BA}"/>
              </a:ext>
            </a:extLst>
          </p:cNvPr>
          <p:cNvGrpSpPr/>
          <p:nvPr/>
        </p:nvGrpSpPr>
        <p:grpSpPr>
          <a:xfrm>
            <a:off x="9934724" y="2291402"/>
            <a:ext cx="1464689" cy="507831"/>
            <a:chOff x="8574512" y="2989014"/>
            <a:chExt cx="1464689" cy="507831"/>
          </a:xfrm>
        </p:grpSpPr>
        <p:sp>
          <p:nvSpPr>
            <p:cNvPr id="175" name="CuadroTexto 174">
              <a:extLst>
                <a:ext uri="{FF2B5EF4-FFF2-40B4-BE49-F238E27FC236}">
                  <a16:creationId xmlns:a16="http://schemas.microsoft.com/office/drawing/2014/main" id="{7E82DF07-00BE-4EA4-A7A8-E5128F73489E}"/>
                </a:ext>
              </a:extLst>
            </p:cNvPr>
            <p:cNvSpPr txBox="1"/>
            <p:nvPr/>
          </p:nvSpPr>
          <p:spPr>
            <a:xfrm>
              <a:off x="8574512" y="3138420"/>
              <a:ext cx="432000" cy="215444"/>
            </a:xfrm>
            <a:prstGeom prst="rect">
              <a:avLst/>
            </a:prstGeom>
            <a:solidFill>
              <a:schemeClr val="bg1"/>
            </a:solidFill>
            <a:ln w="19050">
              <a:solidFill>
                <a:srgbClr val="00FFCC"/>
              </a:solidFill>
            </a:ln>
          </p:spPr>
          <p:txBody>
            <a:bodyPr wrap="square" rtlCol="0">
              <a:spAutoFit/>
            </a:bodyPr>
            <a:lstStyle/>
            <a:p>
              <a:pPr algn="ctr"/>
              <a:r>
                <a:rPr lang="es-ES" sz="800"/>
                <a:t>VPP</a:t>
              </a:r>
              <a:endParaRPr lang="es-CO" sz="800"/>
            </a:p>
          </p:txBody>
        </p:sp>
        <p:sp>
          <p:nvSpPr>
            <p:cNvPr id="176" name="CuadroTexto 175">
              <a:extLst>
                <a:ext uri="{FF2B5EF4-FFF2-40B4-BE49-F238E27FC236}">
                  <a16:creationId xmlns:a16="http://schemas.microsoft.com/office/drawing/2014/main" id="{46FC7FF0-770D-4257-9C65-A46DAC1DCCC6}"/>
                </a:ext>
              </a:extLst>
            </p:cNvPr>
            <p:cNvSpPr txBox="1"/>
            <p:nvPr/>
          </p:nvSpPr>
          <p:spPr>
            <a:xfrm>
              <a:off x="9006512" y="2989014"/>
              <a:ext cx="1032689" cy="507831"/>
            </a:xfrm>
            <a:prstGeom prst="rect">
              <a:avLst/>
            </a:prstGeom>
            <a:noFill/>
          </p:spPr>
          <p:txBody>
            <a:bodyPr wrap="square" rtlCol="0">
              <a:spAutoFit/>
            </a:bodyPr>
            <a:lstStyle/>
            <a:p>
              <a:r>
                <a:rPr lang="es-ES" sz="900">
                  <a:solidFill>
                    <a:schemeClr val="accent1">
                      <a:lumMod val="25000"/>
                    </a:schemeClr>
                  </a:solidFill>
                </a:rPr>
                <a:t>Vicepresidente de Poliductos</a:t>
              </a:r>
            </a:p>
            <a:p>
              <a:r>
                <a:rPr lang="es-ES" sz="900">
                  <a:solidFill>
                    <a:schemeClr val="accent1">
                      <a:lumMod val="25000"/>
                    </a:schemeClr>
                  </a:solidFill>
                </a:rPr>
                <a:t>2 %</a:t>
              </a:r>
              <a:endParaRPr lang="es-CO" sz="900">
                <a:solidFill>
                  <a:schemeClr val="accent1">
                    <a:lumMod val="25000"/>
                  </a:schemeClr>
                </a:solidFill>
              </a:endParaRPr>
            </a:p>
          </p:txBody>
        </p:sp>
      </p:grpSp>
      <p:grpSp>
        <p:nvGrpSpPr>
          <p:cNvPr id="42" name="Grupo 41">
            <a:extLst>
              <a:ext uri="{FF2B5EF4-FFF2-40B4-BE49-F238E27FC236}">
                <a16:creationId xmlns:a16="http://schemas.microsoft.com/office/drawing/2014/main" id="{C86E4A92-2D9B-4D15-AFAF-2C673F30F819}"/>
              </a:ext>
            </a:extLst>
          </p:cNvPr>
          <p:cNvGrpSpPr/>
          <p:nvPr/>
        </p:nvGrpSpPr>
        <p:grpSpPr>
          <a:xfrm>
            <a:off x="2669469" y="1647836"/>
            <a:ext cx="867495" cy="215444"/>
            <a:chOff x="398662" y="5686846"/>
            <a:chExt cx="867495" cy="215444"/>
          </a:xfrm>
        </p:grpSpPr>
        <p:sp>
          <p:nvSpPr>
            <p:cNvPr id="40" name="CuadroTexto 39">
              <a:extLst>
                <a:ext uri="{FF2B5EF4-FFF2-40B4-BE49-F238E27FC236}">
                  <a16:creationId xmlns:a16="http://schemas.microsoft.com/office/drawing/2014/main" id="{8B83E5A3-CD14-471E-A2A2-69C27A08DE8C}"/>
                </a:ext>
              </a:extLst>
            </p:cNvPr>
            <p:cNvSpPr txBox="1"/>
            <p:nvPr/>
          </p:nvSpPr>
          <p:spPr>
            <a:xfrm>
              <a:off x="398662" y="5686846"/>
              <a:ext cx="432000" cy="215444"/>
            </a:xfrm>
            <a:prstGeom prst="rect">
              <a:avLst/>
            </a:prstGeom>
            <a:solidFill>
              <a:schemeClr val="bg1"/>
            </a:solidFill>
            <a:ln w="19050">
              <a:solidFill>
                <a:srgbClr val="FFFF66"/>
              </a:solidFill>
            </a:ln>
          </p:spPr>
          <p:txBody>
            <a:bodyPr wrap="square" rtlCol="0">
              <a:spAutoFit/>
            </a:bodyPr>
            <a:lstStyle/>
            <a:p>
              <a:pPr algn="ctr"/>
              <a:r>
                <a:rPr lang="es-ES" sz="800"/>
                <a:t>AC</a:t>
              </a:r>
              <a:endParaRPr lang="es-CO" sz="800"/>
            </a:p>
          </p:txBody>
        </p:sp>
        <p:sp>
          <p:nvSpPr>
            <p:cNvPr id="41" name="CuadroTexto 40">
              <a:extLst>
                <a:ext uri="{FF2B5EF4-FFF2-40B4-BE49-F238E27FC236}">
                  <a16:creationId xmlns:a16="http://schemas.microsoft.com/office/drawing/2014/main" id="{064F22B7-719F-4DB7-AE4F-0C24E6C6F360}"/>
                </a:ext>
              </a:extLst>
            </p:cNvPr>
            <p:cNvSpPr txBox="1"/>
            <p:nvPr/>
          </p:nvSpPr>
          <p:spPr>
            <a:xfrm>
              <a:off x="834157" y="5686846"/>
              <a:ext cx="432000" cy="215444"/>
            </a:xfrm>
            <a:prstGeom prst="rect">
              <a:avLst/>
            </a:prstGeom>
            <a:solidFill>
              <a:schemeClr val="bg1"/>
            </a:solidFill>
            <a:ln w="19050">
              <a:solidFill>
                <a:srgbClr val="333399"/>
              </a:solidFill>
            </a:ln>
          </p:spPr>
          <p:txBody>
            <a:bodyPr wrap="square" rtlCol="0">
              <a:spAutoFit/>
            </a:bodyPr>
            <a:lstStyle/>
            <a:p>
              <a:pPr algn="ctr"/>
              <a:r>
                <a:rPr lang="es-ES" sz="800"/>
                <a:t>SC</a:t>
              </a:r>
              <a:endParaRPr lang="es-CO" sz="800"/>
            </a:p>
          </p:txBody>
        </p:sp>
      </p:grpSp>
      <p:grpSp>
        <p:nvGrpSpPr>
          <p:cNvPr id="178" name="Grupo 177">
            <a:extLst>
              <a:ext uri="{FF2B5EF4-FFF2-40B4-BE49-F238E27FC236}">
                <a16:creationId xmlns:a16="http://schemas.microsoft.com/office/drawing/2014/main" id="{E673AC4C-B912-4B00-A07E-F353630C7D29}"/>
              </a:ext>
            </a:extLst>
          </p:cNvPr>
          <p:cNvGrpSpPr/>
          <p:nvPr/>
        </p:nvGrpSpPr>
        <p:grpSpPr>
          <a:xfrm>
            <a:off x="9934724" y="4694564"/>
            <a:ext cx="1746584" cy="507831"/>
            <a:chOff x="8574512" y="3021098"/>
            <a:chExt cx="1746584" cy="507831"/>
          </a:xfrm>
        </p:grpSpPr>
        <p:sp>
          <p:nvSpPr>
            <p:cNvPr id="179" name="CuadroTexto 178">
              <a:extLst>
                <a:ext uri="{FF2B5EF4-FFF2-40B4-BE49-F238E27FC236}">
                  <a16:creationId xmlns:a16="http://schemas.microsoft.com/office/drawing/2014/main" id="{AE5611F5-6836-4BC2-B43F-ECE0F1914981}"/>
                </a:ext>
              </a:extLst>
            </p:cNvPr>
            <p:cNvSpPr txBox="1"/>
            <p:nvPr/>
          </p:nvSpPr>
          <p:spPr>
            <a:xfrm>
              <a:off x="8574512" y="3138420"/>
              <a:ext cx="432000" cy="215444"/>
            </a:xfrm>
            <a:prstGeom prst="rect">
              <a:avLst/>
            </a:prstGeom>
            <a:solidFill>
              <a:schemeClr val="bg1"/>
            </a:solidFill>
            <a:ln w="19050">
              <a:solidFill>
                <a:srgbClr val="333399"/>
              </a:solidFill>
            </a:ln>
          </p:spPr>
          <p:txBody>
            <a:bodyPr wrap="square" rtlCol="0">
              <a:spAutoFit/>
            </a:bodyPr>
            <a:lstStyle/>
            <a:p>
              <a:pPr algn="ctr"/>
              <a:r>
                <a:rPr lang="es-ES" sz="800"/>
                <a:t>SC</a:t>
              </a:r>
              <a:endParaRPr lang="es-CO" sz="800"/>
            </a:p>
          </p:txBody>
        </p:sp>
        <p:sp>
          <p:nvSpPr>
            <p:cNvPr id="180" name="CuadroTexto 179">
              <a:extLst>
                <a:ext uri="{FF2B5EF4-FFF2-40B4-BE49-F238E27FC236}">
                  <a16:creationId xmlns:a16="http://schemas.microsoft.com/office/drawing/2014/main" id="{0117387A-7B68-42A3-92C5-25DEBE10BBDC}"/>
                </a:ext>
              </a:extLst>
            </p:cNvPr>
            <p:cNvSpPr txBox="1"/>
            <p:nvPr/>
          </p:nvSpPr>
          <p:spPr>
            <a:xfrm>
              <a:off x="9006512" y="3021098"/>
              <a:ext cx="1314584" cy="507831"/>
            </a:xfrm>
            <a:prstGeom prst="rect">
              <a:avLst/>
            </a:prstGeom>
            <a:noFill/>
          </p:spPr>
          <p:txBody>
            <a:bodyPr wrap="square" rtlCol="0">
              <a:spAutoFit/>
            </a:bodyPr>
            <a:lstStyle/>
            <a:p>
              <a:r>
                <a:rPr lang="es-ES" sz="900">
                  <a:solidFill>
                    <a:schemeClr val="accent1">
                      <a:lumMod val="25000"/>
                    </a:schemeClr>
                  </a:solidFill>
                </a:rPr>
                <a:t>Supervisor Técnico de Contratos</a:t>
              </a:r>
            </a:p>
            <a:p>
              <a:r>
                <a:rPr lang="es-ES" sz="900">
                  <a:solidFill>
                    <a:schemeClr val="accent1">
                      <a:lumMod val="25000"/>
                    </a:schemeClr>
                  </a:solidFill>
                </a:rPr>
                <a:t>1 %</a:t>
              </a:r>
              <a:endParaRPr lang="es-CO" sz="900">
                <a:solidFill>
                  <a:schemeClr val="accent1">
                    <a:lumMod val="25000"/>
                  </a:schemeClr>
                </a:solidFill>
              </a:endParaRPr>
            </a:p>
          </p:txBody>
        </p:sp>
      </p:grpSp>
      <p:grpSp>
        <p:nvGrpSpPr>
          <p:cNvPr id="181" name="Grupo 180">
            <a:extLst>
              <a:ext uri="{FF2B5EF4-FFF2-40B4-BE49-F238E27FC236}">
                <a16:creationId xmlns:a16="http://schemas.microsoft.com/office/drawing/2014/main" id="{F41557D1-2FC7-4DE5-8691-EAF2A4C637E1}"/>
              </a:ext>
            </a:extLst>
          </p:cNvPr>
          <p:cNvGrpSpPr/>
          <p:nvPr/>
        </p:nvGrpSpPr>
        <p:grpSpPr>
          <a:xfrm>
            <a:off x="8175391" y="2871629"/>
            <a:ext cx="1464689" cy="507831"/>
            <a:chOff x="8574512" y="2989014"/>
            <a:chExt cx="1464689" cy="507831"/>
          </a:xfrm>
        </p:grpSpPr>
        <p:sp>
          <p:nvSpPr>
            <p:cNvPr id="182" name="CuadroTexto 181">
              <a:extLst>
                <a:ext uri="{FF2B5EF4-FFF2-40B4-BE49-F238E27FC236}">
                  <a16:creationId xmlns:a16="http://schemas.microsoft.com/office/drawing/2014/main" id="{0AD24A2F-C332-42F8-B173-82D944AB85CE}"/>
                </a:ext>
              </a:extLst>
            </p:cNvPr>
            <p:cNvSpPr txBox="1"/>
            <p:nvPr/>
          </p:nvSpPr>
          <p:spPr>
            <a:xfrm>
              <a:off x="8574512" y="3138420"/>
              <a:ext cx="432000" cy="215444"/>
            </a:xfrm>
            <a:prstGeom prst="rect">
              <a:avLst/>
            </a:prstGeom>
            <a:solidFill>
              <a:schemeClr val="bg1"/>
            </a:solidFill>
            <a:ln w="19050">
              <a:solidFill>
                <a:srgbClr val="9999FF"/>
              </a:solidFill>
            </a:ln>
          </p:spPr>
          <p:txBody>
            <a:bodyPr wrap="square" rtlCol="0">
              <a:spAutoFit/>
            </a:bodyPr>
            <a:lstStyle/>
            <a:p>
              <a:pPr algn="ctr"/>
              <a:r>
                <a:rPr lang="es-ES" sz="800"/>
                <a:t>VPO</a:t>
              </a:r>
              <a:endParaRPr lang="es-CO" sz="800"/>
            </a:p>
          </p:txBody>
        </p:sp>
        <p:sp>
          <p:nvSpPr>
            <p:cNvPr id="183" name="CuadroTexto 182">
              <a:extLst>
                <a:ext uri="{FF2B5EF4-FFF2-40B4-BE49-F238E27FC236}">
                  <a16:creationId xmlns:a16="http://schemas.microsoft.com/office/drawing/2014/main" id="{95C868E9-B916-48E1-8918-4365584CC914}"/>
                </a:ext>
              </a:extLst>
            </p:cNvPr>
            <p:cNvSpPr txBox="1"/>
            <p:nvPr/>
          </p:nvSpPr>
          <p:spPr>
            <a:xfrm>
              <a:off x="9006512" y="2989014"/>
              <a:ext cx="1032689" cy="507831"/>
            </a:xfrm>
            <a:prstGeom prst="rect">
              <a:avLst/>
            </a:prstGeom>
            <a:noFill/>
          </p:spPr>
          <p:txBody>
            <a:bodyPr wrap="square" rtlCol="0">
              <a:spAutoFit/>
            </a:bodyPr>
            <a:lstStyle/>
            <a:p>
              <a:r>
                <a:rPr lang="es-ES" sz="900">
                  <a:solidFill>
                    <a:schemeClr val="accent1">
                      <a:lumMod val="25000"/>
                    </a:schemeClr>
                  </a:solidFill>
                </a:rPr>
                <a:t>Vicepresidente de Oleoductos</a:t>
              </a:r>
            </a:p>
            <a:p>
              <a:r>
                <a:rPr lang="es-ES" sz="900">
                  <a:solidFill>
                    <a:schemeClr val="accent1">
                      <a:lumMod val="25000"/>
                    </a:schemeClr>
                  </a:solidFill>
                </a:rPr>
                <a:t>2 %</a:t>
              </a:r>
              <a:endParaRPr lang="es-CO" sz="900">
                <a:solidFill>
                  <a:schemeClr val="accent1">
                    <a:lumMod val="25000"/>
                  </a:schemeClr>
                </a:solidFill>
              </a:endParaRPr>
            </a:p>
          </p:txBody>
        </p:sp>
      </p:grpSp>
      <p:grpSp>
        <p:nvGrpSpPr>
          <p:cNvPr id="45" name="Grupo 44">
            <a:extLst>
              <a:ext uri="{FF2B5EF4-FFF2-40B4-BE49-F238E27FC236}">
                <a16:creationId xmlns:a16="http://schemas.microsoft.com/office/drawing/2014/main" id="{EF7C10BB-35CE-43C5-B743-38C4E6BD74F1}"/>
              </a:ext>
            </a:extLst>
          </p:cNvPr>
          <p:cNvGrpSpPr/>
          <p:nvPr/>
        </p:nvGrpSpPr>
        <p:grpSpPr>
          <a:xfrm>
            <a:off x="2670254" y="2384127"/>
            <a:ext cx="866710" cy="215444"/>
            <a:chOff x="6816165" y="5018022"/>
            <a:chExt cx="866710" cy="215444"/>
          </a:xfrm>
        </p:grpSpPr>
        <p:sp>
          <p:nvSpPr>
            <p:cNvPr id="43" name="CuadroTexto 42">
              <a:extLst>
                <a:ext uri="{FF2B5EF4-FFF2-40B4-BE49-F238E27FC236}">
                  <a16:creationId xmlns:a16="http://schemas.microsoft.com/office/drawing/2014/main" id="{CF8D54CC-0788-462E-8D02-8E7F902A9C3B}"/>
                </a:ext>
              </a:extLst>
            </p:cNvPr>
            <p:cNvSpPr txBox="1"/>
            <p:nvPr/>
          </p:nvSpPr>
          <p:spPr>
            <a:xfrm>
              <a:off x="6816165" y="5018022"/>
              <a:ext cx="432000" cy="215444"/>
            </a:xfrm>
            <a:prstGeom prst="rect">
              <a:avLst/>
            </a:prstGeom>
            <a:solidFill>
              <a:schemeClr val="bg1"/>
            </a:solidFill>
            <a:ln w="19050">
              <a:solidFill>
                <a:srgbClr val="9999FF"/>
              </a:solidFill>
            </a:ln>
          </p:spPr>
          <p:txBody>
            <a:bodyPr wrap="square" rtlCol="0">
              <a:spAutoFit/>
            </a:bodyPr>
            <a:lstStyle/>
            <a:p>
              <a:pPr algn="ctr"/>
              <a:r>
                <a:rPr lang="es-ES" sz="800"/>
                <a:t>VPO</a:t>
              </a:r>
              <a:endParaRPr lang="es-CO" sz="800"/>
            </a:p>
          </p:txBody>
        </p:sp>
        <p:sp>
          <p:nvSpPr>
            <p:cNvPr id="44" name="CuadroTexto 43">
              <a:extLst>
                <a:ext uri="{FF2B5EF4-FFF2-40B4-BE49-F238E27FC236}">
                  <a16:creationId xmlns:a16="http://schemas.microsoft.com/office/drawing/2014/main" id="{46E9D7FD-BF26-46B8-B7E3-9CB37E4D07A8}"/>
                </a:ext>
              </a:extLst>
            </p:cNvPr>
            <p:cNvSpPr txBox="1"/>
            <p:nvPr/>
          </p:nvSpPr>
          <p:spPr>
            <a:xfrm>
              <a:off x="7250875" y="5018022"/>
              <a:ext cx="432000" cy="215444"/>
            </a:xfrm>
            <a:prstGeom prst="rect">
              <a:avLst/>
            </a:prstGeom>
            <a:solidFill>
              <a:schemeClr val="bg1"/>
            </a:solidFill>
            <a:ln w="19050">
              <a:solidFill>
                <a:srgbClr val="00FFCC"/>
              </a:solidFill>
            </a:ln>
          </p:spPr>
          <p:txBody>
            <a:bodyPr wrap="square" rtlCol="0">
              <a:spAutoFit/>
            </a:bodyPr>
            <a:lstStyle/>
            <a:p>
              <a:pPr algn="ctr"/>
              <a:r>
                <a:rPr lang="es-ES" sz="800"/>
                <a:t>VPP</a:t>
              </a:r>
              <a:endParaRPr lang="es-CO" sz="800"/>
            </a:p>
          </p:txBody>
        </p:sp>
      </p:grpSp>
      <p:grpSp>
        <p:nvGrpSpPr>
          <p:cNvPr id="186" name="Grupo 185">
            <a:extLst>
              <a:ext uri="{FF2B5EF4-FFF2-40B4-BE49-F238E27FC236}">
                <a16:creationId xmlns:a16="http://schemas.microsoft.com/office/drawing/2014/main" id="{16DA9333-7032-45CE-9E3A-01409C1E6A05}"/>
              </a:ext>
            </a:extLst>
          </p:cNvPr>
          <p:cNvGrpSpPr/>
          <p:nvPr/>
        </p:nvGrpSpPr>
        <p:grpSpPr>
          <a:xfrm>
            <a:off x="9934724" y="2997991"/>
            <a:ext cx="1464689" cy="369332"/>
            <a:chOff x="8574512" y="3075690"/>
            <a:chExt cx="1464689" cy="369332"/>
          </a:xfrm>
        </p:grpSpPr>
        <p:sp>
          <p:nvSpPr>
            <p:cNvPr id="187" name="CuadroTexto 186">
              <a:extLst>
                <a:ext uri="{FF2B5EF4-FFF2-40B4-BE49-F238E27FC236}">
                  <a16:creationId xmlns:a16="http://schemas.microsoft.com/office/drawing/2014/main" id="{069CA444-05CD-482C-B30A-C4BEBA368F4B}"/>
                </a:ext>
              </a:extLst>
            </p:cNvPr>
            <p:cNvSpPr txBox="1"/>
            <p:nvPr/>
          </p:nvSpPr>
          <p:spPr>
            <a:xfrm>
              <a:off x="8574512" y="3138420"/>
              <a:ext cx="432000" cy="215444"/>
            </a:xfrm>
            <a:prstGeom prst="rect">
              <a:avLst/>
            </a:prstGeom>
            <a:solidFill>
              <a:schemeClr val="bg1"/>
            </a:solidFill>
            <a:ln w="19050">
              <a:solidFill>
                <a:srgbClr val="FF0066"/>
              </a:solidFill>
            </a:ln>
          </p:spPr>
          <p:txBody>
            <a:bodyPr wrap="square" rtlCol="0">
              <a:spAutoFit/>
            </a:bodyPr>
            <a:lstStyle/>
            <a:p>
              <a:pPr algn="ctr"/>
              <a:r>
                <a:rPr lang="es-ES" sz="800"/>
                <a:t>GH</a:t>
              </a:r>
              <a:endParaRPr lang="es-CO" sz="800"/>
            </a:p>
          </p:txBody>
        </p:sp>
        <p:sp>
          <p:nvSpPr>
            <p:cNvPr id="188" name="CuadroTexto 187">
              <a:extLst>
                <a:ext uri="{FF2B5EF4-FFF2-40B4-BE49-F238E27FC236}">
                  <a16:creationId xmlns:a16="http://schemas.microsoft.com/office/drawing/2014/main" id="{B335F6AC-E23B-4A63-8385-CEF715A737A3}"/>
                </a:ext>
              </a:extLst>
            </p:cNvPr>
            <p:cNvSpPr txBox="1"/>
            <p:nvPr/>
          </p:nvSpPr>
          <p:spPr>
            <a:xfrm>
              <a:off x="9006512" y="3075690"/>
              <a:ext cx="1032689" cy="369332"/>
            </a:xfrm>
            <a:prstGeom prst="rect">
              <a:avLst/>
            </a:prstGeom>
            <a:noFill/>
          </p:spPr>
          <p:txBody>
            <a:bodyPr wrap="square" rtlCol="0">
              <a:spAutoFit/>
            </a:bodyPr>
            <a:lstStyle/>
            <a:p>
              <a:r>
                <a:rPr lang="es-ES" sz="900">
                  <a:solidFill>
                    <a:schemeClr val="accent1">
                      <a:lumMod val="25000"/>
                    </a:schemeClr>
                  </a:solidFill>
                </a:rPr>
                <a:t>Gerente HSE</a:t>
              </a:r>
            </a:p>
            <a:p>
              <a:r>
                <a:rPr lang="es-ES" sz="900">
                  <a:solidFill>
                    <a:schemeClr val="accent1">
                      <a:lumMod val="25000"/>
                    </a:schemeClr>
                  </a:solidFill>
                </a:rPr>
                <a:t>4 %</a:t>
              </a:r>
              <a:endParaRPr lang="es-CO" sz="900">
                <a:solidFill>
                  <a:schemeClr val="accent1">
                    <a:lumMod val="25000"/>
                  </a:schemeClr>
                </a:solidFill>
              </a:endParaRPr>
            </a:p>
          </p:txBody>
        </p:sp>
      </p:grpSp>
      <p:sp>
        <p:nvSpPr>
          <p:cNvPr id="49" name="CuadroTexto 48">
            <a:extLst>
              <a:ext uri="{FF2B5EF4-FFF2-40B4-BE49-F238E27FC236}">
                <a16:creationId xmlns:a16="http://schemas.microsoft.com/office/drawing/2014/main" id="{5A708229-9B28-490D-903F-5AB937B8DCCB}"/>
              </a:ext>
            </a:extLst>
          </p:cNvPr>
          <p:cNvSpPr txBox="1"/>
          <p:nvPr/>
        </p:nvSpPr>
        <p:spPr>
          <a:xfrm>
            <a:off x="3123955" y="2999058"/>
            <a:ext cx="432000" cy="215444"/>
          </a:xfrm>
          <a:prstGeom prst="rect">
            <a:avLst/>
          </a:prstGeom>
          <a:solidFill>
            <a:schemeClr val="bg1"/>
          </a:solidFill>
          <a:ln w="19050">
            <a:solidFill>
              <a:srgbClr val="FF0066"/>
            </a:solidFill>
          </a:ln>
        </p:spPr>
        <p:txBody>
          <a:bodyPr wrap="square" rtlCol="0">
            <a:spAutoFit/>
          </a:bodyPr>
          <a:lstStyle/>
          <a:p>
            <a:pPr algn="ctr"/>
            <a:r>
              <a:rPr lang="es-ES" sz="800"/>
              <a:t>GH</a:t>
            </a:r>
            <a:endParaRPr lang="es-CO" sz="800"/>
          </a:p>
        </p:txBody>
      </p:sp>
      <p:grpSp>
        <p:nvGrpSpPr>
          <p:cNvPr id="191" name="Grupo 190">
            <a:extLst>
              <a:ext uri="{FF2B5EF4-FFF2-40B4-BE49-F238E27FC236}">
                <a16:creationId xmlns:a16="http://schemas.microsoft.com/office/drawing/2014/main" id="{FA20B0AB-4006-4C51-82AE-68A90BD76171}"/>
              </a:ext>
            </a:extLst>
          </p:cNvPr>
          <p:cNvGrpSpPr/>
          <p:nvPr/>
        </p:nvGrpSpPr>
        <p:grpSpPr>
          <a:xfrm>
            <a:off x="9934724" y="4084101"/>
            <a:ext cx="1464689" cy="507831"/>
            <a:chOff x="8574512" y="3007450"/>
            <a:chExt cx="1464689" cy="507831"/>
          </a:xfrm>
        </p:grpSpPr>
        <p:sp>
          <p:nvSpPr>
            <p:cNvPr id="192" name="CuadroTexto 191">
              <a:extLst>
                <a:ext uri="{FF2B5EF4-FFF2-40B4-BE49-F238E27FC236}">
                  <a16:creationId xmlns:a16="http://schemas.microsoft.com/office/drawing/2014/main" id="{FCD0ED34-7464-4F40-84F6-43C972192C8E}"/>
                </a:ext>
              </a:extLst>
            </p:cNvPr>
            <p:cNvSpPr txBox="1"/>
            <p:nvPr/>
          </p:nvSpPr>
          <p:spPr>
            <a:xfrm>
              <a:off x="8574512" y="3138420"/>
              <a:ext cx="432000" cy="215444"/>
            </a:xfrm>
            <a:prstGeom prst="rect">
              <a:avLst/>
            </a:prstGeom>
            <a:solidFill>
              <a:schemeClr val="bg1"/>
            </a:solidFill>
            <a:ln w="19050">
              <a:solidFill>
                <a:srgbClr val="CC6600"/>
              </a:solidFill>
            </a:ln>
          </p:spPr>
          <p:txBody>
            <a:bodyPr wrap="square" rtlCol="0">
              <a:spAutoFit/>
            </a:bodyPr>
            <a:lstStyle/>
            <a:p>
              <a:pPr algn="ctr"/>
              <a:r>
                <a:rPr lang="es-ES" sz="800"/>
                <a:t>JCO</a:t>
              </a:r>
              <a:endParaRPr lang="es-CO" sz="800"/>
            </a:p>
          </p:txBody>
        </p:sp>
        <p:sp>
          <p:nvSpPr>
            <p:cNvPr id="193" name="CuadroTexto 192">
              <a:extLst>
                <a:ext uri="{FF2B5EF4-FFF2-40B4-BE49-F238E27FC236}">
                  <a16:creationId xmlns:a16="http://schemas.microsoft.com/office/drawing/2014/main" id="{36F94EA4-7FF0-4A77-9EC7-82EF66D611D1}"/>
                </a:ext>
              </a:extLst>
            </p:cNvPr>
            <p:cNvSpPr txBox="1"/>
            <p:nvPr/>
          </p:nvSpPr>
          <p:spPr>
            <a:xfrm>
              <a:off x="9006512" y="3007450"/>
              <a:ext cx="1032689" cy="507831"/>
            </a:xfrm>
            <a:prstGeom prst="rect">
              <a:avLst/>
            </a:prstGeom>
            <a:noFill/>
          </p:spPr>
          <p:txBody>
            <a:bodyPr wrap="square" rtlCol="0">
              <a:spAutoFit/>
            </a:bodyPr>
            <a:lstStyle/>
            <a:p>
              <a:r>
                <a:rPr lang="es-ES" sz="900">
                  <a:solidFill>
                    <a:schemeClr val="accent1">
                      <a:lumMod val="25000"/>
                    </a:schemeClr>
                  </a:solidFill>
                </a:rPr>
                <a:t>Jefe de Comunicaciones</a:t>
              </a:r>
            </a:p>
            <a:p>
              <a:r>
                <a:rPr lang="es-ES" sz="900">
                  <a:solidFill>
                    <a:schemeClr val="accent1">
                      <a:lumMod val="25000"/>
                    </a:schemeClr>
                  </a:solidFill>
                </a:rPr>
                <a:t>1 %</a:t>
              </a:r>
              <a:endParaRPr lang="es-CO" sz="900">
                <a:solidFill>
                  <a:schemeClr val="accent1">
                    <a:lumMod val="25000"/>
                  </a:schemeClr>
                </a:solidFill>
              </a:endParaRPr>
            </a:p>
          </p:txBody>
        </p:sp>
      </p:grpSp>
      <p:sp>
        <p:nvSpPr>
          <p:cNvPr id="51" name="CuadroTexto 50">
            <a:extLst>
              <a:ext uri="{FF2B5EF4-FFF2-40B4-BE49-F238E27FC236}">
                <a16:creationId xmlns:a16="http://schemas.microsoft.com/office/drawing/2014/main" id="{350F2DB1-0F66-4C61-809B-C437241509A5}"/>
              </a:ext>
            </a:extLst>
          </p:cNvPr>
          <p:cNvSpPr txBox="1"/>
          <p:nvPr/>
        </p:nvSpPr>
        <p:spPr>
          <a:xfrm>
            <a:off x="3125161" y="4139403"/>
            <a:ext cx="432000" cy="215444"/>
          </a:xfrm>
          <a:prstGeom prst="rect">
            <a:avLst/>
          </a:prstGeom>
          <a:solidFill>
            <a:schemeClr val="bg1"/>
          </a:solidFill>
          <a:ln w="19050">
            <a:solidFill>
              <a:srgbClr val="CC6600"/>
            </a:solidFill>
          </a:ln>
        </p:spPr>
        <p:txBody>
          <a:bodyPr wrap="square" rtlCol="0">
            <a:spAutoFit/>
          </a:bodyPr>
          <a:lstStyle/>
          <a:p>
            <a:pPr algn="ctr"/>
            <a:r>
              <a:rPr lang="es-ES" sz="800"/>
              <a:t>JCO</a:t>
            </a:r>
            <a:endParaRPr lang="es-CO" sz="800"/>
          </a:p>
        </p:txBody>
      </p:sp>
      <p:sp>
        <p:nvSpPr>
          <p:cNvPr id="52" name="CuadroTexto 51">
            <a:extLst>
              <a:ext uri="{FF2B5EF4-FFF2-40B4-BE49-F238E27FC236}">
                <a16:creationId xmlns:a16="http://schemas.microsoft.com/office/drawing/2014/main" id="{4407EECE-98B4-40AB-96BB-77D7A61DA8B5}"/>
              </a:ext>
            </a:extLst>
          </p:cNvPr>
          <p:cNvSpPr txBox="1"/>
          <p:nvPr/>
        </p:nvSpPr>
        <p:spPr>
          <a:xfrm>
            <a:off x="3112630" y="4884869"/>
            <a:ext cx="432000" cy="215444"/>
          </a:xfrm>
          <a:prstGeom prst="rect">
            <a:avLst/>
          </a:prstGeom>
          <a:solidFill>
            <a:schemeClr val="bg1"/>
          </a:solidFill>
          <a:ln w="19050">
            <a:solidFill>
              <a:srgbClr val="FFE07D"/>
            </a:solidFill>
          </a:ln>
        </p:spPr>
        <p:txBody>
          <a:bodyPr wrap="square" rtlCol="0">
            <a:spAutoFit/>
          </a:bodyPr>
          <a:lstStyle/>
          <a:p>
            <a:pPr algn="ctr"/>
            <a:r>
              <a:rPr lang="es-ES" sz="800"/>
              <a:t>VLS</a:t>
            </a:r>
            <a:endParaRPr lang="es-CO" sz="800"/>
          </a:p>
        </p:txBody>
      </p:sp>
      <p:sp>
        <p:nvSpPr>
          <p:cNvPr id="54" name="CuadroTexto 53">
            <a:extLst>
              <a:ext uri="{FF2B5EF4-FFF2-40B4-BE49-F238E27FC236}">
                <a16:creationId xmlns:a16="http://schemas.microsoft.com/office/drawing/2014/main" id="{1DF61A54-2AFD-421C-81E7-70B64E75F3D8}"/>
              </a:ext>
            </a:extLst>
          </p:cNvPr>
          <p:cNvSpPr txBox="1"/>
          <p:nvPr/>
        </p:nvSpPr>
        <p:spPr>
          <a:xfrm>
            <a:off x="3123955" y="5969089"/>
            <a:ext cx="432000" cy="215444"/>
          </a:xfrm>
          <a:prstGeom prst="rect">
            <a:avLst/>
          </a:prstGeom>
          <a:solidFill>
            <a:schemeClr val="bg1"/>
          </a:solidFill>
          <a:ln w="19050">
            <a:solidFill>
              <a:srgbClr val="FFE07D"/>
            </a:solidFill>
          </a:ln>
        </p:spPr>
        <p:txBody>
          <a:bodyPr wrap="square" rtlCol="0">
            <a:spAutoFit/>
          </a:bodyPr>
          <a:lstStyle/>
          <a:p>
            <a:pPr algn="ctr"/>
            <a:r>
              <a:rPr lang="es-ES" sz="800"/>
              <a:t>VLS</a:t>
            </a:r>
            <a:endParaRPr lang="es-CO" sz="800"/>
          </a:p>
        </p:txBody>
      </p:sp>
      <p:sp>
        <p:nvSpPr>
          <p:cNvPr id="57" name="CuadroTexto 56">
            <a:extLst>
              <a:ext uri="{FF2B5EF4-FFF2-40B4-BE49-F238E27FC236}">
                <a16:creationId xmlns:a16="http://schemas.microsoft.com/office/drawing/2014/main" id="{E424978D-3298-4D61-9C24-342DF5218E94}"/>
              </a:ext>
            </a:extLst>
          </p:cNvPr>
          <p:cNvSpPr txBox="1"/>
          <p:nvPr/>
        </p:nvSpPr>
        <p:spPr>
          <a:xfrm>
            <a:off x="4974459" y="4771204"/>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sp>
        <p:nvSpPr>
          <p:cNvPr id="58" name="CuadroTexto 57">
            <a:extLst>
              <a:ext uri="{FF2B5EF4-FFF2-40B4-BE49-F238E27FC236}">
                <a16:creationId xmlns:a16="http://schemas.microsoft.com/office/drawing/2014/main" id="{51D97962-D1FD-45CE-94F7-68488BED6062}"/>
              </a:ext>
            </a:extLst>
          </p:cNvPr>
          <p:cNvSpPr txBox="1"/>
          <p:nvPr/>
        </p:nvSpPr>
        <p:spPr>
          <a:xfrm>
            <a:off x="0" y="6345188"/>
            <a:ext cx="8113118" cy="369332"/>
          </a:xfrm>
          <a:prstGeom prst="rect">
            <a:avLst/>
          </a:prstGeom>
          <a:noFill/>
        </p:spPr>
        <p:txBody>
          <a:bodyPr wrap="square" rtlCol="0">
            <a:spAutoFit/>
          </a:bodyPr>
          <a:lstStyle/>
          <a:p>
            <a:r>
              <a:rPr lang="es-ES" sz="900">
                <a:solidFill>
                  <a:schemeClr val="tx2"/>
                </a:solidFill>
              </a:rPr>
              <a:t>*Vicepresidente Finanzas, Estrategia y Nuevos Negocios previa aprobación de la Asamblea General de Accionistas</a:t>
            </a:r>
          </a:p>
          <a:p>
            <a:r>
              <a:rPr lang="es-ES" sz="900">
                <a:solidFill>
                  <a:schemeClr val="tx2"/>
                </a:solidFill>
              </a:rPr>
              <a:t>**Vicepresidente Finanzas, Estrategia y Nuevos Negocios previa aprobación de la Asamblea General de Accionistas cuando aplique</a:t>
            </a:r>
            <a:endParaRPr lang="es-CO" sz="900">
              <a:solidFill>
                <a:schemeClr val="tx2"/>
              </a:solidFill>
            </a:endParaRPr>
          </a:p>
        </p:txBody>
      </p:sp>
      <p:sp>
        <p:nvSpPr>
          <p:cNvPr id="59" name="CuadroTexto 58">
            <a:extLst>
              <a:ext uri="{FF2B5EF4-FFF2-40B4-BE49-F238E27FC236}">
                <a16:creationId xmlns:a16="http://schemas.microsoft.com/office/drawing/2014/main" id="{CA0293E5-6CDE-4F7F-B7BB-01753F923E25}"/>
              </a:ext>
            </a:extLst>
          </p:cNvPr>
          <p:cNvSpPr txBox="1"/>
          <p:nvPr/>
        </p:nvSpPr>
        <p:spPr>
          <a:xfrm>
            <a:off x="4974459" y="5964866"/>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grpSp>
        <p:nvGrpSpPr>
          <p:cNvPr id="200" name="Grupo 199">
            <a:extLst>
              <a:ext uri="{FF2B5EF4-FFF2-40B4-BE49-F238E27FC236}">
                <a16:creationId xmlns:a16="http://schemas.microsoft.com/office/drawing/2014/main" id="{5EC7640D-CC76-46E2-91FB-5BC2A36E2B7B}"/>
              </a:ext>
            </a:extLst>
          </p:cNvPr>
          <p:cNvGrpSpPr/>
          <p:nvPr/>
        </p:nvGrpSpPr>
        <p:grpSpPr>
          <a:xfrm>
            <a:off x="9934724" y="1592279"/>
            <a:ext cx="1464689" cy="507831"/>
            <a:chOff x="8574512" y="3007450"/>
            <a:chExt cx="1464689" cy="507831"/>
          </a:xfrm>
        </p:grpSpPr>
        <p:sp>
          <p:nvSpPr>
            <p:cNvPr id="201" name="CuadroTexto 200">
              <a:extLst>
                <a:ext uri="{FF2B5EF4-FFF2-40B4-BE49-F238E27FC236}">
                  <a16:creationId xmlns:a16="http://schemas.microsoft.com/office/drawing/2014/main" id="{8ABD5436-8310-4DFB-BE92-B8F511E55FF3}"/>
                </a:ext>
              </a:extLst>
            </p:cNvPr>
            <p:cNvSpPr txBox="1"/>
            <p:nvPr/>
          </p:nvSpPr>
          <p:spPr>
            <a:xfrm>
              <a:off x="8574512" y="3138420"/>
              <a:ext cx="432000" cy="215444"/>
            </a:xfrm>
            <a:prstGeom prst="rect">
              <a:avLst/>
            </a:prstGeom>
            <a:solidFill>
              <a:schemeClr val="bg1"/>
            </a:solidFill>
            <a:ln w="19050">
              <a:solidFill>
                <a:srgbClr val="FF9933"/>
              </a:solidFill>
            </a:ln>
          </p:spPr>
          <p:txBody>
            <a:bodyPr wrap="square" rtlCol="0">
              <a:spAutoFit/>
            </a:bodyPr>
            <a:lstStyle/>
            <a:p>
              <a:pPr algn="ctr"/>
              <a:r>
                <a:rPr lang="es-ES" sz="800"/>
                <a:t>V/G</a:t>
              </a:r>
              <a:endParaRPr lang="es-CO" sz="800"/>
            </a:p>
          </p:txBody>
        </p:sp>
        <p:sp>
          <p:nvSpPr>
            <p:cNvPr id="202" name="CuadroTexto 201">
              <a:extLst>
                <a:ext uri="{FF2B5EF4-FFF2-40B4-BE49-F238E27FC236}">
                  <a16:creationId xmlns:a16="http://schemas.microsoft.com/office/drawing/2014/main" id="{46E3048B-B6A6-40B9-B5FF-1DE37E3D0ADD}"/>
                </a:ext>
              </a:extLst>
            </p:cNvPr>
            <p:cNvSpPr txBox="1"/>
            <p:nvPr/>
          </p:nvSpPr>
          <p:spPr>
            <a:xfrm>
              <a:off x="9006512" y="3007450"/>
              <a:ext cx="1032689" cy="507831"/>
            </a:xfrm>
            <a:prstGeom prst="rect">
              <a:avLst/>
            </a:prstGeom>
            <a:noFill/>
          </p:spPr>
          <p:txBody>
            <a:bodyPr wrap="square" rtlCol="0">
              <a:spAutoFit/>
            </a:bodyPr>
            <a:lstStyle/>
            <a:p>
              <a:r>
                <a:rPr lang="es-ES" sz="900">
                  <a:solidFill>
                    <a:schemeClr val="accent1">
                      <a:lumMod val="25000"/>
                    </a:schemeClr>
                  </a:solidFill>
                </a:rPr>
                <a:t>Vicepresidente/ Gerente Nivel 1</a:t>
              </a:r>
            </a:p>
            <a:p>
              <a:r>
                <a:rPr lang="es-ES" sz="900">
                  <a:solidFill>
                    <a:schemeClr val="accent1">
                      <a:lumMod val="25000"/>
                    </a:schemeClr>
                  </a:solidFill>
                </a:rPr>
                <a:t>2 %</a:t>
              </a:r>
              <a:endParaRPr lang="es-CO" sz="900">
                <a:solidFill>
                  <a:schemeClr val="accent1">
                    <a:lumMod val="25000"/>
                  </a:schemeClr>
                </a:solidFill>
              </a:endParaRPr>
            </a:p>
          </p:txBody>
        </p:sp>
      </p:grpSp>
      <p:sp>
        <p:nvSpPr>
          <p:cNvPr id="60" name="CuadroTexto 59">
            <a:extLst>
              <a:ext uri="{FF2B5EF4-FFF2-40B4-BE49-F238E27FC236}">
                <a16:creationId xmlns:a16="http://schemas.microsoft.com/office/drawing/2014/main" id="{AAE09F5F-0A44-413D-B46E-3708871A0C92}"/>
              </a:ext>
            </a:extLst>
          </p:cNvPr>
          <p:cNvSpPr txBox="1"/>
          <p:nvPr/>
        </p:nvSpPr>
        <p:spPr>
          <a:xfrm>
            <a:off x="4963967" y="4220415"/>
            <a:ext cx="432000" cy="215444"/>
          </a:xfrm>
          <a:prstGeom prst="rect">
            <a:avLst/>
          </a:prstGeom>
          <a:solidFill>
            <a:schemeClr val="bg1"/>
          </a:solidFill>
          <a:ln w="19050">
            <a:solidFill>
              <a:srgbClr val="FF9933"/>
            </a:solidFill>
          </a:ln>
        </p:spPr>
        <p:txBody>
          <a:bodyPr wrap="square" rtlCol="0">
            <a:spAutoFit/>
          </a:bodyPr>
          <a:lstStyle/>
          <a:p>
            <a:pPr algn="ctr"/>
            <a:r>
              <a:rPr lang="es-ES" sz="800"/>
              <a:t>V/G</a:t>
            </a:r>
            <a:endParaRPr lang="es-CO" sz="800"/>
          </a:p>
        </p:txBody>
      </p:sp>
      <p:sp>
        <p:nvSpPr>
          <p:cNvPr id="61" name="CuadroTexto 60">
            <a:extLst>
              <a:ext uri="{FF2B5EF4-FFF2-40B4-BE49-F238E27FC236}">
                <a16:creationId xmlns:a16="http://schemas.microsoft.com/office/drawing/2014/main" id="{FDAFCC60-7C16-48C3-839A-2546E8A9832C}"/>
              </a:ext>
            </a:extLst>
          </p:cNvPr>
          <p:cNvSpPr txBox="1"/>
          <p:nvPr/>
        </p:nvSpPr>
        <p:spPr>
          <a:xfrm>
            <a:off x="6907484" y="1900490"/>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63" name="CuadroTexto 62">
            <a:extLst>
              <a:ext uri="{FF2B5EF4-FFF2-40B4-BE49-F238E27FC236}">
                <a16:creationId xmlns:a16="http://schemas.microsoft.com/office/drawing/2014/main" id="{183A3FB7-4D5F-4E25-954E-1CB39C43D36A}"/>
              </a:ext>
            </a:extLst>
          </p:cNvPr>
          <p:cNvSpPr txBox="1"/>
          <p:nvPr/>
        </p:nvSpPr>
        <p:spPr>
          <a:xfrm>
            <a:off x="6907484" y="2789309"/>
            <a:ext cx="432000" cy="215444"/>
          </a:xfrm>
          <a:prstGeom prst="rect">
            <a:avLst/>
          </a:prstGeom>
          <a:solidFill>
            <a:schemeClr val="bg1"/>
          </a:solidFill>
          <a:ln w="19050">
            <a:solidFill>
              <a:srgbClr val="FFFF66"/>
            </a:solidFill>
          </a:ln>
        </p:spPr>
        <p:txBody>
          <a:bodyPr wrap="square" rtlCol="0">
            <a:spAutoFit/>
          </a:bodyPr>
          <a:lstStyle/>
          <a:p>
            <a:pPr algn="ctr"/>
            <a:r>
              <a:rPr lang="es-ES" sz="800"/>
              <a:t>AC</a:t>
            </a:r>
            <a:endParaRPr lang="es-CO" sz="800"/>
          </a:p>
        </p:txBody>
      </p:sp>
      <p:sp>
        <p:nvSpPr>
          <p:cNvPr id="64" name="CuadroTexto 63">
            <a:extLst>
              <a:ext uri="{FF2B5EF4-FFF2-40B4-BE49-F238E27FC236}">
                <a16:creationId xmlns:a16="http://schemas.microsoft.com/office/drawing/2014/main" id="{3B1A5D6F-8203-4E15-B30A-BAAAAB00FBDB}"/>
              </a:ext>
            </a:extLst>
          </p:cNvPr>
          <p:cNvSpPr txBox="1"/>
          <p:nvPr/>
        </p:nvSpPr>
        <p:spPr>
          <a:xfrm>
            <a:off x="6907484" y="3527204"/>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65" name="CuadroTexto 64">
            <a:extLst>
              <a:ext uri="{FF2B5EF4-FFF2-40B4-BE49-F238E27FC236}">
                <a16:creationId xmlns:a16="http://schemas.microsoft.com/office/drawing/2014/main" id="{D3761158-1427-4892-A593-EFA9206EAC44}"/>
              </a:ext>
            </a:extLst>
          </p:cNvPr>
          <p:cNvSpPr txBox="1"/>
          <p:nvPr/>
        </p:nvSpPr>
        <p:spPr>
          <a:xfrm>
            <a:off x="6922880" y="4542018"/>
            <a:ext cx="432000" cy="215444"/>
          </a:xfrm>
          <a:prstGeom prst="rect">
            <a:avLst/>
          </a:prstGeom>
          <a:solidFill>
            <a:schemeClr val="bg1"/>
          </a:solidFill>
          <a:ln w="19050">
            <a:solidFill>
              <a:srgbClr val="FFE07D"/>
            </a:solidFill>
          </a:ln>
        </p:spPr>
        <p:txBody>
          <a:bodyPr wrap="square" rtlCol="0">
            <a:spAutoFit/>
          </a:bodyPr>
          <a:lstStyle/>
          <a:p>
            <a:pPr algn="ctr"/>
            <a:r>
              <a:rPr lang="es-ES" sz="800"/>
              <a:t>VLS</a:t>
            </a:r>
            <a:endParaRPr lang="es-CO" sz="800"/>
          </a:p>
        </p:txBody>
      </p:sp>
      <p:sp>
        <p:nvSpPr>
          <p:cNvPr id="67" name="CuadroTexto 66">
            <a:extLst>
              <a:ext uri="{FF2B5EF4-FFF2-40B4-BE49-F238E27FC236}">
                <a16:creationId xmlns:a16="http://schemas.microsoft.com/office/drawing/2014/main" id="{3E63B4EF-B0E9-4C7F-817D-51259CFEBAB3}"/>
              </a:ext>
            </a:extLst>
          </p:cNvPr>
          <p:cNvSpPr txBox="1"/>
          <p:nvPr/>
        </p:nvSpPr>
        <p:spPr>
          <a:xfrm>
            <a:off x="4952309" y="2453575"/>
            <a:ext cx="432000" cy="215444"/>
          </a:xfrm>
          <a:prstGeom prst="rect">
            <a:avLst/>
          </a:prstGeom>
          <a:solidFill>
            <a:schemeClr val="bg1"/>
          </a:solidFill>
          <a:ln w="19050">
            <a:solidFill>
              <a:srgbClr val="FF0066"/>
            </a:solidFill>
          </a:ln>
        </p:spPr>
        <p:txBody>
          <a:bodyPr wrap="square" rtlCol="0">
            <a:spAutoFit/>
          </a:bodyPr>
          <a:lstStyle/>
          <a:p>
            <a:pPr algn="ctr"/>
            <a:r>
              <a:rPr lang="es-ES" sz="800"/>
              <a:t>GH</a:t>
            </a:r>
            <a:endParaRPr lang="es-CO" sz="800"/>
          </a:p>
        </p:txBody>
      </p:sp>
      <p:sp>
        <p:nvSpPr>
          <p:cNvPr id="6" name="CuadroTexto 5">
            <a:extLst>
              <a:ext uri="{FF2B5EF4-FFF2-40B4-BE49-F238E27FC236}">
                <a16:creationId xmlns:a16="http://schemas.microsoft.com/office/drawing/2014/main" id="{D1D3EC08-F9B5-4A90-8723-D1129A236CF6}"/>
              </a:ext>
            </a:extLst>
          </p:cNvPr>
          <p:cNvSpPr txBox="1"/>
          <p:nvPr/>
        </p:nvSpPr>
        <p:spPr>
          <a:xfrm>
            <a:off x="4961882" y="1875426"/>
            <a:ext cx="432000" cy="215444"/>
          </a:xfrm>
          <a:prstGeom prst="rect">
            <a:avLst/>
          </a:prstGeom>
          <a:solidFill>
            <a:schemeClr val="bg1"/>
          </a:solidFill>
          <a:ln w="19050">
            <a:solidFill>
              <a:srgbClr val="FFFF66"/>
            </a:solidFill>
          </a:ln>
        </p:spPr>
        <p:txBody>
          <a:bodyPr wrap="square" rtlCol="0">
            <a:spAutoFit/>
          </a:bodyPr>
          <a:lstStyle/>
          <a:p>
            <a:pPr algn="ctr"/>
            <a:r>
              <a:rPr lang="es-ES" sz="800"/>
              <a:t>AC</a:t>
            </a:r>
            <a:endParaRPr lang="es-CO" sz="800"/>
          </a:p>
        </p:txBody>
      </p:sp>
      <p:sp>
        <p:nvSpPr>
          <p:cNvPr id="7" name="CuadroTexto 6">
            <a:extLst>
              <a:ext uri="{FF2B5EF4-FFF2-40B4-BE49-F238E27FC236}">
                <a16:creationId xmlns:a16="http://schemas.microsoft.com/office/drawing/2014/main" id="{037B2335-2FEF-4B7A-B494-20F8F4789E60}"/>
              </a:ext>
            </a:extLst>
          </p:cNvPr>
          <p:cNvSpPr txBox="1"/>
          <p:nvPr/>
        </p:nvSpPr>
        <p:spPr>
          <a:xfrm>
            <a:off x="4943113" y="3192970"/>
            <a:ext cx="432000" cy="215444"/>
          </a:xfrm>
          <a:prstGeom prst="rect">
            <a:avLst/>
          </a:prstGeom>
          <a:solidFill>
            <a:schemeClr val="bg1"/>
          </a:solidFill>
          <a:ln w="19050">
            <a:solidFill>
              <a:srgbClr val="FFFF66"/>
            </a:solidFill>
          </a:ln>
        </p:spPr>
        <p:txBody>
          <a:bodyPr wrap="square" rtlCol="0">
            <a:spAutoFit/>
          </a:bodyPr>
          <a:lstStyle/>
          <a:p>
            <a:pPr algn="ctr"/>
            <a:r>
              <a:rPr lang="es-ES" sz="800"/>
              <a:t>AC</a:t>
            </a:r>
            <a:endParaRPr lang="es-CO" sz="800"/>
          </a:p>
        </p:txBody>
      </p:sp>
      <p:sp>
        <p:nvSpPr>
          <p:cNvPr id="9" name="Rectangle 30">
            <a:extLst>
              <a:ext uri="{FF2B5EF4-FFF2-40B4-BE49-F238E27FC236}">
                <a16:creationId xmlns:a16="http://schemas.microsoft.com/office/drawing/2014/main" id="{FCA22352-FD87-449C-8783-82C754F61BA8}"/>
              </a:ext>
            </a:extLst>
          </p:cNvPr>
          <p:cNvSpPr>
            <a:spLocks/>
          </p:cNvSpPr>
          <p:nvPr/>
        </p:nvSpPr>
        <p:spPr>
          <a:xfrm>
            <a:off x="5609060" y="4871447"/>
            <a:ext cx="1504800" cy="49242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utorizar recaudo de estampillas San Andrés </a:t>
            </a:r>
            <a:endParaRPr lang="es-CO" sz="900">
              <a:solidFill>
                <a:schemeClr val="tx2"/>
              </a:solidFill>
            </a:endParaRPr>
          </a:p>
        </p:txBody>
      </p:sp>
      <p:grpSp>
        <p:nvGrpSpPr>
          <p:cNvPr id="104" name="Grupo 103">
            <a:extLst>
              <a:ext uri="{FF2B5EF4-FFF2-40B4-BE49-F238E27FC236}">
                <a16:creationId xmlns:a16="http://schemas.microsoft.com/office/drawing/2014/main" id="{D3EB3E55-AF93-4F96-B40E-3845AADEEE2A}"/>
              </a:ext>
            </a:extLst>
          </p:cNvPr>
          <p:cNvGrpSpPr/>
          <p:nvPr/>
        </p:nvGrpSpPr>
        <p:grpSpPr>
          <a:xfrm>
            <a:off x="9934724" y="3475760"/>
            <a:ext cx="1772016" cy="507831"/>
            <a:chOff x="8574512" y="2995144"/>
            <a:chExt cx="1772016" cy="507831"/>
          </a:xfrm>
        </p:grpSpPr>
        <p:sp>
          <p:nvSpPr>
            <p:cNvPr id="105" name="CuadroTexto 104">
              <a:extLst>
                <a:ext uri="{FF2B5EF4-FFF2-40B4-BE49-F238E27FC236}">
                  <a16:creationId xmlns:a16="http://schemas.microsoft.com/office/drawing/2014/main" id="{7AD4FE93-398C-4A16-B8E5-E76BEC981947}"/>
                </a:ext>
              </a:extLst>
            </p:cNvPr>
            <p:cNvSpPr txBox="1"/>
            <p:nvPr/>
          </p:nvSpPr>
          <p:spPr>
            <a:xfrm>
              <a:off x="8574512" y="3138420"/>
              <a:ext cx="432000" cy="215444"/>
            </a:xfrm>
            <a:prstGeom prst="rect">
              <a:avLst/>
            </a:prstGeom>
            <a:solidFill>
              <a:schemeClr val="bg1"/>
            </a:solidFill>
            <a:ln w="19050">
              <a:solidFill>
                <a:srgbClr val="660066"/>
              </a:solidFill>
            </a:ln>
          </p:spPr>
          <p:txBody>
            <a:bodyPr wrap="square" rtlCol="0">
              <a:spAutoFit/>
            </a:bodyPr>
            <a:lstStyle/>
            <a:p>
              <a:pPr algn="ctr"/>
              <a:r>
                <a:rPr lang="es-ES" sz="800"/>
                <a:t>GRT</a:t>
              </a:r>
              <a:endParaRPr lang="es-CO" sz="800"/>
            </a:p>
          </p:txBody>
        </p:sp>
        <p:sp>
          <p:nvSpPr>
            <p:cNvPr id="106" name="CuadroTexto 105">
              <a:extLst>
                <a:ext uri="{FF2B5EF4-FFF2-40B4-BE49-F238E27FC236}">
                  <a16:creationId xmlns:a16="http://schemas.microsoft.com/office/drawing/2014/main" id="{FC6E8D25-99E5-4554-BAF2-0CA85A61EF82}"/>
                </a:ext>
              </a:extLst>
            </p:cNvPr>
            <p:cNvSpPr txBox="1"/>
            <p:nvPr/>
          </p:nvSpPr>
          <p:spPr>
            <a:xfrm>
              <a:off x="9006511" y="2995144"/>
              <a:ext cx="1340017" cy="507831"/>
            </a:xfrm>
            <a:prstGeom prst="rect">
              <a:avLst/>
            </a:prstGeom>
            <a:noFill/>
          </p:spPr>
          <p:txBody>
            <a:bodyPr wrap="square" rtlCol="0">
              <a:spAutoFit/>
            </a:bodyPr>
            <a:lstStyle/>
            <a:p>
              <a:r>
                <a:rPr lang="es-ES" sz="900">
                  <a:solidFill>
                    <a:schemeClr val="accent1">
                      <a:lumMod val="25000"/>
                    </a:schemeClr>
                  </a:solidFill>
                </a:rPr>
                <a:t>Gerente de Regulación y Tarifas</a:t>
              </a:r>
            </a:p>
            <a:p>
              <a:r>
                <a:rPr lang="es-ES" sz="900">
                  <a:solidFill>
                    <a:schemeClr val="accent1">
                      <a:lumMod val="25000"/>
                    </a:schemeClr>
                  </a:solidFill>
                </a:rPr>
                <a:t>2 %</a:t>
              </a:r>
              <a:endParaRPr lang="es-CO" sz="900">
                <a:solidFill>
                  <a:schemeClr val="accent1">
                    <a:lumMod val="25000"/>
                  </a:schemeClr>
                </a:solidFill>
              </a:endParaRPr>
            </a:p>
          </p:txBody>
        </p:sp>
      </p:grpSp>
      <p:sp>
        <p:nvSpPr>
          <p:cNvPr id="12" name="CuadroTexto 11">
            <a:extLst>
              <a:ext uri="{FF2B5EF4-FFF2-40B4-BE49-F238E27FC236}">
                <a16:creationId xmlns:a16="http://schemas.microsoft.com/office/drawing/2014/main" id="{743AFA08-9163-4FE6-BA2A-40F7D857FEBF}"/>
              </a:ext>
            </a:extLst>
          </p:cNvPr>
          <p:cNvSpPr txBox="1"/>
          <p:nvPr/>
        </p:nvSpPr>
        <p:spPr>
          <a:xfrm>
            <a:off x="6909232" y="5286512"/>
            <a:ext cx="432000" cy="215444"/>
          </a:xfrm>
          <a:prstGeom prst="rect">
            <a:avLst/>
          </a:prstGeom>
          <a:solidFill>
            <a:schemeClr val="bg1"/>
          </a:solidFill>
          <a:ln w="19050">
            <a:solidFill>
              <a:srgbClr val="660066"/>
            </a:solidFill>
          </a:ln>
        </p:spPr>
        <p:txBody>
          <a:bodyPr wrap="square" rtlCol="0">
            <a:spAutoFit/>
          </a:bodyPr>
          <a:lstStyle/>
          <a:p>
            <a:pPr algn="ctr"/>
            <a:r>
              <a:rPr lang="es-ES" sz="800"/>
              <a:t>GRT</a:t>
            </a:r>
            <a:endParaRPr lang="es-CO" sz="800"/>
          </a:p>
        </p:txBody>
      </p:sp>
      <p:sp>
        <p:nvSpPr>
          <p:cNvPr id="10" name="CuadroTexto 47">
            <a:extLst>
              <a:ext uri="{FF2B5EF4-FFF2-40B4-BE49-F238E27FC236}">
                <a16:creationId xmlns:a16="http://schemas.microsoft.com/office/drawing/2014/main" id="{78D0AB5F-CECF-4339-97C0-374B91772D1D}"/>
              </a:ext>
            </a:extLst>
          </p:cNvPr>
          <p:cNvSpPr txBox="1"/>
          <p:nvPr/>
        </p:nvSpPr>
        <p:spPr>
          <a:xfrm>
            <a:off x="13246" y="38633"/>
            <a:ext cx="12102613" cy="738664"/>
          </a:xfrm>
          <a:prstGeom prst="rect">
            <a:avLst/>
          </a:prstGeom>
          <a:noFill/>
          <a:ln>
            <a:noFill/>
          </a:ln>
        </p:spPr>
        <p:txBody>
          <a:bodyPr wrap="square" rtlCol="0">
            <a:spAutoFit/>
          </a:bodyPr>
          <a:lstStyle/>
          <a:p>
            <a:pPr algn="ctr"/>
            <a:r>
              <a:rPr lang="es-ES" sz="2400" b="1" dirty="0">
                <a:solidFill>
                  <a:srgbClr val="10476B"/>
                </a:solidFill>
                <a:latin typeface="Century Gothic" panose="020B0502020202020204" pitchFamily="34" charset="0"/>
                <a:cs typeface="Arial" panose="020B0604020202020204" pitchFamily="34" charset="0"/>
              </a:rPr>
              <a:t>Manual de Delegación de Autoridad (MAD) – Finanzas</a:t>
            </a:r>
          </a:p>
          <a:p>
            <a:pPr algn="ctr"/>
            <a:r>
              <a:rPr lang="es-ES" b="1" dirty="0">
                <a:solidFill>
                  <a:srgbClr val="10476B"/>
                </a:solidFill>
                <a:latin typeface="Century Gothic" panose="020B0502020202020204" pitchFamily="34" charset="0"/>
                <a:cs typeface="Arial" panose="020B0604020202020204" pitchFamily="34" charset="0"/>
              </a:rPr>
              <a:t>Proceso Nivel 1: Operaciones de Tesorería (3/3)</a:t>
            </a:r>
            <a:endParaRPr lang="es-CO" b="1" dirty="0">
              <a:solidFill>
                <a:srgbClr val="10476B"/>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15309507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ectangle 30">
            <a:extLst>
              <a:ext uri="{FF2B5EF4-FFF2-40B4-BE49-F238E27FC236}">
                <a16:creationId xmlns:a16="http://schemas.microsoft.com/office/drawing/2014/main" id="{F3345E9D-3CDC-4990-8CC7-89A023557472}"/>
              </a:ext>
            </a:extLst>
          </p:cNvPr>
          <p:cNvSpPr>
            <a:spLocks/>
          </p:cNvSpPr>
          <p:nvPr/>
        </p:nvSpPr>
        <p:spPr>
          <a:xfrm>
            <a:off x="5716392" y="2037271"/>
            <a:ext cx="2224240" cy="6588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probar ampliación cupo de crédito, plazo de pago y/o aprobación de modalidades de pago</a:t>
            </a:r>
          </a:p>
        </p:txBody>
      </p:sp>
      <p:sp>
        <p:nvSpPr>
          <p:cNvPr id="102" name="Rectangle 30">
            <a:extLst>
              <a:ext uri="{FF2B5EF4-FFF2-40B4-BE49-F238E27FC236}">
                <a16:creationId xmlns:a16="http://schemas.microsoft.com/office/drawing/2014/main" id="{357A9AB8-D778-4FF7-B653-9D3E0395B1F2}"/>
              </a:ext>
            </a:extLst>
          </p:cNvPr>
          <p:cNvSpPr>
            <a:spLocks/>
          </p:cNvSpPr>
          <p:nvPr/>
        </p:nvSpPr>
        <p:spPr>
          <a:xfrm>
            <a:off x="5716392" y="1447316"/>
            <a:ext cx="2224240" cy="4680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probar la Guía de Crédito a clientes</a:t>
            </a:r>
          </a:p>
        </p:txBody>
      </p:sp>
      <p:sp>
        <p:nvSpPr>
          <p:cNvPr id="140" name="Rectangle 30">
            <a:extLst>
              <a:ext uri="{FF2B5EF4-FFF2-40B4-BE49-F238E27FC236}">
                <a16:creationId xmlns:a16="http://schemas.microsoft.com/office/drawing/2014/main" id="{EA2D8879-FCAB-4E6C-84E9-57818C0A0FF5}"/>
              </a:ext>
            </a:extLst>
          </p:cNvPr>
          <p:cNvSpPr>
            <a:spLocks/>
          </p:cNvSpPr>
          <p:nvPr/>
        </p:nvSpPr>
        <p:spPr>
          <a:xfrm>
            <a:off x="5716392" y="2818026"/>
            <a:ext cx="2224240" cy="6588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probar la emisión, modificación y cancelación de Tarjetas de Crédito Corporativas</a:t>
            </a:r>
          </a:p>
        </p:txBody>
      </p:sp>
      <p:sp>
        <p:nvSpPr>
          <p:cNvPr id="56" name="Rectangle 30">
            <a:extLst>
              <a:ext uri="{FF2B5EF4-FFF2-40B4-BE49-F238E27FC236}">
                <a16:creationId xmlns:a16="http://schemas.microsoft.com/office/drawing/2014/main" id="{A1361919-71D6-4D71-9DC2-E64FDAB3BEB6}"/>
              </a:ext>
            </a:extLst>
          </p:cNvPr>
          <p:cNvSpPr>
            <a:spLocks/>
          </p:cNvSpPr>
          <p:nvPr/>
        </p:nvSpPr>
        <p:spPr>
          <a:xfrm>
            <a:off x="252164" y="4561777"/>
            <a:ext cx="2325739" cy="4680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dirty="0">
                <a:solidFill>
                  <a:schemeClr val="tx2"/>
                </a:solidFill>
              </a:rPr>
              <a:t>Aprobar avales o garantías de Cenit, a favor de terceros</a:t>
            </a:r>
          </a:p>
        </p:txBody>
      </p:sp>
      <p:sp>
        <p:nvSpPr>
          <p:cNvPr id="84" name="CuadroTexto 83">
            <a:extLst>
              <a:ext uri="{FF2B5EF4-FFF2-40B4-BE49-F238E27FC236}">
                <a16:creationId xmlns:a16="http://schemas.microsoft.com/office/drawing/2014/main" id="{293DBAF3-3942-4C58-8A63-D4484E215E20}"/>
              </a:ext>
            </a:extLst>
          </p:cNvPr>
          <p:cNvSpPr txBox="1"/>
          <p:nvPr/>
        </p:nvSpPr>
        <p:spPr>
          <a:xfrm>
            <a:off x="6616655" y="3932779"/>
            <a:ext cx="5403492" cy="2160000"/>
          </a:xfrm>
          <a:prstGeom prst="rect">
            <a:avLst/>
          </a:prstGeom>
          <a:noFill/>
          <a:ln>
            <a:solidFill>
              <a:schemeClr val="accent6"/>
            </a:solidFill>
          </a:ln>
        </p:spPr>
        <p:txBody>
          <a:bodyPr wrap="square" rtlCol="0">
            <a:spAutoFit/>
          </a:bodyPr>
          <a:lstStyle/>
          <a:p>
            <a:endParaRPr lang="es-CO" sz="2000"/>
          </a:p>
        </p:txBody>
      </p:sp>
      <p:sp>
        <p:nvSpPr>
          <p:cNvPr id="86" name="Rectángulo 85">
            <a:extLst>
              <a:ext uri="{FF2B5EF4-FFF2-40B4-BE49-F238E27FC236}">
                <a16:creationId xmlns:a16="http://schemas.microsoft.com/office/drawing/2014/main" id="{7696A978-4362-4DE3-8C58-0F58608C4AA6}"/>
              </a:ext>
            </a:extLst>
          </p:cNvPr>
          <p:cNvSpPr/>
          <p:nvPr/>
        </p:nvSpPr>
        <p:spPr>
          <a:xfrm>
            <a:off x="6632697" y="3935693"/>
            <a:ext cx="5320005" cy="461665"/>
          </a:xfrm>
          <a:prstGeom prst="rect">
            <a:avLst/>
          </a:prstGeom>
          <a:ln>
            <a:noFill/>
          </a:ln>
        </p:spPr>
        <p:txBody>
          <a:bodyPr wrap="square" anchor="t">
            <a:spAutoFit/>
          </a:bodyPr>
          <a:lstStyle/>
          <a:p>
            <a:pPr algn="just"/>
            <a:r>
              <a:rPr lang="es-ES" sz="1200" b="1">
                <a:solidFill>
                  <a:schemeClr val="accent4"/>
                </a:solidFill>
                <a:sym typeface="Wingdings" panose="05000000000000000000" pitchFamily="2" charset="2"/>
              </a:rPr>
              <a:t>Total Proceso Nivel 1 de Administración de Recursos Financieros y Liquidez: </a:t>
            </a:r>
            <a:r>
              <a:rPr lang="es-ES" sz="1200">
                <a:solidFill>
                  <a:schemeClr val="accent4"/>
                </a:solidFill>
                <a:sym typeface="Wingdings" panose="05000000000000000000" pitchFamily="2" charset="2"/>
              </a:rPr>
              <a:t>4 decisión críticas distribuidas en 18 categorías.</a:t>
            </a:r>
            <a:endParaRPr lang="es-CO" sz="1200">
              <a:solidFill>
                <a:srgbClr val="254147"/>
              </a:solidFill>
            </a:endParaRPr>
          </a:p>
        </p:txBody>
      </p:sp>
      <p:graphicFrame>
        <p:nvGraphicFramePr>
          <p:cNvPr id="5" name="Objeto 4" hidden="1">
            <a:extLst>
              <a:ext uri="{FF2B5EF4-FFF2-40B4-BE49-F238E27FC236}">
                <a16:creationId xmlns:a16="http://schemas.microsoft.com/office/drawing/2014/main" id="{0740088A-8ABF-414B-8746-763C3F660F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421" imgH="423" progId="TCLayout.ActiveDocument.1">
                  <p:embed/>
                </p:oleObj>
              </mc:Choice>
              <mc:Fallback>
                <p:oleObj name="Diapositiva de think-cell" r:id="rId5" imgW="421" imgH="423" progId="TCLayout.ActiveDocument.1">
                  <p:embed/>
                  <p:pic>
                    <p:nvPicPr>
                      <p:cNvPr id="5" name="Objeto 4" hidden="1">
                        <a:extLst>
                          <a:ext uri="{FF2B5EF4-FFF2-40B4-BE49-F238E27FC236}">
                            <a16:creationId xmlns:a16="http://schemas.microsoft.com/office/drawing/2014/main" id="{0740088A-8ABF-414B-8746-763C3F660F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42B40C10-F876-4F1B-842D-C3F6355B6C8A}"/>
              </a:ext>
            </a:extLst>
          </p:cNvPr>
          <p:cNvSpPr/>
          <p:nvPr>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419" sz="2000" b="1">
              <a:solidFill>
                <a:schemeClr val="tx1"/>
              </a:solidFill>
              <a:latin typeface="Arial" panose="020B0604020202020204" pitchFamily="34" charset="0"/>
              <a:ea typeface="+mj-ea"/>
              <a:cs typeface="+mj-cs"/>
              <a:sym typeface="Arial" panose="020B0604020202020204" pitchFamily="34" charset="0"/>
            </a:endParaRPr>
          </a:p>
        </p:txBody>
      </p:sp>
      <p:sp>
        <p:nvSpPr>
          <p:cNvPr id="2" name="Marcador de número de diapositiva 1">
            <a:extLst>
              <a:ext uri="{FF2B5EF4-FFF2-40B4-BE49-F238E27FC236}">
                <a16:creationId xmlns:a16="http://schemas.microsoft.com/office/drawing/2014/main" id="{3A93B487-116E-4767-AA0D-CAE2A460FBE4}"/>
              </a:ext>
            </a:extLst>
          </p:cNvPr>
          <p:cNvSpPr>
            <a:spLocks noGrp="1"/>
          </p:cNvSpPr>
          <p:nvPr>
            <p:ph type="sldNum" sz="quarter" idx="10"/>
          </p:nvPr>
        </p:nvSpPr>
        <p:spPr>
          <a:xfrm>
            <a:off x="11344876" y="6428983"/>
            <a:ext cx="847124" cy="365125"/>
          </a:xfrm>
        </p:spPr>
        <p:txBody>
          <a:bodyPr/>
          <a:lstStyle/>
          <a:p>
            <a:fld id="{02F25750-4209-4357-A72F-45445C8044EF}" type="slidenum">
              <a:rPr lang="es-CO" smtClean="0"/>
              <a:pPr/>
              <a:t>28</a:t>
            </a:fld>
            <a:endParaRPr lang="es-CO"/>
          </a:p>
        </p:txBody>
      </p:sp>
      <p:sp>
        <p:nvSpPr>
          <p:cNvPr id="117" name="CuadroTexto 116">
            <a:extLst>
              <a:ext uri="{FF2B5EF4-FFF2-40B4-BE49-F238E27FC236}">
                <a16:creationId xmlns:a16="http://schemas.microsoft.com/office/drawing/2014/main" id="{8960734A-1053-42D2-BD72-6674DCCE6A97}"/>
              </a:ext>
            </a:extLst>
          </p:cNvPr>
          <p:cNvSpPr txBox="1"/>
          <p:nvPr/>
        </p:nvSpPr>
        <p:spPr>
          <a:xfrm>
            <a:off x="6865093" y="5772043"/>
            <a:ext cx="1391405" cy="230832"/>
          </a:xfrm>
          <a:prstGeom prst="rect">
            <a:avLst/>
          </a:prstGeom>
          <a:noFill/>
          <a:ln w="19050">
            <a:solidFill>
              <a:srgbClr val="002060"/>
            </a:solidFill>
          </a:ln>
        </p:spPr>
        <p:txBody>
          <a:bodyPr wrap="square" rtlCol="0">
            <a:spAutoFit/>
          </a:bodyPr>
          <a:lstStyle/>
          <a:p>
            <a:pPr algn="ctr"/>
            <a:r>
              <a:rPr lang="es-ES" sz="900">
                <a:solidFill>
                  <a:schemeClr val="tx2"/>
                </a:solidFill>
              </a:rPr>
              <a:t>Palanca de Agilidad </a:t>
            </a:r>
            <a:endParaRPr lang="es-CO" sz="900">
              <a:solidFill>
                <a:schemeClr val="tx2"/>
              </a:solidFill>
            </a:endParaRPr>
          </a:p>
        </p:txBody>
      </p:sp>
      <p:sp>
        <p:nvSpPr>
          <p:cNvPr id="118" name="CuadroTexto 117">
            <a:extLst>
              <a:ext uri="{FF2B5EF4-FFF2-40B4-BE49-F238E27FC236}">
                <a16:creationId xmlns:a16="http://schemas.microsoft.com/office/drawing/2014/main" id="{C77431EE-A761-4323-B75F-692D4CAEC462}"/>
              </a:ext>
            </a:extLst>
          </p:cNvPr>
          <p:cNvSpPr txBox="1"/>
          <p:nvPr/>
        </p:nvSpPr>
        <p:spPr>
          <a:xfrm>
            <a:off x="8620792" y="5769559"/>
            <a:ext cx="1393200" cy="230832"/>
          </a:xfrm>
          <a:prstGeom prst="rect">
            <a:avLst/>
          </a:prstGeom>
          <a:noFill/>
          <a:ln w="19050">
            <a:solidFill>
              <a:schemeClr val="accent3"/>
            </a:solidFill>
          </a:ln>
        </p:spPr>
        <p:txBody>
          <a:bodyPr wrap="square" rtlCol="0">
            <a:spAutoFit/>
          </a:bodyPr>
          <a:lstStyle/>
          <a:p>
            <a:pPr algn="ctr"/>
            <a:r>
              <a:rPr lang="es-ES" sz="900">
                <a:solidFill>
                  <a:schemeClr val="tx2"/>
                </a:solidFill>
              </a:rPr>
              <a:t>Palanca de Claridad</a:t>
            </a:r>
            <a:endParaRPr lang="es-CO" sz="900">
              <a:solidFill>
                <a:schemeClr val="tx2"/>
              </a:solidFill>
            </a:endParaRPr>
          </a:p>
        </p:txBody>
      </p:sp>
      <p:sp>
        <p:nvSpPr>
          <p:cNvPr id="119" name="CuadroTexto 118">
            <a:extLst>
              <a:ext uri="{FF2B5EF4-FFF2-40B4-BE49-F238E27FC236}">
                <a16:creationId xmlns:a16="http://schemas.microsoft.com/office/drawing/2014/main" id="{A66DDFF6-8990-4632-9B16-3852035C81BA}"/>
              </a:ext>
            </a:extLst>
          </p:cNvPr>
          <p:cNvSpPr txBox="1"/>
          <p:nvPr/>
        </p:nvSpPr>
        <p:spPr>
          <a:xfrm>
            <a:off x="10378284" y="5769559"/>
            <a:ext cx="1486626" cy="230832"/>
          </a:xfrm>
          <a:prstGeom prst="rect">
            <a:avLst/>
          </a:prstGeom>
          <a:noFill/>
          <a:ln w="19050">
            <a:solidFill>
              <a:schemeClr val="bg2">
                <a:lumMod val="50000"/>
              </a:schemeClr>
            </a:solidFill>
          </a:ln>
        </p:spPr>
        <p:txBody>
          <a:bodyPr wrap="square" rtlCol="0">
            <a:spAutoFit/>
          </a:bodyPr>
          <a:lstStyle/>
          <a:p>
            <a:pPr algn="ctr"/>
            <a:r>
              <a:rPr lang="es-ES" sz="900">
                <a:solidFill>
                  <a:schemeClr val="tx2"/>
                </a:solidFill>
              </a:rPr>
              <a:t>Palanca de Consistencia</a:t>
            </a:r>
            <a:endParaRPr lang="es-CO" sz="900">
              <a:solidFill>
                <a:schemeClr val="tx2"/>
              </a:solidFill>
            </a:endParaRPr>
          </a:p>
        </p:txBody>
      </p:sp>
      <p:grpSp>
        <p:nvGrpSpPr>
          <p:cNvPr id="40" name="Grupo 39">
            <a:extLst>
              <a:ext uri="{FF2B5EF4-FFF2-40B4-BE49-F238E27FC236}">
                <a16:creationId xmlns:a16="http://schemas.microsoft.com/office/drawing/2014/main" id="{4AE5D7C8-E153-4872-B77B-8476720136A1}"/>
              </a:ext>
            </a:extLst>
          </p:cNvPr>
          <p:cNvGrpSpPr/>
          <p:nvPr/>
        </p:nvGrpSpPr>
        <p:grpSpPr>
          <a:xfrm>
            <a:off x="9566251" y="5083285"/>
            <a:ext cx="1603580" cy="646331"/>
            <a:chOff x="9218732" y="3168351"/>
            <a:chExt cx="1603580" cy="646331"/>
          </a:xfrm>
        </p:grpSpPr>
        <p:sp>
          <p:nvSpPr>
            <p:cNvPr id="41" name="CuadroTexto 40">
              <a:extLst>
                <a:ext uri="{FF2B5EF4-FFF2-40B4-BE49-F238E27FC236}">
                  <a16:creationId xmlns:a16="http://schemas.microsoft.com/office/drawing/2014/main" id="{0DBC6410-6A59-4790-926F-E624F6953B1C}"/>
                </a:ext>
              </a:extLst>
            </p:cNvPr>
            <p:cNvSpPr txBox="1"/>
            <p:nvPr/>
          </p:nvSpPr>
          <p:spPr>
            <a:xfrm>
              <a:off x="9218732" y="3386978"/>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42" name="CuadroTexto 41">
              <a:extLst>
                <a:ext uri="{FF2B5EF4-FFF2-40B4-BE49-F238E27FC236}">
                  <a16:creationId xmlns:a16="http://schemas.microsoft.com/office/drawing/2014/main" id="{F05D1EBD-E1C6-4EAD-A83A-3126DD1C70B5}"/>
                </a:ext>
              </a:extLst>
            </p:cNvPr>
            <p:cNvSpPr txBox="1"/>
            <p:nvPr/>
          </p:nvSpPr>
          <p:spPr>
            <a:xfrm>
              <a:off x="9660121" y="3168351"/>
              <a:ext cx="1162191" cy="646331"/>
            </a:xfrm>
            <a:prstGeom prst="rect">
              <a:avLst/>
            </a:prstGeom>
            <a:noFill/>
          </p:spPr>
          <p:txBody>
            <a:bodyPr wrap="square" rtlCol="0" anchor="t">
              <a:spAutoFit/>
            </a:bodyPr>
            <a:lstStyle/>
            <a:p>
              <a:r>
                <a:rPr lang="es-ES" sz="900">
                  <a:solidFill>
                    <a:schemeClr val="accent1">
                      <a:lumMod val="25000"/>
                    </a:schemeClr>
                  </a:solidFill>
                </a:rPr>
                <a:t>Gerente de</a:t>
              </a:r>
            </a:p>
            <a:p>
              <a:r>
                <a:rPr lang="es-ES" sz="900">
                  <a:solidFill>
                    <a:schemeClr val="accent1">
                      <a:lumMod val="25000"/>
                    </a:schemeClr>
                  </a:solidFill>
                </a:rPr>
                <a:t>Operaciones Financieras</a:t>
              </a:r>
            </a:p>
            <a:p>
              <a:r>
                <a:rPr lang="es-ES" sz="900">
                  <a:solidFill>
                    <a:schemeClr val="accent1">
                      <a:lumMod val="25000"/>
                    </a:schemeClr>
                  </a:solidFill>
                </a:rPr>
                <a:t>35 %</a:t>
              </a:r>
              <a:endParaRPr lang="es-CO" sz="900">
                <a:solidFill>
                  <a:schemeClr val="accent1">
                    <a:lumMod val="25000"/>
                  </a:schemeClr>
                </a:solidFill>
              </a:endParaRPr>
            </a:p>
          </p:txBody>
        </p:sp>
      </p:grpSp>
      <p:sp>
        <p:nvSpPr>
          <p:cNvPr id="7" name="Rectangle 30">
            <a:extLst>
              <a:ext uri="{FF2B5EF4-FFF2-40B4-BE49-F238E27FC236}">
                <a16:creationId xmlns:a16="http://schemas.microsoft.com/office/drawing/2014/main" id="{8AF3B524-5EF0-4D16-B04B-B95BDA57F430}"/>
              </a:ext>
            </a:extLst>
          </p:cNvPr>
          <p:cNvSpPr>
            <a:spLocks/>
          </p:cNvSpPr>
          <p:nvPr/>
        </p:nvSpPr>
        <p:spPr>
          <a:xfrm>
            <a:off x="252165" y="2415711"/>
            <a:ext cx="2347200" cy="3600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probar la emisión de títulos de deuda</a:t>
            </a:r>
          </a:p>
        </p:txBody>
      </p:sp>
      <p:sp>
        <p:nvSpPr>
          <p:cNvPr id="8" name="Rectángulo 7">
            <a:extLst>
              <a:ext uri="{FF2B5EF4-FFF2-40B4-BE49-F238E27FC236}">
                <a16:creationId xmlns:a16="http://schemas.microsoft.com/office/drawing/2014/main" id="{B5A4B02A-4AA2-46C5-BDD1-63C4860CAD01}"/>
              </a:ext>
            </a:extLst>
          </p:cNvPr>
          <p:cNvSpPr>
            <a:spLocks/>
          </p:cNvSpPr>
          <p:nvPr/>
        </p:nvSpPr>
        <p:spPr>
          <a:xfrm>
            <a:off x="239574" y="807150"/>
            <a:ext cx="2347200" cy="346223"/>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200">
                <a:solidFill>
                  <a:schemeClr val="tx2"/>
                </a:solidFill>
              </a:rPr>
              <a:t>Aprobar esquemas de financiación</a:t>
            </a:r>
          </a:p>
        </p:txBody>
      </p:sp>
      <p:sp>
        <p:nvSpPr>
          <p:cNvPr id="9" name="Elipse 8">
            <a:extLst>
              <a:ext uri="{FF2B5EF4-FFF2-40B4-BE49-F238E27FC236}">
                <a16:creationId xmlns:a16="http://schemas.microsoft.com/office/drawing/2014/main" id="{CFF86BCB-1BED-4792-A396-2370CCCCB018}"/>
              </a:ext>
            </a:extLst>
          </p:cNvPr>
          <p:cNvSpPr/>
          <p:nvPr/>
        </p:nvSpPr>
        <p:spPr>
          <a:xfrm>
            <a:off x="82930" y="688238"/>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1</a:t>
            </a:r>
            <a:endParaRPr lang="es-CO" sz="1200" b="1">
              <a:solidFill>
                <a:schemeClr val="bg1"/>
              </a:solidFill>
            </a:endParaRPr>
          </a:p>
        </p:txBody>
      </p:sp>
      <p:sp>
        <p:nvSpPr>
          <p:cNvPr id="10" name="Rectangle 30">
            <a:extLst>
              <a:ext uri="{FF2B5EF4-FFF2-40B4-BE49-F238E27FC236}">
                <a16:creationId xmlns:a16="http://schemas.microsoft.com/office/drawing/2014/main" id="{354C1A81-D85E-40D4-9432-F14195AA0783}"/>
              </a:ext>
            </a:extLst>
          </p:cNvPr>
          <p:cNvSpPr>
            <a:spLocks/>
          </p:cNvSpPr>
          <p:nvPr/>
        </p:nvSpPr>
        <p:spPr>
          <a:xfrm>
            <a:off x="252042" y="5113663"/>
            <a:ext cx="2347200" cy="4680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probar la apertura y modificación de cartas de crédito stand </a:t>
            </a:r>
            <a:r>
              <a:rPr lang="es-ES" sz="900" err="1">
                <a:solidFill>
                  <a:schemeClr val="tx2"/>
                </a:solidFill>
              </a:rPr>
              <a:t>by</a:t>
            </a:r>
            <a:r>
              <a:rPr lang="es-ES" sz="900">
                <a:solidFill>
                  <a:schemeClr val="tx2"/>
                </a:solidFill>
              </a:rPr>
              <a:t> y/o documentarias</a:t>
            </a:r>
          </a:p>
        </p:txBody>
      </p:sp>
      <p:sp>
        <p:nvSpPr>
          <p:cNvPr id="11" name="Rectangle 30">
            <a:extLst>
              <a:ext uri="{FF2B5EF4-FFF2-40B4-BE49-F238E27FC236}">
                <a16:creationId xmlns:a16="http://schemas.microsoft.com/office/drawing/2014/main" id="{E6765BEB-6062-4FF5-991F-74E9591E7BE0}"/>
              </a:ext>
            </a:extLst>
          </p:cNvPr>
          <p:cNvSpPr>
            <a:spLocks/>
          </p:cNvSpPr>
          <p:nvPr/>
        </p:nvSpPr>
        <p:spPr>
          <a:xfrm>
            <a:off x="252042" y="5677179"/>
            <a:ext cx="2347200" cy="4680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utorizar pagos y comisiones de cartas de crédito documentarias y stand </a:t>
            </a:r>
            <a:r>
              <a:rPr lang="es-ES" sz="900" err="1">
                <a:solidFill>
                  <a:schemeClr val="tx2"/>
                </a:solidFill>
              </a:rPr>
              <a:t>by</a:t>
            </a:r>
            <a:endParaRPr lang="es-ES" sz="900">
              <a:solidFill>
                <a:schemeClr val="tx2"/>
              </a:solidFill>
            </a:endParaRPr>
          </a:p>
        </p:txBody>
      </p:sp>
      <p:sp>
        <p:nvSpPr>
          <p:cNvPr id="12" name="Rectangle 30">
            <a:extLst>
              <a:ext uri="{FF2B5EF4-FFF2-40B4-BE49-F238E27FC236}">
                <a16:creationId xmlns:a16="http://schemas.microsoft.com/office/drawing/2014/main" id="{C841B24C-61AF-41C0-8A4D-6D9D7A8B8383}"/>
              </a:ext>
            </a:extLst>
          </p:cNvPr>
          <p:cNvSpPr>
            <a:spLocks/>
          </p:cNvSpPr>
          <p:nvPr/>
        </p:nvSpPr>
        <p:spPr>
          <a:xfrm>
            <a:off x="245693" y="1716268"/>
            <a:ext cx="2347200" cy="597163"/>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probar operaciones con derivados sobre tasas de interés y tasas de cambio de largo plazo</a:t>
            </a:r>
          </a:p>
          <a:p>
            <a:pPr algn="ctr"/>
            <a:r>
              <a:rPr lang="es-ES" sz="700" i="1">
                <a:solidFill>
                  <a:schemeClr val="tx2"/>
                </a:solidFill>
              </a:rPr>
              <a:t>(corto plazo aprueba GOF)</a:t>
            </a:r>
          </a:p>
        </p:txBody>
      </p:sp>
      <p:sp>
        <p:nvSpPr>
          <p:cNvPr id="13" name="Rectangle 30">
            <a:extLst>
              <a:ext uri="{FF2B5EF4-FFF2-40B4-BE49-F238E27FC236}">
                <a16:creationId xmlns:a16="http://schemas.microsoft.com/office/drawing/2014/main" id="{0D9D9488-940D-433C-A4EA-92B78BED58F5}"/>
              </a:ext>
            </a:extLst>
          </p:cNvPr>
          <p:cNvSpPr>
            <a:spLocks/>
          </p:cNvSpPr>
          <p:nvPr/>
        </p:nvSpPr>
        <p:spPr>
          <a:xfrm>
            <a:off x="252042" y="1265855"/>
            <a:ext cx="2347200" cy="360000"/>
          </a:xfrm>
          <a:prstGeom prst="rect">
            <a:avLst/>
          </a:prstGeom>
          <a:solidFill>
            <a:schemeClr val="bg2">
              <a:lumMod val="95000"/>
              <a:alpha val="68000"/>
            </a:schemeClr>
          </a:solidFill>
          <a:ln w="28575">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probar la emisión de Acciones</a:t>
            </a:r>
          </a:p>
        </p:txBody>
      </p:sp>
      <p:sp>
        <p:nvSpPr>
          <p:cNvPr id="14" name="Rectangle 30">
            <a:extLst>
              <a:ext uri="{FF2B5EF4-FFF2-40B4-BE49-F238E27FC236}">
                <a16:creationId xmlns:a16="http://schemas.microsoft.com/office/drawing/2014/main" id="{2614B80C-5E9C-4C43-9417-CE8F857DE0FE}"/>
              </a:ext>
            </a:extLst>
          </p:cNvPr>
          <p:cNvSpPr>
            <a:spLocks/>
          </p:cNvSpPr>
          <p:nvPr/>
        </p:nvSpPr>
        <p:spPr>
          <a:xfrm>
            <a:off x="252165" y="2871227"/>
            <a:ext cx="2347200" cy="4680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Negociar y celebrar operaciones de crédito en moneda local y extranjera</a:t>
            </a:r>
          </a:p>
        </p:txBody>
      </p:sp>
      <p:sp>
        <p:nvSpPr>
          <p:cNvPr id="15" name="Rectangle 30">
            <a:extLst>
              <a:ext uri="{FF2B5EF4-FFF2-40B4-BE49-F238E27FC236}">
                <a16:creationId xmlns:a16="http://schemas.microsoft.com/office/drawing/2014/main" id="{E4A5D75D-0A3C-49F0-B736-F7C27D60B3A3}"/>
              </a:ext>
            </a:extLst>
          </p:cNvPr>
          <p:cNvSpPr>
            <a:spLocks/>
          </p:cNvSpPr>
          <p:nvPr/>
        </p:nvSpPr>
        <p:spPr>
          <a:xfrm>
            <a:off x="252165" y="3434743"/>
            <a:ext cx="2347200" cy="4680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probar leasing – BOMT, BOT y otros mecanismos de financiación de proyectos.</a:t>
            </a:r>
          </a:p>
        </p:txBody>
      </p:sp>
      <p:sp>
        <p:nvSpPr>
          <p:cNvPr id="16" name="Rectangle 30">
            <a:extLst>
              <a:ext uri="{FF2B5EF4-FFF2-40B4-BE49-F238E27FC236}">
                <a16:creationId xmlns:a16="http://schemas.microsoft.com/office/drawing/2014/main" id="{65995084-D3B4-451E-9E40-025A2D90EDC8}"/>
              </a:ext>
            </a:extLst>
          </p:cNvPr>
          <p:cNvSpPr>
            <a:spLocks/>
          </p:cNvSpPr>
          <p:nvPr/>
        </p:nvSpPr>
        <p:spPr>
          <a:xfrm>
            <a:off x="252165" y="3998259"/>
            <a:ext cx="2347200" cy="46800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Aprobar la titularización de flujos de caja u otro esquema similar de largo plazo</a:t>
            </a:r>
          </a:p>
        </p:txBody>
      </p:sp>
      <p:sp>
        <p:nvSpPr>
          <p:cNvPr id="34" name="CuadroTexto 33">
            <a:extLst>
              <a:ext uri="{FF2B5EF4-FFF2-40B4-BE49-F238E27FC236}">
                <a16:creationId xmlns:a16="http://schemas.microsoft.com/office/drawing/2014/main" id="{07F7B6FB-193B-4E2D-A992-7286BA46E462}"/>
              </a:ext>
            </a:extLst>
          </p:cNvPr>
          <p:cNvSpPr txBox="1"/>
          <p:nvPr/>
        </p:nvSpPr>
        <p:spPr>
          <a:xfrm>
            <a:off x="2254637" y="5399305"/>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36" name="CuadroTexto 35">
            <a:extLst>
              <a:ext uri="{FF2B5EF4-FFF2-40B4-BE49-F238E27FC236}">
                <a16:creationId xmlns:a16="http://schemas.microsoft.com/office/drawing/2014/main" id="{50A4E7E1-42F9-4862-B684-7EFB18F41008}"/>
              </a:ext>
            </a:extLst>
          </p:cNvPr>
          <p:cNvSpPr txBox="1"/>
          <p:nvPr/>
        </p:nvSpPr>
        <p:spPr>
          <a:xfrm>
            <a:off x="2254637" y="5987181"/>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grpSp>
        <p:nvGrpSpPr>
          <p:cNvPr id="57" name="Grupo 56">
            <a:extLst>
              <a:ext uri="{FF2B5EF4-FFF2-40B4-BE49-F238E27FC236}">
                <a16:creationId xmlns:a16="http://schemas.microsoft.com/office/drawing/2014/main" id="{A9983047-CFC8-48B0-AC28-3E269CED2941}"/>
              </a:ext>
            </a:extLst>
          </p:cNvPr>
          <p:cNvGrpSpPr/>
          <p:nvPr/>
        </p:nvGrpSpPr>
        <p:grpSpPr>
          <a:xfrm>
            <a:off x="7260168" y="5066552"/>
            <a:ext cx="1659629" cy="507831"/>
            <a:chOff x="9392140" y="4751078"/>
            <a:chExt cx="1659629" cy="507831"/>
          </a:xfrm>
        </p:grpSpPr>
        <p:sp>
          <p:nvSpPr>
            <p:cNvPr id="58" name="CuadroTexto 57">
              <a:extLst>
                <a:ext uri="{FF2B5EF4-FFF2-40B4-BE49-F238E27FC236}">
                  <a16:creationId xmlns:a16="http://schemas.microsoft.com/office/drawing/2014/main" id="{E9D8A762-472C-4575-A48B-D824E6B85E36}"/>
                </a:ext>
              </a:extLst>
            </p:cNvPr>
            <p:cNvSpPr txBox="1"/>
            <p:nvPr/>
          </p:nvSpPr>
          <p:spPr>
            <a:xfrm>
              <a:off x="9851711" y="4751078"/>
              <a:ext cx="1200058" cy="507831"/>
            </a:xfrm>
            <a:prstGeom prst="rect">
              <a:avLst/>
            </a:prstGeom>
            <a:noFill/>
          </p:spPr>
          <p:txBody>
            <a:bodyPr wrap="square" rtlCol="0" anchor="t">
              <a:spAutoFit/>
            </a:bodyPr>
            <a:lstStyle/>
            <a:p>
              <a:r>
                <a:rPr lang="es-ES" sz="900">
                  <a:solidFill>
                    <a:schemeClr val="accent1">
                      <a:lumMod val="25000"/>
                    </a:schemeClr>
                  </a:solidFill>
                </a:rPr>
                <a:t>Vicepresidente Finanzas</a:t>
              </a:r>
            </a:p>
            <a:p>
              <a:r>
                <a:rPr lang="es-ES" sz="900">
                  <a:solidFill>
                    <a:schemeClr val="accent1">
                      <a:lumMod val="25000"/>
                    </a:schemeClr>
                  </a:solidFill>
                </a:rPr>
                <a:t>55 %</a:t>
              </a:r>
              <a:endParaRPr lang="es-CO" sz="900">
                <a:solidFill>
                  <a:schemeClr val="accent1">
                    <a:lumMod val="25000"/>
                  </a:schemeClr>
                </a:solidFill>
              </a:endParaRPr>
            </a:p>
          </p:txBody>
        </p:sp>
        <p:sp>
          <p:nvSpPr>
            <p:cNvPr id="59" name="CuadroTexto 58">
              <a:extLst>
                <a:ext uri="{FF2B5EF4-FFF2-40B4-BE49-F238E27FC236}">
                  <a16:creationId xmlns:a16="http://schemas.microsoft.com/office/drawing/2014/main" id="{79289670-0B1A-4519-A15C-1FFA595F2428}"/>
                </a:ext>
              </a:extLst>
            </p:cNvPr>
            <p:cNvSpPr txBox="1"/>
            <p:nvPr/>
          </p:nvSpPr>
          <p:spPr>
            <a:xfrm>
              <a:off x="9392140" y="4884294"/>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grpSp>
      <p:sp>
        <p:nvSpPr>
          <p:cNvPr id="38" name="CuadroTexto 37">
            <a:extLst>
              <a:ext uri="{FF2B5EF4-FFF2-40B4-BE49-F238E27FC236}">
                <a16:creationId xmlns:a16="http://schemas.microsoft.com/office/drawing/2014/main" id="{562738C7-6E2F-4DBE-BBED-BF9F1C4708E1}"/>
              </a:ext>
            </a:extLst>
          </p:cNvPr>
          <p:cNvSpPr txBox="1"/>
          <p:nvPr/>
        </p:nvSpPr>
        <p:spPr>
          <a:xfrm>
            <a:off x="2248289" y="2104335"/>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grpSp>
        <p:nvGrpSpPr>
          <p:cNvPr id="62" name="Grupo 61">
            <a:extLst>
              <a:ext uri="{FF2B5EF4-FFF2-40B4-BE49-F238E27FC236}">
                <a16:creationId xmlns:a16="http://schemas.microsoft.com/office/drawing/2014/main" id="{4F9B287D-6EA8-44AB-83B1-11986D1E785F}"/>
              </a:ext>
            </a:extLst>
          </p:cNvPr>
          <p:cNvGrpSpPr/>
          <p:nvPr/>
        </p:nvGrpSpPr>
        <p:grpSpPr>
          <a:xfrm>
            <a:off x="7252079" y="4462376"/>
            <a:ext cx="1594191" cy="507831"/>
            <a:chOff x="8574512" y="3019418"/>
            <a:chExt cx="1594191" cy="507831"/>
          </a:xfrm>
        </p:grpSpPr>
        <p:sp>
          <p:nvSpPr>
            <p:cNvPr id="63" name="CuadroTexto 62">
              <a:extLst>
                <a:ext uri="{FF2B5EF4-FFF2-40B4-BE49-F238E27FC236}">
                  <a16:creationId xmlns:a16="http://schemas.microsoft.com/office/drawing/2014/main" id="{E593D65F-BE9A-48A6-A735-E4E89CA156BB}"/>
                </a:ext>
              </a:extLst>
            </p:cNvPr>
            <p:cNvSpPr txBox="1"/>
            <p:nvPr/>
          </p:nvSpPr>
          <p:spPr>
            <a:xfrm>
              <a:off x="8574512" y="3138420"/>
              <a:ext cx="432000" cy="215444"/>
            </a:xfrm>
            <a:prstGeom prst="rect">
              <a:avLst/>
            </a:prstGeom>
            <a:solidFill>
              <a:schemeClr val="bg1"/>
            </a:solidFill>
            <a:ln w="19050">
              <a:solidFill>
                <a:srgbClr val="FF0066"/>
              </a:solidFill>
            </a:ln>
          </p:spPr>
          <p:txBody>
            <a:bodyPr wrap="square" rtlCol="0">
              <a:spAutoFit/>
            </a:bodyPr>
            <a:lstStyle/>
            <a:p>
              <a:pPr algn="ctr"/>
              <a:r>
                <a:rPr lang="es-ES" sz="800"/>
                <a:t>AGA</a:t>
              </a:r>
              <a:endParaRPr lang="es-CO" sz="800"/>
            </a:p>
          </p:txBody>
        </p:sp>
        <p:sp>
          <p:nvSpPr>
            <p:cNvPr id="64" name="CuadroTexto 63">
              <a:extLst>
                <a:ext uri="{FF2B5EF4-FFF2-40B4-BE49-F238E27FC236}">
                  <a16:creationId xmlns:a16="http://schemas.microsoft.com/office/drawing/2014/main" id="{F419EC28-DE2D-49A5-A5F7-375975F278C1}"/>
                </a:ext>
              </a:extLst>
            </p:cNvPr>
            <p:cNvSpPr txBox="1"/>
            <p:nvPr/>
          </p:nvSpPr>
          <p:spPr>
            <a:xfrm>
              <a:off x="9006512" y="3019418"/>
              <a:ext cx="1162191" cy="507831"/>
            </a:xfrm>
            <a:prstGeom prst="rect">
              <a:avLst/>
            </a:prstGeom>
            <a:noFill/>
          </p:spPr>
          <p:txBody>
            <a:bodyPr wrap="square" rtlCol="0">
              <a:spAutoFit/>
            </a:bodyPr>
            <a:lstStyle/>
            <a:p>
              <a:r>
                <a:rPr lang="es-ES" sz="900">
                  <a:solidFill>
                    <a:schemeClr val="accent1">
                      <a:lumMod val="25000"/>
                    </a:schemeClr>
                  </a:solidFill>
                </a:rPr>
                <a:t>Asamblea General de Accionistas</a:t>
              </a:r>
            </a:p>
            <a:p>
              <a:r>
                <a:rPr lang="es-ES" sz="900">
                  <a:solidFill>
                    <a:schemeClr val="accent1">
                      <a:lumMod val="25000"/>
                    </a:schemeClr>
                  </a:solidFill>
                </a:rPr>
                <a:t>5 %</a:t>
              </a:r>
              <a:endParaRPr lang="es-CO" sz="900">
                <a:solidFill>
                  <a:schemeClr val="accent1">
                    <a:lumMod val="25000"/>
                  </a:schemeClr>
                </a:solidFill>
              </a:endParaRPr>
            </a:p>
          </p:txBody>
        </p:sp>
      </p:grpSp>
      <p:sp>
        <p:nvSpPr>
          <p:cNvPr id="46" name="CuadroTexto 45">
            <a:extLst>
              <a:ext uri="{FF2B5EF4-FFF2-40B4-BE49-F238E27FC236}">
                <a16:creationId xmlns:a16="http://schemas.microsoft.com/office/drawing/2014/main" id="{AC035BA3-5872-4367-A545-66323BC7A6BF}"/>
              </a:ext>
            </a:extLst>
          </p:cNvPr>
          <p:cNvSpPr txBox="1"/>
          <p:nvPr/>
        </p:nvSpPr>
        <p:spPr>
          <a:xfrm>
            <a:off x="2254637" y="1504014"/>
            <a:ext cx="432000" cy="215444"/>
          </a:xfrm>
          <a:prstGeom prst="rect">
            <a:avLst/>
          </a:prstGeom>
          <a:solidFill>
            <a:schemeClr val="bg1"/>
          </a:solidFill>
          <a:ln w="19050">
            <a:solidFill>
              <a:srgbClr val="FF0066"/>
            </a:solidFill>
          </a:ln>
        </p:spPr>
        <p:txBody>
          <a:bodyPr wrap="square" rtlCol="0">
            <a:spAutoFit/>
          </a:bodyPr>
          <a:lstStyle/>
          <a:p>
            <a:pPr algn="ctr"/>
            <a:r>
              <a:rPr lang="es-ES" sz="800"/>
              <a:t>AGA</a:t>
            </a:r>
            <a:endParaRPr lang="es-CO" sz="800"/>
          </a:p>
        </p:txBody>
      </p:sp>
      <p:sp>
        <p:nvSpPr>
          <p:cNvPr id="48" name="CuadroTexto 47">
            <a:extLst>
              <a:ext uri="{FF2B5EF4-FFF2-40B4-BE49-F238E27FC236}">
                <a16:creationId xmlns:a16="http://schemas.microsoft.com/office/drawing/2014/main" id="{105EA8B2-A5A6-4452-8E2D-7A5FB615E17E}"/>
              </a:ext>
            </a:extLst>
          </p:cNvPr>
          <p:cNvSpPr txBox="1"/>
          <p:nvPr/>
        </p:nvSpPr>
        <p:spPr>
          <a:xfrm>
            <a:off x="2254760" y="2643854"/>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sp>
        <p:nvSpPr>
          <p:cNvPr id="50" name="CuadroTexto 49">
            <a:extLst>
              <a:ext uri="{FF2B5EF4-FFF2-40B4-BE49-F238E27FC236}">
                <a16:creationId xmlns:a16="http://schemas.microsoft.com/office/drawing/2014/main" id="{1E3DF021-A2F1-403D-AA67-755BFC95974E}"/>
              </a:ext>
            </a:extLst>
          </p:cNvPr>
          <p:cNvSpPr txBox="1"/>
          <p:nvPr/>
        </p:nvSpPr>
        <p:spPr>
          <a:xfrm>
            <a:off x="2251476" y="3242196"/>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sp>
        <p:nvSpPr>
          <p:cNvPr id="52" name="CuadroTexto 51">
            <a:extLst>
              <a:ext uri="{FF2B5EF4-FFF2-40B4-BE49-F238E27FC236}">
                <a16:creationId xmlns:a16="http://schemas.microsoft.com/office/drawing/2014/main" id="{00F34D6D-E7E1-493B-80CC-FD834C099B0B}"/>
              </a:ext>
            </a:extLst>
          </p:cNvPr>
          <p:cNvSpPr txBox="1"/>
          <p:nvPr/>
        </p:nvSpPr>
        <p:spPr>
          <a:xfrm>
            <a:off x="2255069" y="3769197"/>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sp>
        <p:nvSpPr>
          <p:cNvPr id="54" name="CuadroTexto 53">
            <a:extLst>
              <a:ext uri="{FF2B5EF4-FFF2-40B4-BE49-F238E27FC236}">
                <a16:creationId xmlns:a16="http://schemas.microsoft.com/office/drawing/2014/main" id="{AC3C4B28-50DE-4100-8478-C35E675FE782}"/>
              </a:ext>
            </a:extLst>
          </p:cNvPr>
          <p:cNvSpPr txBox="1"/>
          <p:nvPr/>
        </p:nvSpPr>
        <p:spPr>
          <a:xfrm>
            <a:off x="2251476" y="4394609"/>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sp>
        <p:nvSpPr>
          <p:cNvPr id="61" name="CuadroTexto 60">
            <a:extLst>
              <a:ext uri="{FF2B5EF4-FFF2-40B4-BE49-F238E27FC236}">
                <a16:creationId xmlns:a16="http://schemas.microsoft.com/office/drawing/2014/main" id="{1B9F97AE-0022-49A6-ADB7-775C91BA3649}"/>
              </a:ext>
            </a:extLst>
          </p:cNvPr>
          <p:cNvSpPr txBox="1"/>
          <p:nvPr/>
        </p:nvSpPr>
        <p:spPr>
          <a:xfrm>
            <a:off x="2251476" y="4854908"/>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sp>
        <p:nvSpPr>
          <p:cNvPr id="68" name="Rectángulo 67">
            <a:extLst>
              <a:ext uri="{FF2B5EF4-FFF2-40B4-BE49-F238E27FC236}">
                <a16:creationId xmlns:a16="http://schemas.microsoft.com/office/drawing/2014/main" id="{E0BD316C-FAB2-49B3-90CF-8E3FEB823472}"/>
              </a:ext>
            </a:extLst>
          </p:cNvPr>
          <p:cNvSpPr>
            <a:spLocks/>
          </p:cNvSpPr>
          <p:nvPr/>
        </p:nvSpPr>
        <p:spPr>
          <a:xfrm>
            <a:off x="3053131" y="829413"/>
            <a:ext cx="2338304" cy="528526"/>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200">
                <a:solidFill>
                  <a:schemeClr val="tx2"/>
                </a:solidFill>
              </a:rPr>
              <a:t>Suscribir contratos y/o actos jurídicos de carácter financiero</a:t>
            </a:r>
          </a:p>
        </p:txBody>
      </p:sp>
      <p:sp>
        <p:nvSpPr>
          <p:cNvPr id="70" name="Elipse 69">
            <a:extLst>
              <a:ext uri="{FF2B5EF4-FFF2-40B4-BE49-F238E27FC236}">
                <a16:creationId xmlns:a16="http://schemas.microsoft.com/office/drawing/2014/main" id="{6C4699DE-8975-408F-931F-024FF6BFBAA0}"/>
              </a:ext>
            </a:extLst>
          </p:cNvPr>
          <p:cNvSpPr/>
          <p:nvPr/>
        </p:nvSpPr>
        <p:spPr>
          <a:xfrm>
            <a:off x="2896487" y="710501"/>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2</a:t>
            </a:r>
            <a:endParaRPr lang="es-CO" sz="1200" b="1">
              <a:solidFill>
                <a:schemeClr val="bg1"/>
              </a:solidFill>
            </a:endParaRPr>
          </a:p>
        </p:txBody>
      </p:sp>
      <p:sp>
        <p:nvSpPr>
          <p:cNvPr id="72" name="Rectangle 30">
            <a:extLst>
              <a:ext uri="{FF2B5EF4-FFF2-40B4-BE49-F238E27FC236}">
                <a16:creationId xmlns:a16="http://schemas.microsoft.com/office/drawing/2014/main" id="{0271D3F6-9B51-4788-A19E-573ECB9F7EDE}"/>
              </a:ext>
            </a:extLst>
          </p:cNvPr>
          <p:cNvSpPr>
            <a:spLocks/>
          </p:cNvSpPr>
          <p:nvPr/>
        </p:nvSpPr>
        <p:spPr>
          <a:xfrm>
            <a:off x="3050697" y="2201472"/>
            <a:ext cx="2338304" cy="463393"/>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Suscripción de contratos de créditos de corto y largo plazo</a:t>
            </a:r>
          </a:p>
        </p:txBody>
      </p:sp>
      <p:sp>
        <p:nvSpPr>
          <p:cNvPr id="76" name="Rectangle 30">
            <a:extLst>
              <a:ext uri="{FF2B5EF4-FFF2-40B4-BE49-F238E27FC236}">
                <a16:creationId xmlns:a16="http://schemas.microsoft.com/office/drawing/2014/main" id="{B3A8BA81-8E35-42BE-AF9A-7071C157828E}"/>
              </a:ext>
            </a:extLst>
          </p:cNvPr>
          <p:cNvSpPr>
            <a:spLocks/>
          </p:cNvSpPr>
          <p:nvPr/>
        </p:nvSpPr>
        <p:spPr>
          <a:xfrm>
            <a:off x="3053131" y="2808148"/>
            <a:ext cx="2338304" cy="1901685"/>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Suscripción de contratos para: (i) la compra y venta de divisas e inversiones de excedentes de tesorería en pesos y en dólares; (</a:t>
            </a:r>
            <a:r>
              <a:rPr lang="es-ES" sz="900" err="1">
                <a:solidFill>
                  <a:schemeClr val="tx2"/>
                </a:solidFill>
              </a:rPr>
              <a:t>ii</a:t>
            </a:r>
            <a:r>
              <a:rPr lang="es-ES" sz="900">
                <a:solidFill>
                  <a:schemeClr val="tx2"/>
                </a:solidFill>
              </a:rPr>
              <a:t>) la administración de excedentes de tesorería con bolsas de valores y demás agentes del mercado de valores; contratos de sistemas de registro de operaciones de inversión; contratos de sistemas transaccionales de inversión; contratos de custodia de valores y (</a:t>
            </a:r>
            <a:r>
              <a:rPr lang="es-ES" sz="900" err="1">
                <a:solidFill>
                  <a:schemeClr val="tx2"/>
                </a:solidFill>
              </a:rPr>
              <a:t>iii</a:t>
            </a:r>
            <a:r>
              <a:rPr lang="es-ES" sz="900">
                <a:solidFill>
                  <a:schemeClr val="tx2"/>
                </a:solidFill>
              </a:rPr>
              <a:t>) contratos de depósito de valores para acciones</a:t>
            </a:r>
          </a:p>
        </p:txBody>
      </p:sp>
      <p:sp>
        <p:nvSpPr>
          <p:cNvPr id="78" name="CuadroTexto 77">
            <a:extLst>
              <a:ext uri="{FF2B5EF4-FFF2-40B4-BE49-F238E27FC236}">
                <a16:creationId xmlns:a16="http://schemas.microsoft.com/office/drawing/2014/main" id="{4F72383D-BAB2-4B4D-B8FC-F478864F7453}"/>
              </a:ext>
            </a:extLst>
          </p:cNvPr>
          <p:cNvSpPr txBox="1"/>
          <p:nvPr/>
        </p:nvSpPr>
        <p:spPr>
          <a:xfrm>
            <a:off x="4946812" y="4595783"/>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80" name="Rectangle 30">
            <a:extLst>
              <a:ext uri="{FF2B5EF4-FFF2-40B4-BE49-F238E27FC236}">
                <a16:creationId xmlns:a16="http://schemas.microsoft.com/office/drawing/2014/main" id="{FFBE6AE1-2056-45BA-BCF6-ED97C1554D36}"/>
              </a:ext>
            </a:extLst>
          </p:cNvPr>
          <p:cNvSpPr>
            <a:spLocks/>
          </p:cNvSpPr>
          <p:nvPr/>
        </p:nvSpPr>
        <p:spPr>
          <a:xfrm>
            <a:off x="3065687" y="4858246"/>
            <a:ext cx="2338304" cy="486822"/>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Suscripción de contratos conexos a operaciones de crédito</a:t>
            </a:r>
          </a:p>
        </p:txBody>
      </p:sp>
      <p:sp>
        <p:nvSpPr>
          <p:cNvPr id="88" name="Rectangle 30">
            <a:extLst>
              <a:ext uri="{FF2B5EF4-FFF2-40B4-BE49-F238E27FC236}">
                <a16:creationId xmlns:a16="http://schemas.microsoft.com/office/drawing/2014/main" id="{560BB30A-7A6C-4DCB-ADB4-99EE32EEA5AD}"/>
              </a:ext>
            </a:extLst>
          </p:cNvPr>
          <p:cNvSpPr>
            <a:spLocks/>
          </p:cNvSpPr>
          <p:nvPr/>
        </p:nvSpPr>
        <p:spPr>
          <a:xfrm>
            <a:off x="3065687" y="5479912"/>
            <a:ext cx="2338304" cy="648701"/>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Suscripción de patrimonios autónomos y administración delegada de excedentes de tesorería</a:t>
            </a:r>
          </a:p>
        </p:txBody>
      </p:sp>
      <p:sp>
        <p:nvSpPr>
          <p:cNvPr id="92" name="CuadroTexto 91">
            <a:extLst>
              <a:ext uri="{FF2B5EF4-FFF2-40B4-BE49-F238E27FC236}">
                <a16:creationId xmlns:a16="http://schemas.microsoft.com/office/drawing/2014/main" id="{68CB13F7-6195-4BBE-AB32-EEE81D18C564}"/>
              </a:ext>
            </a:extLst>
          </p:cNvPr>
          <p:cNvSpPr txBox="1"/>
          <p:nvPr/>
        </p:nvSpPr>
        <p:spPr>
          <a:xfrm>
            <a:off x="4946812" y="5201200"/>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94" name="CuadroTexto 93">
            <a:extLst>
              <a:ext uri="{FF2B5EF4-FFF2-40B4-BE49-F238E27FC236}">
                <a16:creationId xmlns:a16="http://schemas.microsoft.com/office/drawing/2014/main" id="{8A5077C6-3AAF-42E3-A927-33E0AD0A5786}"/>
              </a:ext>
            </a:extLst>
          </p:cNvPr>
          <p:cNvSpPr txBox="1"/>
          <p:nvPr/>
        </p:nvSpPr>
        <p:spPr>
          <a:xfrm>
            <a:off x="4946812" y="5939837"/>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96" name="Rectángulo 95">
            <a:extLst>
              <a:ext uri="{FF2B5EF4-FFF2-40B4-BE49-F238E27FC236}">
                <a16:creationId xmlns:a16="http://schemas.microsoft.com/office/drawing/2014/main" id="{09E6990B-CBC6-4766-92A4-C07ABAFB1D59}"/>
              </a:ext>
            </a:extLst>
          </p:cNvPr>
          <p:cNvSpPr>
            <a:spLocks/>
          </p:cNvSpPr>
          <p:nvPr/>
        </p:nvSpPr>
        <p:spPr>
          <a:xfrm>
            <a:off x="5716392" y="796835"/>
            <a:ext cx="2224240" cy="528526"/>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200">
                <a:solidFill>
                  <a:schemeClr val="tx2"/>
                </a:solidFill>
              </a:rPr>
              <a:t>Aprobar condiciones de crédito</a:t>
            </a:r>
          </a:p>
        </p:txBody>
      </p:sp>
      <p:sp>
        <p:nvSpPr>
          <p:cNvPr id="100" name="Elipse 99">
            <a:extLst>
              <a:ext uri="{FF2B5EF4-FFF2-40B4-BE49-F238E27FC236}">
                <a16:creationId xmlns:a16="http://schemas.microsoft.com/office/drawing/2014/main" id="{6459F711-D32A-423A-9CF6-70ED657A9BA0}"/>
              </a:ext>
            </a:extLst>
          </p:cNvPr>
          <p:cNvSpPr/>
          <p:nvPr/>
        </p:nvSpPr>
        <p:spPr>
          <a:xfrm>
            <a:off x="5553469" y="677923"/>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3</a:t>
            </a:r>
            <a:endParaRPr lang="es-CO" sz="1200" b="1">
              <a:solidFill>
                <a:schemeClr val="bg1"/>
              </a:solidFill>
            </a:endParaRPr>
          </a:p>
        </p:txBody>
      </p:sp>
      <p:sp>
        <p:nvSpPr>
          <p:cNvPr id="137" name="CuadroTexto 136">
            <a:extLst>
              <a:ext uri="{FF2B5EF4-FFF2-40B4-BE49-F238E27FC236}">
                <a16:creationId xmlns:a16="http://schemas.microsoft.com/office/drawing/2014/main" id="{5958889A-C2B7-40A3-8E2D-AC99F979A3CE}"/>
              </a:ext>
            </a:extLst>
          </p:cNvPr>
          <p:cNvSpPr txBox="1"/>
          <p:nvPr/>
        </p:nvSpPr>
        <p:spPr>
          <a:xfrm>
            <a:off x="7624652" y="2585730"/>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142" name="CuadroTexto 141">
            <a:extLst>
              <a:ext uri="{FF2B5EF4-FFF2-40B4-BE49-F238E27FC236}">
                <a16:creationId xmlns:a16="http://schemas.microsoft.com/office/drawing/2014/main" id="{6A2B75A2-AEFD-4D38-8DDC-C76CD38E0DA4}"/>
              </a:ext>
            </a:extLst>
          </p:cNvPr>
          <p:cNvSpPr txBox="1"/>
          <p:nvPr/>
        </p:nvSpPr>
        <p:spPr>
          <a:xfrm>
            <a:off x="7641995" y="3274697"/>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144" name="Rectángulo 143">
            <a:extLst>
              <a:ext uri="{FF2B5EF4-FFF2-40B4-BE49-F238E27FC236}">
                <a16:creationId xmlns:a16="http://schemas.microsoft.com/office/drawing/2014/main" id="{081CE15D-52C6-4E61-BAAC-9650B1662861}"/>
              </a:ext>
            </a:extLst>
          </p:cNvPr>
          <p:cNvSpPr>
            <a:spLocks/>
          </p:cNvSpPr>
          <p:nvPr/>
        </p:nvSpPr>
        <p:spPr>
          <a:xfrm>
            <a:off x="8422233" y="770629"/>
            <a:ext cx="2857086" cy="1280640"/>
          </a:xfrm>
          <a:prstGeom prst="rect">
            <a:avLst/>
          </a:prstGeom>
          <a:solidFill>
            <a:schemeClr val="accent1">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200">
                <a:solidFill>
                  <a:schemeClr val="tx2"/>
                </a:solidFill>
              </a:rPr>
              <a:t>Autorización de operaciones (préstamos y capitalizaciones) hacia Compañías/vehículos del Grupo Empresarial</a:t>
            </a:r>
          </a:p>
          <a:p>
            <a:pPr algn="ctr"/>
            <a:endParaRPr lang="es-ES" sz="1200" i="1">
              <a:solidFill>
                <a:schemeClr val="tx2"/>
              </a:solidFill>
            </a:endParaRPr>
          </a:p>
          <a:p>
            <a:pPr algn="ctr"/>
            <a:r>
              <a:rPr lang="es-ES" sz="1000" i="1">
                <a:solidFill>
                  <a:schemeClr val="tx2"/>
                </a:solidFill>
              </a:rPr>
              <a:t>(Se excluye depósitos en Capital AG)</a:t>
            </a:r>
            <a:endParaRPr lang="es-ES" sz="900" i="1">
              <a:solidFill>
                <a:schemeClr val="tx2"/>
              </a:solidFill>
            </a:endParaRPr>
          </a:p>
        </p:txBody>
      </p:sp>
      <p:sp>
        <p:nvSpPr>
          <p:cNvPr id="146" name="Elipse 145">
            <a:extLst>
              <a:ext uri="{FF2B5EF4-FFF2-40B4-BE49-F238E27FC236}">
                <a16:creationId xmlns:a16="http://schemas.microsoft.com/office/drawing/2014/main" id="{E148EF82-5728-4586-BAC7-2BEA65EEC168}"/>
              </a:ext>
            </a:extLst>
          </p:cNvPr>
          <p:cNvSpPr/>
          <p:nvPr/>
        </p:nvSpPr>
        <p:spPr>
          <a:xfrm>
            <a:off x="8265589" y="651717"/>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4</a:t>
            </a:r>
            <a:endParaRPr lang="es-CO" sz="1200" b="1">
              <a:solidFill>
                <a:schemeClr val="bg1"/>
              </a:solidFill>
            </a:endParaRPr>
          </a:p>
        </p:txBody>
      </p:sp>
      <p:sp>
        <p:nvSpPr>
          <p:cNvPr id="148" name="CuadroTexto 147">
            <a:extLst>
              <a:ext uri="{FF2B5EF4-FFF2-40B4-BE49-F238E27FC236}">
                <a16:creationId xmlns:a16="http://schemas.microsoft.com/office/drawing/2014/main" id="{A9D6B378-71F6-43BC-87C8-6B855E3F3B70}"/>
              </a:ext>
            </a:extLst>
          </p:cNvPr>
          <p:cNvSpPr txBox="1"/>
          <p:nvPr/>
        </p:nvSpPr>
        <p:spPr>
          <a:xfrm>
            <a:off x="9641014" y="1993371"/>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sp>
        <p:nvSpPr>
          <p:cNvPr id="3" name="Rectangle 30">
            <a:extLst>
              <a:ext uri="{FF2B5EF4-FFF2-40B4-BE49-F238E27FC236}">
                <a16:creationId xmlns:a16="http://schemas.microsoft.com/office/drawing/2014/main" id="{80504DEF-036F-4C7D-B7BC-48BAE245343B}"/>
              </a:ext>
            </a:extLst>
          </p:cNvPr>
          <p:cNvSpPr>
            <a:spLocks/>
          </p:cNvSpPr>
          <p:nvPr/>
        </p:nvSpPr>
        <p:spPr>
          <a:xfrm>
            <a:off x="3065687" y="1469227"/>
            <a:ext cx="2338304" cy="583832"/>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900">
                <a:solidFill>
                  <a:schemeClr val="tx2"/>
                </a:solidFill>
              </a:rPr>
              <a:t>Suscripción de contratos para servicios de revisoría fiscal o auditoría externa hasta 77.000 SMLMV</a:t>
            </a:r>
          </a:p>
        </p:txBody>
      </p:sp>
      <p:sp>
        <p:nvSpPr>
          <p:cNvPr id="17" name="CuadroTexto 16">
            <a:extLst>
              <a:ext uri="{FF2B5EF4-FFF2-40B4-BE49-F238E27FC236}">
                <a16:creationId xmlns:a16="http://schemas.microsoft.com/office/drawing/2014/main" id="{F44B142F-522D-470B-BF1D-CC44221B53EE}"/>
              </a:ext>
            </a:extLst>
          </p:cNvPr>
          <p:cNvSpPr txBox="1"/>
          <p:nvPr/>
        </p:nvSpPr>
        <p:spPr>
          <a:xfrm>
            <a:off x="4971991" y="1911822"/>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sp>
        <p:nvSpPr>
          <p:cNvPr id="81" name="CuadroTexto 80">
            <a:extLst>
              <a:ext uri="{FF2B5EF4-FFF2-40B4-BE49-F238E27FC236}">
                <a16:creationId xmlns:a16="http://schemas.microsoft.com/office/drawing/2014/main" id="{405442A8-01BF-4642-A6C8-D0B13495DCAF}"/>
              </a:ext>
            </a:extLst>
          </p:cNvPr>
          <p:cNvSpPr txBox="1"/>
          <p:nvPr/>
        </p:nvSpPr>
        <p:spPr>
          <a:xfrm>
            <a:off x="30345" y="6285267"/>
            <a:ext cx="3362920" cy="584775"/>
          </a:xfrm>
          <a:prstGeom prst="rect">
            <a:avLst/>
          </a:prstGeom>
          <a:noFill/>
        </p:spPr>
        <p:txBody>
          <a:bodyPr wrap="square">
            <a:spAutoFit/>
          </a:bodyPr>
          <a:lstStyle/>
          <a:p>
            <a:pPr algn="just"/>
            <a:r>
              <a:rPr lang="es-CO" sz="800" dirty="0">
                <a:solidFill>
                  <a:schemeClr val="accent4"/>
                </a:solidFill>
              </a:rPr>
              <a:t>*La Junta Directiva debe autorizar al Vicepresidente de Finanzas, Estrategia y Nuevos Negocios, como apoderado general para tomar esta decisión; si no, deberá tomarla el representante legal pleno. (Ver Estatutos - operaciones de endeudamiento de la sociedad)</a:t>
            </a:r>
          </a:p>
        </p:txBody>
      </p:sp>
      <p:sp>
        <p:nvSpPr>
          <p:cNvPr id="18" name="CuadroTexto 17">
            <a:extLst>
              <a:ext uri="{FF2B5EF4-FFF2-40B4-BE49-F238E27FC236}">
                <a16:creationId xmlns:a16="http://schemas.microsoft.com/office/drawing/2014/main" id="{9D4947C3-4CA7-4D3D-B7C7-F2CC0C3F2CAF}"/>
              </a:ext>
            </a:extLst>
          </p:cNvPr>
          <p:cNvSpPr txBox="1"/>
          <p:nvPr/>
        </p:nvSpPr>
        <p:spPr>
          <a:xfrm>
            <a:off x="4971991" y="2511291"/>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sp>
        <p:nvSpPr>
          <p:cNvPr id="19" name="CuadroTexto 18">
            <a:extLst>
              <a:ext uri="{FF2B5EF4-FFF2-40B4-BE49-F238E27FC236}">
                <a16:creationId xmlns:a16="http://schemas.microsoft.com/office/drawing/2014/main" id="{7DFB6D39-D8E1-4F62-A976-FB30E2C4705F}"/>
              </a:ext>
            </a:extLst>
          </p:cNvPr>
          <p:cNvSpPr txBox="1"/>
          <p:nvPr/>
        </p:nvSpPr>
        <p:spPr>
          <a:xfrm>
            <a:off x="5202340" y="2467284"/>
            <a:ext cx="207308" cy="253916"/>
          </a:xfrm>
          <a:prstGeom prst="rect">
            <a:avLst/>
          </a:prstGeom>
          <a:noFill/>
        </p:spPr>
        <p:txBody>
          <a:bodyPr wrap="square">
            <a:spAutoFit/>
          </a:bodyPr>
          <a:lstStyle/>
          <a:p>
            <a:r>
              <a:rPr lang="es-CO" sz="1050"/>
              <a:t>*</a:t>
            </a:r>
          </a:p>
        </p:txBody>
      </p:sp>
      <p:sp>
        <p:nvSpPr>
          <p:cNvPr id="20" name="CuadroTexto 19">
            <a:extLst>
              <a:ext uri="{FF2B5EF4-FFF2-40B4-BE49-F238E27FC236}">
                <a16:creationId xmlns:a16="http://schemas.microsoft.com/office/drawing/2014/main" id="{C3EDD802-4874-4B38-98A4-D18475BBF7CD}"/>
              </a:ext>
            </a:extLst>
          </p:cNvPr>
          <p:cNvSpPr txBox="1"/>
          <p:nvPr/>
        </p:nvSpPr>
        <p:spPr>
          <a:xfrm>
            <a:off x="7164453" y="1777927"/>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grpSp>
        <p:nvGrpSpPr>
          <p:cNvPr id="89" name="Grupo 88">
            <a:extLst>
              <a:ext uri="{FF2B5EF4-FFF2-40B4-BE49-F238E27FC236}">
                <a16:creationId xmlns:a16="http://schemas.microsoft.com/office/drawing/2014/main" id="{B635FCBC-BF3E-4E5D-9711-49E375378E48}"/>
              </a:ext>
            </a:extLst>
          </p:cNvPr>
          <p:cNvGrpSpPr/>
          <p:nvPr/>
        </p:nvGrpSpPr>
        <p:grpSpPr>
          <a:xfrm>
            <a:off x="9582657" y="4467782"/>
            <a:ext cx="1392991" cy="507831"/>
            <a:chOff x="8574512" y="2993446"/>
            <a:chExt cx="1392991" cy="507831"/>
          </a:xfrm>
        </p:grpSpPr>
        <p:sp>
          <p:nvSpPr>
            <p:cNvPr id="90" name="CuadroTexto 89">
              <a:extLst>
                <a:ext uri="{FF2B5EF4-FFF2-40B4-BE49-F238E27FC236}">
                  <a16:creationId xmlns:a16="http://schemas.microsoft.com/office/drawing/2014/main" id="{DE1B1389-4F76-4881-B94B-6BEB0EBBD9F0}"/>
                </a:ext>
              </a:extLst>
            </p:cNvPr>
            <p:cNvSpPr txBox="1"/>
            <p:nvPr/>
          </p:nvSpPr>
          <p:spPr>
            <a:xfrm>
              <a:off x="8574512" y="3138420"/>
              <a:ext cx="432000" cy="215444"/>
            </a:xfrm>
            <a:prstGeom prst="rect">
              <a:avLst/>
            </a:prstGeom>
            <a:solidFill>
              <a:schemeClr val="bg1"/>
            </a:solidFill>
            <a:ln w="19050">
              <a:solidFill>
                <a:srgbClr val="853CA6"/>
              </a:solidFill>
            </a:ln>
          </p:spPr>
          <p:txBody>
            <a:bodyPr wrap="square" rtlCol="0">
              <a:spAutoFit/>
            </a:bodyPr>
            <a:lstStyle/>
            <a:p>
              <a:pPr algn="ctr"/>
              <a:r>
                <a:rPr lang="es-ES" sz="800"/>
                <a:t>VPC</a:t>
              </a:r>
              <a:endParaRPr lang="es-CO" sz="800"/>
            </a:p>
          </p:txBody>
        </p:sp>
        <p:sp>
          <p:nvSpPr>
            <p:cNvPr id="91" name="CuadroTexto 90">
              <a:extLst>
                <a:ext uri="{FF2B5EF4-FFF2-40B4-BE49-F238E27FC236}">
                  <a16:creationId xmlns:a16="http://schemas.microsoft.com/office/drawing/2014/main" id="{661BBC28-8B58-409C-9C37-275AD07AAE12}"/>
                </a:ext>
              </a:extLst>
            </p:cNvPr>
            <p:cNvSpPr txBox="1"/>
            <p:nvPr/>
          </p:nvSpPr>
          <p:spPr>
            <a:xfrm>
              <a:off x="9006513" y="2993446"/>
              <a:ext cx="960990" cy="507831"/>
            </a:xfrm>
            <a:prstGeom prst="rect">
              <a:avLst/>
            </a:prstGeom>
            <a:noFill/>
          </p:spPr>
          <p:txBody>
            <a:bodyPr wrap="square" rtlCol="0">
              <a:spAutoFit/>
            </a:bodyPr>
            <a:lstStyle/>
            <a:p>
              <a:r>
                <a:rPr lang="es-ES" sz="900">
                  <a:solidFill>
                    <a:schemeClr val="accent1">
                      <a:lumMod val="25000"/>
                    </a:schemeClr>
                  </a:solidFill>
                </a:rPr>
                <a:t>Vicepresidente Comercial</a:t>
              </a:r>
            </a:p>
            <a:p>
              <a:r>
                <a:rPr lang="es-ES" sz="900">
                  <a:solidFill>
                    <a:schemeClr val="accent1">
                      <a:lumMod val="25000"/>
                    </a:schemeClr>
                  </a:solidFill>
                </a:rPr>
                <a:t>5 %</a:t>
              </a:r>
              <a:endParaRPr lang="es-CO" sz="900">
                <a:solidFill>
                  <a:schemeClr val="accent1">
                    <a:lumMod val="25000"/>
                  </a:schemeClr>
                </a:solidFill>
              </a:endParaRPr>
            </a:p>
          </p:txBody>
        </p:sp>
      </p:grpSp>
      <p:sp>
        <p:nvSpPr>
          <p:cNvPr id="22" name="CuadroTexto 21">
            <a:extLst>
              <a:ext uri="{FF2B5EF4-FFF2-40B4-BE49-F238E27FC236}">
                <a16:creationId xmlns:a16="http://schemas.microsoft.com/office/drawing/2014/main" id="{9EEC17CA-5896-4891-B257-65920073007D}"/>
              </a:ext>
            </a:extLst>
          </p:cNvPr>
          <p:cNvSpPr txBox="1"/>
          <p:nvPr/>
        </p:nvSpPr>
        <p:spPr>
          <a:xfrm>
            <a:off x="7617175" y="1776228"/>
            <a:ext cx="432000" cy="215444"/>
          </a:xfrm>
          <a:prstGeom prst="rect">
            <a:avLst/>
          </a:prstGeom>
          <a:solidFill>
            <a:schemeClr val="bg1"/>
          </a:solidFill>
          <a:ln w="19050">
            <a:solidFill>
              <a:srgbClr val="853CA6"/>
            </a:solidFill>
          </a:ln>
        </p:spPr>
        <p:txBody>
          <a:bodyPr wrap="square" rtlCol="0">
            <a:spAutoFit/>
          </a:bodyPr>
          <a:lstStyle/>
          <a:p>
            <a:pPr algn="ctr"/>
            <a:r>
              <a:rPr lang="es-ES" sz="800"/>
              <a:t>VPC</a:t>
            </a:r>
            <a:endParaRPr lang="es-CO" sz="800"/>
          </a:p>
        </p:txBody>
      </p:sp>
      <p:sp>
        <p:nvSpPr>
          <p:cNvPr id="23" name="CuadroTexto 22">
            <a:extLst>
              <a:ext uri="{FF2B5EF4-FFF2-40B4-BE49-F238E27FC236}">
                <a16:creationId xmlns:a16="http://schemas.microsoft.com/office/drawing/2014/main" id="{AE920D7C-3A66-44CB-9FB6-647456201B88}"/>
              </a:ext>
            </a:extLst>
          </p:cNvPr>
          <p:cNvSpPr txBox="1"/>
          <p:nvPr/>
        </p:nvSpPr>
        <p:spPr>
          <a:xfrm>
            <a:off x="2511753" y="2629538"/>
            <a:ext cx="207308" cy="253916"/>
          </a:xfrm>
          <a:prstGeom prst="rect">
            <a:avLst/>
          </a:prstGeom>
          <a:noFill/>
        </p:spPr>
        <p:txBody>
          <a:bodyPr wrap="square">
            <a:spAutoFit/>
          </a:bodyPr>
          <a:lstStyle/>
          <a:p>
            <a:r>
              <a:rPr lang="es-CO" sz="1050"/>
              <a:t>*</a:t>
            </a:r>
          </a:p>
        </p:txBody>
      </p:sp>
      <p:sp>
        <p:nvSpPr>
          <p:cNvPr id="24" name="CuadroTexto 23">
            <a:extLst>
              <a:ext uri="{FF2B5EF4-FFF2-40B4-BE49-F238E27FC236}">
                <a16:creationId xmlns:a16="http://schemas.microsoft.com/office/drawing/2014/main" id="{ECEEA213-C5C5-419B-B1FD-EF2E4A9ABC66}"/>
              </a:ext>
            </a:extLst>
          </p:cNvPr>
          <p:cNvSpPr txBox="1"/>
          <p:nvPr/>
        </p:nvSpPr>
        <p:spPr>
          <a:xfrm>
            <a:off x="2491123" y="3245275"/>
            <a:ext cx="207308" cy="253916"/>
          </a:xfrm>
          <a:prstGeom prst="rect">
            <a:avLst/>
          </a:prstGeom>
          <a:noFill/>
        </p:spPr>
        <p:txBody>
          <a:bodyPr wrap="square">
            <a:spAutoFit/>
          </a:bodyPr>
          <a:lstStyle/>
          <a:p>
            <a:r>
              <a:rPr lang="es-CO" sz="1050"/>
              <a:t>*</a:t>
            </a:r>
          </a:p>
        </p:txBody>
      </p:sp>
      <p:sp>
        <p:nvSpPr>
          <p:cNvPr id="25" name="CuadroTexto 24">
            <a:extLst>
              <a:ext uri="{FF2B5EF4-FFF2-40B4-BE49-F238E27FC236}">
                <a16:creationId xmlns:a16="http://schemas.microsoft.com/office/drawing/2014/main" id="{9F82AB91-4A03-4E37-BAA0-6732050E6C6E}"/>
              </a:ext>
            </a:extLst>
          </p:cNvPr>
          <p:cNvSpPr txBox="1"/>
          <p:nvPr/>
        </p:nvSpPr>
        <p:spPr>
          <a:xfrm>
            <a:off x="2509801" y="3725903"/>
            <a:ext cx="207308" cy="253916"/>
          </a:xfrm>
          <a:prstGeom prst="rect">
            <a:avLst/>
          </a:prstGeom>
          <a:noFill/>
        </p:spPr>
        <p:txBody>
          <a:bodyPr wrap="square">
            <a:spAutoFit/>
          </a:bodyPr>
          <a:lstStyle/>
          <a:p>
            <a:r>
              <a:rPr lang="es-CO" sz="1050"/>
              <a:t>*</a:t>
            </a:r>
          </a:p>
        </p:txBody>
      </p:sp>
      <p:sp>
        <p:nvSpPr>
          <p:cNvPr id="26" name="CuadroTexto 25">
            <a:extLst>
              <a:ext uri="{FF2B5EF4-FFF2-40B4-BE49-F238E27FC236}">
                <a16:creationId xmlns:a16="http://schemas.microsoft.com/office/drawing/2014/main" id="{F8B0F10A-3336-48C6-AF5D-518ED2C1351C}"/>
              </a:ext>
            </a:extLst>
          </p:cNvPr>
          <p:cNvSpPr txBox="1"/>
          <p:nvPr/>
        </p:nvSpPr>
        <p:spPr>
          <a:xfrm>
            <a:off x="2497744" y="4387648"/>
            <a:ext cx="207308" cy="253916"/>
          </a:xfrm>
          <a:prstGeom prst="rect">
            <a:avLst/>
          </a:prstGeom>
          <a:noFill/>
        </p:spPr>
        <p:txBody>
          <a:bodyPr wrap="square">
            <a:spAutoFit/>
          </a:bodyPr>
          <a:lstStyle/>
          <a:p>
            <a:r>
              <a:rPr lang="es-CO" sz="1050"/>
              <a:t>*</a:t>
            </a:r>
          </a:p>
        </p:txBody>
      </p:sp>
      <p:sp>
        <p:nvSpPr>
          <p:cNvPr id="27" name="CuadroTexto 26">
            <a:extLst>
              <a:ext uri="{FF2B5EF4-FFF2-40B4-BE49-F238E27FC236}">
                <a16:creationId xmlns:a16="http://schemas.microsoft.com/office/drawing/2014/main" id="{10870E2B-559A-4657-8993-981B41CE2BF9}"/>
              </a:ext>
            </a:extLst>
          </p:cNvPr>
          <p:cNvSpPr txBox="1"/>
          <p:nvPr/>
        </p:nvSpPr>
        <p:spPr>
          <a:xfrm>
            <a:off x="2497744" y="4840347"/>
            <a:ext cx="207308" cy="253916"/>
          </a:xfrm>
          <a:prstGeom prst="rect">
            <a:avLst/>
          </a:prstGeom>
          <a:noFill/>
        </p:spPr>
        <p:txBody>
          <a:bodyPr wrap="square">
            <a:spAutoFit/>
          </a:bodyPr>
          <a:lstStyle/>
          <a:p>
            <a:r>
              <a:rPr lang="es-CO" sz="1050"/>
              <a:t>*</a:t>
            </a:r>
          </a:p>
        </p:txBody>
      </p:sp>
      <p:sp>
        <p:nvSpPr>
          <p:cNvPr id="28" name="CuadroTexto 27">
            <a:extLst>
              <a:ext uri="{FF2B5EF4-FFF2-40B4-BE49-F238E27FC236}">
                <a16:creationId xmlns:a16="http://schemas.microsoft.com/office/drawing/2014/main" id="{C8555AD3-41B6-43DD-AB34-35954A9A6630}"/>
              </a:ext>
            </a:extLst>
          </p:cNvPr>
          <p:cNvSpPr txBox="1"/>
          <p:nvPr/>
        </p:nvSpPr>
        <p:spPr>
          <a:xfrm>
            <a:off x="7846472" y="2550795"/>
            <a:ext cx="431999" cy="253916"/>
          </a:xfrm>
          <a:prstGeom prst="rect">
            <a:avLst/>
          </a:prstGeom>
          <a:noFill/>
        </p:spPr>
        <p:txBody>
          <a:bodyPr wrap="square">
            <a:spAutoFit/>
          </a:bodyPr>
          <a:lstStyle/>
          <a:p>
            <a:r>
              <a:rPr lang="es-CO" sz="1050"/>
              <a:t>**</a:t>
            </a:r>
          </a:p>
        </p:txBody>
      </p:sp>
      <p:sp>
        <p:nvSpPr>
          <p:cNvPr id="29" name="CuadroTexto 28">
            <a:extLst>
              <a:ext uri="{FF2B5EF4-FFF2-40B4-BE49-F238E27FC236}">
                <a16:creationId xmlns:a16="http://schemas.microsoft.com/office/drawing/2014/main" id="{9A3A4A5B-7C86-4C62-B54B-F2D895410D39}"/>
              </a:ext>
            </a:extLst>
          </p:cNvPr>
          <p:cNvSpPr txBox="1"/>
          <p:nvPr/>
        </p:nvSpPr>
        <p:spPr>
          <a:xfrm>
            <a:off x="3654204" y="6285267"/>
            <a:ext cx="1548136" cy="584775"/>
          </a:xfrm>
          <a:prstGeom prst="rect">
            <a:avLst/>
          </a:prstGeom>
          <a:noFill/>
        </p:spPr>
        <p:txBody>
          <a:bodyPr wrap="square">
            <a:spAutoFit/>
          </a:bodyPr>
          <a:lstStyle>
            <a:defPPr>
              <a:defRPr lang="es-CO"/>
            </a:defPPr>
            <a:lvl1pPr algn="just">
              <a:defRPr sz="800">
                <a:solidFill>
                  <a:schemeClr val="accent4"/>
                </a:solidFill>
              </a:defRPr>
            </a:lvl1pPr>
          </a:lstStyle>
          <a:p>
            <a:r>
              <a:rPr lang="es-ES"/>
              <a:t>**Para los temas asociados a arrendamiento, el cargo aprobador de acuerdo con la Guía de Crédito a clientes</a:t>
            </a:r>
            <a:endParaRPr lang="es-CO"/>
          </a:p>
        </p:txBody>
      </p:sp>
      <p:sp>
        <p:nvSpPr>
          <p:cNvPr id="30" name="CuadroTexto 29">
            <a:extLst>
              <a:ext uri="{FF2B5EF4-FFF2-40B4-BE49-F238E27FC236}">
                <a16:creationId xmlns:a16="http://schemas.microsoft.com/office/drawing/2014/main" id="{CFBA608E-CF10-480F-B96F-34AD47DF9437}"/>
              </a:ext>
            </a:extLst>
          </p:cNvPr>
          <p:cNvSpPr txBox="1"/>
          <p:nvPr/>
        </p:nvSpPr>
        <p:spPr>
          <a:xfrm>
            <a:off x="5104371" y="5142532"/>
            <a:ext cx="431999" cy="253916"/>
          </a:xfrm>
          <a:prstGeom prst="rect">
            <a:avLst/>
          </a:prstGeom>
          <a:noFill/>
        </p:spPr>
        <p:txBody>
          <a:bodyPr wrap="square">
            <a:spAutoFit/>
          </a:bodyPr>
          <a:lstStyle/>
          <a:p>
            <a:r>
              <a:rPr lang="es-CO" sz="1050" dirty="0"/>
              <a:t>***</a:t>
            </a:r>
          </a:p>
        </p:txBody>
      </p:sp>
      <p:sp>
        <p:nvSpPr>
          <p:cNvPr id="32" name="CuadroTexto 31">
            <a:extLst>
              <a:ext uri="{FF2B5EF4-FFF2-40B4-BE49-F238E27FC236}">
                <a16:creationId xmlns:a16="http://schemas.microsoft.com/office/drawing/2014/main" id="{E21C68CF-622B-402D-BEBD-6D730EBF534B}"/>
              </a:ext>
            </a:extLst>
          </p:cNvPr>
          <p:cNvSpPr txBox="1"/>
          <p:nvPr/>
        </p:nvSpPr>
        <p:spPr>
          <a:xfrm>
            <a:off x="5437738" y="6285267"/>
            <a:ext cx="4098063" cy="584775"/>
          </a:xfrm>
          <a:prstGeom prst="rect">
            <a:avLst/>
          </a:prstGeom>
          <a:noFill/>
        </p:spPr>
        <p:txBody>
          <a:bodyPr wrap="square">
            <a:spAutoFit/>
          </a:bodyPr>
          <a:lstStyle>
            <a:defPPr>
              <a:defRPr lang="es-CO"/>
            </a:defPPr>
            <a:lvl1pPr algn="just">
              <a:defRPr sz="800">
                <a:solidFill>
                  <a:schemeClr val="accent4"/>
                </a:solidFill>
              </a:defRPr>
            </a:lvl1pPr>
          </a:lstStyle>
          <a:p>
            <a:r>
              <a:rPr lang="es-ES"/>
              <a:t>***Esta decisión depende de la autorización en Junta Directiva de la operación de crédito respectiva. Incluye, entre otros, patrimonios autónomos, calificadoras de riesgos, encargos fiduciarios y contratos relacionados que constituyen un medio necesario para la realización de las operaciones de crédito ya autorizadas</a:t>
            </a:r>
            <a:endParaRPr lang="es-CO"/>
          </a:p>
        </p:txBody>
      </p:sp>
      <p:sp>
        <p:nvSpPr>
          <p:cNvPr id="21" name="CuadroTexto 47">
            <a:extLst>
              <a:ext uri="{FF2B5EF4-FFF2-40B4-BE49-F238E27FC236}">
                <a16:creationId xmlns:a16="http://schemas.microsoft.com/office/drawing/2014/main" id="{D1D44DF2-26E2-4094-BD32-D63F556B592A}"/>
              </a:ext>
            </a:extLst>
          </p:cNvPr>
          <p:cNvSpPr txBox="1"/>
          <p:nvPr/>
        </p:nvSpPr>
        <p:spPr>
          <a:xfrm>
            <a:off x="13246" y="-21327"/>
            <a:ext cx="12102613" cy="738664"/>
          </a:xfrm>
          <a:prstGeom prst="rect">
            <a:avLst/>
          </a:prstGeom>
          <a:noFill/>
          <a:ln>
            <a:noFill/>
          </a:ln>
        </p:spPr>
        <p:txBody>
          <a:bodyPr wrap="square" rtlCol="0">
            <a:spAutoFit/>
          </a:bodyPr>
          <a:lstStyle/>
          <a:p>
            <a:pPr algn="ctr"/>
            <a:r>
              <a:rPr lang="es-ES" sz="2400" b="1" dirty="0">
                <a:solidFill>
                  <a:srgbClr val="10476B"/>
                </a:solidFill>
                <a:latin typeface="Century Gothic" panose="020B0502020202020204" pitchFamily="34" charset="0"/>
                <a:cs typeface="Arial" panose="020B0604020202020204" pitchFamily="34" charset="0"/>
              </a:rPr>
              <a:t>Manual de Delegación de Autoridad (MAD) – Finanzas</a:t>
            </a:r>
          </a:p>
          <a:p>
            <a:pPr algn="ctr"/>
            <a:r>
              <a:rPr lang="es-ES" b="1" dirty="0">
                <a:solidFill>
                  <a:srgbClr val="10476B"/>
                </a:solidFill>
                <a:latin typeface="Century Gothic" panose="020B0502020202020204" pitchFamily="34" charset="0"/>
                <a:cs typeface="Arial" panose="020B0604020202020204" pitchFamily="34" charset="0"/>
              </a:rPr>
              <a:t>Proceso Nivel 1: Administración de Recursos Financieros y Liquidez</a:t>
            </a:r>
            <a:endParaRPr lang="es-CO" b="1" dirty="0">
              <a:solidFill>
                <a:srgbClr val="10476B"/>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10247433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CuadroTexto 83">
            <a:extLst>
              <a:ext uri="{FF2B5EF4-FFF2-40B4-BE49-F238E27FC236}">
                <a16:creationId xmlns:a16="http://schemas.microsoft.com/office/drawing/2014/main" id="{293DBAF3-3942-4C58-8A63-D4484E215E20}"/>
              </a:ext>
            </a:extLst>
          </p:cNvPr>
          <p:cNvSpPr txBox="1"/>
          <p:nvPr/>
        </p:nvSpPr>
        <p:spPr>
          <a:xfrm>
            <a:off x="6587451" y="3737592"/>
            <a:ext cx="5224132" cy="2160000"/>
          </a:xfrm>
          <a:prstGeom prst="rect">
            <a:avLst/>
          </a:prstGeom>
          <a:noFill/>
          <a:ln>
            <a:solidFill>
              <a:schemeClr val="accent6"/>
            </a:solidFill>
          </a:ln>
        </p:spPr>
        <p:txBody>
          <a:bodyPr wrap="square" rtlCol="0">
            <a:spAutoFit/>
          </a:bodyPr>
          <a:lstStyle/>
          <a:p>
            <a:endParaRPr lang="es-CO" sz="2000"/>
          </a:p>
        </p:txBody>
      </p:sp>
      <p:sp>
        <p:nvSpPr>
          <p:cNvPr id="86" name="Rectángulo 85">
            <a:extLst>
              <a:ext uri="{FF2B5EF4-FFF2-40B4-BE49-F238E27FC236}">
                <a16:creationId xmlns:a16="http://schemas.microsoft.com/office/drawing/2014/main" id="{7696A978-4362-4DE3-8C58-0F58608C4AA6}"/>
              </a:ext>
            </a:extLst>
          </p:cNvPr>
          <p:cNvSpPr/>
          <p:nvPr/>
        </p:nvSpPr>
        <p:spPr>
          <a:xfrm>
            <a:off x="6653617" y="3837654"/>
            <a:ext cx="5091800" cy="461665"/>
          </a:xfrm>
          <a:prstGeom prst="rect">
            <a:avLst/>
          </a:prstGeom>
          <a:ln>
            <a:noFill/>
          </a:ln>
        </p:spPr>
        <p:txBody>
          <a:bodyPr wrap="square" anchor="t">
            <a:spAutoFit/>
          </a:bodyPr>
          <a:lstStyle/>
          <a:p>
            <a:pPr algn="just"/>
            <a:r>
              <a:rPr lang="es-ES" sz="1200" b="1">
                <a:solidFill>
                  <a:schemeClr val="accent4"/>
                </a:solidFill>
                <a:sym typeface="Wingdings" panose="05000000000000000000" pitchFamily="2" charset="2"/>
              </a:rPr>
              <a:t>Total Proceso Nivel 1 de Consolidación y Aseguramiento de Reportes: </a:t>
            </a:r>
            <a:r>
              <a:rPr lang="es-ES" sz="1200">
                <a:solidFill>
                  <a:schemeClr val="accent4"/>
                </a:solidFill>
                <a:sym typeface="Wingdings" panose="05000000000000000000" pitchFamily="2" charset="2"/>
              </a:rPr>
              <a:t>5 decisiones críticas</a:t>
            </a:r>
            <a:endParaRPr lang="es-CO" sz="1200">
              <a:solidFill>
                <a:srgbClr val="254147"/>
              </a:solidFill>
            </a:endParaRPr>
          </a:p>
        </p:txBody>
      </p:sp>
      <p:graphicFrame>
        <p:nvGraphicFramePr>
          <p:cNvPr id="5" name="Objeto 4" hidden="1">
            <a:extLst>
              <a:ext uri="{FF2B5EF4-FFF2-40B4-BE49-F238E27FC236}">
                <a16:creationId xmlns:a16="http://schemas.microsoft.com/office/drawing/2014/main" id="{0740088A-8ABF-414B-8746-763C3F660F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421" imgH="423" progId="TCLayout.ActiveDocument.1">
                  <p:embed/>
                </p:oleObj>
              </mc:Choice>
              <mc:Fallback>
                <p:oleObj name="Diapositiva de think-cell" r:id="rId5" imgW="421" imgH="423" progId="TCLayout.ActiveDocument.1">
                  <p:embed/>
                  <p:pic>
                    <p:nvPicPr>
                      <p:cNvPr id="5" name="Objeto 4" hidden="1">
                        <a:extLst>
                          <a:ext uri="{FF2B5EF4-FFF2-40B4-BE49-F238E27FC236}">
                            <a16:creationId xmlns:a16="http://schemas.microsoft.com/office/drawing/2014/main" id="{0740088A-8ABF-414B-8746-763C3F660F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42B40C10-F876-4F1B-842D-C3F6355B6C8A}"/>
              </a:ext>
            </a:extLst>
          </p:cNvPr>
          <p:cNvSpPr/>
          <p:nvPr>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419" sz="2000" b="1">
              <a:solidFill>
                <a:schemeClr val="tx1"/>
              </a:solidFill>
              <a:latin typeface="Arial" panose="020B0604020202020204" pitchFamily="34" charset="0"/>
              <a:ea typeface="+mj-ea"/>
              <a:cs typeface="+mj-cs"/>
              <a:sym typeface="Arial" panose="020B0604020202020204" pitchFamily="34" charset="0"/>
            </a:endParaRPr>
          </a:p>
        </p:txBody>
      </p:sp>
      <p:sp>
        <p:nvSpPr>
          <p:cNvPr id="2" name="Marcador de número de diapositiva 1">
            <a:extLst>
              <a:ext uri="{FF2B5EF4-FFF2-40B4-BE49-F238E27FC236}">
                <a16:creationId xmlns:a16="http://schemas.microsoft.com/office/drawing/2014/main" id="{3A93B487-116E-4767-AA0D-CAE2A460FBE4}"/>
              </a:ext>
            </a:extLst>
          </p:cNvPr>
          <p:cNvSpPr>
            <a:spLocks noGrp="1"/>
          </p:cNvSpPr>
          <p:nvPr>
            <p:ph type="sldNum" sz="quarter" idx="10"/>
          </p:nvPr>
        </p:nvSpPr>
        <p:spPr>
          <a:xfrm>
            <a:off x="11344876" y="6428983"/>
            <a:ext cx="847124" cy="365125"/>
          </a:xfrm>
        </p:spPr>
        <p:txBody>
          <a:bodyPr/>
          <a:lstStyle/>
          <a:p>
            <a:fld id="{02F25750-4209-4357-A72F-45445C8044EF}" type="slidenum">
              <a:rPr lang="es-CO" smtClean="0"/>
              <a:pPr/>
              <a:t>29</a:t>
            </a:fld>
            <a:endParaRPr lang="es-CO"/>
          </a:p>
        </p:txBody>
      </p:sp>
      <p:sp>
        <p:nvSpPr>
          <p:cNvPr id="97" name="Rectángulo 96">
            <a:extLst>
              <a:ext uri="{FF2B5EF4-FFF2-40B4-BE49-F238E27FC236}">
                <a16:creationId xmlns:a16="http://schemas.microsoft.com/office/drawing/2014/main" id="{99300021-C267-43BD-A0F5-B3ECE622345E}"/>
              </a:ext>
            </a:extLst>
          </p:cNvPr>
          <p:cNvSpPr>
            <a:spLocks/>
          </p:cNvSpPr>
          <p:nvPr/>
        </p:nvSpPr>
        <p:spPr>
          <a:xfrm>
            <a:off x="3445628" y="1198160"/>
            <a:ext cx="2538000" cy="1653512"/>
          </a:xfrm>
          <a:prstGeom prst="rect">
            <a:avLst/>
          </a:prstGeom>
          <a:solidFill>
            <a:schemeClr val="accent1">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400">
                <a:solidFill>
                  <a:schemeClr val="tx2"/>
                </a:solidFill>
              </a:rPr>
              <a:t>Aprobar políticas contables de Cenit Transporte y Logística de Hidrocarburos S.A.S. y modelo de implementación de nueva normatividad contable</a:t>
            </a:r>
          </a:p>
        </p:txBody>
      </p:sp>
      <p:sp>
        <p:nvSpPr>
          <p:cNvPr id="3" name="Elipse 2">
            <a:extLst>
              <a:ext uri="{FF2B5EF4-FFF2-40B4-BE49-F238E27FC236}">
                <a16:creationId xmlns:a16="http://schemas.microsoft.com/office/drawing/2014/main" id="{815B10B7-60B3-4C63-8431-70CC556387C9}"/>
              </a:ext>
            </a:extLst>
          </p:cNvPr>
          <p:cNvSpPr/>
          <p:nvPr/>
        </p:nvSpPr>
        <p:spPr>
          <a:xfrm>
            <a:off x="3288839" y="1031835"/>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2</a:t>
            </a:r>
            <a:endParaRPr lang="es-CO" sz="1200" b="1">
              <a:solidFill>
                <a:schemeClr val="bg1"/>
              </a:solidFill>
            </a:endParaRPr>
          </a:p>
        </p:txBody>
      </p:sp>
      <p:sp>
        <p:nvSpPr>
          <p:cNvPr id="117" name="CuadroTexto 116">
            <a:extLst>
              <a:ext uri="{FF2B5EF4-FFF2-40B4-BE49-F238E27FC236}">
                <a16:creationId xmlns:a16="http://schemas.microsoft.com/office/drawing/2014/main" id="{8960734A-1053-42D2-BD72-6674DCCE6A97}"/>
              </a:ext>
            </a:extLst>
          </p:cNvPr>
          <p:cNvSpPr txBox="1"/>
          <p:nvPr/>
        </p:nvSpPr>
        <p:spPr>
          <a:xfrm>
            <a:off x="6868544" y="5492189"/>
            <a:ext cx="1391405" cy="230832"/>
          </a:xfrm>
          <a:prstGeom prst="rect">
            <a:avLst/>
          </a:prstGeom>
          <a:noFill/>
          <a:ln w="19050">
            <a:solidFill>
              <a:srgbClr val="002060"/>
            </a:solidFill>
          </a:ln>
        </p:spPr>
        <p:txBody>
          <a:bodyPr wrap="square" rtlCol="0">
            <a:spAutoFit/>
          </a:bodyPr>
          <a:lstStyle/>
          <a:p>
            <a:pPr algn="ctr"/>
            <a:r>
              <a:rPr lang="es-ES" sz="900">
                <a:solidFill>
                  <a:schemeClr val="tx2"/>
                </a:solidFill>
              </a:rPr>
              <a:t>Palanca de Agilidad </a:t>
            </a:r>
            <a:endParaRPr lang="es-CO" sz="900">
              <a:solidFill>
                <a:schemeClr val="tx2"/>
              </a:solidFill>
            </a:endParaRPr>
          </a:p>
        </p:txBody>
      </p:sp>
      <p:sp>
        <p:nvSpPr>
          <p:cNvPr id="118" name="CuadroTexto 117">
            <a:extLst>
              <a:ext uri="{FF2B5EF4-FFF2-40B4-BE49-F238E27FC236}">
                <a16:creationId xmlns:a16="http://schemas.microsoft.com/office/drawing/2014/main" id="{C77431EE-A761-4323-B75F-692D4CAEC462}"/>
              </a:ext>
            </a:extLst>
          </p:cNvPr>
          <p:cNvSpPr txBox="1"/>
          <p:nvPr/>
        </p:nvSpPr>
        <p:spPr>
          <a:xfrm>
            <a:off x="8502917" y="5489705"/>
            <a:ext cx="1393200" cy="230832"/>
          </a:xfrm>
          <a:prstGeom prst="rect">
            <a:avLst/>
          </a:prstGeom>
          <a:noFill/>
          <a:ln w="19050">
            <a:solidFill>
              <a:schemeClr val="accent3"/>
            </a:solidFill>
          </a:ln>
        </p:spPr>
        <p:txBody>
          <a:bodyPr wrap="square" rtlCol="0">
            <a:spAutoFit/>
          </a:bodyPr>
          <a:lstStyle/>
          <a:p>
            <a:pPr algn="ctr"/>
            <a:r>
              <a:rPr lang="es-ES" sz="900">
                <a:solidFill>
                  <a:schemeClr val="tx2"/>
                </a:solidFill>
              </a:rPr>
              <a:t>Palanca de Claridad</a:t>
            </a:r>
            <a:endParaRPr lang="es-CO" sz="900">
              <a:solidFill>
                <a:schemeClr val="tx2"/>
              </a:solidFill>
            </a:endParaRPr>
          </a:p>
        </p:txBody>
      </p:sp>
      <p:sp>
        <p:nvSpPr>
          <p:cNvPr id="119" name="CuadroTexto 118">
            <a:extLst>
              <a:ext uri="{FF2B5EF4-FFF2-40B4-BE49-F238E27FC236}">
                <a16:creationId xmlns:a16="http://schemas.microsoft.com/office/drawing/2014/main" id="{A66DDFF6-8990-4632-9B16-3852035C81BA}"/>
              </a:ext>
            </a:extLst>
          </p:cNvPr>
          <p:cNvSpPr txBox="1"/>
          <p:nvPr/>
        </p:nvSpPr>
        <p:spPr>
          <a:xfrm>
            <a:off x="10123585" y="5490947"/>
            <a:ext cx="1486626" cy="230832"/>
          </a:xfrm>
          <a:prstGeom prst="rect">
            <a:avLst/>
          </a:prstGeom>
          <a:noFill/>
          <a:ln w="19050">
            <a:solidFill>
              <a:schemeClr val="bg2">
                <a:lumMod val="50000"/>
              </a:schemeClr>
            </a:solidFill>
          </a:ln>
        </p:spPr>
        <p:txBody>
          <a:bodyPr wrap="square" rtlCol="0">
            <a:spAutoFit/>
          </a:bodyPr>
          <a:lstStyle/>
          <a:p>
            <a:pPr algn="ctr"/>
            <a:r>
              <a:rPr lang="es-ES" sz="900">
                <a:solidFill>
                  <a:schemeClr val="tx2"/>
                </a:solidFill>
              </a:rPr>
              <a:t>Palanca de Consistencia</a:t>
            </a:r>
            <a:endParaRPr lang="es-CO" sz="900">
              <a:solidFill>
                <a:schemeClr val="tx2"/>
              </a:solidFill>
            </a:endParaRPr>
          </a:p>
        </p:txBody>
      </p:sp>
      <p:grpSp>
        <p:nvGrpSpPr>
          <p:cNvPr id="37" name="Grupo 36">
            <a:extLst>
              <a:ext uri="{FF2B5EF4-FFF2-40B4-BE49-F238E27FC236}">
                <a16:creationId xmlns:a16="http://schemas.microsoft.com/office/drawing/2014/main" id="{33A4F641-6F0E-462A-898E-0641B151AA65}"/>
              </a:ext>
            </a:extLst>
          </p:cNvPr>
          <p:cNvGrpSpPr/>
          <p:nvPr/>
        </p:nvGrpSpPr>
        <p:grpSpPr>
          <a:xfrm>
            <a:off x="6849051" y="4465445"/>
            <a:ext cx="1410898" cy="646331"/>
            <a:chOff x="11328566" y="5164911"/>
            <a:chExt cx="1410898" cy="646331"/>
          </a:xfrm>
        </p:grpSpPr>
        <p:sp>
          <p:nvSpPr>
            <p:cNvPr id="38" name="CuadroTexto 37">
              <a:extLst>
                <a:ext uri="{FF2B5EF4-FFF2-40B4-BE49-F238E27FC236}">
                  <a16:creationId xmlns:a16="http://schemas.microsoft.com/office/drawing/2014/main" id="{A70D06D3-12BC-4CDA-B9D7-EEF1588242C9}"/>
                </a:ext>
              </a:extLst>
            </p:cNvPr>
            <p:cNvSpPr txBox="1"/>
            <p:nvPr/>
          </p:nvSpPr>
          <p:spPr>
            <a:xfrm>
              <a:off x="11328566" y="5361946"/>
              <a:ext cx="432000" cy="215444"/>
            </a:xfrm>
            <a:prstGeom prst="rect">
              <a:avLst/>
            </a:prstGeom>
            <a:solidFill>
              <a:schemeClr val="bg1"/>
            </a:solidFill>
            <a:ln w="19050">
              <a:solidFill>
                <a:srgbClr val="92D050"/>
              </a:solidFill>
            </a:ln>
          </p:spPr>
          <p:txBody>
            <a:bodyPr wrap="square" rtlCol="0">
              <a:spAutoFit/>
            </a:bodyPr>
            <a:lstStyle/>
            <a:p>
              <a:pPr algn="ctr"/>
              <a:r>
                <a:rPr lang="es-ES" sz="800"/>
                <a:t>AGA</a:t>
              </a:r>
              <a:endParaRPr lang="es-CO" sz="800"/>
            </a:p>
          </p:txBody>
        </p:sp>
        <p:sp>
          <p:nvSpPr>
            <p:cNvPr id="39" name="CuadroTexto 38">
              <a:extLst>
                <a:ext uri="{FF2B5EF4-FFF2-40B4-BE49-F238E27FC236}">
                  <a16:creationId xmlns:a16="http://schemas.microsoft.com/office/drawing/2014/main" id="{5FAD9D39-0163-48A2-AB90-B7B2E4C2CCC8}"/>
                </a:ext>
              </a:extLst>
            </p:cNvPr>
            <p:cNvSpPr txBox="1"/>
            <p:nvPr/>
          </p:nvSpPr>
          <p:spPr>
            <a:xfrm>
              <a:off x="11706775" y="5164911"/>
              <a:ext cx="1032689" cy="646331"/>
            </a:xfrm>
            <a:prstGeom prst="rect">
              <a:avLst/>
            </a:prstGeom>
            <a:noFill/>
          </p:spPr>
          <p:txBody>
            <a:bodyPr wrap="square" rtlCol="0">
              <a:spAutoFit/>
            </a:bodyPr>
            <a:lstStyle/>
            <a:p>
              <a:r>
                <a:rPr lang="es-ES" sz="900">
                  <a:solidFill>
                    <a:schemeClr val="accent1">
                      <a:lumMod val="25000"/>
                    </a:schemeClr>
                  </a:solidFill>
                </a:rPr>
                <a:t>Asamblea General de Accionistas</a:t>
              </a:r>
            </a:p>
            <a:p>
              <a:r>
                <a:rPr lang="es-ES" sz="900">
                  <a:solidFill>
                    <a:schemeClr val="accent1">
                      <a:lumMod val="25000"/>
                    </a:schemeClr>
                  </a:solidFill>
                </a:rPr>
                <a:t>40 % </a:t>
              </a:r>
              <a:endParaRPr lang="es-CO" sz="900">
                <a:solidFill>
                  <a:schemeClr val="accent1">
                    <a:lumMod val="25000"/>
                  </a:schemeClr>
                </a:solidFill>
              </a:endParaRPr>
            </a:p>
          </p:txBody>
        </p:sp>
      </p:grpSp>
      <p:grpSp>
        <p:nvGrpSpPr>
          <p:cNvPr id="26" name="Grupo 25">
            <a:extLst>
              <a:ext uri="{FF2B5EF4-FFF2-40B4-BE49-F238E27FC236}">
                <a16:creationId xmlns:a16="http://schemas.microsoft.com/office/drawing/2014/main" id="{5B1CDA9C-37CE-441A-94E7-5A5F38503613}"/>
              </a:ext>
            </a:extLst>
          </p:cNvPr>
          <p:cNvGrpSpPr/>
          <p:nvPr/>
        </p:nvGrpSpPr>
        <p:grpSpPr>
          <a:xfrm>
            <a:off x="8586329" y="4513571"/>
            <a:ext cx="1579419" cy="507831"/>
            <a:chOff x="9392140" y="4751078"/>
            <a:chExt cx="1579419" cy="507831"/>
          </a:xfrm>
        </p:grpSpPr>
        <p:sp>
          <p:nvSpPr>
            <p:cNvPr id="27" name="CuadroTexto 26">
              <a:extLst>
                <a:ext uri="{FF2B5EF4-FFF2-40B4-BE49-F238E27FC236}">
                  <a16:creationId xmlns:a16="http://schemas.microsoft.com/office/drawing/2014/main" id="{910DCB24-1C9B-45BE-9592-B8EC86E558A4}"/>
                </a:ext>
              </a:extLst>
            </p:cNvPr>
            <p:cNvSpPr txBox="1"/>
            <p:nvPr/>
          </p:nvSpPr>
          <p:spPr>
            <a:xfrm>
              <a:off x="9771501" y="4751078"/>
              <a:ext cx="1200058" cy="507831"/>
            </a:xfrm>
            <a:prstGeom prst="rect">
              <a:avLst/>
            </a:prstGeom>
            <a:noFill/>
          </p:spPr>
          <p:txBody>
            <a:bodyPr wrap="square" rtlCol="0" anchor="t">
              <a:spAutoFit/>
            </a:bodyPr>
            <a:lstStyle/>
            <a:p>
              <a:r>
                <a:rPr lang="es-ES" sz="900">
                  <a:solidFill>
                    <a:schemeClr val="accent1">
                      <a:lumMod val="25000"/>
                    </a:schemeClr>
                  </a:solidFill>
                </a:rPr>
                <a:t>Vicepresidente Finanzas</a:t>
              </a:r>
            </a:p>
            <a:p>
              <a:r>
                <a:rPr lang="es-ES" sz="900">
                  <a:solidFill>
                    <a:schemeClr val="accent1">
                      <a:lumMod val="25000"/>
                    </a:schemeClr>
                  </a:solidFill>
                </a:rPr>
                <a:t>40 %</a:t>
              </a:r>
              <a:endParaRPr lang="es-CO" sz="900">
                <a:solidFill>
                  <a:schemeClr val="accent1">
                    <a:lumMod val="25000"/>
                  </a:schemeClr>
                </a:solidFill>
              </a:endParaRPr>
            </a:p>
          </p:txBody>
        </p:sp>
        <p:sp>
          <p:nvSpPr>
            <p:cNvPr id="28" name="CuadroTexto 27">
              <a:extLst>
                <a:ext uri="{FF2B5EF4-FFF2-40B4-BE49-F238E27FC236}">
                  <a16:creationId xmlns:a16="http://schemas.microsoft.com/office/drawing/2014/main" id="{4A0F0E28-A961-4260-8BB9-16809CE2E13A}"/>
                </a:ext>
              </a:extLst>
            </p:cNvPr>
            <p:cNvSpPr txBox="1"/>
            <p:nvPr/>
          </p:nvSpPr>
          <p:spPr>
            <a:xfrm>
              <a:off x="9392140" y="4884294"/>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grpSp>
      <p:grpSp>
        <p:nvGrpSpPr>
          <p:cNvPr id="31" name="Grupo 30">
            <a:extLst>
              <a:ext uri="{FF2B5EF4-FFF2-40B4-BE49-F238E27FC236}">
                <a16:creationId xmlns:a16="http://schemas.microsoft.com/office/drawing/2014/main" id="{A0B07E6C-42EA-42D4-BF18-74CF8467911A}"/>
              </a:ext>
            </a:extLst>
          </p:cNvPr>
          <p:cNvGrpSpPr/>
          <p:nvPr/>
        </p:nvGrpSpPr>
        <p:grpSpPr>
          <a:xfrm>
            <a:off x="10165395" y="4362094"/>
            <a:ext cx="1382137" cy="784830"/>
            <a:chOff x="9218732" y="3176754"/>
            <a:chExt cx="1382137" cy="784830"/>
          </a:xfrm>
        </p:grpSpPr>
        <p:sp>
          <p:nvSpPr>
            <p:cNvPr id="32" name="CuadroTexto 31">
              <a:extLst>
                <a:ext uri="{FF2B5EF4-FFF2-40B4-BE49-F238E27FC236}">
                  <a16:creationId xmlns:a16="http://schemas.microsoft.com/office/drawing/2014/main" id="{112CF6BB-B57E-4E30-BDB8-A663AA382E62}"/>
                </a:ext>
              </a:extLst>
            </p:cNvPr>
            <p:cNvSpPr txBox="1"/>
            <p:nvPr/>
          </p:nvSpPr>
          <p:spPr>
            <a:xfrm>
              <a:off x="9218732" y="3451146"/>
              <a:ext cx="432000" cy="215444"/>
            </a:xfrm>
            <a:prstGeom prst="rect">
              <a:avLst/>
            </a:prstGeom>
            <a:solidFill>
              <a:schemeClr val="bg1"/>
            </a:solidFill>
            <a:ln w="19050">
              <a:solidFill>
                <a:srgbClr val="7C6670"/>
              </a:solidFill>
            </a:ln>
          </p:spPr>
          <p:txBody>
            <a:bodyPr wrap="square" rtlCol="0">
              <a:spAutoFit/>
            </a:bodyPr>
            <a:lstStyle/>
            <a:p>
              <a:pPr algn="ctr"/>
              <a:r>
                <a:rPr lang="es-ES" sz="800"/>
                <a:t>JCR</a:t>
              </a:r>
              <a:endParaRPr lang="es-CO" sz="800"/>
            </a:p>
          </p:txBody>
        </p:sp>
        <p:sp>
          <p:nvSpPr>
            <p:cNvPr id="33" name="CuadroTexto 32">
              <a:extLst>
                <a:ext uri="{FF2B5EF4-FFF2-40B4-BE49-F238E27FC236}">
                  <a16:creationId xmlns:a16="http://schemas.microsoft.com/office/drawing/2014/main" id="{99A98136-5ADE-4ACF-97B1-9869591C8748}"/>
                </a:ext>
              </a:extLst>
            </p:cNvPr>
            <p:cNvSpPr txBox="1"/>
            <p:nvPr/>
          </p:nvSpPr>
          <p:spPr>
            <a:xfrm>
              <a:off x="9611995" y="3176754"/>
              <a:ext cx="988874" cy="784830"/>
            </a:xfrm>
            <a:prstGeom prst="rect">
              <a:avLst/>
            </a:prstGeom>
            <a:noFill/>
          </p:spPr>
          <p:txBody>
            <a:bodyPr wrap="square" rtlCol="0" anchor="t">
              <a:spAutoFit/>
            </a:bodyPr>
            <a:lstStyle/>
            <a:p>
              <a:r>
                <a:rPr lang="es-ES" sz="900">
                  <a:solidFill>
                    <a:schemeClr val="accent1">
                      <a:lumMod val="25000"/>
                    </a:schemeClr>
                  </a:solidFill>
                </a:rPr>
                <a:t>Jefe de Consolidación y Reportes Financieros</a:t>
              </a:r>
            </a:p>
            <a:p>
              <a:r>
                <a:rPr lang="es-ES" sz="900">
                  <a:solidFill>
                    <a:schemeClr val="accent1">
                      <a:lumMod val="25000"/>
                    </a:schemeClr>
                  </a:solidFill>
                </a:rPr>
                <a:t>20 %</a:t>
              </a:r>
              <a:endParaRPr lang="es-CO" sz="900">
                <a:solidFill>
                  <a:schemeClr val="accent1">
                    <a:lumMod val="25000"/>
                  </a:schemeClr>
                </a:solidFill>
              </a:endParaRPr>
            </a:p>
          </p:txBody>
        </p:sp>
      </p:grpSp>
      <p:sp>
        <p:nvSpPr>
          <p:cNvPr id="11" name="Rectángulo 10">
            <a:extLst>
              <a:ext uri="{FF2B5EF4-FFF2-40B4-BE49-F238E27FC236}">
                <a16:creationId xmlns:a16="http://schemas.microsoft.com/office/drawing/2014/main" id="{772CA61D-742C-45F0-BAFA-0F3B90176E98}"/>
              </a:ext>
            </a:extLst>
          </p:cNvPr>
          <p:cNvSpPr>
            <a:spLocks/>
          </p:cNvSpPr>
          <p:nvPr/>
        </p:nvSpPr>
        <p:spPr>
          <a:xfrm>
            <a:off x="592112" y="1198161"/>
            <a:ext cx="2415600" cy="1653512"/>
          </a:xfrm>
          <a:prstGeom prst="rect">
            <a:avLst/>
          </a:prstGeom>
          <a:solidFill>
            <a:schemeClr val="accent1">
              <a:alpha val="68000"/>
            </a:schemeClr>
          </a:solidFill>
          <a:ln w="28575">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400">
                <a:solidFill>
                  <a:schemeClr val="tx2"/>
                </a:solidFill>
              </a:rPr>
              <a:t>Aprobar los Estados Financieros de propósito general junto con sus notas y la opinión del revisor fiscal y las cuentas que deben rendir los administradores.</a:t>
            </a:r>
          </a:p>
        </p:txBody>
      </p:sp>
      <p:sp>
        <p:nvSpPr>
          <p:cNvPr id="12" name="Elipse 11">
            <a:extLst>
              <a:ext uri="{FF2B5EF4-FFF2-40B4-BE49-F238E27FC236}">
                <a16:creationId xmlns:a16="http://schemas.microsoft.com/office/drawing/2014/main" id="{7F3CEC4C-7588-4B74-823D-9CF22E2DAD79}"/>
              </a:ext>
            </a:extLst>
          </p:cNvPr>
          <p:cNvSpPr/>
          <p:nvPr/>
        </p:nvSpPr>
        <p:spPr>
          <a:xfrm>
            <a:off x="435468" y="1031836"/>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1</a:t>
            </a:r>
            <a:endParaRPr lang="es-CO" sz="1200" b="1">
              <a:solidFill>
                <a:schemeClr val="bg1"/>
              </a:solidFill>
            </a:endParaRPr>
          </a:p>
        </p:txBody>
      </p:sp>
      <p:sp>
        <p:nvSpPr>
          <p:cNvPr id="22" name="CuadroTexto 21">
            <a:extLst>
              <a:ext uri="{FF2B5EF4-FFF2-40B4-BE49-F238E27FC236}">
                <a16:creationId xmlns:a16="http://schemas.microsoft.com/office/drawing/2014/main" id="{53E538FE-3283-40FB-A5F0-3E57246B6EFA}"/>
              </a:ext>
            </a:extLst>
          </p:cNvPr>
          <p:cNvSpPr txBox="1"/>
          <p:nvPr/>
        </p:nvSpPr>
        <p:spPr>
          <a:xfrm>
            <a:off x="4498628" y="2758741"/>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sp>
        <p:nvSpPr>
          <p:cNvPr id="29" name="CuadroTexto 28">
            <a:extLst>
              <a:ext uri="{FF2B5EF4-FFF2-40B4-BE49-F238E27FC236}">
                <a16:creationId xmlns:a16="http://schemas.microsoft.com/office/drawing/2014/main" id="{46F67329-EAA2-4B09-AD5B-91FE70391A81}"/>
              </a:ext>
            </a:extLst>
          </p:cNvPr>
          <p:cNvSpPr txBox="1"/>
          <p:nvPr/>
        </p:nvSpPr>
        <p:spPr>
          <a:xfrm>
            <a:off x="1583912" y="2758741"/>
            <a:ext cx="432000" cy="215444"/>
          </a:xfrm>
          <a:prstGeom prst="rect">
            <a:avLst/>
          </a:prstGeom>
          <a:solidFill>
            <a:schemeClr val="bg1"/>
          </a:solidFill>
          <a:ln w="19050">
            <a:solidFill>
              <a:srgbClr val="92D050"/>
            </a:solidFill>
          </a:ln>
        </p:spPr>
        <p:txBody>
          <a:bodyPr wrap="square" rtlCol="0">
            <a:spAutoFit/>
          </a:bodyPr>
          <a:lstStyle/>
          <a:p>
            <a:pPr algn="ctr"/>
            <a:r>
              <a:rPr lang="es-ES" sz="800"/>
              <a:t>AGA</a:t>
            </a:r>
            <a:endParaRPr lang="es-CO" sz="800"/>
          </a:p>
        </p:txBody>
      </p:sp>
      <p:sp>
        <p:nvSpPr>
          <p:cNvPr id="30" name="Rectángulo 29">
            <a:extLst>
              <a:ext uri="{FF2B5EF4-FFF2-40B4-BE49-F238E27FC236}">
                <a16:creationId xmlns:a16="http://schemas.microsoft.com/office/drawing/2014/main" id="{5BF08848-45AE-451C-A99D-7322CF796742}"/>
              </a:ext>
            </a:extLst>
          </p:cNvPr>
          <p:cNvSpPr>
            <a:spLocks/>
          </p:cNvSpPr>
          <p:nvPr/>
        </p:nvSpPr>
        <p:spPr>
          <a:xfrm>
            <a:off x="6438411" y="1198160"/>
            <a:ext cx="2538000" cy="1653512"/>
          </a:xfrm>
          <a:prstGeom prst="rect">
            <a:avLst/>
          </a:prstGeom>
          <a:solidFill>
            <a:schemeClr val="accent1">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400">
                <a:solidFill>
                  <a:schemeClr val="tx2"/>
                </a:solidFill>
              </a:rPr>
              <a:t>Avalar información financiera por segmento de oleoductos y poliductos</a:t>
            </a:r>
          </a:p>
        </p:txBody>
      </p:sp>
      <p:sp>
        <p:nvSpPr>
          <p:cNvPr id="34" name="Elipse 33">
            <a:extLst>
              <a:ext uri="{FF2B5EF4-FFF2-40B4-BE49-F238E27FC236}">
                <a16:creationId xmlns:a16="http://schemas.microsoft.com/office/drawing/2014/main" id="{2858742F-5FD0-4B7E-9334-0D1DB2CF525E}"/>
              </a:ext>
            </a:extLst>
          </p:cNvPr>
          <p:cNvSpPr/>
          <p:nvPr/>
        </p:nvSpPr>
        <p:spPr>
          <a:xfrm>
            <a:off x="6276772" y="1031835"/>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3</a:t>
            </a:r>
            <a:endParaRPr lang="es-CO" sz="1200" b="1">
              <a:solidFill>
                <a:schemeClr val="bg1"/>
              </a:solidFill>
            </a:endParaRPr>
          </a:p>
        </p:txBody>
      </p:sp>
      <p:sp>
        <p:nvSpPr>
          <p:cNvPr id="35" name="CuadroTexto 34">
            <a:extLst>
              <a:ext uri="{FF2B5EF4-FFF2-40B4-BE49-F238E27FC236}">
                <a16:creationId xmlns:a16="http://schemas.microsoft.com/office/drawing/2014/main" id="{5F2982C9-1317-4114-BC67-9EA6763899B8}"/>
              </a:ext>
            </a:extLst>
          </p:cNvPr>
          <p:cNvSpPr txBox="1"/>
          <p:nvPr/>
        </p:nvSpPr>
        <p:spPr>
          <a:xfrm>
            <a:off x="7496751" y="2758741"/>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sp>
        <p:nvSpPr>
          <p:cNvPr id="36" name="Rectángulo 35">
            <a:extLst>
              <a:ext uri="{FF2B5EF4-FFF2-40B4-BE49-F238E27FC236}">
                <a16:creationId xmlns:a16="http://schemas.microsoft.com/office/drawing/2014/main" id="{80930BAD-CC8E-47DD-9473-5B8864A2680A}"/>
              </a:ext>
            </a:extLst>
          </p:cNvPr>
          <p:cNvSpPr>
            <a:spLocks/>
          </p:cNvSpPr>
          <p:nvPr/>
        </p:nvSpPr>
        <p:spPr>
          <a:xfrm>
            <a:off x="530912" y="3737592"/>
            <a:ext cx="2538000" cy="1653512"/>
          </a:xfrm>
          <a:prstGeom prst="rect">
            <a:avLst/>
          </a:prstGeom>
          <a:solidFill>
            <a:schemeClr val="accent1">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400">
                <a:solidFill>
                  <a:schemeClr val="tx2"/>
                </a:solidFill>
              </a:rPr>
              <a:t>Aprobar los reportes financieros a entes de control e información financiera pública de Cenit Transporte y Logística de Hidrocarburos S.A.S.</a:t>
            </a:r>
          </a:p>
        </p:txBody>
      </p:sp>
      <p:sp>
        <p:nvSpPr>
          <p:cNvPr id="40" name="Elipse 39">
            <a:extLst>
              <a:ext uri="{FF2B5EF4-FFF2-40B4-BE49-F238E27FC236}">
                <a16:creationId xmlns:a16="http://schemas.microsoft.com/office/drawing/2014/main" id="{F9005A44-E530-4972-BBE0-B3ED015A6ED4}"/>
              </a:ext>
            </a:extLst>
          </p:cNvPr>
          <p:cNvSpPr/>
          <p:nvPr/>
        </p:nvSpPr>
        <p:spPr>
          <a:xfrm>
            <a:off x="371416" y="3571267"/>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4</a:t>
            </a:r>
            <a:endParaRPr lang="es-CO" sz="1200" b="1">
              <a:solidFill>
                <a:schemeClr val="bg1"/>
              </a:solidFill>
            </a:endParaRPr>
          </a:p>
        </p:txBody>
      </p:sp>
      <p:sp>
        <p:nvSpPr>
          <p:cNvPr id="42" name="Rectángulo 41">
            <a:extLst>
              <a:ext uri="{FF2B5EF4-FFF2-40B4-BE49-F238E27FC236}">
                <a16:creationId xmlns:a16="http://schemas.microsoft.com/office/drawing/2014/main" id="{4101169F-B3FD-425D-90F0-D9CCBE1BF3D2}"/>
              </a:ext>
            </a:extLst>
          </p:cNvPr>
          <p:cNvSpPr>
            <a:spLocks/>
          </p:cNvSpPr>
          <p:nvPr/>
        </p:nvSpPr>
        <p:spPr>
          <a:xfrm>
            <a:off x="3445628" y="3737592"/>
            <a:ext cx="2538000" cy="1653512"/>
          </a:xfrm>
          <a:prstGeom prst="rect">
            <a:avLst/>
          </a:prstGeom>
          <a:solidFill>
            <a:schemeClr val="accent1">
              <a:alpha val="68000"/>
            </a:schemeClr>
          </a:solidFill>
          <a:ln w="28575">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400">
                <a:solidFill>
                  <a:schemeClr val="tx2"/>
                </a:solidFill>
              </a:rPr>
              <a:t>Aprobar política de distribución de dividendos</a:t>
            </a:r>
          </a:p>
        </p:txBody>
      </p:sp>
      <p:sp>
        <p:nvSpPr>
          <p:cNvPr id="43" name="Elipse 42">
            <a:extLst>
              <a:ext uri="{FF2B5EF4-FFF2-40B4-BE49-F238E27FC236}">
                <a16:creationId xmlns:a16="http://schemas.microsoft.com/office/drawing/2014/main" id="{34452114-CA9E-44D1-9755-DF275F1BF2A9}"/>
              </a:ext>
            </a:extLst>
          </p:cNvPr>
          <p:cNvSpPr/>
          <p:nvPr/>
        </p:nvSpPr>
        <p:spPr>
          <a:xfrm>
            <a:off x="3295181" y="3571267"/>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5</a:t>
            </a:r>
            <a:endParaRPr lang="es-CO" sz="1200" b="1">
              <a:solidFill>
                <a:schemeClr val="bg1"/>
              </a:solidFill>
            </a:endParaRPr>
          </a:p>
        </p:txBody>
      </p:sp>
      <p:sp>
        <p:nvSpPr>
          <p:cNvPr id="50" name="CuadroTexto 49">
            <a:extLst>
              <a:ext uri="{FF2B5EF4-FFF2-40B4-BE49-F238E27FC236}">
                <a16:creationId xmlns:a16="http://schemas.microsoft.com/office/drawing/2014/main" id="{EFEDA77C-7665-4725-A074-A36D4F4400A8}"/>
              </a:ext>
            </a:extLst>
          </p:cNvPr>
          <p:cNvSpPr txBox="1"/>
          <p:nvPr/>
        </p:nvSpPr>
        <p:spPr>
          <a:xfrm>
            <a:off x="4498628" y="5271666"/>
            <a:ext cx="432000" cy="215444"/>
          </a:xfrm>
          <a:prstGeom prst="rect">
            <a:avLst/>
          </a:prstGeom>
          <a:solidFill>
            <a:schemeClr val="bg1"/>
          </a:solidFill>
          <a:ln w="19050">
            <a:solidFill>
              <a:srgbClr val="92D050"/>
            </a:solidFill>
          </a:ln>
        </p:spPr>
        <p:txBody>
          <a:bodyPr wrap="square" rtlCol="0">
            <a:spAutoFit/>
          </a:bodyPr>
          <a:lstStyle/>
          <a:p>
            <a:pPr algn="ctr"/>
            <a:r>
              <a:rPr lang="es-ES" sz="800"/>
              <a:t>AGA</a:t>
            </a:r>
            <a:endParaRPr lang="es-CO" sz="800"/>
          </a:p>
        </p:txBody>
      </p:sp>
      <p:sp>
        <p:nvSpPr>
          <p:cNvPr id="54" name="CuadroTexto 53">
            <a:extLst>
              <a:ext uri="{FF2B5EF4-FFF2-40B4-BE49-F238E27FC236}">
                <a16:creationId xmlns:a16="http://schemas.microsoft.com/office/drawing/2014/main" id="{2A6509E3-0893-4B3A-9781-02B5F5938070}"/>
              </a:ext>
            </a:extLst>
          </p:cNvPr>
          <p:cNvSpPr txBox="1"/>
          <p:nvPr/>
        </p:nvSpPr>
        <p:spPr>
          <a:xfrm>
            <a:off x="1583912" y="5271666"/>
            <a:ext cx="432000" cy="215444"/>
          </a:xfrm>
          <a:prstGeom prst="rect">
            <a:avLst/>
          </a:prstGeom>
          <a:solidFill>
            <a:schemeClr val="bg1"/>
          </a:solidFill>
          <a:ln w="19050">
            <a:solidFill>
              <a:srgbClr val="7C6670"/>
            </a:solidFill>
          </a:ln>
        </p:spPr>
        <p:txBody>
          <a:bodyPr wrap="square" rtlCol="0">
            <a:spAutoFit/>
          </a:bodyPr>
          <a:lstStyle/>
          <a:p>
            <a:pPr algn="ctr"/>
            <a:r>
              <a:rPr lang="es-ES" sz="800"/>
              <a:t>JCR</a:t>
            </a:r>
            <a:endParaRPr lang="es-CO" sz="800"/>
          </a:p>
        </p:txBody>
      </p:sp>
      <p:sp>
        <p:nvSpPr>
          <p:cNvPr id="6" name="CuadroTexto 47">
            <a:extLst>
              <a:ext uri="{FF2B5EF4-FFF2-40B4-BE49-F238E27FC236}">
                <a16:creationId xmlns:a16="http://schemas.microsoft.com/office/drawing/2014/main" id="{F14D384A-F52A-49DF-9BFF-A9F25CE4B1FE}"/>
              </a:ext>
            </a:extLst>
          </p:cNvPr>
          <p:cNvSpPr txBox="1"/>
          <p:nvPr/>
        </p:nvSpPr>
        <p:spPr>
          <a:xfrm>
            <a:off x="13246" y="38633"/>
            <a:ext cx="12102613" cy="738664"/>
          </a:xfrm>
          <a:prstGeom prst="rect">
            <a:avLst/>
          </a:prstGeom>
          <a:noFill/>
          <a:ln>
            <a:noFill/>
          </a:ln>
        </p:spPr>
        <p:txBody>
          <a:bodyPr wrap="square" rtlCol="0">
            <a:spAutoFit/>
          </a:bodyPr>
          <a:lstStyle/>
          <a:p>
            <a:pPr algn="ctr"/>
            <a:r>
              <a:rPr lang="es-ES" sz="2400" b="1" dirty="0">
                <a:solidFill>
                  <a:srgbClr val="10476B"/>
                </a:solidFill>
                <a:latin typeface="Century Gothic" panose="020B0502020202020204" pitchFamily="34" charset="0"/>
                <a:cs typeface="Arial" panose="020B0604020202020204" pitchFamily="34" charset="0"/>
              </a:rPr>
              <a:t>Manual de Delegación de Autoridad (MAD) – Finanzas</a:t>
            </a:r>
          </a:p>
          <a:p>
            <a:pPr algn="ctr"/>
            <a:r>
              <a:rPr lang="es-ES" b="1" dirty="0">
                <a:solidFill>
                  <a:srgbClr val="10476B"/>
                </a:solidFill>
                <a:latin typeface="Century Gothic" panose="020B0502020202020204" pitchFamily="34" charset="0"/>
                <a:cs typeface="Arial" panose="020B0604020202020204" pitchFamily="34" charset="0"/>
              </a:rPr>
              <a:t>Proceso Nivel 1: Consolidación y Aseguramiento de Reportes</a:t>
            </a:r>
            <a:endParaRPr lang="es-CO" b="1" dirty="0">
              <a:solidFill>
                <a:srgbClr val="10476B"/>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27515385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A678B5A7-CC3B-467E-B710-A58988061741}"/>
              </a:ext>
            </a:extLst>
          </p:cNvPr>
          <p:cNvSpPr>
            <a:spLocks noGrp="1"/>
          </p:cNvSpPr>
          <p:nvPr>
            <p:ph type="sldNum" sz="quarter" idx="10"/>
          </p:nvPr>
        </p:nvSpPr>
        <p:spPr/>
        <p:txBody>
          <a:bodyPr/>
          <a:lstStyle/>
          <a:p>
            <a:fld id="{02F25750-4209-4357-A72F-45445C8044EF}" type="slidenum">
              <a:rPr lang="es-CO" smtClean="0"/>
              <a:pPr/>
              <a:t>3</a:t>
            </a:fld>
            <a:endParaRPr lang="es-CO"/>
          </a:p>
        </p:txBody>
      </p:sp>
      <p:sp>
        <p:nvSpPr>
          <p:cNvPr id="4" name="Título 3">
            <a:extLst>
              <a:ext uri="{FF2B5EF4-FFF2-40B4-BE49-F238E27FC236}">
                <a16:creationId xmlns:a16="http://schemas.microsoft.com/office/drawing/2014/main" id="{CAAFEDC1-4B58-4913-A2A5-D711039A33B5}"/>
              </a:ext>
            </a:extLst>
          </p:cNvPr>
          <p:cNvSpPr txBox="1">
            <a:spLocks/>
          </p:cNvSpPr>
          <p:nvPr/>
        </p:nvSpPr>
        <p:spPr>
          <a:xfrm>
            <a:off x="2423410" y="207027"/>
            <a:ext cx="7345180" cy="523220"/>
          </a:xfrm>
          <a:prstGeom prst="rect">
            <a:avLst/>
          </a:prstGeom>
          <a:noFill/>
          <a:ln>
            <a:noFill/>
          </a:ln>
        </p:spPr>
        <p:txBody>
          <a:bodyPr wrap="square" rtlCol="0">
            <a:spAutoFit/>
          </a:bodyPr>
          <a:lstStyle>
            <a:defPPr>
              <a:defRPr lang="es-CO"/>
            </a:defPPr>
            <a:lvl1pPr algn="ctr">
              <a:defRPr sz="2800" b="1">
                <a:solidFill>
                  <a:srgbClr val="10476B"/>
                </a:solidFill>
                <a:latin typeface="Century Gothic" panose="020B0502020202020204" pitchFamily="34" charset="0"/>
                <a:cs typeface="Arial" panose="020B0604020202020204" pitchFamily="34" charset="0"/>
              </a:defRPr>
            </a:lvl1pPr>
            <a:lvl2pPr defTabSz="685145" fontAlgn="base">
              <a:spcBef>
                <a:spcPct val="0"/>
              </a:spcBef>
              <a:spcAft>
                <a:spcPct val="0"/>
              </a:spcAft>
              <a:defRPr sz="1454" b="1">
                <a:solidFill>
                  <a:schemeClr val="tx2"/>
                </a:solidFill>
                <a:latin typeface="Arial" charset="0"/>
              </a:defRPr>
            </a:lvl2pPr>
            <a:lvl3pPr defTabSz="685145" fontAlgn="base">
              <a:spcBef>
                <a:spcPct val="0"/>
              </a:spcBef>
              <a:spcAft>
                <a:spcPct val="0"/>
              </a:spcAft>
              <a:defRPr sz="1454" b="1">
                <a:solidFill>
                  <a:schemeClr val="tx2"/>
                </a:solidFill>
                <a:latin typeface="Arial" charset="0"/>
              </a:defRPr>
            </a:lvl3pPr>
            <a:lvl4pPr defTabSz="685145" fontAlgn="base">
              <a:spcBef>
                <a:spcPct val="0"/>
              </a:spcBef>
              <a:spcAft>
                <a:spcPct val="0"/>
              </a:spcAft>
              <a:defRPr sz="1454" b="1">
                <a:solidFill>
                  <a:schemeClr val="tx2"/>
                </a:solidFill>
                <a:latin typeface="Arial" charset="0"/>
              </a:defRPr>
            </a:lvl4pPr>
            <a:lvl5pPr defTabSz="685145" fontAlgn="base">
              <a:spcBef>
                <a:spcPct val="0"/>
              </a:spcBef>
              <a:spcAft>
                <a:spcPct val="0"/>
              </a:spcAft>
              <a:defRPr sz="1454" b="1">
                <a:solidFill>
                  <a:schemeClr val="tx2"/>
                </a:solidFill>
                <a:latin typeface="Arial" charset="0"/>
              </a:defRPr>
            </a:lvl5pPr>
            <a:lvl6pPr marL="349861" defTabSz="685145" fontAlgn="base">
              <a:spcBef>
                <a:spcPct val="0"/>
              </a:spcBef>
              <a:spcAft>
                <a:spcPct val="0"/>
              </a:spcAft>
              <a:defRPr sz="1454" b="1">
                <a:solidFill>
                  <a:schemeClr val="tx2"/>
                </a:solidFill>
                <a:latin typeface="Arial" charset="0"/>
              </a:defRPr>
            </a:lvl6pPr>
            <a:lvl7pPr marL="699722" defTabSz="685145" fontAlgn="base">
              <a:spcBef>
                <a:spcPct val="0"/>
              </a:spcBef>
              <a:spcAft>
                <a:spcPct val="0"/>
              </a:spcAft>
              <a:defRPr sz="1454" b="1">
                <a:solidFill>
                  <a:schemeClr val="tx2"/>
                </a:solidFill>
                <a:latin typeface="Arial" charset="0"/>
              </a:defRPr>
            </a:lvl7pPr>
            <a:lvl8pPr marL="1049582" defTabSz="685145" fontAlgn="base">
              <a:spcBef>
                <a:spcPct val="0"/>
              </a:spcBef>
              <a:spcAft>
                <a:spcPct val="0"/>
              </a:spcAft>
              <a:defRPr sz="1454" b="1">
                <a:solidFill>
                  <a:schemeClr val="tx2"/>
                </a:solidFill>
                <a:latin typeface="Arial" charset="0"/>
              </a:defRPr>
            </a:lvl8pPr>
            <a:lvl9pPr marL="1399444" defTabSz="685145" fontAlgn="base">
              <a:spcBef>
                <a:spcPct val="0"/>
              </a:spcBef>
              <a:spcAft>
                <a:spcPct val="0"/>
              </a:spcAft>
              <a:defRPr sz="1454" b="1">
                <a:solidFill>
                  <a:schemeClr val="tx2"/>
                </a:solidFill>
                <a:latin typeface="Arial" charset="0"/>
              </a:defRPr>
            </a:lvl9pPr>
          </a:lstStyle>
          <a:p>
            <a:r>
              <a:rPr lang="es-ES" dirty="0"/>
              <a:t>Aspectos a tener en cuenta</a:t>
            </a:r>
          </a:p>
        </p:txBody>
      </p:sp>
      <p:sp>
        <p:nvSpPr>
          <p:cNvPr id="6" name="Diagrama de flujo: proceso alternativo 5">
            <a:extLst>
              <a:ext uri="{FF2B5EF4-FFF2-40B4-BE49-F238E27FC236}">
                <a16:creationId xmlns:a16="http://schemas.microsoft.com/office/drawing/2014/main" id="{58799CC0-6873-4D0B-983C-048852038A37}"/>
              </a:ext>
            </a:extLst>
          </p:cNvPr>
          <p:cNvSpPr/>
          <p:nvPr/>
        </p:nvSpPr>
        <p:spPr>
          <a:xfrm>
            <a:off x="3042531" y="943796"/>
            <a:ext cx="7788639" cy="1127465"/>
          </a:xfrm>
          <a:prstGeom prst="flowChartAlternateProcess">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solidFill>
                  <a:schemeClr val="tx1"/>
                </a:solidFill>
              </a:rPr>
              <a:t>Es un taller que se lleva a cabo con cada Vicepresidencia, no obstante, los entregables se han construido por macroprocesos. Es posible que haya temas de la Vicepresidencia que no se vean reflejados.</a:t>
            </a:r>
          </a:p>
        </p:txBody>
      </p:sp>
      <p:sp>
        <p:nvSpPr>
          <p:cNvPr id="8" name="Diagrama de flujo: proceso alternativo 7">
            <a:extLst>
              <a:ext uri="{FF2B5EF4-FFF2-40B4-BE49-F238E27FC236}">
                <a16:creationId xmlns:a16="http://schemas.microsoft.com/office/drawing/2014/main" id="{6265FC2E-2616-458D-8F45-C7281CBBB60B}"/>
              </a:ext>
            </a:extLst>
          </p:cNvPr>
          <p:cNvSpPr/>
          <p:nvPr/>
        </p:nvSpPr>
        <p:spPr>
          <a:xfrm>
            <a:off x="3042531" y="2492591"/>
            <a:ext cx="7788639" cy="898319"/>
          </a:xfrm>
          <a:prstGeom prst="flowChartAlternateProcess">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solidFill>
                  <a:schemeClr val="tx1"/>
                </a:solidFill>
              </a:rPr>
              <a:t>Esta sesión es grabada y el vídeo (junto con la presentación) será enviado a los asistentes para posterior consulta.</a:t>
            </a:r>
          </a:p>
        </p:txBody>
      </p:sp>
      <p:sp>
        <p:nvSpPr>
          <p:cNvPr id="10" name="Diagrama de flujo: proceso alternativo 9">
            <a:extLst>
              <a:ext uri="{FF2B5EF4-FFF2-40B4-BE49-F238E27FC236}">
                <a16:creationId xmlns:a16="http://schemas.microsoft.com/office/drawing/2014/main" id="{9E8D26C4-10B6-4A63-81EA-2EC8E1697D7A}"/>
              </a:ext>
            </a:extLst>
          </p:cNvPr>
          <p:cNvSpPr/>
          <p:nvPr/>
        </p:nvSpPr>
        <p:spPr>
          <a:xfrm>
            <a:off x="3042531" y="5017337"/>
            <a:ext cx="7788639" cy="898319"/>
          </a:xfrm>
          <a:prstGeom prst="flowChartAlternateProcess">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a:solidFill>
                  <a:schemeClr val="tx1"/>
                </a:solidFill>
              </a:rPr>
              <a:t>En caso de preguntas, les pedimos anotarlas en el chat de la reunión. Al final de la sesión se dará respuesta.</a:t>
            </a:r>
          </a:p>
        </p:txBody>
      </p:sp>
      <p:pic>
        <p:nvPicPr>
          <p:cNvPr id="12" name="Imagen 11">
            <a:extLst>
              <a:ext uri="{FF2B5EF4-FFF2-40B4-BE49-F238E27FC236}">
                <a16:creationId xmlns:a16="http://schemas.microsoft.com/office/drawing/2014/main" id="{CF63326B-3540-4D2D-BAC8-E76D4EDF8B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79120" y="967528"/>
            <a:ext cx="1080000" cy="1080000"/>
          </a:xfrm>
          <a:prstGeom prst="rect">
            <a:avLst/>
          </a:prstGeom>
        </p:spPr>
      </p:pic>
      <p:pic>
        <p:nvPicPr>
          <p:cNvPr id="14" name="Imagen 13">
            <a:extLst>
              <a:ext uri="{FF2B5EF4-FFF2-40B4-BE49-F238E27FC236}">
                <a16:creationId xmlns:a16="http://schemas.microsoft.com/office/drawing/2014/main" id="{4B2B16C1-B03A-447A-B036-46010E4CBF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9120" y="2351972"/>
            <a:ext cx="1080000" cy="1080000"/>
          </a:xfrm>
          <a:prstGeom prst="rect">
            <a:avLst/>
          </a:prstGeom>
        </p:spPr>
      </p:pic>
      <p:pic>
        <p:nvPicPr>
          <p:cNvPr id="16" name="Imagen 15">
            <a:extLst>
              <a:ext uri="{FF2B5EF4-FFF2-40B4-BE49-F238E27FC236}">
                <a16:creationId xmlns:a16="http://schemas.microsoft.com/office/drawing/2014/main" id="{5A9EC01C-8F83-427F-91E3-7B8D339949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79120" y="4926496"/>
            <a:ext cx="1080000" cy="1080000"/>
          </a:xfrm>
          <a:prstGeom prst="rect">
            <a:avLst/>
          </a:prstGeom>
        </p:spPr>
      </p:pic>
      <p:sp>
        <p:nvSpPr>
          <p:cNvPr id="3" name="Diagrama de flujo: proceso alternativo 2">
            <a:extLst>
              <a:ext uri="{FF2B5EF4-FFF2-40B4-BE49-F238E27FC236}">
                <a16:creationId xmlns:a16="http://schemas.microsoft.com/office/drawing/2014/main" id="{00670338-F389-4E18-AB5A-894D7F0665BB}"/>
              </a:ext>
            </a:extLst>
          </p:cNvPr>
          <p:cNvSpPr/>
          <p:nvPr/>
        </p:nvSpPr>
        <p:spPr>
          <a:xfrm>
            <a:off x="3042530" y="3754964"/>
            <a:ext cx="7788639" cy="898319"/>
          </a:xfrm>
          <a:prstGeom prst="flowChartAlternateProcess">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solidFill>
                  <a:schemeClr val="tx1"/>
                </a:solidFill>
              </a:rPr>
              <a:t>A lo largo del taller habrá actividades lúdicas, por lo que esperamos contar con su activa participación</a:t>
            </a:r>
          </a:p>
        </p:txBody>
      </p:sp>
      <p:pic>
        <p:nvPicPr>
          <p:cNvPr id="7" name="Imagen 6" descr="Icono&#10;&#10;Descripción generada automáticamente">
            <a:extLst>
              <a:ext uri="{FF2B5EF4-FFF2-40B4-BE49-F238E27FC236}">
                <a16:creationId xmlns:a16="http://schemas.microsoft.com/office/drawing/2014/main" id="{6C1F68B0-0CBD-4E2B-A2F0-2ECF985E376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79120" y="3664123"/>
            <a:ext cx="1080000" cy="1080000"/>
          </a:xfrm>
          <a:prstGeom prst="rect">
            <a:avLst/>
          </a:prstGeom>
        </p:spPr>
      </p:pic>
    </p:spTree>
    <p:extLst>
      <p:ext uri="{BB962C8B-B14F-4D97-AF65-F5344CB8AC3E}">
        <p14:creationId xmlns:p14="http://schemas.microsoft.com/office/powerpoint/2010/main" val="35397128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CuadroTexto 83">
            <a:extLst>
              <a:ext uri="{FF2B5EF4-FFF2-40B4-BE49-F238E27FC236}">
                <a16:creationId xmlns:a16="http://schemas.microsoft.com/office/drawing/2014/main" id="{293DBAF3-3942-4C58-8A63-D4484E215E20}"/>
              </a:ext>
            </a:extLst>
          </p:cNvPr>
          <p:cNvSpPr txBox="1"/>
          <p:nvPr/>
        </p:nvSpPr>
        <p:spPr>
          <a:xfrm>
            <a:off x="4451642" y="4226581"/>
            <a:ext cx="6893234" cy="1620000"/>
          </a:xfrm>
          <a:prstGeom prst="rect">
            <a:avLst/>
          </a:prstGeom>
          <a:noFill/>
          <a:ln>
            <a:solidFill>
              <a:schemeClr val="accent6"/>
            </a:solidFill>
          </a:ln>
        </p:spPr>
        <p:txBody>
          <a:bodyPr wrap="square" rtlCol="0">
            <a:spAutoFit/>
          </a:bodyPr>
          <a:lstStyle/>
          <a:p>
            <a:endParaRPr lang="es-CO" sz="2000"/>
          </a:p>
        </p:txBody>
      </p:sp>
      <p:sp>
        <p:nvSpPr>
          <p:cNvPr id="86" name="Rectángulo 85">
            <a:extLst>
              <a:ext uri="{FF2B5EF4-FFF2-40B4-BE49-F238E27FC236}">
                <a16:creationId xmlns:a16="http://schemas.microsoft.com/office/drawing/2014/main" id="{7696A978-4362-4DE3-8C58-0F58608C4AA6}"/>
              </a:ext>
            </a:extLst>
          </p:cNvPr>
          <p:cNvSpPr/>
          <p:nvPr/>
        </p:nvSpPr>
        <p:spPr>
          <a:xfrm>
            <a:off x="4467408" y="4278515"/>
            <a:ext cx="6877468" cy="276999"/>
          </a:xfrm>
          <a:prstGeom prst="rect">
            <a:avLst/>
          </a:prstGeom>
          <a:ln>
            <a:noFill/>
          </a:ln>
        </p:spPr>
        <p:txBody>
          <a:bodyPr wrap="square" anchor="t">
            <a:spAutoFit/>
          </a:bodyPr>
          <a:lstStyle/>
          <a:p>
            <a:pPr algn="just"/>
            <a:r>
              <a:rPr lang="es-ES" sz="1200" b="1">
                <a:solidFill>
                  <a:schemeClr val="accent4"/>
                </a:solidFill>
                <a:sym typeface="Wingdings" panose="05000000000000000000" pitchFamily="2" charset="2"/>
              </a:rPr>
              <a:t>Total Proceso Nivel 1 de Gestión de retención y transferencia del riesgo: </a:t>
            </a:r>
            <a:r>
              <a:rPr lang="es-ES" sz="1200">
                <a:solidFill>
                  <a:schemeClr val="accent4"/>
                </a:solidFill>
                <a:sym typeface="Wingdings" panose="05000000000000000000" pitchFamily="2" charset="2"/>
              </a:rPr>
              <a:t>1 decisión crítica.</a:t>
            </a:r>
            <a:endParaRPr lang="es-CO" sz="1200">
              <a:solidFill>
                <a:srgbClr val="254147"/>
              </a:solidFill>
            </a:endParaRPr>
          </a:p>
        </p:txBody>
      </p:sp>
      <p:graphicFrame>
        <p:nvGraphicFramePr>
          <p:cNvPr id="5" name="Objeto 4" hidden="1">
            <a:extLst>
              <a:ext uri="{FF2B5EF4-FFF2-40B4-BE49-F238E27FC236}">
                <a16:creationId xmlns:a16="http://schemas.microsoft.com/office/drawing/2014/main" id="{0740088A-8ABF-414B-8746-763C3F660F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421" imgH="423" progId="TCLayout.ActiveDocument.1">
                  <p:embed/>
                </p:oleObj>
              </mc:Choice>
              <mc:Fallback>
                <p:oleObj name="Diapositiva de think-cell" r:id="rId5" imgW="421" imgH="423" progId="TCLayout.ActiveDocument.1">
                  <p:embed/>
                  <p:pic>
                    <p:nvPicPr>
                      <p:cNvPr id="5" name="Objeto 4" hidden="1">
                        <a:extLst>
                          <a:ext uri="{FF2B5EF4-FFF2-40B4-BE49-F238E27FC236}">
                            <a16:creationId xmlns:a16="http://schemas.microsoft.com/office/drawing/2014/main" id="{0740088A-8ABF-414B-8746-763C3F660F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42B40C10-F876-4F1B-842D-C3F6355B6C8A}"/>
              </a:ext>
            </a:extLst>
          </p:cNvPr>
          <p:cNvSpPr/>
          <p:nvPr>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419" sz="2000" b="1">
              <a:solidFill>
                <a:schemeClr val="tx1"/>
              </a:solidFill>
              <a:latin typeface="Arial" panose="020B0604020202020204" pitchFamily="34" charset="0"/>
              <a:ea typeface="+mj-ea"/>
              <a:cs typeface="+mj-cs"/>
              <a:sym typeface="Arial" panose="020B0604020202020204" pitchFamily="34" charset="0"/>
            </a:endParaRPr>
          </a:p>
        </p:txBody>
      </p:sp>
      <p:sp>
        <p:nvSpPr>
          <p:cNvPr id="2" name="Marcador de número de diapositiva 1">
            <a:extLst>
              <a:ext uri="{FF2B5EF4-FFF2-40B4-BE49-F238E27FC236}">
                <a16:creationId xmlns:a16="http://schemas.microsoft.com/office/drawing/2014/main" id="{3A93B487-116E-4767-AA0D-CAE2A460FBE4}"/>
              </a:ext>
            </a:extLst>
          </p:cNvPr>
          <p:cNvSpPr>
            <a:spLocks noGrp="1"/>
          </p:cNvSpPr>
          <p:nvPr>
            <p:ph type="sldNum" sz="quarter" idx="10"/>
          </p:nvPr>
        </p:nvSpPr>
        <p:spPr>
          <a:xfrm>
            <a:off x="11344876" y="6428983"/>
            <a:ext cx="847124" cy="365125"/>
          </a:xfrm>
        </p:spPr>
        <p:txBody>
          <a:bodyPr/>
          <a:lstStyle/>
          <a:p>
            <a:fld id="{02F25750-4209-4357-A72F-45445C8044EF}" type="slidenum">
              <a:rPr lang="es-CO" smtClean="0"/>
              <a:pPr/>
              <a:t>30</a:t>
            </a:fld>
            <a:endParaRPr lang="es-CO"/>
          </a:p>
        </p:txBody>
      </p:sp>
      <p:sp>
        <p:nvSpPr>
          <p:cNvPr id="117" name="CuadroTexto 116">
            <a:extLst>
              <a:ext uri="{FF2B5EF4-FFF2-40B4-BE49-F238E27FC236}">
                <a16:creationId xmlns:a16="http://schemas.microsoft.com/office/drawing/2014/main" id="{8960734A-1053-42D2-BD72-6674DCCE6A97}"/>
              </a:ext>
            </a:extLst>
          </p:cNvPr>
          <p:cNvSpPr txBox="1"/>
          <p:nvPr/>
        </p:nvSpPr>
        <p:spPr>
          <a:xfrm>
            <a:off x="4760547" y="5419707"/>
            <a:ext cx="1391405" cy="230832"/>
          </a:xfrm>
          <a:prstGeom prst="rect">
            <a:avLst/>
          </a:prstGeom>
          <a:noFill/>
          <a:ln w="19050">
            <a:solidFill>
              <a:srgbClr val="002060"/>
            </a:solidFill>
          </a:ln>
        </p:spPr>
        <p:txBody>
          <a:bodyPr wrap="square" rtlCol="0">
            <a:spAutoFit/>
          </a:bodyPr>
          <a:lstStyle/>
          <a:p>
            <a:pPr algn="ctr"/>
            <a:r>
              <a:rPr lang="es-ES" sz="900">
                <a:solidFill>
                  <a:schemeClr val="tx2"/>
                </a:solidFill>
              </a:rPr>
              <a:t>Palanca de Agilidad </a:t>
            </a:r>
            <a:endParaRPr lang="es-CO" sz="900">
              <a:solidFill>
                <a:schemeClr val="tx2"/>
              </a:solidFill>
            </a:endParaRPr>
          </a:p>
        </p:txBody>
      </p:sp>
      <p:sp>
        <p:nvSpPr>
          <p:cNvPr id="118" name="CuadroTexto 117">
            <a:extLst>
              <a:ext uri="{FF2B5EF4-FFF2-40B4-BE49-F238E27FC236}">
                <a16:creationId xmlns:a16="http://schemas.microsoft.com/office/drawing/2014/main" id="{C77431EE-A761-4323-B75F-692D4CAEC462}"/>
              </a:ext>
            </a:extLst>
          </p:cNvPr>
          <p:cNvSpPr txBox="1"/>
          <p:nvPr/>
        </p:nvSpPr>
        <p:spPr>
          <a:xfrm>
            <a:off x="7093023" y="5417223"/>
            <a:ext cx="1393200" cy="230832"/>
          </a:xfrm>
          <a:prstGeom prst="rect">
            <a:avLst/>
          </a:prstGeom>
          <a:noFill/>
          <a:ln w="19050">
            <a:solidFill>
              <a:schemeClr val="accent3"/>
            </a:solidFill>
          </a:ln>
        </p:spPr>
        <p:txBody>
          <a:bodyPr wrap="square" rtlCol="0">
            <a:spAutoFit/>
          </a:bodyPr>
          <a:lstStyle/>
          <a:p>
            <a:pPr algn="ctr"/>
            <a:r>
              <a:rPr lang="es-ES" sz="900">
                <a:solidFill>
                  <a:schemeClr val="tx2"/>
                </a:solidFill>
              </a:rPr>
              <a:t>Palanca de Claridad</a:t>
            </a:r>
            <a:endParaRPr lang="es-CO" sz="900">
              <a:solidFill>
                <a:schemeClr val="tx2"/>
              </a:solidFill>
            </a:endParaRPr>
          </a:p>
        </p:txBody>
      </p:sp>
      <p:sp>
        <p:nvSpPr>
          <p:cNvPr id="119" name="CuadroTexto 118">
            <a:extLst>
              <a:ext uri="{FF2B5EF4-FFF2-40B4-BE49-F238E27FC236}">
                <a16:creationId xmlns:a16="http://schemas.microsoft.com/office/drawing/2014/main" id="{A66DDFF6-8990-4632-9B16-3852035C81BA}"/>
              </a:ext>
            </a:extLst>
          </p:cNvPr>
          <p:cNvSpPr txBox="1"/>
          <p:nvPr/>
        </p:nvSpPr>
        <p:spPr>
          <a:xfrm>
            <a:off x="9427294" y="5417223"/>
            <a:ext cx="1486626" cy="230832"/>
          </a:xfrm>
          <a:prstGeom prst="rect">
            <a:avLst/>
          </a:prstGeom>
          <a:noFill/>
          <a:ln w="19050">
            <a:solidFill>
              <a:schemeClr val="bg2">
                <a:lumMod val="50000"/>
              </a:schemeClr>
            </a:solidFill>
          </a:ln>
        </p:spPr>
        <p:txBody>
          <a:bodyPr wrap="square" rtlCol="0">
            <a:spAutoFit/>
          </a:bodyPr>
          <a:lstStyle/>
          <a:p>
            <a:pPr algn="ctr"/>
            <a:r>
              <a:rPr lang="es-ES" sz="900">
                <a:solidFill>
                  <a:schemeClr val="tx2"/>
                </a:solidFill>
              </a:rPr>
              <a:t>Palanca de Consistencia</a:t>
            </a:r>
            <a:endParaRPr lang="es-CO" sz="900">
              <a:solidFill>
                <a:schemeClr val="tx2"/>
              </a:solidFill>
            </a:endParaRPr>
          </a:p>
        </p:txBody>
      </p:sp>
      <p:grpSp>
        <p:nvGrpSpPr>
          <p:cNvPr id="40" name="Grupo 39">
            <a:extLst>
              <a:ext uri="{FF2B5EF4-FFF2-40B4-BE49-F238E27FC236}">
                <a16:creationId xmlns:a16="http://schemas.microsoft.com/office/drawing/2014/main" id="{4AE5D7C8-E153-4872-B77B-8476720136A1}"/>
              </a:ext>
            </a:extLst>
          </p:cNvPr>
          <p:cNvGrpSpPr/>
          <p:nvPr/>
        </p:nvGrpSpPr>
        <p:grpSpPr>
          <a:xfrm>
            <a:off x="6786629" y="4693216"/>
            <a:ext cx="2005987" cy="507831"/>
            <a:chOff x="9218732" y="3240922"/>
            <a:chExt cx="2005987" cy="507831"/>
          </a:xfrm>
        </p:grpSpPr>
        <p:sp>
          <p:nvSpPr>
            <p:cNvPr id="41" name="CuadroTexto 40">
              <a:extLst>
                <a:ext uri="{FF2B5EF4-FFF2-40B4-BE49-F238E27FC236}">
                  <a16:creationId xmlns:a16="http://schemas.microsoft.com/office/drawing/2014/main" id="{0DBC6410-6A59-4790-926F-E624F6953B1C}"/>
                </a:ext>
              </a:extLst>
            </p:cNvPr>
            <p:cNvSpPr txBox="1"/>
            <p:nvPr/>
          </p:nvSpPr>
          <p:spPr>
            <a:xfrm>
              <a:off x="9218732" y="3386978"/>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42" name="CuadroTexto 41">
              <a:extLst>
                <a:ext uri="{FF2B5EF4-FFF2-40B4-BE49-F238E27FC236}">
                  <a16:creationId xmlns:a16="http://schemas.microsoft.com/office/drawing/2014/main" id="{F05D1EBD-E1C6-4EAD-A83A-3126DD1C70B5}"/>
                </a:ext>
              </a:extLst>
            </p:cNvPr>
            <p:cNvSpPr txBox="1"/>
            <p:nvPr/>
          </p:nvSpPr>
          <p:spPr>
            <a:xfrm>
              <a:off x="9660121" y="3240922"/>
              <a:ext cx="1564598" cy="507831"/>
            </a:xfrm>
            <a:prstGeom prst="rect">
              <a:avLst/>
            </a:prstGeom>
            <a:noFill/>
          </p:spPr>
          <p:txBody>
            <a:bodyPr wrap="square" rtlCol="0" anchor="t">
              <a:spAutoFit/>
            </a:bodyPr>
            <a:lstStyle/>
            <a:p>
              <a:r>
                <a:rPr lang="es-ES" sz="900">
                  <a:solidFill>
                    <a:schemeClr val="accent1">
                      <a:lumMod val="25000"/>
                    </a:schemeClr>
                  </a:solidFill>
                </a:rPr>
                <a:t>Gerente de</a:t>
              </a:r>
            </a:p>
            <a:p>
              <a:r>
                <a:rPr lang="es-ES" sz="900">
                  <a:solidFill>
                    <a:schemeClr val="accent1">
                      <a:lumMod val="25000"/>
                    </a:schemeClr>
                  </a:solidFill>
                </a:rPr>
                <a:t>Operaciones Financieras</a:t>
              </a:r>
            </a:p>
            <a:p>
              <a:r>
                <a:rPr lang="es-ES" sz="900">
                  <a:solidFill>
                    <a:schemeClr val="accent1">
                      <a:lumMod val="25000"/>
                    </a:schemeClr>
                  </a:solidFill>
                </a:rPr>
                <a:t>100 %</a:t>
              </a:r>
              <a:endParaRPr lang="es-CO" sz="900">
                <a:solidFill>
                  <a:schemeClr val="accent1">
                    <a:lumMod val="25000"/>
                  </a:schemeClr>
                </a:solidFill>
              </a:endParaRPr>
            </a:p>
          </p:txBody>
        </p:sp>
      </p:grpSp>
      <p:sp>
        <p:nvSpPr>
          <p:cNvPr id="7" name="Rectángulo 6">
            <a:extLst>
              <a:ext uri="{FF2B5EF4-FFF2-40B4-BE49-F238E27FC236}">
                <a16:creationId xmlns:a16="http://schemas.microsoft.com/office/drawing/2014/main" id="{C6DA5A4B-462C-4B89-B450-D05DF260667D}"/>
              </a:ext>
            </a:extLst>
          </p:cNvPr>
          <p:cNvSpPr>
            <a:spLocks/>
          </p:cNvSpPr>
          <p:nvPr/>
        </p:nvSpPr>
        <p:spPr>
          <a:xfrm>
            <a:off x="4924915" y="1450157"/>
            <a:ext cx="2519356" cy="2189009"/>
          </a:xfrm>
          <a:prstGeom prst="rect">
            <a:avLst/>
          </a:prstGeom>
          <a:solidFill>
            <a:schemeClr val="accent1">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400">
                <a:solidFill>
                  <a:schemeClr val="tx2"/>
                </a:solidFill>
              </a:rPr>
              <a:t>Suscripción de contratos de seguros, reaseguros y con corredores de seguros y reaseguros para Cenit hasta 77.000 SMLMV*</a:t>
            </a:r>
          </a:p>
        </p:txBody>
      </p:sp>
      <p:sp>
        <p:nvSpPr>
          <p:cNvPr id="8" name="Elipse 7">
            <a:extLst>
              <a:ext uri="{FF2B5EF4-FFF2-40B4-BE49-F238E27FC236}">
                <a16:creationId xmlns:a16="http://schemas.microsoft.com/office/drawing/2014/main" id="{F7213D94-924A-4C83-998F-7385C840C784}"/>
              </a:ext>
            </a:extLst>
          </p:cNvPr>
          <p:cNvSpPr/>
          <p:nvPr/>
        </p:nvSpPr>
        <p:spPr>
          <a:xfrm>
            <a:off x="4751402" y="1283833"/>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1</a:t>
            </a:r>
            <a:endParaRPr lang="es-CO" sz="1200" b="1">
              <a:solidFill>
                <a:schemeClr val="bg1"/>
              </a:solidFill>
            </a:endParaRPr>
          </a:p>
        </p:txBody>
      </p:sp>
      <p:sp>
        <p:nvSpPr>
          <p:cNvPr id="9" name="CuadroTexto 8">
            <a:extLst>
              <a:ext uri="{FF2B5EF4-FFF2-40B4-BE49-F238E27FC236}">
                <a16:creationId xmlns:a16="http://schemas.microsoft.com/office/drawing/2014/main" id="{DD0878AC-140B-403D-88C4-8940BD7E7572}"/>
              </a:ext>
            </a:extLst>
          </p:cNvPr>
          <p:cNvSpPr txBox="1"/>
          <p:nvPr/>
        </p:nvSpPr>
        <p:spPr>
          <a:xfrm>
            <a:off x="5968593" y="3543222"/>
            <a:ext cx="432000" cy="215444"/>
          </a:xfrm>
          <a:prstGeom prst="rect">
            <a:avLst/>
          </a:prstGeom>
          <a:solidFill>
            <a:schemeClr val="bg1"/>
          </a:solidFill>
          <a:ln w="19050">
            <a:solidFill>
              <a:srgbClr val="7C6670"/>
            </a:solidFill>
          </a:ln>
        </p:spPr>
        <p:txBody>
          <a:bodyPr wrap="square" rtlCol="0">
            <a:spAutoFit/>
          </a:bodyPr>
          <a:lstStyle/>
          <a:p>
            <a:pPr algn="ctr"/>
            <a:r>
              <a:rPr lang="es-ES" sz="800"/>
              <a:t>GOF</a:t>
            </a:r>
            <a:endParaRPr lang="es-CO" sz="800"/>
          </a:p>
        </p:txBody>
      </p:sp>
      <p:sp>
        <p:nvSpPr>
          <p:cNvPr id="29" name="CuadroTexto 28">
            <a:extLst>
              <a:ext uri="{FF2B5EF4-FFF2-40B4-BE49-F238E27FC236}">
                <a16:creationId xmlns:a16="http://schemas.microsoft.com/office/drawing/2014/main" id="{1A4C4A0B-B8E1-403F-A831-753F5460DAE8}"/>
              </a:ext>
            </a:extLst>
          </p:cNvPr>
          <p:cNvSpPr txBox="1"/>
          <p:nvPr/>
        </p:nvSpPr>
        <p:spPr>
          <a:xfrm>
            <a:off x="1" y="6299507"/>
            <a:ext cx="8693624" cy="577081"/>
          </a:xfrm>
          <a:prstGeom prst="rect">
            <a:avLst/>
          </a:prstGeom>
          <a:noFill/>
        </p:spPr>
        <p:txBody>
          <a:bodyPr wrap="square">
            <a:spAutoFit/>
          </a:bodyPr>
          <a:lstStyle/>
          <a:p>
            <a:pPr algn="just"/>
            <a:r>
              <a:rPr lang="es-CO" sz="1050">
                <a:solidFill>
                  <a:schemeClr val="accent4"/>
                </a:solidFill>
              </a:rPr>
              <a:t>*Si el contrato supera esta cuantía deberán ser aprobados por la Junta Directiva, en virtud la función estatutaria de aprobar la adquisición de bienes y servicios de más de 77.000 SMLMV. El Gerente de Operaciones Financieras podrá tomar esta decisión teniendo en cuenta el poder general concedido. En caso contrario, tomará la decisión el representante legal.</a:t>
            </a:r>
          </a:p>
        </p:txBody>
      </p:sp>
      <p:sp>
        <p:nvSpPr>
          <p:cNvPr id="3" name="CuadroTexto 47">
            <a:extLst>
              <a:ext uri="{FF2B5EF4-FFF2-40B4-BE49-F238E27FC236}">
                <a16:creationId xmlns:a16="http://schemas.microsoft.com/office/drawing/2014/main" id="{16EE1C89-A5F1-44C6-B444-E94E9A917961}"/>
              </a:ext>
            </a:extLst>
          </p:cNvPr>
          <p:cNvSpPr txBox="1"/>
          <p:nvPr/>
        </p:nvSpPr>
        <p:spPr>
          <a:xfrm>
            <a:off x="13246" y="38633"/>
            <a:ext cx="12102613" cy="738664"/>
          </a:xfrm>
          <a:prstGeom prst="rect">
            <a:avLst/>
          </a:prstGeom>
          <a:noFill/>
          <a:ln>
            <a:noFill/>
          </a:ln>
        </p:spPr>
        <p:txBody>
          <a:bodyPr wrap="square" rtlCol="0">
            <a:spAutoFit/>
          </a:bodyPr>
          <a:lstStyle/>
          <a:p>
            <a:pPr algn="ctr"/>
            <a:r>
              <a:rPr lang="es-ES" sz="2400" b="1" dirty="0">
                <a:solidFill>
                  <a:srgbClr val="10476B"/>
                </a:solidFill>
                <a:latin typeface="Century Gothic" panose="020B0502020202020204" pitchFamily="34" charset="0"/>
                <a:cs typeface="Arial" panose="020B0604020202020204" pitchFamily="34" charset="0"/>
              </a:rPr>
              <a:t>Manual de Delegación de Autoridad (MAD) – Finanzas</a:t>
            </a:r>
          </a:p>
          <a:p>
            <a:pPr algn="ctr"/>
            <a:r>
              <a:rPr lang="es-ES" b="1" dirty="0">
                <a:solidFill>
                  <a:srgbClr val="10476B"/>
                </a:solidFill>
                <a:latin typeface="Century Gothic" panose="020B0502020202020204" pitchFamily="34" charset="0"/>
                <a:cs typeface="Arial" panose="020B0604020202020204" pitchFamily="34" charset="0"/>
              </a:rPr>
              <a:t>Proceso Nivel 1: Gestión de Retención y Transferencia del Riesgo</a:t>
            </a:r>
            <a:endParaRPr lang="es-CO" b="1" dirty="0">
              <a:solidFill>
                <a:srgbClr val="10476B"/>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4882184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88CD34D3-37A5-43E2-9025-AC1BD8625ED0}"/>
              </a:ext>
            </a:extLst>
          </p:cNvPr>
          <p:cNvSpPr>
            <a:spLocks noGrp="1"/>
          </p:cNvSpPr>
          <p:nvPr>
            <p:ph type="sldNum" sz="quarter" idx="10"/>
          </p:nvPr>
        </p:nvSpPr>
        <p:spPr/>
        <p:txBody>
          <a:bodyPr/>
          <a:lstStyle/>
          <a:p>
            <a:fld id="{02F25750-4209-4357-A72F-45445C8044EF}" type="slidenum">
              <a:rPr lang="es-CO" smtClean="0"/>
              <a:pPr/>
              <a:t>31</a:t>
            </a:fld>
            <a:endParaRPr lang="es-CO"/>
          </a:p>
        </p:txBody>
      </p:sp>
      <p:sp>
        <p:nvSpPr>
          <p:cNvPr id="4" name="CuadroTexto 3">
            <a:extLst>
              <a:ext uri="{FF2B5EF4-FFF2-40B4-BE49-F238E27FC236}">
                <a16:creationId xmlns:a16="http://schemas.microsoft.com/office/drawing/2014/main" id="{3C1F9665-9E41-4182-B593-DBC0D337A60A}"/>
              </a:ext>
            </a:extLst>
          </p:cNvPr>
          <p:cNvSpPr txBox="1"/>
          <p:nvPr/>
        </p:nvSpPr>
        <p:spPr>
          <a:xfrm>
            <a:off x="365803" y="1184223"/>
            <a:ext cx="2108269" cy="369332"/>
          </a:xfrm>
          <a:prstGeom prst="rect">
            <a:avLst/>
          </a:prstGeom>
          <a:noFill/>
        </p:spPr>
        <p:txBody>
          <a:bodyPr wrap="none" rtlCol="0">
            <a:spAutoFit/>
          </a:bodyPr>
          <a:lstStyle/>
          <a:p>
            <a:r>
              <a:rPr lang="es-ES" b="1">
                <a:solidFill>
                  <a:schemeClr val="accent4"/>
                </a:solidFill>
              </a:rPr>
              <a:t>Procesos Nivel 1:</a:t>
            </a:r>
            <a:endParaRPr lang="es-CO" b="1">
              <a:solidFill>
                <a:schemeClr val="accent4"/>
              </a:solidFill>
            </a:endParaRPr>
          </a:p>
        </p:txBody>
      </p:sp>
      <p:graphicFrame>
        <p:nvGraphicFramePr>
          <p:cNvPr id="6" name="Diagrama 5">
            <a:extLst>
              <a:ext uri="{FF2B5EF4-FFF2-40B4-BE49-F238E27FC236}">
                <a16:creationId xmlns:a16="http://schemas.microsoft.com/office/drawing/2014/main" id="{A59B256B-D5A4-4295-9C7D-D6F3F456F5F7}"/>
              </a:ext>
            </a:extLst>
          </p:cNvPr>
          <p:cNvGraphicFramePr/>
          <p:nvPr/>
        </p:nvGraphicFramePr>
        <p:xfrm>
          <a:off x="582067" y="751850"/>
          <a:ext cx="11027865"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CuadroTexto 47">
            <a:extLst>
              <a:ext uri="{FF2B5EF4-FFF2-40B4-BE49-F238E27FC236}">
                <a16:creationId xmlns:a16="http://schemas.microsoft.com/office/drawing/2014/main" id="{B50F2DA5-FD4A-4502-A7A4-1B4B43A8233B}"/>
              </a:ext>
            </a:extLst>
          </p:cNvPr>
          <p:cNvSpPr txBox="1"/>
          <p:nvPr/>
        </p:nvSpPr>
        <p:spPr>
          <a:xfrm>
            <a:off x="48137" y="267053"/>
            <a:ext cx="12102613" cy="461665"/>
          </a:xfrm>
          <a:prstGeom prst="rect">
            <a:avLst/>
          </a:prstGeom>
          <a:noFill/>
          <a:ln>
            <a:noFill/>
          </a:ln>
        </p:spPr>
        <p:txBody>
          <a:bodyPr wrap="square" rtlCol="0">
            <a:spAutoFit/>
          </a:bodyPr>
          <a:lstStyle/>
          <a:p>
            <a:pPr algn="ctr"/>
            <a:r>
              <a:rPr lang="es-ES" sz="2400" b="1" dirty="0">
                <a:solidFill>
                  <a:srgbClr val="10476B"/>
                </a:solidFill>
                <a:latin typeface="Century Gothic" panose="020B0502020202020204" pitchFamily="34" charset="0"/>
                <a:cs typeface="Arial" panose="020B0604020202020204" pitchFamily="34" charset="0"/>
              </a:rPr>
              <a:t>Macroproceso Planeación Estratégica, Nuevos Negocios y Regulación</a:t>
            </a:r>
            <a:endParaRPr lang="es-CO" sz="2400" b="1" dirty="0">
              <a:solidFill>
                <a:srgbClr val="10476B"/>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21253131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uadroTexto 9">
            <a:extLst>
              <a:ext uri="{FF2B5EF4-FFF2-40B4-BE49-F238E27FC236}">
                <a16:creationId xmlns:a16="http://schemas.microsoft.com/office/drawing/2014/main" id="{9DBC4940-C44F-448F-92E5-CAB28E2719FF}"/>
              </a:ext>
            </a:extLst>
          </p:cNvPr>
          <p:cNvSpPr txBox="1"/>
          <p:nvPr/>
        </p:nvSpPr>
        <p:spPr>
          <a:xfrm>
            <a:off x="10496172" y="2062579"/>
            <a:ext cx="1321051" cy="1235908"/>
          </a:xfrm>
          <a:prstGeom prst="rect">
            <a:avLst/>
          </a:prstGeom>
          <a:noFill/>
          <a:ln>
            <a:solidFill>
              <a:schemeClr val="tx1"/>
            </a:solidFill>
          </a:ln>
        </p:spPr>
        <p:txBody>
          <a:bodyPr wrap="square" rtlCol="0">
            <a:spAutoFit/>
          </a:bodyPr>
          <a:lstStyle/>
          <a:p>
            <a:endParaRPr lang="es-CO"/>
          </a:p>
        </p:txBody>
      </p:sp>
      <p:sp>
        <p:nvSpPr>
          <p:cNvPr id="84" name="CuadroTexto 83">
            <a:extLst>
              <a:ext uri="{FF2B5EF4-FFF2-40B4-BE49-F238E27FC236}">
                <a16:creationId xmlns:a16="http://schemas.microsoft.com/office/drawing/2014/main" id="{293DBAF3-3942-4C58-8A63-D4484E215E20}"/>
              </a:ext>
            </a:extLst>
          </p:cNvPr>
          <p:cNvSpPr txBox="1"/>
          <p:nvPr/>
        </p:nvSpPr>
        <p:spPr>
          <a:xfrm>
            <a:off x="4848924" y="4484829"/>
            <a:ext cx="5808565" cy="1620000"/>
          </a:xfrm>
          <a:prstGeom prst="rect">
            <a:avLst/>
          </a:prstGeom>
          <a:noFill/>
          <a:ln>
            <a:solidFill>
              <a:schemeClr val="accent6"/>
            </a:solidFill>
          </a:ln>
        </p:spPr>
        <p:txBody>
          <a:bodyPr wrap="square" rtlCol="0">
            <a:spAutoFit/>
          </a:bodyPr>
          <a:lstStyle/>
          <a:p>
            <a:endParaRPr lang="es-CO" sz="2000"/>
          </a:p>
        </p:txBody>
      </p:sp>
      <p:sp>
        <p:nvSpPr>
          <p:cNvPr id="86" name="Rectángulo 85">
            <a:extLst>
              <a:ext uri="{FF2B5EF4-FFF2-40B4-BE49-F238E27FC236}">
                <a16:creationId xmlns:a16="http://schemas.microsoft.com/office/drawing/2014/main" id="{7696A978-4362-4DE3-8C58-0F58608C4AA6}"/>
              </a:ext>
            </a:extLst>
          </p:cNvPr>
          <p:cNvSpPr/>
          <p:nvPr/>
        </p:nvSpPr>
        <p:spPr>
          <a:xfrm>
            <a:off x="4864690" y="4536763"/>
            <a:ext cx="5808565" cy="461665"/>
          </a:xfrm>
          <a:prstGeom prst="rect">
            <a:avLst/>
          </a:prstGeom>
          <a:ln>
            <a:noFill/>
          </a:ln>
        </p:spPr>
        <p:txBody>
          <a:bodyPr wrap="square" anchor="t">
            <a:spAutoFit/>
          </a:bodyPr>
          <a:lstStyle/>
          <a:p>
            <a:pPr algn="just"/>
            <a:r>
              <a:rPr lang="es-ES" sz="1200" b="1">
                <a:solidFill>
                  <a:schemeClr val="accent4"/>
                </a:solidFill>
                <a:sym typeface="Wingdings" panose="05000000000000000000" pitchFamily="2" charset="2"/>
              </a:rPr>
              <a:t>Total Proceso Nivel 1 de Planeación e implementación de la estrategia: </a:t>
            </a:r>
            <a:r>
              <a:rPr lang="es-ES" sz="1200">
                <a:solidFill>
                  <a:schemeClr val="accent4"/>
                </a:solidFill>
                <a:sym typeface="Wingdings" panose="05000000000000000000" pitchFamily="2" charset="2"/>
              </a:rPr>
              <a:t>2 decisiones críticas.</a:t>
            </a:r>
            <a:endParaRPr lang="es-CO" sz="1200">
              <a:solidFill>
                <a:srgbClr val="254147"/>
              </a:solidFill>
            </a:endParaRPr>
          </a:p>
        </p:txBody>
      </p:sp>
      <p:graphicFrame>
        <p:nvGraphicFramePr>
          <p:cNvPr id="5" name="Objeto 4" hidden="1">
            <a:extLst>
              <a:ext uri="{FF2B5EF4-FFF2-40B4-BE49-F238E27FC236}">
                <a16:creationId xmlns:a16="http://schemas.microsoft.com/office/drawing/2014/main" id="{0740088A-8ABF-414B-8746-763C3F660F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421" imgH="423" progId="TCLayout.ActiveDocument.1">
                  <p:embed/>
                </p:oleObj>
              </mc:Choice>
              <mc:Fallback>
                <p:oleObj name="Diapositiva de think-cell" r:id="rId5" imgW="421" imgH="423" progId="TCLayout.ActiveDocument.1">
                  <p:embed/>
                  <p:pic>
                    <p:nvPicPr>
                      <p:cNvPr id="5" name="Objeto 4" hidden="1">
                        <a:extLst>
                          <a:ext uri="{FF2B5EF4-FFF2-40B4-BE49-F238E27FC236}">
                            <a16:creationId xmlns:a16="http://schemas.microsoft.com/office/drawing/2014/main" id="{0740088A-8ABF-414B-8746-763C3F660F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42B40C10-F876-4F1B-842D-C3F6355B6C8A}"/>
              </a:ext>
            </a:extLst>
          </p:cNvPr>
          <p:cNvSpPr/>
          <p:nvPr>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419" sz="2000" b="1">
              <a:solidFill>
                <a:schemeClr val="tx1"/>
              </a:solidFill>
              <a:latin typeface="Arial" panose="020B0604020202020204" pitchFamily="34" charset="0"/>
              <a:ea typeface="+mj-ea"/>
              <a:cs typeface="+mj-cs"/>
              <a:sym typeface="Arial" panose="020B0604020202020204" pitchFamily="34" charset="0"/>
            </a:endParaRPr>
          </a:p>
        </p:txBody>
      </p:sp>
      <p:sp>
        <p:nvSpPr>
          <p:cNvPr id="2" name="Marcador de número de diapositiva 1">
            <a:extLst>
              <a:ext uri="{FF2B5EF4-FFF2-40B4-BE49-F238E27FC236}">
                <a16:creationId xmlns:a16="http://schemas.microsoft.com/office/drawing/2014/main" id="{3A93B487-116E-4767-AA0D-CAE2A460FBE4}"/>
              </a:ext>
            </a:extLst>
          </p:cNvPr>
          <p:cNvSpPr>
            <a:spLocks noGrp="1"/>
          </p:cNvSpPr>
          <p:nvPr>
            <p:ph type="sldNum" sz="quarter" idx="10"/>
          </p:nvPr>
        </p:nvSpPr>
        <p:spPr>
          <a:xfrm>
            <a:off x="11344876" y="6428983"/>
            <a:ext cx="847124" cy="365125"/>
          </a:xfrm>
        </p:spPr>
        <p:txBody>
          <a:bodyPr/>
          <a:lstStyle/>
          <a:p>
            <a:fld id="{02F25750-4209-4357-A72F-45445C8044EF}" type="slidenum">
              <a:rPr lang="es-CO" smtClean="0"/>
              <a:pPr/>
              <a:t>32</a:t>
            </a:fld>
            <a:endParaRPr lang="es-CO"/>
          </a:p>
        </p:txBody>
      </p:sp>
      <p:sp>
        <p:nvSpPr>
          <p:cNvPr id="97" name="Rectángulo 96">
            <a:extLst>
              <a:ext uri="{FF2B5EF4-FFF2-40B4-BE49-F238E27FC236}">
                <a16:creationId xmlns:a16="http://schemas.microsoft.com/office/drawing/2014/main" id="{99300021-C267-43BD-A0F5-B3ECE622345E}"/>
              </a:ext>
            </a:extLst>
          </p:cNvPr>
          <p:cNvSpPr>
            <a:spLocks/>
          </p:cNvSpPr>
          <p:nvPr/>
        </p:nvSpPr>
        <p:spPr>
          <a:xfrm>
            <a:off x="2754380" y="1409650"/>
            <a:ext cx="2519356" cy="2189009"/>
          </a:xfrm>
          <a:prstGeom prst="rect">
            <a:avLst/>
          </a:prstGeom>
          <a:solidFill>
            <a:schemeClr val="accent1">
              <a:alpha val="68000"/>
            </a:schemeClr>
          </a:solidFill>
          <a:ln w="285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400">
                <a:solidFill>
                  <a:schemeClr val="tx2"/>
                </a:solidFill>
              </a:rPr>
              <a:t>Aprobar el marco estratégico, pilares, objetivos y líneas estratégicas así como sus modificaciones para Cenit y las Compañías que integran el Segmento de Transporte</a:t>
            </a:r>
          </a:p>
        </p:txBody>
      </p:sp>
      <p:sp>
        <p:nvSpPr>
          <p:cNvPr id="3" name="Elipse 2">
            <a:extLst>
              <a:ext uri="{FF2B5EF4-FFF2-40B4-BE49-F238E27FC236}">
                <a16:creationId xmlns:a16="http://schemas.microsoft.com/office/drawing/2014/main" id="{815B10B7-60B3-4C63-8431-70CC556387C9}"/>
              </a:ext>
            </a:extLst>
          </p:cNvPr>
          <p:cNvSpPr/>
          <p:nvPr/>
        </p:nvSpPr>
        <p:spPr>
          <a:xfrm>
            <a:off x="2580867" y="1243326"/>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1</a:t>
            </a:r>
            <a:endParaRPr lang="es-CO" sz="1200" b="1">
              <a:solidFill>
                <a:schemeClr val="bg1"/>
              </a:solidFill>
            </a:endParaRPr>
          </a:p>
        </p:txBody>
      </p:sp>
      <p:sp>
        <p:nvSpPr>
          <p:cNvPr id="117" name="CuadroTexto 116">
            <a:extLst>
              <a:ext uri="{FF2B5EF4-FFF2-40B4-BE49-F238E27FC236}">
                <a16:creationId xmlns:a16="http://schemas.microsoft.com/office/drawing/2014/main" id="{8960734A-1053-42D2-BD72-6674DCCE6A97}"/>
              </a:ext>
            </a:extLst>
          </p:cNvPr>
          <p:cNvSpPr txBox="1"/>
          <p:nvPr/>
        </p:nvSpPr>
        <p:spPr>
          <a:xfrm>
            <a:off x="5157829" y="5629829"/>
            <a:ext cx="1391405" cy="230832"/>
          </a:xfrm>
          <a:prstGeom prst="rect">
            <a:avLst/>
          </a:prstGeom>
          <a:noFill/>
          <a:ln w="19050">
            <a:solidFill>
              <a:srgbClr val="002060"/>
            </a:solidFill>
          </a:ln>
        </p:spPr>
        <p:txBody>
          <a:bodyPr wrap="square" rtlCol="0">
            <a:spAutoFit/>
          </a:bodyPr>
          <a:lstStyle/>
          <a:p>
            <a:pPr algn="ctr"/>
            <a:r>
              <a:rPr lang="es-ES" sz="900">
                <a:solidFill>
                  <a:schemeClr val="tx2"/>
                </a:solidFill>
              </a:rPr>
              <a:t>Palanca de Agilidad </a:t>
            </a:r>
            <a:endParaRPr lang="es-CO" sz="900">
              <a:solidFill>
                <a:schemeClr val="tx2"/>
              </a:solidFill>
            </a:endParaRPr>
          </a:p>
        </p:txBody>
      </p:sp>
      <p:sp>
        <p:nvSpPr>
          <p:cNvPr id="118" name="CuadroTexto 117">
            <a:extLst>
              <a:ext uri="{FF2B5EF4-FFF2-40B4-BE49-F238E27FC236}">
                <a16:creationId xmlns:a16="http://schemas.microsoft.com/office/drawing/2014/main" id="{C77431EE-A761-4323-B75F-692D4CAEC462}"/>
              </a:ext>
            </a:extLst>
          </p:cNvPr>
          <p:cNvSpPr txBox="1"/>
          <p:nvPr/>
        </p:nvSpPr>
        <p:spPr>
          <a:xfrm>
            <a:off x="7049150" y="5627345"/>
            <a:ext cx="1393200" cy="230832"/>
          </a:xfrm>
          <a:prstGeom prst="rect">
            <a:avLst/>
          </a:prstGeom>
          <a:noFill/>
          <a:ln w="19050">
            <a:solidFill>
              <a:schemeClr val="accent3"/>
            </a:solidFill>
          </a:ln>
        </p:spPr>
        <p:txBody>
          <a:bodyPr wrap="square" rtlCol="0">
            <a:spAutoFit/>
          </a:bodyPr>
          <a:lstStyle/>
          <a:p>
            <a:pPr algn="ctr"/>
            <a:r>
              <a:rPr lang="es-ES" sz="900">
                <a:solidFill>
                  <a:schemeClr val="tx2"/>
                </a:solidFill>
              </a:rPr>
              <a:t>Palanca de Claridad</a:t>
            </a:r>
            <a:endParaRPr lang="es-CO" sz="900">
              <a:solidFill>
                <a:schemeClr val="tx2"/>
              </a:solidFill>
            </a:endParaRPr>
          </a:p>
        </p:txBody>
      </p:sp>
      <p:sp>
        <p:nvSpPr>
          <p:cNvPr id="119" name="CuadroTexto 118">
            <a:extLst>
              <a:ext uri="{FF2B5EF4-FFF2-40B4-BE49-F238E27FC236}">
                <a16:creationId xmlns:a16="http://schemas.microsoft.com/office/drawing/2014/main" id="{A66DDFF6-8990-4632-9B16-3852035C81BA}"/>
              </a:ext>
            </a:extLst>
          </p:cNvPr>
          <p:cNvSpPr txBox="1"/>
          <p:nvPr/>
        </p:nvSpPr>
        <p:spPr>
          <a:xfrm>
            <a:off x="8942266" y="5627345"/>
            <a:ext cx="1486626" cy="230832"/>
          </a:xfrm>
          <a:prstGeom prst="rect">
            <a:avLst/>
          </a:prstGeom>
          <a:noFill/>
          <a:ln w="19050">
            <a:solidFill>
              <a:schemeClr val="bg2">
                <a:lumMod val="50000"/>
              </a:schemeClr>
            </a:solidFill>
          </a:ln>
        </p:spPr>
        <p:txBody>
          <a:bodyPr wrap="square" rtlCol="0">
            <a:spAutoFit/>
          </a:bodyPr>
          <a:lstStyle/>
          <a:p>
            <a:pPr algn="ctr"/>
            <a:r>
              <a:rPr lang="es-ES" sz="900">
                <a:solidFill>
                  <a:schemeClr val="tx2"/>
                </a:solidFill>
              </a:rPr>
              <a:t>Palanca de Consistencia</a:t>
            </a:r>
            <a:endParaRPr lang="es-CO" sz="900">
              <a:solidFill>
                <a:schemeClr val="tx2"/>
              </a:solidFill>
            </a:endParaRPr>
          </a:p>
        </p:txBody>
      </p:sp>
      <p:grpSp>
        <p:nvGrpSpPr>
          <p:cNvPr id="16" name="Grupo 15">
            <a:extLst>
              <a:ext uri="{FF2B5EF4-FFF2-40B4-BE49-F238E27FC236}">
                <a16:creationId xmlns:a16="http://schemas.microsoft.com/office/drawing/2014/main" id="{C2A3B512-7A1C-4FAF-A81F-067631C52819}"/>
              </a:ext>
            </a:extLst>
          </p:cNvPr>
          <p:cNvGrpSpPr/>
          <p:nvPr/>
        </p:nvGrpSpPr>
        <p:grpSpPr>
          <a:xfrm>
            <a:off x="7036088" y="5018830"/>
            <a:ext cx="1486309" cy="400110"/>
            <a:chOff x="7423104" y="4811068"/>
            <a:chExt cx="1486309" cy="400110"/>
          </a:xfrm>
        </p:grpSpPr>
        <p:sp>
          <p:nvSpPr>
            <p:cNvPr id="91" name="CuadroTexto 90">
              <a:extLst>
                <a:ext uri="{FF2B5EF4-FFF2-40B4-BE49-F238E27FC236}">
                  <a16:creationId xmlns:a16="http://schemas.microsoft.com/office/drawing/2014/main" id="{232CC050-3BFF-4FBB-A326-2B3CF9176A99}"/>
                </a:ext>
              </a:extLst>
            </p:cNvPr>
            <p:cNvSpPr txBox="1"/>
            <p:nvPr/>
          </p:nvSpPr>
          <p:spPr>
            <a:xfrm>
              <a:off x="7802465" y="4811068"/>
              <a:ext cx="1106948" cy="400110"/>
            </a:xfrm>
            <a:prstGeom prst="rect">
              <a:avLst/>
            </a:prstGeom>
            <a:noFill/>
          </p:spPr>
          <p:txBody>
            <a:bodyPr wrap="square" rtlCol="0">
              <a:spAutoFit/>
            </a:bodyPr>
            <a:lstStyle/>
            <a:p>
              <a:r>
                <a:rPr lang="es-ES" sz="1000">
                  <a:solidFill>
                    <a:schemeClr val="accent1">
                      <a:lumMod val="25000"/>
                    </a:schemeClr>
                  </a:solidFill>
                </a:rPr>
                <a:t>Junta Directiva</a:t>
              </a:r>
            </a:p>
            <a:p>
              <a:r>
                <a:rPr lang="es-ES" sz="1000">
                  <a:solidFill>
                    <a:schemeClr val="accent1">
                      <a:lumMod val="25000"/>
                    </a:schemeClr>
                  </a:solidFill>
                </a:rPr>
                <a:t>100 %</a:t>
              </a:r>
              <a:endParaRPr lang="es-CO" sz="1000">
                <a:solidFill>
                  <a:schemeClr val="accent1">
                    <a:lumMod val="25000"/>
                  </a:schemeClr>
                </a:solidFill>
              </a:endParaRPr>
            </a:p>
          </p:txBody>
        </p:sp>
        <p:sp>
          <p:nvSpPr>
            <p:cNvPr id="122" name="CuadroTexto 121">
              <a:extLst>
                <a:ext uri="{FF2B5EF4-FFF2-40B4-BE49-F238E27FC236}">
                  <a16:creationId xmlns:a16="http://schemas.microsoft.com/office/drawing/2014/main" id="{F92D7973-FA2F-45B1-8D65-1BB666EE24DD}"/>
                </a:ext>
              </a:extLst>
            </p:cNvPr>
            <p:cNvSpPr txBox="1"/>
            <p:nvPr/>
          </p:nvSpPr>
          <p:spPr>
            <a:xfrm>
              <a:off x="7423104" y="4887624"/>
              <a:ext cx="432000" cy="230832"/>
            </a:xfrm>
            <a:prstGeom prst="rect">
              <a:avLst/>
            </a:prstGeom>
            <a:solidFill>
              <a:schemeClr val="bg1"/>
            </a:solidFill>
            <a:ln w="19050">
              <a:solidFill>
                <a:schemeClr val="accent5"/>
              </a:solidFill>
            </a:ln>
          </p:spPr>
          <p:txBody>
            <a:bodyPr wrap="square" rtlCol="0">
              <a:spAutoFit/>
            </a:bodyPr>
            <a:lstStyle/>
            <a:p>
              <a:pPr algn="ctr"/>
              <a:r>
                <a:rPr lang="es-ES" sz="900"/>
                <a:t>JD</a:t>
              </a:r>
              <a:endParaRPr lang="es-CO" sz="900"/>
            </a:p>
          </p:txBody>
        </p:sp>
      </p:grpSp>
      <p:sp>
        <p:nvSpPr>
          <p:cNvPr id="147" name="Rectángulo 146">
            <a:extLst>
              <a:ext uri="{FF2B5EF4-FFF2-40B4-BE49-F238E27FC236}">
                <a16:creationId xmlns:a16="http://schemas.microsoft.com/office/drawing/2014/main" id="{28985963-B271-4E6A-83C5-F3A62A87E6BA}"/>
              </a:ext>
            </a:extLst>
          </p:cNvPr>
          <p:cNvSpPr>
            <a:spLocks/>
          </p:cNvSpPr>
          <p:nvPr/>
        </p:nvSpPr>
        <p:spPr>
          <a:xfrm>
            <a:off x="6955539" y="1404719"/>
            <a:ext cx="2519356" cy="2189009"/>
          </a:xfrm>
          <a:prstGeom prst="rect">
            <a:avLst/>
          </a:prstGeom>
          <a:solidFill>
            <a:schemeClr val="accent1">
              <a:alpha val="68000"/>
            </a:schemeClr>
          </a:solidFill>
          <a:ln w="285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400">
                <a:solidFill>
                  <a:schemeClr val="tx2"/>
                </a:solidFill>
              </a:rPr>
              <a:t>Aprobar el Plan de Negocios para Cenit y las compañías que integran el Segmento de Transporte</a:t>
            </a:r>
          </a:p>
        </p:txBody>
      </p:sp>
      <p:sp>
        <p:nvSpPr>
          <p:cNvPr id="156" name="Elipse 155">
            <a:extLst>
              <a:ext uri="{FF2B5EF4-FFF2-40B4-BE49-F238E27FC236}">
                <a16:creationId xmlns:a16="http://schemas.microsoft.com/office/drawing/2014/main" id="{D69C9D48-D741-473B-B9DB-21F11F279802}"/>
              </a:ext>
            </a:extLst>
          </p:cNvPr>
          <p:cNvSpPr/>
          <p:nvPr/>
        </p:nvSpPr>
        <p:spPr>
          <a:xfrm>
            <a:off x="6782026" y="1238395"/>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2</a:t>
            </a:r>
            <a:endParaRPr lang="es-CO" sz="1200" b="1">
              <a:solidFill>
                <a:schemeClr val="bg1"/>
              </a:solidFill>
            </a:endParaRPr>
          </a:p>
        </p:txBody>
      </p:sp>
      <p:sp>
        <p:nvSpPr>
          <p:cNvPr id="164" name="CuadroTexto 163">
            <a:extLst>
              <a:ext uri="{FF2B5EF4-FFF2-40B4-BE49-F238E27FC236}">
                <a16:creationId xmlns:a16="http://schemas.microsoft.com/office/drawing/2014/main" id="{017B2A88-B738-413B-82B2-A287FE0FC4EF}"/>
              </a:ext>
            </a:extLst>
          </p:cNvPr>
          <p:cNvSpPr txBox="1"/>
          <p:nvPr/>
        </p:nvSpPr>
        <p:spPr>
          <a:xfrm>
            <a:off x="3798058" y="3478312"/>
            <a:ext cx="432000" cy="230832"/>
          </a:xfrm>
          <a:prstGeom prst="rect">
            <a:avLst/>
          </a:prstGeom>
          <a:solidFill>
            <a:schemeClr val="bg1"/>
          </a:solidFill>
          <a:ln w="19050">
            <a:solidFill>
              <a:schemeClr val="accent5"/>
            </a:solidFill>
          </a:ln>
        </p:spPr>
        <p:txBody>
          <a:bodyPr wrap="square" rtlCol="0">
            <a:spAutoFit/>
          </a:bodyPr>
          <a:lstStyle/>
          <a:p>
            <a:pPr algn="ctr"/>
            <a:r>
              <a:rPr lang="es-ES" sz="900"/>
              <a:t>JD</a:t>
            </a:r>
            <a:endParaRPr lang="es-CO" sz="900"/>
          </a:p>
        </p:txBody>
      </p:sp>
      <p:sp>
        <p:nvSpPr>
          <p:cNvPr id="165" name="CuadroTexto 164">
            <a:extLst>
              <a:ext uri="{FF2B5EF4-FFF2-40B4-BE49-F238E27FC236}">
                <a16:creationId xmlns:a16="http://schemas.microsoft.com/office/drawing/2014/main" id="{7408C601-135C-4BEA-B655-479065A628D2}"/>
              </a:ext>
            </a:extLst>
          </p:cNvPr>
          <p:cNvSpPr txBox="1"/>
          <p:nvPr/>
        </p:nvSpPr>
        <p:spPr>
          <a:xfrm>
            <a:off x="7999484" y="3488513"/>
            <a:ext cx="432000" cy="230832"/>
          </a:xfrm>
          <a:prstGeom prst="rect">
            <a:avLst/>
          </a:prstGeom>
          <a:solidFill>
            <a:schemeClr val="bg1"/>
          </a:solidFill>
          <a:ln w="19050">
            <a:solidFill>
              <a:schemeClr val="accent5"/>
            </a:solidFill>
          </a:ln>
        </p:spPr>
        <p:txBody>
          <a:bodyPr wrap="square" rtlCol="0">
            <a:spAutoFit/>
          </a:bodyPr>
          <a:lstStyle/>
          <a:p>
            <a:pPr algn="ctr"/>
            <a:r>
              <a:rPr lang="es-ES" sz="900"/>
              <a:t>JD</a:t>
            </a:r>
            <a:endParaRPr lang="es-CO" sz="900"/>
          </a:p>
        </p:txBody>
      </p:sp>
      <p:sp>
        <p:nvSpPr>
          <p:cNvPr id="7" name="Elipse 6">
            <a:extLst>
              <a:ext uri="{FF2B5EF4-FFF2-40B4-BE49-F238E27FC236}">
                <a16:creationId xmlns:a16="http://schemas.microsoft.com/office/drawing/2014/main" id="{A6EB2CD8-201E-4638-AFD3-1FEE184DF94E}"/>
              </a:ext>
            </a:extLst>
          </p:cNvPr>
          <p:cNvSpPr/>
          <p:nvPr/>
        </p:nvSpPr>
        <p:spPr>
          <a:xfrm>
            <a:off x="9232135" y="3263012"/>
            <a:ext cx="205485" cy="230832"/>
          </a:xfrm>
          <a:prstGeom prst="ellipse">
            <a:avLst/>
          </a:prstGeom>
          <a:solidFill>
            <a:srgbClr val="92D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err="1">
              <a:solidFill>
                <a:schemeClr val="tx1"/>
              </a:solidFill>
            </a:endParaRPr>
          </a:p>
        </p:txBody>
      </p:sp>
      <p:sp>
        <p:nvSpPr>
          <p:cNvPr id="22" name="Elipse 21">
            <a:extLst>
              <a:ext uri="{FF2B5EF4-FFF2-40B4-BE49-F238E27FC236}">
                <a16:creationId xmlns:a16="http://schemas.microsoft.com/office/drawing/2014/main" id="{1041740A-0907-4F74-A0BC-117D5CCE5DFF}"/>
              </a:ext>
            </a:extLst>
          </p:cNvPr>
          <p:cNvSpPr/>
          <p:nvPr/>
        </p:nvSpPr>
        <p:spPr>
          <a:xfrm>
            <a:off x="4991327" y="3298487"/>
            <a:ext cx="205485" cy="230832"/>
          </a:xfrm>
          <a:prstGeom prst="ellipse">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err="1">
              <a:solidFill>
                <a:schemeClr val="tx1"/>
              </a:solidFill>
            </a:endParaRPr>
          </a:p>
        </p:txBody>
      </p:sp>
      <p:sp>
        <p:nvSpPr>
          <p:cNvPr id="23" name="Elipse 22">
            <a:extLst>
              <a:ext uri="{FF2B5EF4-FFF2-40B4-BE49-F238E27FC236}">
                <a16:creationId xmlns:a16="http://schemas.microsoft.com/office/drawing/2014/main" id="{B4CC258A-93AB-4397-9650-26B057D02213}"/>
              </a:ext>
            </a:extLst>
          </p:cNvPr>
          <p:cNvSpPr/>
          <p:nvPr/>
        </p:nvSpPr>
        <p:spPr>
          <a:xfrm>
            <a:off x="10694149" y="2292761"/>
            <a:ext cx="205485" cy="230832"/>
          </a:xfrm>
          <a:prstGeom prst="ellipse">
            <a:avLst/>
          </a:prstGeom>
          <a:solidFill>
            <a:srgbClr val="92D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err="1">
              <a:solidFill>
                <a:schemeClr val="tx1"/>
              </a:solidFill>
            </a:endParaRPr>
          </a:p>
        </p:txBody>
      </p:sp>
      <p:sp>
        <p:nvSpPr>
          <p:cNvPr id="24" name="Elipse 23">
            <a:extLst>
              <a:ext uri="{FF2B5EF4-FFF2-40B4-BE49-F238E27FC236}">
                <a16:creationId xmlns:a16="http://schemas.microsoft.com/office/drawing/2014/main" id="{421A2F48-22D3-4DF5-A5A9-A593972D4599}"/>
              </a:ext>
            </a:extLst>
          </p:cNvPr>
          <p:cNvSpPr/>
          <p:nvPr/>
        </p:nvSpPr>
        <p:spPr>
          <a:xfrm>
            <a:off x="10720059" y="2778858"/>
            <a:ext cx="205485" cy="230832"/>
          </a:xfrm>
          <a:prstGeom prst="ellipse">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err="1">
              <a:solidFill>
                <a:schemeClr val="tx1"/>
              </a:solidFill>
            </a:endParaRPr>
          </a:p>
        </p:txBody>
      </p:sp>
      <p:sp>
        <p:nvSpPr>
          <p:cNvPr id="8" name="CuadroTexto 7">
            <a:extLst>
              <a:ext uri="{FF2B5EF4-FFF2-40B4-BE49-F238E27FC236}">
                <a16:creationId xmlns:a16="http://schemas.microsoft.com/office/drawing/2014/main" id="{1A6B723B-EE5B-48CF-8E67-3B9E191D179E}"/>
              </a:ext>
            </a:extLst>
          </p:cNvPr>
          <p:cNvSpPr txBox="1"/>
          <p:nvPr/>
        </p:nvSpPr>
        <p:spPr>
          <a:xfrm>
            <a:off x="10925544" y="2268328"/>
            <a:ext cx="847124" cy="230832"/>
          </a:xfrm>
          <a:prstGeom prst="rect">
            <a:avLst/>
          </a:prstGeom>
          <a:noFill/>
        </p:spPr>
        <p:txBody>
          <a:bodyPr wrap="square" rtlCol="0">
            <a:spAutoFit/>
          </a:bodyPr>
          <a:lstStyle/>
          <a:p>
            <a:r>
              <a:rPr lang="es-ES" sz="900"/>
              <a:t>En Estatutos</a:t>
            </a:r>
            <a:endParaRPr lang="es-CO" sz="900"/>
          </a:p>
        </p:txBody>
      </p:sp>
      <p:sp>
        <p:nvSpPr>
          <p:cNvPr id="26" name="CuadroTexto 25">
            <a:extLst>
              <a:ext uri="{FF2B5EF4-FFF2-40B4-BE49-F238E27FC236}">
                <a16:creationId xmlns:a16="http://schemas.microsoft.com/office/drawing/2014/main" id="{016BEFC6-86C6-4B4E-A312-41E44F1EE36E}"/>
              </a:ext>
            </a:extLst>
          </p:cNvPr>
          <p:cNvSpPr txBox="1"/>
          <p:nvPr/>
        </p:nvSpPr>
        <p:spPr>
          <a:xfrm>
            <a:off x="10925544" y="2709608"/>
            <a:ext cx="847124" cy="507831"/>
          </a:xfrm>
          <a:prstGeom prst="rect">
            <a:avLst/>
          </a:prstGeom>
          <a:noFill/>
        </p:spPr>
        <p:txBody>
          <a:bodyPr wrap="square" rtlCol="0">
            <a:spAutoFit/>
          </a:bodyPr>
          <a:lstStyle/>
          <a:p>
            <a:pPr algn="ctr"/>
            <a:r>
              <a:rPr lang="es-ES" sz="900"/>
              <a:t>Propuesta de inclusión aprobada</a:t>
            </a:r>
            <a:endParaRPr lang="es-CO" sz="900"/>
          </a:p>
        </p:txBody>
      </p:sp>
      <p:sp>
        <p:nvSpPr>
          <p:cNvPr id="6" name="CuadroTexto 47">
            <a:extLst>
              <a:ext uri="{FF2B5EF4-FFF2-40B4-BE49-F238E27FC236}">
                <a16:creationId xmlns:a16="http://schemas.microsoft.com/office/drawing/2014/main" id="{28A4F05F-C639-403E-9C14-CFCFD0996889}"/>
              </a:ext>
            </a:extLst>
          </p:cNvPr>
          <p:cNvSpPr txBox="1"/>
          <p:nvPr/>
        </p:nvSpPr>
        <p:spPr>
          <a:xfrm>
            <a:off x="44693" y="165677"/>
            <a:ext cx="12102613" cy="738664"/>
          </a:xfrm>
          <a:prstGeom prst="rect">
            <a:avLst/>
          </a:prstGeom>
          <a:noFill/>
          <a:ln>
            <a:noFill/>
          </a:ln>
        </p:spPr>
        <p:txBody>
          <a:bodyPr wrap="square" rtlCol="0">
            <a:spAutoFit/>
          </a:bodyPr>
          <a:lstStyle/>
          <a:p>
            <a:pPr algn="ctr"/>
            <a:r>
              <a:rPr lang="es-ES" sz="2400" b="1" dirty="0">
                <a:solidFill>
                  <a:srgbClr val="10476B"/>
                </a:solidFill>
                <a:latin typeface="Century Gothic" panose="020B0502020202020204" pitchFamily="34" charset="0"/>
                <a:cs typeface="Arial" panose="020B0604020202020204" pitchFamily="34" charset="0"/>
              </a:rPr>
              <a:t>Macroproceso Planeación Estratégica, Nuevos Negocios y Regulación</a:t>
            </a:r>
          </a:p>
          <a:p>
            <a:pPr algn="ctr"/>
            <a:r>
              <a:rPr lang="es-ES" b="1" dirty="0">
                <a:solidFill>
                  <a:schemeClr val="accent4"/>
                </a:solidFill>
                <a:latin typeface="Century Gothic" panose="020B0502020202020204" pitchFamily="34" charset="0"/>
                <a:cs typeface="Arial" panose="020B0604020202020204" pitchFamily="34" charset="0"/>
              </a:rPr>
              <a:t>Proceso Nivel 1: </a:t>
            </a:r>
            <a:r>
              <a:rPr lang="es-ES" b="1" dirty="0">
                <a:solidFill>
                  <a:schemeClr val="accent4"/>
                </a:solidFill>
                <a:latin typeface="Century Gothic" panose="020B0502020202020204" pitchFamily="34" charset="0"/>
                <a:cs typeface="Arial" panose="020B0604020202020204" pitchFamily="34" charset="0"/>
                <a:sym typeface="Wingdings" panose="05000000000000000000" pitchFamily="2" charset="2"/>
              </a:rPr>
              <a:t>Planeación e Implementación de la Estrategia</a:t>
            </a:r>
            <a:endParaRPr lang="es-CO" b="1" dirty="0">
              <a:solidFill>
                <a:schemeClr val="accent4"/>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35673090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CuadroTexto 83">
            <a:extLst>
              <a:ext uri="{FF2B5EF4-FFF2-40B4-BE49-F238E27FC236}">
                <a16:creationId xmlns:a16="http://schemas.microsoft.com/office/drawing/2014/main" id="{293DBAF3-3942-4C58-8A63-D4484E215E20}"/>
              </a:ext>
            </a:extLst>
          </p:cNvPr>
          <p:cNvSpPr txBox="1"/>
          <p:nvPr/>
        </p:nvSpPr>
        <p:spPr>
          <a:xfrm>
            <a:off x="4848924" y="4484829"/>
            <a:ext cx="5277715" cy="1620000"/>
          </a:xfrm>
          <a:prstGeom prst="rect">
            <a:avLst/>
          </a:prstGeom>
          <a:noFill/>
          <a:ln>
            <a:solidFill>
              <a:schemeClr val="accent6"/>
            </a:solidFill>
          </a:ln>
        </p:spPr>
        <p:txBody>
          <a:bodyPr wrap="square" rtlCol="0">
            <a:spAutoFit/>
          </a:bodyPr>
          <a:lstStyle/>
          <a:p>
            <a:endParaRPr lang="es-CO" sz="2000"/>
          </a:p>
        </p:txBody>
      </p:sp>
      <p:sp>
        <p:nvSpPr>
          <p:cNvPr id="86" name="Rectángulo 85">
            <a:extLst>
              <a:ext uri="{FF2B5EF4-FFF2-40B4-BE49-F238E27FC236}">
                <a16:creationId xmlns:a16="http://schemas.microsoft.com/office/drawing/2014/main" id="{7696A978-4362-4DE3-8C58-0F58608C4AA6}"/>
              </a:ext>
            </a:extLst>
          </p:cNvPr>
          <p:cNvSpPr/>
          <p:nvPr/>
        </p:nvSpPr>
        <p:spPr>
          <a:xfrm>
            <a:off x="4864690" y="4536763"/>
            <a:ext cx="5261949" cy="461665"/>
          </a:xfrm>
          <a:prstGeom prst="rect">
            <a:avLst/>
          </a:prstGeom>
          <a:ln>
            <a:noFill/>
          </a:ln>
        </p:spPr>
        <p:txBody>
          <a:bodyPr wrap="square" anchor="t">
            <a:spAutoFit/>
          </a:bodyPr>
          <a:lstStyle/>
          <a:p>
            <a:pPr algn="just"/>
            <a:r>
              <a:rPr lang="es-ES" sz="1200" b="1">
                <a:solidFill>
                  <a:schemeClr val="accent4"/>
                </a:solidFill>
                <a:sym typeface="Wingdings" panose="05000000000000000000" pitchFamily="2" charset="2"/>
              </a:rPr>
              <a:t>Total Proceso Nivel 1 de Nuevos Negocios, Adquisiciones y Fusiones: </a:t>
            </a:r>
            <a:r>
              <a:rPr lang="es-ES" sz="1200">
                <a:solidFill>
                  <a:schemeClr val="accent4"/>
                </a:solidFill>
                <a:sym typeface="Wingdings" panose="05000000000000000000" pitchFamily="2" charset="2"/>
              </a:rPr>
              <a:t>3 decisiones críticas.</a:t>
            </a:r>
            <a:endParaRPr lang="es-CO" sz="1200">
              <a:solidFill>
                <a:srgbClr val="254147"/>
              </a:solidFill>
            </a:endParaRPr>
          </a:p>
        </p:txBody>
      </p:sp>
      <p:graphicFrame>
        <p:nvGraphicFramePr>
          <p:cNvPr id="5" name="Objeto 4" hidden="1">
            <a:extLst>
              <a:ext uri="{FF2B5EF4-FFF2-40B4-BE49-F238E27FC236}">
                <a16:creationId xmlns:a16="http://schemas.microsoft.com/office/drawing/2014/main" id="{0740088A-8ABF-414B-8746-763C3F660F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421" imgH="423" progId="TCLayout.ActiveDocument.1">
                  <p:embed/>
                </p:oleObj>
              </mc:Choice>
              <mc:Fallback>
                <p:oleObj name="Diapositiva de think-cell" r:id="rId5" imgW="421" imgH="423" progId="TCLayout.ActiveDocument.1">
                  <p:embed/>
                  <p:pic>
                    <p:nvPicPr>
                      <p:cNvPr id="5" name="Objeto 4" hidden="1">
                        <a:extLst>
                          <a:ext uri="{FF2B5EF4-FFF2-40B4-BE49-F238E27FC236}">
                            <a16:creationId xmlns:a16="http://schemas.microsoft.com/office/drawing/2014/main" id="{0740088A-8ABF-414B-8746-763C3F660F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42B40C10-F876-4F1B-842D-C3F6355B6C8A}"/>
              </a:ext>
            </a:extLst>
          </p:cNvPr>
          <p:cNvSpPr/>
          <p:nvPr>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419" sz="2000" b="1">
              <a:solidFill>
                <a:schemeClr val="tx1"/>
              </a:solidFill>
              <a:latin typeface="Arial" panose="020B0604020202020204" pitchFamily="34" charset="0"/>
              <a:ea typeface="+mj-ea"/>
              <a:cs typeface="+mj-cs"/>
              <a:sym typeface="Arial" panose="020B0604020202020204" pitchFamily="34" charset="0"/>
            </a:endParaRPr>
          </a:p>
        </p:txBody>
      </p:sp>
      <p:sp>
        <p:nvSpPr>
          <p:cNvPr id="2" name="Marcador de número de diapositiva 1">
            <a:extLst>
              <a:ext uri="{FF2B5EF4-FFF2-40B4-BE49-F238E27FC236}">
                <a16:creationId xmlns:a16="http://schemas.microsoft.com/office/drawing/2014/main" id="{3A93B487-116E-4767-AA0D-CAE2A460FBE4}"/>
              </a:ext>
            </a:extLst>
          </p:cNvPr>
          <p:cNvSpPr>
            <a:spLocks noGrp="1"/>
          </p:cNvSpPr>
          <p:nvPr>
            <p:ph type="sldNum" sz="quarter" idx="10"/>
          </p:nvPr>
        </p:nvSpPr>
        <p:spPr>
          <a:xfrm>
            <a:off x="11344876" y="6428983"/>
            <a:ext cx="847124" cy="365125"/>
          </a:xfrm>
        </p:spPr>
        <p:txBody>
          <a:bodyPr/>
          <a:lstStyle/>
          <a:p>
            <a:fld id="{02F25750-4209-4357-A72F-45445C8044EF}" type="slidenum">
              <a:rPr lang="es-CO" smtClean="0"/>
              <a:pPr/>
              <a:t>33</a:t>
            </a:fld>
            <a:endParaRPr lang="es-CO"/>
          </a:p>
        </p:txBody>
      </p:sp>
      <p:sp>
        <p:nvSpPr>
          <p:cNvPr id="97" name="Rectángulo 96">
            <a:extLst>
              <a:ext uri="{FF2B5EF4-FFF2-40B4-BE49-F238E27FC236}">
                <a16:creationId xmlns:a16="http://schemas.microsoft.com/office/drawing/2014/main" id="{99300021-C267-43BD-A0F5-B3ECE622345E}"/>
              </a:ext>
            </a:extLst>
          </p:cNvPr>
          <p:cNvSpPr>
            <a:spLocks/>
          </p:cNvSpPr>
          <p:nvPr/>
        </p:nvSpPr>
        <p:spPr>
          <a:xfrm>
            <a:off x="918473" y="1054807"/>
            <a:ext cx="2519356" cy="2189009"/>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400">
                <a:solidFill>
                  <a:schemeClr val="tx2"/>
                </a:solidFill>
              </a:rPr>
              <a:t>Autorizar el paso de la fase de búsqueda y filtro a la fase de estructuración y análisis, para los nuevos negocios de crecimiento inorgánico</a:t>
            </a:r>
          </a:p>
        </p:txBody>
      </p:sp>
      <p:sp>
        <p:nvSpPr>
          <p:cNvPr id="3" name="Elipse 2">
            <a:extLst>
              <a:ext uri="{FF2B5EF4-FFF2-40B4-BE49-F238E27FC236}">
                <a16:creationId xmlns:a16="http://schemas.microsoft.com/office/drawing/2014/main" id="{815B10B7-60B3-4C63-8431-70CC556387C9}"/>
              </a:ext>
            </a:extLst>
          </p:cNvPr>
          <p:cNvSpPr/>
          <p:nvPr/>
        </p:nvSpPr>
        <p:spPr>
          <a:xfrm>
            <a:off x="747117" y="888483"/>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1</a:t>
            </a:r>
            <a:endParaRPr lang="es-CO" sz="1200" b="1">
              <a:solidFill>
                <a:schemeClr val="bg1"/>
              </a:solidFill>
            </a:endParaRPr>
          </a:p>
        </p:txBody>
      </p:sp>
      <p:sp>
        <p:nvSpPr>
          <p:cNvPr id="117" name="CuadroTexto 116">
            <a:extLst>
              <a:ext uri="{FF2B5EF4-FFF2-40B4-BE49-F238E27FC236}">
                <a16:creationId xmlns:a16="http://schemas.microsoft.com/office/drawing/2014/main" id="{8960734A-1053-42D2-BD72-6674DCCE6A97}"/>
              </a:ext>
            </a:extLst>
          </p:cNvPr>
          <p:cNvSpPr txBox="1"/>
          <p:nvPr/>
        </p:nvSpPr>
        <p:spPr>
          <a:xfrm>
            <a:off x="5034997" y="5710039"/>
            <a:ext cx="1391405" cy="230832"/>
          </a:xfrm>
          <a:prstGeom prst="rect">
            <a:avLst/>
          </a:prstGeom>
          <a:noFill/>
          <a:ln w="19050">
            <a:solidFill>
              <a:srgbClr val="002060"/>
            </a:solidFill>
          </a:ln>
        </p:spPr>
        <p:txBody>
          <a:bodyPr wrap="square" rtlCol="0">
            <a:spAutoFit/>
          </a:bodyPr>
          <a:lstStyle/>
          <a:p>
            <a:pPr algn="ctr"/>
            <a:r>
              <a:rPr lang="es-ES" sz="900">
                <a:solidFill>
                  <a:schemeClr val="tx2"/>
                </a:solidFill>
              </a:rPr>
              <a:t>Palanca de Agilidad </a:t>
            </a:r>
            <a:endParaRPr lang="es-CO" sz="900">
              <a:solidFill>
                <a:schemeClr val="tx2"/>
              </a:solidFill>
            </a:endParaRPr>
          </a:p>
        </p:txBody>
      </p:sp>
      <p:sp>
        <p:nvSpPr>
          <p:cNvPr id="118" name="CuadroTexto 117">
            <a:extLst>
              <a:ext uri="{FF2B5EF4-FFF2-40B4-BE49-F238E27FC236}">
                <a16:creationId xmlns:a16="http://schemas.microsoft.com/office/drawing/2014/main" id="{C77431EE-A761-4323-B75F-692D4CAEC462}"/>
              </a:ext>
            </a:extLst>
          </p:cNvPr>
          <p:cNvSpPr txBox="1"/>
          <p:nvPr/>
        </p:nvSpPr>
        <p:spPr>
          <a:xfrm>
            <a:off x="6753324" y="5707555"/>
            <a:ext cx="1393200" cy="230832"/>
          </a:xfrm>
          <a:prstGeom prst="rect">
            <a:avLst/>
          </a:prstGeom>
          <a:noFill/>
          <a:ln w="19050">
            <a:solidFill>
              <a:schemeClr val="accent3"/>
            </a:solidFill>
          </a:ln>
        </p:spPr>
        <p:txBody>
          <a:bodyPr wrap="square" rtlCol="0">
            <a:spAutoFit/>
          </a:bodyPr>
          <a:lstStyle/>
          <a:p>
            <a:pPr algn="ctr"/>
            <a:r>
              <a:rPr lang="es-ES" sz="900">
                <a:solidFill>
                  <a:schemeClr val="tx2"/>
                </a:solidFill>
              </a:rPr>
              <a:t>Palanca de Claridad</a:t>
            </a:r>
            <a:endParaRPr lang="es-CO" sz="900">
              <a:solidFill>
                <a:schemeClr val="tx2"/>
              </a:solidFill>
            </a:endParaRPr>
          </a:p>
        </p:txBody>
      </p:sp>
      <p:sp>
        <p:nvSpPr>
          <p:cNvPr id="119" name="CuadroTexto 118">
            <a:extLst>
              <a:ext uri="{FF2B5EF4-FFF2-40B4-BE49-F238E27FC236}">
                <a16:creationId xmlns:a16="http://schemas.microsoft.com/office/drawing/2014/main" id="{A66DDFF6-8990-4632-9B16-3852035C81BA}"/>
              </a:ext>
            </a:extLst>
          </p:cNvPr>
          <p:cNvSpPr txBox="1"/>
          <p:nvPr/>
        </p:nvSpPr>
        <p:spPr>
          <a:xfrm>
            <a:off x="8473447" y="5707555"/>
            <a:ext cx="1486626" cy="230832"/>
          </a:xfrm>
          <a:prstGeom prst="rect">
            <a:avLst/>
          </a:prstGeom>
          <a:noFill/>
          <a:ln w="19050">
            <a:solidFill>
              <a:schemeClr val="bg2">
                <a:lumMod val="50000"/>
              </a:schemeClr>
            </a:solidFill>
          </a:ln>
        </p:spPr>
        <p:txBody>
          <a:bodyPr wrap="square" rtlCol="0">
            <a:spAutoFit/>
          </a:bodyPr>
          <a:lstStyle/>
          <a:p>
            <a:pPr algn="ctr"/>
            <a:r>
              <a:rPr lang="es-ES" sz="900">
                <a:solidFill>
                  <a:schemeClr val="tx2"/>
                </a:solidFill>
              </a:rPr>
              <a:t>Palanca de Consistencia</a:t>
            </a:r>
            <a:endParaRPr lang="es-CO" sz="900">
              <a:solidFill>
                <a:schemeClr val="tx2"/>
              </a:solidFill>
            </a:endParaRPr>
          </a:p>
        </p:txBody>
      </p:sp>
      <p:grpSp>
        <p:nvGrpSpPr>
          <p:cNvPr id="16" name="Grupo 15">
            <a:extLst>
              <a:ext uri="{FF2B5EF4-FFF2-40B4-BE49-F238E27FC236}">
                <a16:creationId xmlns:a16="http://schemas.microsoft.com/office/drawing/2014/main" id="{C2A3B512-7A1C-4FAF-A81F-067631C52819}"/>
              </a:ext>
            </a:extLst>
          </p:cNvPr>
          <p:cNvGrpSpPr/>
          <p:nvPr/>
        </p:nvGrpSpPr>
        <p:grpSpPr>
          <a:xfrm>
            <a:off x="5733372" y="5068624"/>
            <a:ext cx="1514445" cy="400110"/>
            <a:chOff x="7423104" y="4811068"/>
            <a:chExt cx="1514445" cy="400110"/>
          </a:xfrm>
        </p:grpSpPr>
        <p:sp>
          <p:nvSpPr>
            <p:cNvPr id="91" name="CuadroTexto 90">
              <a:extLst>
                <a:ext uri="{FF2B5EF4-FFF2-40B4-BE49-F238E27FC236}">
                  <a16:creationId xmlns:a16="http://schemas.microsoft.com/office/drawing/2014/main" id="{232CC050-3BFF-4FBB-A326-2B3CF9176A99}"/>
                </a:ext>
              </a:extLst>
            </p:cNvPr>
            <p:cNvSpPr txBox="1"/>
            <p:nvPr/>
          </p:nvSpPr>
          <p:spPr>
            <a:xfrm>
              <a:off x="7830601" y="4811068"/>
              <a:ext cx="1106948" cy="400110"/>
            </a:xfrm>
            <a:prstGeom prst="rect">
              <a:avLst/>
            </a:prstGeom>
            <a:noFill/>
          </p:spPr>
          <p:txBody>
            <a:bodyPr wrap="square" rtlCol="0">
              <a:spAutoFit/>
            </a:bodyPr>
            <a:lstStyle/>
            <a:p>
              <a:r>
                <a:rPr lang="es-ES" sz="1000">
                  <a:solidFill>
                    <a:schemeClr val="accent1">
                      <a:lumMod val="25000"/>
                    </a:schemeClr>
                  </a:solidFill>
                </a:rPr>
                <a:t>Junta Directiva</a:t>
              </a:r>
            </a:p>
            <a:p>
              <a:r>
                <a:rPr lang="es-ES" sz="1000">
                  <a:solidFill>
                    <a:schemeClr val="accent1">
                      <a:lumMod val="25000"/>
                    </a:schemeClr>
                  </a:solidFill>
                </a:rPr>
                <a:t>34 %</a:t>
              </a:r>
              <a:endParaRPr lang="es-CO" sz="1000">
                <a:solidFill>
                  <a:schemeClr val="accent1">
                    <a:lumMod val="25000"/>
                  </a:schemeClr>
                </a:solidFill>
              </a:endParaRPr>
            </a:p>
          </p:txBody>
        </p:sp>
        <p:sp>
          <p:nvSpPr>
            <p:cNvPr id="122" name="CuadroTexto 121">
              <a:extLst>
                <a:ext uri="{FF2B5EF4-FFF2-40B4-BE49-F238E27FC236}">
                  <a16:creationId xmlns:a16="http://schemas.microsoft.com/office/drawing/2014/main" id="{F92D7973-FA2F-45B1-8D65-1BB666EE24DD}"/>
                </a:ext>
              </a:extLst>
            </p:cNvPr>
            <p:cNvSpPr txBox="1"/>
            <p:nvPr/>
          </p:nvSpPr>
          <p:spPr>
            <a:xfrm>
              <a:off x="7423104" y="4887624"/>
              <a:ext cx="403200" cy="216000"/>
            </a:xfrm>
            <a:prstGeom prst="rect">
              <a:avLst/>
            </a:prstGeom>
            <a:solidFill>
              <a:schemeClr val="bg1"/>
            </a:solidFill>
            <a:ln w="19050">
              <a:solidFill>
                <a:schemeClr val="accent5"/>
              </a:solidFill>
            </a:ln>
          </p:spPr>
          <p:txBody>
            <a:bodyPr wrap="square" rtlCol="0">
              <a:spAutoFit/>
            </a:bodyPr>
            <a:lstStyle/>
            <a:p>
              <a:pPr algn="ctr"/>
              <a:r>
                <a:rPr lang="es-ES" sz="900"/>
                <a:t>JD</a:t>
              </a:r>
              <a:endParaRPr lang="es-CO" sz="900"/>
            </a:p>
          </p:txBody>
        </p:sp>
      </p:grpSp>
      <p:sp>
        <p:nvSpPr>
          <p:cNvPr id="147" name="Rectángulo 146">
            <a:extLst>
              <a:ext uri="{FF2B5EF4-FFF2-40B4-BE49-F238E27FC236}">
                <a16:creationId xmlns:a16="http://schemas.microsoft.com/office/drawing/2014/main" id="{28985963-B271-4E6A-83C5-F3A62A87E6BA}"/>
              </a:ext>
            </a:extLst>
          </p:cNvPr>
          <p:cNvSpPr>
            <a:spLocks/>
          </p:cNvSpPr>
          <p:nvPr/>
        </p:nvSpPr>
        <p:spPr>
          <a:xfrm>
            <a:off x="3746722" y="1049876"/>
            <a:ext cx="2519356" cy="2189009"/>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400">
                <a:solidFill>
                  <a:schemeClr val="tx2"/>
                </a:solidFill>
              </a:rPr>
              <a:t>Autorizar la presentación de ofertas no vinculantes para los nuevos negocios  de crecimiento inorgánico</a:t>
            </a:r>
          </a:p>
        </p:txBody>
      </p:sp>
      <p:sp>
        <p:nvSpPr>
          <p:cNvPr id="156" name="Elipse 155">
            <a:extLst>
              <a:ext uri="{FF2B5EF4-FFF2-40B4-BE49-F238E27FC236}">
                <a16:creationId xmlns:a16="http://schemas.microsoft.com/office/drawing/2014/main" id="{D69C9D48-D741-473B-B9DB-21F11F279802}"/>
              </a:ext>
            </a:extLst>
          </p:cNvPr>
          <p:cNvSpPr/>
          <p:nvPr/>
        </p:nvSpPr>
        <p:spPr>
          <a:xfrm>
            <a:off x="3589251" y="883552"/>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2</a:t>
            </a:r>
            <a:endParaRPr lang="es-CO" sz="1200" b="1">
              <a:solidFill>
                <a:schemeClr val="bg1"/>
              </a:solidFill>
            </a:endParaRPr>
          </a:p>
        </p:txBody>
      </p:sp>
      <p:sp>
        <p:nvSpPr>
          <p:cNvPr id="21" name="Rectángulo 20">
            <a:extLst>
              <a:ext uri="{FF2B5EF4-FFF2-40B4-BE49-F238E27FC236}">
                <a16:creationId xmlns:a16="http://schemas.microsoft.com/office/drawing/2014/main" id="{6DF582FE-4ED3-41AC-A715-CB130A94E54C}"/>
              </a:ext>
            </a:extLst>
          </p:cNvPr>
          <p:cNvSpPr>
            <a:spLocks/>
          </p:cNvSpPr>
          <p:nvPr/>
        </p:nvSpPr>
        <p:spPr>
          <a:xfrm>
            <a:off x="6600060" y="1054807"/>
            <a:ext cx="4891354" cy="2190889"/>
          </a:xfrm>
          <a:prstGeom prst="rect">
            <a:avLst/>
          </a:prstGeom>
          <a:solidFill>
            <a:schemeClr val="accent1">
              <a:alpha val="68000"/>
            </a:schemeClr>
          </a:solidFill>
          <a:ln w="285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_tradnl" sz="1400">
                <a:solidFill>
                  <a:schemeClr val="tx2"/>
                </a:solidFill>
              </a:rPr>
              <a:t>Autorizar los nuevos negocios de crecimiento inorgánico, en especial, iniciar negociaciones, aceptar, presentar o retirar oferta vinculante para la adquisición o enajenación de acciones, partes de interés o cuotas en sociedades, patrimonios autónomos, empresas unipersonales o en cualquier entidad jurídica, llevar a cabo fusiones, adquisiciones o desinversiones, bien sea directamente o a través de cualquier filial o subordinada de la Sociedad</a:t>
            </a:r>
            <a:endParaRPr lang="es-CO" sz="1400">
              <a:solidFill>
                <a:schemeClr val="tx2"/>
              </a:solidFill>
            </a:endParaRPr>
          </a:p>
        </p:txBody>
      </p:sp>
      <p:sp>
        <p:nvSpPr>
          <p:cNvPr id="22" name="Elipse 21">
            <a:extLst>
              <a:ext uri="{FF2B5EF4-FFF2-40B4-BE49-F238E27FC236}">
                <a16:creationId xmlns:a16="http://schemas.microsoft.com/office/drawing/2014/main" id="{E652DC89-A856-4D57-8E2C-B61602C127E1}"/>
              </a:ext>
            </a:extLst>
          </p:cNvPr>
          <p:cNvSpPr/>
          <p:nvPr/>
        </p:nvSpPr>
        <p:spPr>
          <a:xfrm>
            <a:off x="6442590" y="888483"/>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3</a:t>
            </a:r>
            <a:endParaRPr lang="es-CO" sz="1200" b="1">
              <a:solidFill>
                <a:schemeClr val="bg1"/>
              </a:solidFill>
            </a:endParaRPr>
          </a:p>
        </p:txBody>
      </p:sp>
      <p:sp>
        <p:nvSpPr>
          <p:cNvPr id="6" name="Rectangle 30">
            <a:extLst>
              <a:ext uri="{FF2B5EF4-FFF2-40B4-BE49-F238E27FC236}">
                <a16:creationId xmlns:a16="http://schemas.microsoft.com/office/drawing/2014/main" id="{0CD98A5D-4754-4786-990D-B12D06A1270A}"/>
              </a:ext>
            </a:extLst>
          </p:cNvPr>
          <p:cNvSpPr>
            <a:spLocks/>
          </p:cNvSpPr>
          <p:nvPr/>
        </p:nvSpPr>
        <p:spPr>
          <a:xfrm>
            <a:off x="918473" y="3460898"/>
            <a:ext cx="2519356" cy="552116"/>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Todos los montos</a:t>
            </a:r>
            <a:endParaRPr lang="es-CO" sz="1000">
              <a:solidFill>
                <a:schemeClr val="tx2"/>
              </a:solidFill>
            </a:endParaRPr>
          </a:p>
        </p:txBody>
      </p:sp>
      <p:grpSp>
        <p:nvGrpSpPr>
          <p:cNvPr id="48" name="Grupo 47">
            <a:extLst>
              <a:ext uri="{FF2B5EF4-FFF2-40B4-BE49-F238E27FC236}">
                <a16:creationId xmlns:a16="http://schemas.microsoft.com/office/drawing/2014/main" id="{BF9B7369-5424-4681-AAA3-C537D0F863B5}"/>
              </a:ext>
            </a:extLst>
          </p:cNvPr>
          <p:cNvGrpSpPr/>
          <p:nvPr/>
        </p:nvGrpSpPr>
        <p:grpSpPr>
          <a:xfrm>
            <a:off x="7801858" y="4999264"/>
            <a:ext cx="1693129" cy="507831"/>
            <a:chOff x="12393947" y="3591927"/>
            <a:chExt cx="1693129" cy="507831"/>
          </a:xfrm>
        </p:grpSpPr>
        <p:sp>
          <p:nvSpPr>
            <p:cNvPr id="49" name="CuadroTexto 48">
              <a:extLst>
                <a:ext uri="{FF2B5EF4-FFF2-40B4-BE49-F238E27FC236}">
                  <a16:creationId xmlns:a16="http://schemas.microsoft.com/office/drawing/2014/main" id="{C0197DAE-A62A-4F3E-9B20-3A2EF1F5519D}"/>
                </a:ext>
              </a:extLst>
            </p:cNvPr>
            <p:cNvSpPr txBox="1"/>
            <p:nvPr/>
          </p:nvSpPr>
          <p:spPr>
            <a:xfrm>
              <a:off x="12773308" y="3591927"/>
              <a:ext cx="1313768" cy="507831"/>
            </a:xfrm>
            <a:prstGeom prst="rect">
              <a:avLst/>
            </a:prstGeom>
            <a:noFill/>
          </p:spPr>
          <p:txBody>
            <a:bodyPr wrap="square" rtlCol="0">
              <a:spAutoFit/>
            </a:bodyPr>
            <a:lstStyle/>
            <a:p>
              <a:r>
                <a:rPr lang="es-ES" sz="900">
                  <a:solidFill>
                    <a:schemeClr val="accent1">
                      <a:lumMod val="25000"/>
                    </a:schemeClr>
                  </a:solidFill>
                </a:rPr>
                <a:t>Comité de Negocios e Inversiones</a:t>
              </a:r>
            </a:p>
            <a:p>
              <a:r>
                <a:rPr lang="es-ES" sz="900">
                  <a:solidFill>
                    <a:schemeClr val="accent1">
                      <a:lumMod val="25000"/>
                    </a:schemeClr>
                  </a:solidFill>
                </a:rPr>
                <a:t>66 %</a:t>
              </a:r>
              <a:endParaRPr lang="es-CO" sz="900">
                <a:solidFill>
                  <a:schemeClr val="accent1">
                    <a:lumMod val="25000"/>
                  </a:schemeClr>
                </a:solidFill>
              </a:endParaRPr>
            </a:p>
          </p:txBody>
        </p:sp>
        <p:sp>
          <p:nvSpPr>
            <p:cNvPr id="50" name="CuadroTexto 49">
              <a:extLst>
                <a:ext uri="{FF2B5EF4-FFF2-40B4-BE49-F238E27FC236}">
                  <a16:creationId xmlns:a16="http://schemas.microsoft.com/office/drawing/2014/main" id="{A7057143-C85B-44EE-92F1-EC9A480F7497}"/>
                </a:ext>
              </a:extLst>
            </p:cNvPr>
            <p:cNvSpPr txBox="1"/>
            <p:nvPr/>
          </p:nvSpPr>
          <p:spPr>
            <a:xfrm>
              <a:off x="12393947" y="3732653"/>
              <a:ext cx="432000" cy="215444"/>
            </a:xfrm>
            <a:prstGeom prst="rect">
              <a:avLst/>
            </a:prstGeom>
            <a:solidFill>
              <a:schemeClr val="bg1"/>
            </a:solidFill>
            <a:ln w="19050">
              <a:solidFill>
                <a:srgbClr val="FFFF00"/>
              </a:solidFill>
            </a:ln>
          </p:spPr>
          <p:txBody>
            <a:bodyPr wrap="square" rtlCol="0">
              <a:spAutoFit/>
            </a:bodyPr>
            <a:lstStyle/>
            <a:p>
              <a:pPr algn="ctr"/>
              <a:r>
                <a:rPr lang="es-ES" sz="800"/>
                <a:t>CNI</a:t>
              </a:r>
              <a:endParaRPr lang="es-CO" sz="800"/>
            </a:p>
          </p:txBody>
        </p:sp>
      </p:grpSp>
      <p:sp>
        <p:nvSpPr>
          <p:cNvPr id="13" name="CuadroTexto 12">
            <a:extLst>
              <a:ext uri="{FF2B5EF4-FFF2-40B4-BE49-F238E27FC236}">
                <a16:creationId xmlns:a16="http://schemas.microsoft.com/office/drawing/2014/main" id="{AEA9A67C-1F4B-4E19-9DBD-B1E12EB37465}"/>
              </a:ext>
            </a:extLst>
          </p:cNvPr>
          <p:cNvSpPr txBox="1"/>
          <p:nvPr/>
        </p:nvSpPr>
        <p:spPr>
          <a:xfrm>
            <a:off x="1962151" y="3875886"/>
            <a:ext cx="432000" cy="215444"/>
          </a:xfrm>
          <a:prstGeom prst="rect">
            <a:avLst/>
          </a:prstGeom>
          <a:solidFill>
            <a:schemeClr val="bg1"/>
          </a:solidFill>
          <a:ln w="19050">
            <a:solidFill>
              <a:srgbClr val="FFFF00"/>
            </a:solidFill>
          </a:ln>
        </p:spPr>
        <p:txBody>
          <a:bodyPr wrap="square" rtlCol="0">
            <a:spAutoFit/>
          </a:bodyPr>
          <a:lstStyle/>
          <a:p>
            <a:pPr algn="ctr"/>
            <a:r>
              <a:rPr lang="es-ES" sz="800"/>
              <a:t>CNI</a:t>
            </a:r>
            <a:endParaRPr lang="es-CO" sz="800"/>
          </a:p>
        </p:txBody>
      </p:sp>
      <p:sp>
        <p:nvSpPr>
          <p:cNvPr id="15" name="Rectangle 30">
            <a:extLst>
              <a:ext uri="{FF2B5EF4-FFF2-40B4-BE49-F238E27FC236}">
                <a16:creationId xmlns:a16="http://schemas.microsoft.com/office/drawing/2014/main" id="{3C746AF5-F53B-4C8F-8FE1-9515D2C222F3}"/>
              </a:ext>
            </a:extLst>
          </p:cNvPr>
          <p:cNvSpPr>
            <a:spLocks/>
          </p:cNvSpPr>
          <p:nvPr/>
        </p:nvSpPr>
        <p:spPr>
          <a:xfrm>
            <a:off x="3746722" y="3447146"/>
            <a:ext cx="2519356" cy="552116"/>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Todos los montos</a:t>
            </a:r>
            <a:endParaRPr lang="es-CO" sz="1000">
              <a:solidFill>
                <a:schemeClr val="tx2"/>
              </a:solidFill>
            </a:endParaRPr>
          </a:p>
        </p:txBody>
      </p:sp>
      <p:sp>
        <p:nvSpPr>
          <p:cNvPr id="17" name="CuadroTexto 16">
            <a:extLst>
              <a:ext uri="{FF2B5EF4-FFF2-40B4-BE49-F238E27FC236}">
                <a16:creationId xmlns:a16="http://schemas.microsoft.com/office/drawing/2014/main" id="{E28CF9EE-7057-4671-8471-F5AAB489FC3D}"/>
              </a:ext>
            </a:extLst>
          </p:cNvPr>
          <p:cNvSpPr txBox="1"/>
          <p:nvPr/>
        </p:nvSpPr>
        <p:spPr>
          <a:xfrm>
            <a:off x="4790400" y="3862134"/>
            <a:ext cx="432000" cy="215444"/>
          </a:xfrm>
          <a:prstGeom prst="rect">
            <a:avLst/>
          </a:prstGeom>
          <a:solidFill>
            <a:schemeClr val="bg1"/>
          </a:solidFill>
          <a:ln w="19050">
            <a:solidFill>
              <a:srgbClr val="FFFF00"/>
            </a:solidFill>
          </a:ln>
        </p:spPr>
        <p:txBody>
          <a:bodyPr wrap="square" rtlCol="0">
            <a:spAutoFit/>
          </a:bodyPr>
          <a:lstStyle/>
          <a:p>
            <a:pPr algn="ctr"/>
            <a:r>
              <a:rPr lang="es-ES" sz="800"/>
              <a:t>CNI</a:t>
            </a:r>
            <a:endParaRPr lang="es-CO" sz="800"/>
          </a:p>
        </p:txBody>
      </p:sp>
      <p:sp>
        <p:nvSpPr>
          <p:cNvPr id="19" name="CuadroTexto 18">
            <a:extLst>
              <a:ext uri="{FF2B5EF4-FFF2-40B4-BE49-F238E27FC236}">
                <a16:creationId xmlns:a16="http://schemas.microsoft.com/office/drawing/2014/main" id="{29B43B0B-4ADF-4336-B509-25E00EC7C6BB}"/>
              </a:ext>
            </a:extLst>
          </p:cNvPr>
          <p:cNvSpPr txBox="1"/>
          <p:nvPr/>
        </p:nvSpPr>
        <p:spPr>
          <a:xfrm>
            <a:off x="8844137" y="3167072"/>
            <a:ext cx="403200" cy="230832"/>
          </a:xfrm>
          <a:prstGeom prst="rect">
            <a:avLst/>
          </a:prstGeom>
          <a:solidFill>
            <a:schemeClr val="bg1"/>
          </a:solidFill>
          <a:ln w="19050">
            <a:solidFill>
              <a:schemeClr val="accent5"/>
            </a:solidFill>
          </a:ln>
        </p:spPr>
        <p:txBody>
          <a:bodyPr wrap="square" rtlCol="0">
            <a:spAutoFit/>
          </a:bodyPr>
          <a:lstStyle/>
          <a:p>
            <a:pPr algn="ctr"/>
            <a:r>
              <a:rPr lang="es-ES" sz="900"/>
              <a:t>JD</a:t>
            </a:r>
            <a:endParaRPr lang="es-CO" sz="900"/>
          </a:p>
        </p:txBody>
      </p:sp>
      <p:sp>
        <p:nvSpPr>
          <p:cNvPr id="28" name="Elipse 27">
            <a:extLst>
              <a:ext uri="{FF2B5EF4-FFF2-40B4-BE49-F238E27FC236}">
                <a16:creationId xmlns:a16="http://schemas.microsoft.com/office/drawing/2014/main" id="{E97B9B3A-95E7-4A6A-A4D3-29A71920645D}"/>
              </a:ext>
            </a:extLst>
          </p:cNvPr>
          <p:cNvSpPr/>
          <p:nvPr/>
        </p:nvSpPr>
        <p:spPr>
          <a:xfrm>
            <a:off x="11139391" y="2911000"/>
            <a:ext cx="205485" cy="230832"/>
          </a:xfrm>
          <a:prstGeom prst="ellipse">
            <a:avLst/>
          </a:prstGeom>
          <a:solidFill>
            <a:srgbClr val="92D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err="1">
              <a:solidFill>
                <a:schemeClr val="tx1"/>
              </a:solidFill>
            </a:endParaRPr>
          </a:p>
        </p:txBody>
      </p:sp>
      <p:sp>
        <p:nvSpPr>
          <p:cNvPr id="29" name="CuadroTexto 28">
            <a:extLst>
              <a:ext uri="{FF2B5EF4-FFF2-40B4-BE49-F238E27FC236}">
                <a16:creationId xmlns:a16="http://schemas.microsoft.com/office/drawing/2014/main" id="{9A988365-403E-4A35-ADD9-5208307902C2}"/>
              </a:ext>
            </a:extLst>
          </p:cNvPr>
          <p:cNvSpPr txBox="1"/>
          <p:nvPr/>
        </p:nvSpPr>
        <p:spPr>
          <a:xfrm>
            <a:off x="10312713" y="4702479"/>
            <a:ext cx="1276496" cy="652955"/>
          </a:xfrm>
          <a:prstGeom prst="rect">
            <a:avLst/>
          </a:prstGeom>
          <a:noFill/>
          <a:ln>
            <a:solidFill>
              <a:schemeClr val="tx1"/>
            </a:solidFill>
          </a:ln>
        </p:spPr>
        <p:txBody>
          <a:bodyPr wrap="square" rtlCol="0">
            <a:spAutoFit/>
          </a:bodyPr>
          <a:lstStyle/>
          <a:p>
            <a:endParaRPr lang="es-CO"/>
          </a:p>
        </p:txBody>
      </p:sp>
      <p:sp>
        <p:nvSpPr>
          <p:cNvPr id="30" name="Elipse 29">
            <a:extLst>
              <a:ext uri="{FF2B5EF4-FFF2-40B4-BE49-F238E27FC236}">
                <a16:creationId xmlns:a16="http://schemas.microsoft.com/office/drawing/2014/main" id="{C2DD4B76-5512-4BD8-91B7-97804BA8FD80}"/>
              </a:ext>
            </a:extLst>
          </p:cNvPr>
          <p:cNvSpPr/>
          <p:nvPr/>
        </p:nvSpPr>
        <p:spPr>
          <a:xfrm>
            <a:off x="10510689" y="4932661"/>
            <a:ext cx="205485" cy="230832"/>
          </a:xfrm>
          <a:prstGeom prst="ellipse">
            <a:avLst/>
          </a:prstGeom>
          <a:solidFill>
            <a:srgbClr val="92D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err="1">
              <a:solidFill>
                <a:schemeClr val="tx1"/>
              </a:solidFill>
            </a:endParaRPr>
          </a:p>
        </p:txBody>
      </p:sp>
      <p:sp>
        <p:nvSpPr>
          <p:cNvPr id="32" name="CuadroTexto 31">
            <a:extLst>
              <a:ext uri="{FF2B5EF4-FFF2-40B4-BE49-F238E27FC236}">
                <a16:creationId xmlns:a16="http://schemas.microsoft.com/office/drawing/2014/main" id="{62E9A12D-A9C6-4C63-AAE5-35E3B29EB6C4}"/>
              </a:ext>
            </a:extLst>
          </p:cNvPr>
          <p:cNvSpPr txBox="1"/>
          <p:nvPr/>
        </p:nvSpPr>
        <p:spPr>
          <a:xfrm>
            <a:off x="10742084" y="4908228"/>
            <a:ext cx="847124" cy="230832"/>
          </a:xfrm>
          <a:prstGeom prst="rect">
            <a:avLst/>
          </a:prstGeom>
          <a:noFill/>
        </p:spPr>
        <p:txBody>
          <a:bodyPr wrap="square" rtlCol="0">
            <a:spAutoFit/>
          </a:bodyPr>
          <a:lstStyle/>
          <a:p>
            <a:r>
              <a:rPr lang="es-ES" sz="900"/>
              <a:t>En Estatutos</a:t>
            </a:r>
            <a:endParaRPr lang="es-CO" sz="900"/>
          </a:p>
        </p:txBody>
      </p:sp>
      <p:sp>
        <p:nvSpPr>
          <p:cNvPr id="8" name="CuadroTexto 47">
            <a:extLst>
              <a:ext uri="{FF2B5EF4-FFF2-40B4-BE49-F238E27FC236}">
                <a16:creationId xmlns:a16="http://schemas.microsoft.com/office/drawing/2014/main" id="{4CD543E3-8FC2-435E-B6A1-4DA9C810237C}"/>
              </a:ext>
            </a:extLst>
          </p:cNvPr>
          <p:cNvSpPr txBox="1"/>
          <p:nvPr/>
        </p:nvSpPr>
        <p:spPr>
          <a:xfrm>
            <a:off x="44693" y="76443"/>
            <a:ext cx="12102613" cy="738664"/>
          </a:xfrm>
          <a:prstGeom prst="rect">
            <a:avLst/>
          </a:prstGeom>
          <a:noFill/>
          <a:ln>
            <a:noFill/>
          </a:ln>
        </p:spPr>
        <p:txBody>
          <a:bodyPr wrap="square" rtlCol="0">
            <a:spAutoFit/>
          </a:bodyPr>
          <a:lstStyle/>
          <a:p>
            <a:pPr algn="ctr"/>
            <a:r>
              <a:rPr lang="es-ES" sz="2400" b="1" dirty="0">
                <a:solidFill>
                  <a:srgbClr val="10476B"/>
                </a:solidFill>
                <a:latin typeface="Century Gothic" panose="020B0502020202020204" pitchFamily="34" charset="0"/>
                <a:cs typeface="Arial" panose="020B0604020202020204" pitchFamily="34" charset="0"/>
              </a:rPr>
              <a:t>Macroproceso Planeación Estratégica, Nuevos Negocios y Regulación</a:t>
            </a:r>
          </a:p>
          <a:p>
            <a:pPr algn="ctr"/>
            <a:r>
              <a:rPr lang="es-ES" b="1" dirty="0">
                <a:solidFill>
                  <a:schemeClr val="accent4"/>
                </a:solidFill>
                <a:latin typeface="Century Gothic" panose="020B0502020202020204" pitchFamily="34" charset="0"/>
                <a:cs typeface="Arial" panose="020B0604020202020204" pitchFamily="34" charset="0"/>
              </a:rPr>
              <a:t>Proceso Nivel 1: </a:t>
            </a:r>
            <a:r>
              <a:rPr lang="es-ES" b="1" dirty="0">
                <a:solidFill>
                  <a:schemeClr val="accent4"/>
                </a:solidFill>
                <a:latin typeface="Century Gothic" panose="020B0502020202020204" pitchFamily="34" charset="0"/>
                <a:cs typeface="Arial" panose="020B0604020202020204" pitchFamily="34" charset="0"/>
                <a:sym typeface="Wingdings" panose="05000000000000000000" pitchFamily="2" charset="2"/>
              </a:rPr>
              <a:t>Nuevos Negocios, Adquisiciones y Fusiones</a:t>
            </a:r>
            <a:endParaRPr lang="es-CO" b="1" dirty="0">
              <a:solidFill>
                <a:schemeClr val="accent4"/>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41770581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CuadroTexto 83">
            <a:extLst>
              <a:ext uri="{FF2B5EF4-FFF2-40B4-BE49-F238E27FC236}">
                <a16:creationId xmlns:a16="http://schemas.microsoft.com/office/drawing/2014/main" id="{293DBAF3-3942-4C58-8A63-D4484E215E20}"/>
              </a:ext>
            </a:extLst>
          </p:cNvPr>
          <p:cNvSpPr txBox="1"/>
          <p:nvPr/>
        </p:nvSpPr>
        <p:spPr>
          <a:xfrm>
            <a:off x="4662592" y="4316685"/>
            <a:ext cx="7376251" cy="1872000"/>
          </a:xfrm>
          <a:prstGeom prst="rect">
            <a:avLst/>
          </a:prstGeom>
          <a:noFill/>
          <a:ln>
            <a:solidFill>
              <a:schemeClr val="accent6"/>
            </a:solidFill>
          </a:ln>
        </p:spPr>
        <p:txBody>
          <a:bodyPr wrap="square" rtlCol="0">
            <a:spAutoFit/>
          </a:bodyPr>
          <a:lstStyle/>
          <a:p>
            <a:endParaRPr lang="es-CO" sz="2000"/>
          </a:p>
        </p:txBody>
      </p:sp>
      <p:sp>
        <p:nvSpPr>
          <p:cNvPr id="86" name="Rectángulo 85">
            <a:extLst>
              <a:ext uri="{FF2B5EF4-FFF2-40B4-BE49-F238E27FC236}">
                <a16:creationId xmlns:a16="http://schemas.microsoft.com/office/drawing/2014/main" id="{7696A978-4362-4DE3-8C58-0F58608C4AA6}"/>
              </a:ext>
            </a:extLst>
          </p:cNvPr>
          <p:cNvSpPr/>
          <p:nvPr/>
        </p:nvSpPr>
        <p:spPr>
          <a:xfrm>
            <a:off x="4631961" y="4457020"/>
            <a:ext cx="7341574" cy="461665"/>
          </a:xfrm>
          <a:prstGeom prst="rect">
            <a:avLst/>
          </a:prstGeom>
          <a:ln>
            <a:noFill/>
          </a:ln>
        </p:spPr>
        <p:txBody>
          <a:bodyPr wrap="square" anchor="t">
            <a:spAutoFit/>
          </a:bodyPr>
          <a:lstStyle/>
          <a:p>
            <a:pPr algn="just"/>
            <a:r>
              <a:rPr lang="es-ES" sz="1200" b="1">
                <a:solidFill>
                  <a:schemeClr val="accent4"/>
                </a:solidFill>
                <a:sym typeface="Wingdings" panose="05000000000000000000" pitchFamily="2" charset="2"/>
              </a:rPr>
              <a:t>Total Proceso Nivel 1 de Gestión Regulatoria y Aseguramiento de Tarifas: </a:t>
            </a:r>
            <a:r>
              <a:rPr lang="es-ES" sz="1200">
                <a:solidFill>
                  <a:schemeClr val="accent4"/>
                </a:solidFill>
                <a:sym typeface="Wingdings" panose="05000000000000000000" pitchFamily="2" charset="2"/>
              </a:rPr>
              <a:t>6 decisiones críticas divididas en 6 categorías:</a:t>
            </a:r>
            <a:endParaRPr lang="es-CO" sz="1200">
              <a:solidFill>
                <a:srgbClr val="254147"/>
              </a:solidFill>
            </a:endParaRPr>
          </a:p>
        </p:txBody>
      </p:sp>
      <p:graphicFrame>
        <p:nvGraphicFramePr>
          <p:cNvPr id="5" name="Objeto 4" hidden="1">
            <a:extLst>
              <a:ext uri="{FF2B5EF4-FFF2-40B4-BE49-F238E27FC236}">
                <a16:creationId xmlns:a16="http://schemas.microsoft.com/office/drawing/2014/main" id="{0740088A-8ABF-414B-8746-763C3F660F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421" imgH="423" progId="TCLayout.ActiveDocument.1">
                  <p:embed/>
                </p:oleObj>
              </mc:Choice>
              <mc:Fallback>
                <p:oleObj name="Diapositiva de think-cell" r:id="rId5" imgW="421" imgH="423" progId="TCLayout.ActiveDocument.1">
                  <p:embed/>
                  <p:pic>
                    <p:nvPicPr>
                      <p:cNvPr id="5" name="Objeto 4" hidden="1">
                        <a:extLst>
                          <a:ext uri="{FF2B5EF4-FFF2-40B4-BE49-F238E27FC236}">
                            <a16:creationId xmlns:a16="http://schemas.microsoft.com/office/drawing/2014/main" id="{0740088A-8ABF-414B-8746-763C3F660F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42B40C10-F876-4F1B-842D-C3F6355B6C8A}"/>
              </a:ext>
            </a:extLst>
          </p:cNvPr>
          <p:cNvSpPr/>
          <p:nvPr>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419" sz="2000" b="1">
              <a:solidFill>
                <a:schemeClr val="tx1"/>
              </a:solidFill>
              <a:latin typeface="Arial" panose="020B0604020202020204" pitchFamily="34" charset="0"/>
              <a:ea typeface="+mj-ea"/>
              <a:cs typeface="+mj-cs"/>
              <a:sym typeface="Arial" panose="020B0604020202020204" pitchFamily="34" charset="0"/>
            </a:endParaRPr>
          </a:p>
        </p:txBody>
      </p:sp>
      <p:sp>
        <p:nvSpPr>
          <p:cNvPr id="2" name="Marcador de número de diapositiva 1">
            <a:extLst>
              <a:ext uri="{FF2B5EF4-FFF2-40B4-BE49-F238E27FC236}">
                <a16:creationId xmlns:a16="http://schemas.microsoft.com/office/drawing/2014/main" id="{3A93B487-116E-4767-AA0D-CAE2A460FBE4}"/>
              </a:ext>
            </a:extLst>
          </p:cNvPr>
          <p:cNvSpPr>
            <a:spLocks noGrp="1"/>
          </p:cNvSpPr>
          <p:nvPr>
            <p:ph type="sldNum" sz="quarter" idx="10"/>
          </p:nvPr>
        </p:nvSpPr>
        <p:spPr>
          <a:xfrm>
            <a:off x="11344876" y="6428983"/>
            <a:ext cx="847124" cy="365125"/>
          </a:xfrm>
        </p:spPr>
        <p:txBody>
          <a:bodyPr/>
          <a:lstStyle/>
          <a:p>
            <a:fld id="{02F25750-4209-4357-A72F-45445C8044EF}" type="slidenum">
              <a:rPr lang="es-CO" smtClean="0"/>
              <a:pPr/>
              <a:t>34</a:t>
            </a:fld>
            <a:endParaRPr lang="es-CO"/>
          </a:p>
        </p:txBody>
      </p:sp>
      <p:sp>
        <p:nvSpPr>
          <p:cNvPr id="97" name="Rectángulo 96">
            <a:extLst>
              <a:ext uri="{FF2B5EF4-FFF2-40B4-BE49-F238E27FC236}">
                <a16:creationId xmlns:a16="http://schemas.microsoft.com/office/drawing/2014/main" id="{99300021-C267-43BD-A0F5-B3ECE622345E}"/>
              </a:ext>
            </a:extLst>
          </p:cNvPr>
          <p:cNvSpPr>
            <a:spLocks/>
          </p:cNvSpPr>
          <p:nvPr/>
        </p:nvSpPr>
        <p:spPr>
          <a:xfrm>
            <a:off x="9040578" y="984294"/>
            <a:ext cx="1378753" cy="2240542"/>
          </a:xfrm>
          <a:prstGeom prst="rect">
            <a:avLst/>
          </a:prstGeom>
          <a:solidFill>
            <a:schemeClr val="accent1">
              <a:alpha val="68000"/>
            </a:schemeClr>
          </a:solidFill>
          <a:ln w="28575">
            <a:solidFill>
              <a:schemeClr val="bg1">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200">
                <a:solidFill>
                  <a:schemeClr val="tx2"/>
                </a:solidFill>
              </a:rPr>
              <a:t>Aprobar la presentación de solicitudes tarifarias a los entes reguladores</a:t>
            </a:r>
          </a:p>
        </p:txBody>
      </p:sp>
      <p:sp>
        <p:nvSpPr>
          <p:cNvPr id="3" name="Elipse 2">
            <a:extLst>
              <a:ext uri="{FF2B5EF4-FFF2-40B4-BE49-F238E27FC236}">
                <a16:creationId xmlns:a16="http://schemas.microsoft.com/office/drawing/2014/main" id="{815B10B7-60B3-4C63-8431-70CC556387C9}"/>
              </a:ext>
            </a:extLst>
          </p:cNvPr>
          <p:cNvSpPr/>
          <p:nvPr/>
        </p:nvSpPr>
        <p:spPr>
          <a:xfrm>
            <a:off x="8771817" y="857421"/>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5</a:t>
            </a:r>
            <a:endParaRPr lang="es-CO" sz="1200" b="1">
              <a:solidFill>
                <a:schemeClr val="bg1"/>
              </a:solidFill>
            </a:endParaRPr>
          </a:p>
        </p:txBody>
      </p:sp>
      <p:sp>
        <p:nvSpPr>
          <p:cNvPr id="117" name="CuadroTexto 116">
            <a:extLst>
              <a:ext uri="{FF2B5EF4-FFF2-40B4-BE49-F238E27FC236}">
                <a16:creationId xmlns:a16="http://schemas.microsoft.com/office/drawing/2014/main" id="{8960734A-1053-42D2-BD72-6674DCCE6A97}"/>
              </a:ext>
            </a:extLst>
          </p:cNvPr>
          <p:cNvSpPr txBox="1"/>
          <p:nvPr/>
        </p:nvSpPr>
        <p:spPr>
          <a:xfrm>
            <a:off x="5214415" y="5925785"/>
            <a:ext cx="1391405" cy="230832"/>
          </a:xfrm>
          <a:prstGeom prst="rect">
            <a:avLst/>
          </a:prstGeom>
          <a:noFill/>
          <a:ln w="19050">
            <a:solidFill>
              <a:srgbClr val="002060"/>
            </a:solidFill>
          </a:ln>
        </p:spPr>
        <p:txBody>
          <a:bodyPr wrap="square" rtlCol="0">
            <a:spAutoFit/>
          </a:bodyPr>
          <a:lstStyle/>
          <a:p>
            <a:pPr algn="ctr"/>
            <a:r>
              <a:rPr lang="es-ES" sz="900">
                <a:solidFill>
                  <a:schemeClr val="tx2"/>
                </a:solidFill>
              </a:rPr>
              <a:t>Palanca de Agilidad </a:t>
            </a:r>
            <a:endParaRPr lang="es-CO" sz="900">
              <a:solidFill>
                <a:schemeClr val="tx2"/>
              </a:solidFill>
            </a:endParaRPr>
          </a:p>
        </p:txBody>
      </p:sp>
      <p:sp>
        <p:nvSpPr>
          <p:cNvPr id="118" name="CuadroTexto 117">
            <a:extLst>
              <a:ext uri="{FF2B5EF4-FFF2-40B4-BE49-F238E27FC236}">
                <a16:creationId xmlns:a16="http://schemas.microsoft.com/office/drawing/2014/main" id="{C77431EE-A761-4323-B75F-692D4CAEC462}"/>
              </a:ext>
            </a:extLst>
          </p:cNvPr>
          <p:cNvSpPr txBox="1"/>
          <p:nvPr/>
        </p:nvSpPr>
        <p:spPr>
          <a:xfrm>
            <a:off x="7628087" y="5925785"/>
            <a:ext cx="1393200" cy="230832"/>
          </a:xfrm>
          <a:prstGeom prst="rect">
            <a:avLst/>
          </a:prstGeom>
          <a:noFill/>
          <a:ln w="19050">
            <a:solidFill>
              <a:schemeClr val="accent3"/>
            </a:solidFill>
          </a:ln>
        </p:spPr>
        <p:txBody>
          <a:bodyPr wrap="square" rtlCol="0">
            <a:spAutoFit/>
          </a:bodyPr>
          <a:lstStyle/>
          <a:p>
            <a:pPr algn="ctr"/>
            <a:r>
              <a:rPr lang="es-ES" sz="900">
                <a:solidFill>
                  <a:schemeClr val="tx2"/>
                </a:solidFill>
              </a:rPr>
              <a:t>Palanca de Claridad</a:t>
            </a:r>
            <a:endParaRPr lang="es-CO" sz="900">
              <a:solidFill>
                <a:schemeClr val="tx2"/>
              </a:solidFill>
            </a:endParaRPr>
          </a:p>
        </p:txBody>
      </p:sp>
      <p:sp>
        <p:nvSpPr>
          <p:cNvPr id="119" name="CuadroTexto 118">
            <a:extLst>
              <a:ext uri="{FF2B5EF4-FFF2-40B4-BE49-F238E27FC236}">
                <a16:creationId xmlns:a16="http://schemas.microsoft.com/office/drawing/2014/main" id="{A66DDFF6-8990-4632-9B16-3852035C81BA}"/>
              </a:ext>
            </a:extLst>
          </p:cNvPr>
          <p:cNvSpPr txBox="1"/>
          <p:nvPr/>
        </p:nvSpPr>
        <p:spPr>
          <a:xfrm>
            <a:off x="10043554" y="5925785"/>
            <a:ext cx="1486626" cy="230832"/>
          </a:xfrm>
          <a:prstGeom prst="rect">
            <a:avLst/>
          </a:prstGeom>
          <a:noFill/>
          <a:ln w="19050">
            <a:solidFill>
              <a:schemeClr val="bg2">
                <a:lumMod val="50000"/>
              </a:schemeClr>
            </a:solidFill>
          </a:ln>
        </p:spPr>
        <p:txBody>
          <a:bodyPr wrap="square" rtlCol="0">
            <a:spAutoFit/>
          </a:bodyPr>
          <a:lstStyle/>
          <a:p>
            <a:pPr algn="ctr"/>
            <a:r>
              <a:rPr lang="es-ES" sz="900">
                <a:solidFill>
                  <a:schemeClr val="tx2"/>
                </a:solidFill>
              </a:rPr>
              <a:t>Palanca de Consistencia</a:t>
            </a:r>
            <a:endParaRPr lang="es-CO" sz="900">
              <a:solidFill>
                <a:schemeClr val="tx2"/>
              </a:solidFill>
            </a:endParaRPr>
          </a:p>
        </p:txBody>
      </p:sp>
      <p:grpSp>
        <p:nvGrpSpPr>
          <p:cNvPr id="30" name="Grupo 29">
            <a:extLst>
              <a:ext uri="{FF2B5EF4-FFF2-40B4-BE49-F238E27FC236}">
                <a16:creationId xmlns:a16="http://schemas.microsoft.com/office/drawing/2014/main" id="{BF4EB355-E4B6-4017-96EF-28FDA34EC932}"/>
              </a:ext>
            </a:extLst>
          </p:cNvPr>
          <p:cNvGrpSpPr/>
          <p:nvPr/>
        </p:nvGrpSpPr>
        <p:grpSpPr>
          <a:xfrm>
            <a:off x="4995931" y="5001019"/>
            <a:ext cx="1579419" cy="646331"/>
            <a:chOff x="12393947" y="3591927"/>
            <a:chExt cx="1579419" cy="646331"/>
          </a:xfrm>
        </p:grpSpPr>
        <p:sp>
          <p:nvSpPr>
            <p:cNvPr id="31" name="CuadroTexto 30">
              <a:extLst>
                <a:ext uri="{FF2B5EF4-FFF2-40B4-BE49-F238E27FC236}">
                  <a16:creationId xmlns:a16="http://schemas.microsoft.com/office/drawing/2014/main" id="{D59789AC-B3DA-4FA4-93FA-300391E9E931}"/>
                </a:ext>
              </a:extLst>
            </p:cNvPr>
            <p:cNvSpPr txBox="1"/>
            <p:nvPr/>
          </p:nvSpPr>
          <p:spPr>
            <a:xfrm>
              <a:off x="12773308" y="3591927"/>
              <a:ext cx="1200058" cy="646331"/>
            </a:xfrm>
            <a:prstGeom prst="rect">
              <a:avLst/>
            </a:prstGeom>
            <a:noFill/>
          </p:spPr>
          <p:txBody>
            <a:bodyPr wrap="square" rtlCol="0" anchor="t">
              <a:spAutoFit/>
            </a:bodyPr>
            <a:lstStyle/>
            <a:p>
              <a:r>
                <a:rPr lang="es-ES" sz="900">
                  <a:solidFill>
                    <a:schemeClr val="accent1">
                      <a:lumMod val="25000"/>
                    </a:schemeClr>
                  </a:solidFill>
                </a:rPr>
                <a:t>Comité de Negocios e Inversiones</a:t>
              </a:r>
            </a:p>
            <a:p>
              <a:r>
                <a:rPr lang="es-ES" sz="900">
                  <a:solidFill>
                    <a:schemeClr val="accent1">
                      <a:lumMod val="25000"/>
                    </a:schemeClr>
                  </a:solidFill>
                </a:rPr>
                <a:t>50%</a:t>
              </a:r>
              <a:endParaRPr lang="es-CO" sz="900">
                <a:solidFill>
                  <a:schemeClr val="accent1">
                    <a:lumMod val="25000"/>
                  </a:schemeClr>
                </a:solidFill>
              </a:endParaRPr>
            </a:p>
          </p:txBody>
        </p:sp>
        <p:sp>
          <p:nvSpPr>
            <p:cNvPr id="32" name="CuadroTexto 31">
              <a:extLst>
                <a:ext uri="{FF2B5EF4-FFF2-40B4-BE49-F238E27FC236}">
                  <a16:creationId xmlns:a16="http://schemas.microsoft.com/office/drawing/2014/main" id="{88502FA5-27BD-47D4-8348-B9F69E7A1136}"/>
                </a:ext>
              </a:extLst>
            </p:cNvPr>
            <p:cNvSpPr txBox="1"/>
            <p:nvPr/>
          </p:nvSpPr>
          <p:spPr>
            <a:xfrm>
              <a:off x="12393947" y="3732653"/>
              <a:ext cx="432000" cy="215444"/>
            </a:xfrm>
            <a:prstGeom prst="rect">
              <a:avLst/>
            </a:prstGeom>
            <a:solidFill>
              <a:schemeClr val="bg1"/>
            </a:solidFill>
            <a:ln w="19050">
              <a:solidFill>
                <a:srgbClr val="FFFF00"/>
              </a:solidFill>
            </a:ln>
          </p:spPr>
          <p:txBody>
            <a:bodyPr wrap="square" rtlCol="0">
              <a:spAutoFit/>
            </a:bodyPr>
            <a:lstStyle/>
            <a:p>
              <a:pPr algn="ctr"/>
              <a:r>
                <a:rPr lang="es-ES" sz="800"/>
                <a:t>CNI</a:t>
              </a:r>
              <a:endParaRPr lang="es-CO" sz="800"/>
            </a:p>
          </p:txBody>
        </p:sp>
      </p:grpSp>
      <p:sp>
        <p:nvSpPr>
          <p:cNvPr id="36" name="Rectángulo 35">
            <a:extLst>
              <a:ext uri="{FF2B5EF4-FFF2-40B4-BE49-F238E27FC236}">
                <a16:creationId xmlns:a16="http://schemas.microsoft.com/office/drawing/2014/main" id="{7BF75727-F2D8-4B3A-8084-69B15B6BF24E}"/>
              </a:ext>
            </a:extLst>
          </p:cNvPr>
          <p:cNvSpPr>
            <a:spLocks/>
          </p:cNvSpPr>
          <p:nvPr/>
        </p:nvSpPr>
        <p:spPr>
          <a:xfrm>
            <a:off x="400540" y="1010570"/>
            <a:ext cx="2355149" cy="2528970"/>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200">
                <a:solidFill>
                  <a:schemeClr val="tx2"/>
                </a:solidFill>
              </a:rPr>
              <a:t>Aprobar la fijación de las tarifas no reguladas, así como los descuentos o recargos aplicables a las mismas, para negocios o servicios que requieran inversiones incrementales de cualquier cuantía, y para las que no requieran inversiones incrementales y cuyos ingresos anuales proyectados, en términos reales, sean superiores a 21.000 SMLMV </a:t>
            </a:r>
          </a:p>
        </p:txBody>
      </p:sp>
      <p:sp>
        <p:nvSpPr>
          <p:cNvPr id="37" name="Elipse 36">
            <a:extLst>
              <a:ext uri="{FF2B5EF4-FFF2-40B4-BE49-F238E27FC236}">
                <a16:creationId xmlns:a16="http://schemas.microsoft.com/office/drawing/2014/main" id="{E03420CE-848A-49A4-87D1-5F321F0FC392}"/>
              </a:ext>
            </a:extLst>
          </p:cNvPr>
          <p:cNvSpPr/>
          <p:nvPr/>
        </p:nvSpPr>
        <p:spPr>
          <a:xfrm>
            <a:off x="231167" y="857421"/>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1</a:t>
            </a:r>
            <a:endParaRPr lang="es-CO" sz="1200" b="1">
              <a:solidFill>
                <a:schemeClr val="bg1"/>
              </a:solidFill>
            </a:endParaRPr>
          </a:p>
        </p:txBody>
      </p:sp>
      <p:grpSp>
        <p:nvGrpSpPr>
          <p:cNvPr id="43" name="Grupo 42">
            <a:extLst>
              <a:ext uri="{FF2B5EF4-FFF2-40B4-BE49-F238E27FC236}">
                <a16:creationId xmlns:a16="http://schemas.microsoft.com/office/drawing/2014/main" id="{BCE0DAFF-5245-49B7-9324-3E2F663B4088}"/>
              </a:ext>
            </a:extLst>
          </p:cNvPr>
          <p:cNvGrpSpPr/>
          <p:nvPr/>
        </p:nvGrpSpPr>
        <p:grpSpPr>
          <a:xfrm>
            <a:off x="6728434" y="5070268"/>
            <a:ext cx="1368875" cy="507831"/>
            <a:chOff x="12420159" y="4108278"/>
            <a:chExt cx="1368875" cy="507831"/>
          </a:xfrm>
        </p:grpSpPr>
        <p:sp>
          <p:nvSpPr>
            <p:cNvPr id="44" name="CuadroTexto 43">
              <a:extLst>
                <a:ext uri="{FF2B5EF4-FFF2-40B4-BE49-F238E27FC236}">
                  <a16:creationId xmlns:a16="http://schemas.microsoft.com/office/drawing/2014/main" id="{A40EBF58-E1A4-443C-B983-399AC9AAD7C4}"/>
                </a:ext>
              </a:extLst>
            </p:cNvPr>
            <p:cNvSpPr txBox="1"/>
            <p:nvPr/>
          </p:nvSpPr>
          <p:spPr>
            <a:xfrm>
              <a:off x="12799520" y="4108278"/>
              <a:ext cx="989514" cy="507831"/>
            </a:xfrm>
            <a:prstGeom prst="rect">
              <a:avLst/>
            </a:prstGeom>
            <a:noFill/>
          </p:spPr>
          <p:txBody>
            <a:bodyPr wrap="square" rtlCol="0">
              <a:spAutoFit/>
            </a:bodyPr>
            <a:lstStyle/>
            <a:p>
              <a:r>
                <a:rPr lang="es-ES" sz="900">
                  <a:solidFill>
                    <a:schemeClr val="accent1">
                      <a:lumMod val="25000"/>
                    </a:schemeClr>
                  </a:solidFill>
                </a:rPr>
                <a:t>Vicepresidente Comercial</a:t>
              </a:r>
            </a:p>
            <a:p>
              <a:r>
                <a:rPr lang="es-ES" sz="900">
                  <a:solidFill>
                    <a:schemeClr val="accent1">
                      <a:lumMod val="25000"/>
                    </a:schemeClr>
                  </a:solidFill>
                </a:rPr>
                <a:t> 16%</a:t>
              </a:r>
              <a:endParaRPr lang="es-CO" sz="900">
                <a:solidFill>
                  <a:schemeClr val="accent1">
                    <a:lumMod val="25000"/>
                  </a:schemeClr>
                </a:solidFill>
              </a:endParaRPr>
            </a:p>
          </p:txBody>
        </p:sp>
        <p:sp>
          <p:nvSpPr>
            <p:cNvPr id="45" name="CuadroTexto 44">
              <a:extLst>
                <a:ext uri="{FF2B5EF4-FFF2-40B4-BE49-F238E27FC236}">
                  <a16:creationId xmlns:a16="http://schemas.microsoft.com/office/drawing/2014/main" id="{CA4865C8-3DB9-44BB-9659-C84618846C57}"/>
                </a:ext>
              </a:extLst>
            </p:cNvPr>
            <p:cNvSpPr txBox="1"/>
            <p:nvPr/>
          </p:nvSpPr>
          <p:spPr>
            <a:xfrm>
              <a:off x="12420159" y="4239478"/>
              <a:ext cx="432000" cy="215444"/>
            </a:xfrm>
            <a:prstGeom prst="rect">
              <a:avLst/>
            </a:prstGeom>
            <a:solidFill>
              <a:schemeClr val="bg1"/>
            </a:solidFill>
            <a:ln w="19050">
              <a:solidFill>
                <a:srgbClr val="FF3399"/>
              </a:solidFill>
            </a:ln>
          </p:spPr>
          <p:txBody>
            <a:bodyPr wrap="square" rtlCol="0">
              <a:spAutoFit/>
            </a:bodyPr>
            <a:lstStyle/>
            <a:p>
              <a:pPr algn="ctr"/>
              <a:r>
                <a:rPr lang="es-ES" sz="800"/>
                <a:t>VPC</a:t>
              </a:r>
              <a:endParaRPr lang="es-CO" sz="800"/>
            </a:p>
          </p:txBody>
        </p:sp>
      </p:grpSp>
      <p:sp>
        <p:nvSpPr>
          <p:cNvPr id="47" name="Rectángulo 46">
            <a:extLst>
              <a:ext uri="{FF2B5EF4-FFF2-40B4-BE49-F238E27FC236}">
                <a16:creationId xmlns:a16="http://schemas.microsoft.com/office/drawing/2014/main" id="{08837AB5-D97B-420C-BCF2-789F49683794}"/>
              </a:ext>
            </a:extLst>
          </p:cNvPr>
          <p:cNvSpPr>
            <a:spLocks/>
          </p:cNvSpPr>
          <p:nvPr/>
        </p:nvSpPr>
        <p:spPr>
          <a:xfrm>
            <a:off x="5666008" y="1010570"/>
            <a:ext cx="1072570" cy="2245094"/>
          </a:xfrm>
          <a:prstGeom prst="rect">
            <a:avLst/>
          </a:prstGeom>
          <a:solidFill>
            <a:schemeClr val="accent1">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200">
                <a:solidFill>
                  <a:schemeClr val="tx2"/>
                </a:solidFill>
              </a:rPr>
              <a:t>Aprobar actualización periódica de tarifas reguladas y no reguladas</a:t>
            </a:r>
          </a:p>
        </p:txBody>
      </p:sp>
      <p:sp>
        <p:nvSpPr>
          <p:cNvPr id="48" name="Elipse 47">
            <a:extLst>
              <a:ext uri="{FF2B5EF4-FFF2-40B4-BE49-F238E27FC236}">
                <a16:creationId xmlns:a16="http://schemas.microsoft.com/office/drawing/2014/main" id="{0E14E7C6-678A-4033-8579-81284F3F52CF}"/>
              </a:ext>
            </a:extLst>
          </p:cNvPr>
          <p:cNvSpPr/>
          <p:nvPr/>
        </p:nvSpPr>
        <p:spPr>
          <a:xfrm>
            <a:off x="5461466" y="857421"/>
            <a:ext cx="349934"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3</a:t>
            </a:r>
            <a:endParaRPr lang="es-CO" sz="1200" b="1">
              <a:solidFill>
                <a:schemeClr val="bg1"/>
              </a:solidFill>
            </a:endParaRPr>
          </a:p>
        </p:txBody>
      </p:sp>
      <p:grpSp>
        <p:nvGrpSpPr>
          <p:cNvPr id="55" name="Grupo 54">
            <a:extLst>
              <a:ext uri="{FF2B5EF4-FFF2-40B4-BE49-F238E27FC236}">
                <a16:creationId xmlns:a16="http://schemas.microsoft.com/office/drawing/2014/main" id="{A424F4F5-E950-490A-85A7-08E85FB0CA9E}"/>
              </a:ext>
            </a:extLst>
          </p:cNvPr>
          <p:cNvGrpSpPr/>
          <p:nvPr/>
        </p:nvGrpSpPr>
        <p:grpSpPr>
          <a:xfrm>
            <a:off x="10289821" y="5026826"/>
            <a:ext cx="1586090" cy="646331"/>
            <a:chOff x="13738625" y="2794824"/>
            <a:chExt cx="1586090" cy="646331"/>
          </a:xfrm>
        </p:grpSpPr>
        <p:sp>
          <p:nvSpPr>
            <p:cNvPr id="56" name="CuadroTexto 55">
              <a:extLst>
                <a:ext uri="{FF2B5EF4-FFF2-40B4-BE49-F238E27FC236}">
                  <a16:creationId xmlns:a16="http://schemas.microsoft.com/office/drawing/2014/main" id="{7C1D530D-7BB9-4F25-849F-204BCDEDB14D}"/>
                </a:ext>
              </a:extLst>
            </p:cNvPr>
            <p:cNvSpPr txBox="1"/>
            <p:nvPr/>
          </p:nvSpPr>
          <p:spPr>
            <a:xfrm>
              <a:off x="14124657" y="2794824"/>
              <a:ext cx="1200058" cy="646331"/>
            </a:xfrm>
            <a:prstGeom prst="rect">
              <a:avLst/>
            </a:prstGeom>
            <a:noFill/>
          </p:spPr>
          <p:txBody>
            <a:bodyPr wrap="square" rtlCol="0">
              <a:spAutoFit/>
            </a:bodyPr>
            <a:lstStyle/>
            <a:p>
              <a:r>
                <a:rPr lang="es-ES" sz="900">
                  <a:solidFill>
                    <a:schemeClr val="accent1">
                      <a:lumMod val="25000"/>
                    </a:schemeClr>
                  </a:solidFill>
                </a:rPr>
                <a:t>Gerente Comercial de Oleoductos o Poliductos</a:t>
              </a:r>
            </a:p>
            <a:p>
              <a:r>
                <a:rPr lang="es-ES" sz="900">
                  <a:solidFill>
                    <a:schemeClr val="accent1">
                      <a:lumMod val="25000"/>
                    </a:schemeClr>
                  </a:solidFill>
                </a:rPr>
                <a:t>16 %</a:t>
              </a:r>
              <a:endParaRPr lang="es-CO" sz="900">
                <a:solidFill>
                  <a:schemeClr val="accent1">
                    <a:lumMod val="25000"/>
                  </a:schemeClr>
                </a:solidFill>
              </a:endParaRPr>
            </a:p>
          </p:txBody>
        </p:sp>
        <p:sp>
          <p:nvSpPr>
            <p:cNvPr id="57" name="CuadroTexto 56">
              <a:extLst>
                <a:ext uri="{FF2B5EF4-FFF2-40B4-BE49-F238E27FC236}">
                  <a16:creationId xmlns:a16="http://schemas.microsoft.com/office/drawing/2014/main" id="{C9EE432A-1FB8-4E28-AC0A-18437EEB8675}"/>
                </a:ext>
              </a:extLst>
            </p:cNvPr>
            <p:cNvSpPr txBox="1"/>
            <p:nvPr/>
          </p:nvSpPr>
          <p:spPr>
            <a:xfrm>
              <a:off x="13738625" y="2924823"/>
              <a:ext cx="432000" cy="215444"/>
            </a:xfrm>
            <a:prstGeom prst="rect">
              <a:avLst/>
            </a:prstGeom>
            <a:solidFill>
              <a:schemeClr val="bg1"/>
            </a:solidFill>
            <a:ln w="19050">
              <a:solidFill>
                <a:srgbClr val="00B0F0"/>
              </a:solidFill>
            </a:ln>
          </p:spPr>
          <p:txBody>
            <a:bodyPr wrap="square" rtlCol="0">
              <a:spAutoFit/>
            </a:bodyPr>
            <a:lstStyle/>
            <a:p>
              <a:pPr algn="ctr"/>
              <a:r>
                <a:rPr lang="es-ES" sz="800"/>
                <a:t>GOP</a:t>
              </a:r>
              <a:endParaRPr lang="es-CO" sz="800"/>
            </a:p>
          </p:txBody>
        </p:sp>
      </p:grpSp>
      <p:sp>
        <p:nvSpPr>
          <p:cNvPr id="62" name="Rectángulo 61">
            <a:extLst>
              <a:ext uri="{FF2B5EF4-FFF2-40B4-BE49-F238E27FC236}">
                <a16:creationId xmlns:a16="http://schemas.microsoft.com/office/drawing/2014/main" id="{BAD8AC49-F484-4980-AAD5-672795A58DC5}"/>
              </a:ext>
            </a:extLst>
          </p:cNvPr>
          <p:cNvSpPr>
            <a:spLocks/>
          </p:cNvSpPr>
          <p:nvPr/>
        </p:nvSpPr>
        <p:spPr>
          <a:xfrm>
            <a:off x="10584488" y="1010570"/>
            <a:ext cx="1378754" cy="2240542"/>
          </a:xfrm>
          <a:prstGeom prst="rect">
            <a:avLst/>
          </a:prstGeom>
          <a:solidFill>
            <a:schemeClr val="accent1">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200">
                <a:solidFill>
                  <a:schemeClr val="tx2"/>
                </a:solidFill>
              </a:rPr>
              <a:t>Aprobar la presentación de la posición de Cenit ante las instancias de regulación económica</a:t>
            </a:r>
          </a:p>
        </p:txBody>
      </p:sp>
      <p:sp>
        <p:nvSpPr>
          <p:cNvPr id="63" name="Elipse 62">
            <a:extLst>
              <a:ext uri="{FF2B5EF4-FFF2-40B4-BE49-F238E27FC236}">
                <a16:creationId xmlns:a16="http://schemas.microsoft.com/office/drawing/2014/main" id="{A670FBED-2394-4593-B292-1EE2F3B3B323}"/>
              </a:ext>
            </a:extLst>
          </p:cNvPr>
          <p:cNvSpPr/>
          <p:nvPr/>
        </p:nvSpPr>
        <p:spPr>
          <a:xfrm>
            <a:off x="10415953" y="857421"/>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6</a:t>
            </a:r>
            <a:endParaRPr lang="es-CO" sz="1200" b="1">
              <a:solidFill>
                <a:schemeClr val="bg1"/>
              </a:solidFill>
            </a:endParaRPr>
          </a:p>
        </p:txBody>
      </p:sp>
      <p:grpSp>
        <p:nvGrpSpPr>
          <p:cNvPr id="74" name="Grupo 73">
            <a:extLst>
              <a:ext uri="{FF2B5EF4-FFF2-40B4-BE49-F238E27FC236}">
                <a16:creationId xmlns:a16="http://schemas.microsoft.com/office/drawing/2014/main" id="{07449BC8-9987-486E-BCF5-35EC6328E7E4}"/>
              </a:ext>
            </a:extLst>
          </p:cNvPr>
          <p:cNvGrpSpPr/>
          <p:nvPr/>
        </p:nvGrpSpPr>
        <p:grpSpPr>
          <a:xfrm>
            <a:off x="8573501" y="5001019"/>
            <a:ext cx="1579419" cy="646331"/>
            <a:chOff x="13954625" y="4015228"/>
            <a:chExt cx="1579419" cy="646331"/>
          </a:xfrm>
        </p:grpSpPr>
        <p:sp>
          <p:nvSpPr>
            <p:cNvPr id="75" name="CuadroTexto 74">
              <a:extLst>
                <a:ext uri="{FF2B5EF4-FFF2-40B4-BE49-F238E27FC236}">
                  <a16:creationId xmlns:a16="http://schemas.microsoft.com/office/drawing/2014/main" id="{AAADBFA0-4140-4414-8638-94BEBD9A74D8}"/>
                </a:ext>
              </a:extLst>
            </p:cNvPr>
            <p:cNvSpPr txBox="1"/>
            <p:nvPr/>
          </p:nvSpPr>
          <p:spPr>
            <a:xfrm>
              <a:off x="14333986" y="4015228"/>
              <a:ext cx="1200058" cy="646331"/>
            </a:xfrm>
            <a:prstGeom prst="rect">
              <a:avLst/>
            </a:prstGeom>
            <a:noFill/>
          </p:spPr>
          <p:txBody>
            <a:bodyPr wrap="square" rtlCol="0">
              <a:spAutoFit/>
            </a:bodyPr>
            <a:lstStyle/>
            <a:p>
              <a:r>
                <a:rPr lang="es-ES" sz="900">
                  <a:solidFill>
                    <a:schemeClr val="accent1">
                      <a:lumMod val="25000"/>
                    </a:schemeClr>
                  </a:solidFill>
                </a:rPr>
                <a:t>Gerente de Regulación y Tarifas</a:t>
              </a:r>
            </a:p>
            <a:p>
              <a:r>
                <a:rPr lang="es-ES" sz="900">
                  <a:solidFill>
                    <a:schemeClr val="accent1">
                      <a:lumMod val="25000"/>
                    </a:schemeClr>
                  </a:solidFill>
                </a:rPr>
                <a:t>18 %</a:t>
              </a:r>
              <a:endParaRPr lang="es-CO" sz="900">
                <a:solidFill>
                  <a:schemeClr val="accent1">
                    <a:lumMod val="25000"/>
                  </a:schemeClr>
                </a:solidFill>
              </a:endParaRPr>
            </a:p>
          </p:txBody>
        </p:sp>
        <p:sp>
          <p:nvSpPr>
            <p:cNvPr id="76" name="CuadroTexto 75">
              <a:extLst>
                <a:ext uri="{FF2B5EF4-FFF2-40B4-BE49-F238E27FC236}">
                  <a16:creationId xmlns:a16="http://schemas.microsoft.com/office/drawing/2014/main" id="{B5FB1E43-B421-40BD-8C39-4CCC296C2557}"/>
                </a:ext>
              </a:extLst>
            </p:cNvPr>
            <p:cNvSpPr txBox="1"/>
            <p:nvPr/>
          </p:nvSpPr>
          <p:spPr>
            <a:xfrm>
              <a:off x="13954625" y="4225472"/>
              <a:ext cx="432000" cy="215444"/>
            </a:xfrm>
            <a:prstGeom prst="rect">
              <a:avLst/>
            </a:prstGeom>
            <a:solidFill>
              <a:schemeClr val="bg1"/>
            </a:solidFill>
            <a:ln w="19050">
              <a:solidFill>
                <a:schemeClr val="bg2">
                  <a:lumMod val="50000"/>
                </a:schemeClr>
              </a:solidFill>
            </a:ln>
          </p:spPr>
          <p:txBody>
            <a:bodyPr wrap="square" rtlCol="0">
              <a:spAutoFit/>
            </a:bodyPr>
            <a:lstStyle/>
            <a:p>
              <a:pPr algn="ctr"/>
              <a:r>
                <a:rPr lang="es-ES" sz="800"/>
                <a:t>GRT</a:t>
              </a:r>
              <a:endParaRPr lang="es-CO" sz="800"/>
            </a:p>
          </p:txBody>
        </p:sp>
      </p:grpSp>
      <p:sp>
        <p:nvSpPr>
          <p:cNvPr id="77" name="CuadroTexto 76">
            <a:extLst>
              <a:ext uri="{FF2B5EF4-FFF2-40B4-BE49-F238E27FC236}">
                <a16:creationId xmlns:a16="http://schemas.microsoft.com/office/drawing/2014/main" id="{B8A97739-FB0C-4C0D-9338-1C0F2EE84F52}"/>
              </a:ext>
            </a:extLst>
          </p:cNvPr>
          <p:cNvSpPr txBox="1"/>
          <p:nvPr/>
        </p:nvSpPr>
        <p:spPr>
          <a:xfrm>
            <a:off x="11034171" y="3175326"/>
            <a:ext cx="432000" cy="215444"/>
          </a:xfrm>
          <a:prstGeom prst="rect">
            <a:avLst/>
          </a:prstGeom>
          <a:solidFill>
            <a:schemeClr val="bg1"/>
          </a:solidFill>
          <a:ln w="19050">
            <a:solidFill>
              <a:schemeClr val="bg2">
                <a:lumMod val="50000"/>
              </a:schemeClr>
            </a:solidFill>
          </a:ln>
        </p:spPr>
        <p:txBody>
          <a:bodyPr wrap="square" rtlCol="0">
            <a:spAutoFit/>
          </a:bodyPr>
          <a:lstStyle/>
          <a:p>
            <a:pPr algn="ctr"/>
            <a:r>
              <a:rPr lang="es-ES" sz="800"/>
              <a:t>GRT</a:t>
            </a:r>
            <a:endParaRPr lang="es-CO" sz="800"/>
          </a:p>
        </p:txBody>
      </p:sp>
      <p:sp>
        <p:nvSpPr>
          <p:cNvPr id="52" name="Rectángulo 51">
            <a:extLst>
              <a:ext uri="{FF2B5EF4-FFF2-40B4-BE49-F238E27FC236}">
                <a16:creationId xmlns:a16="http://schemas.microsoft.com/office/drawing/2014/main" id="{57FDC4F5-C6C0-4C81-8DD9-8E84D064B385}"/>
              </a:ext>
            </a:extLst>
          </p:cNvPr>
          <p:cNvSpPr>
            <a:spLocks/>
          </p:cNvSpPr>
          <p:nvPr/>
        </p:nvSpPr>
        <p:spPr>
          <a:xfrm>
            <a:off x="3011621" y="982677"/>
            <a:ext cx="2355149" cy="2272987"/>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200">
                <a:solidFill>
                  <a:schemeClr val="tx2"/>
                </a:solidFill>
              </a:rPr>
              <a:t>Aprobar la fijación de las tarifas no reguladas, así como los descuentos o recargos aplicables a las mismas, para negocios o servicios que no requieran inversiones incrementales y cuyos ingresos anuales proyectados, en términos reales, sean inferiores a 21.000 SMLMV</a:t>
            </a:r>
          </a:p>
        </p:txBody>
      </p:sp>
      <p:sp>
        <p:nvSpPr>
          <p:cNvPr id="53" name="Elipse 52">
            <a:extLst>
              <a:ext uri="{FF2B5EF4-FFF2-40B4-BE49-F238E27FC236}">
                <a16:creationId xmlns:a16="http://schemas.microsoft.com/office/drawing/2014/main" id="{7DDF03BC-506A-4F22-BFBE-F89E6F429422}"/>
              </a:ext>
            </a:extLst>
          </p:cNvPr>
          <p:cNvSpPr/>
          <p:nvPr/>
        </p:nvSpPr>
        <p:spPr>
          <a:xfrm>
            <a:off x="2858704" y="829528"/>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2</a:t>
            </a:r>
            <a:endParaRPr lang="es-CO" sz="1200" b="1">
              <a:solidFill>
                <a:schemeClr val="bg1"/>
              </a:solidFill>
            </a:endParaRPr>
          </a:p>
        </p:txBody>
      </p:sp>
      <p:sp>
        <p:nvSpPr>
          <p:cNvPr id="54" name="Rectangle 30">
            <a:extLst>
              <a:ext uri="{FF2B5EF4-FFF2-40B4-BE49-F238E27FC236}">
                <a16:creationId xmlns:a16="http://schemas.microsoft.com/office/drawing/2014/main" id="{CB039B06-B703-45C8-82C0-18631771D81F}"/>
              </a:ext>
            </a:extLst>
          </p:cNvPr>
          <p:cNvSpPr>
            <a:spLocks/>
          </p:cNvSpPr>
          <p:nvPr/>
        </p:nvSpPr>
        <p:spPr>
          <a:xfrm>
            <a:off x="3011203" y="3361748"/>
            <a:ext cx="2355984" cy="679532"/>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Para casos cuyos ingresos anuales proyectados, en términos reales, sean inferiores a 21.000 SMLMV</a:t>
            </a:r>
            <a:endParaRPr lang="es-CO" sz="1000">
              <a:solidFill>
                <a:schemeClr val="tx2"/>
              </a:solidFill>
            </a:endParaRPr>
          </a:p>
        </p:txBody>
      </p:sp>
      <p:sp>
        <p:nvSpPr>
          <p:cNvPr id="7" name="CuadroTexto 6">
            <a:extLst>
              <a:ext uri="{FF2B5EF4-FFF2-40B4-BE49-F238E27FC236}">
                <a16:creationId xmlns:a16="http://schemas.microsoft.com/office/drawing/2014/main" id="{D7EE45BD-3682-4518-A40E-BD81AAAE4F29}"/>
              </a:ext>
            </a:extLst>
          </p:cNvPr>
          <p:cNvSpPr txBox="1"/>
          <p:nvPr/>
        </p:nvSpPr>
        <p:spPr>
          <a:xfrm>
            <a:off x="3973195" y="3984791"/>
            <a:ext cx="432000" cy="215444"/>
          </a:xfrm>
          <a:prstGeom prst="rect">
            <a:avLst/>
          </a:prstGeom>
          <a:solidFill>
            <a:schemeClr val="bg1"/>
          </a:solidFill>
          <a:ln w="19050">
            <a:solidFill>
              <a:srgbClr val="FF3399"/>
            </a:solidFill>
          </a:ln>
        </p:spPr>
        <p:txBody>
          <a:bodyPr wrap="square" rtlCol="0">
            <a:spAutoFit/>
          </a:bodyPr>
          <a:lstStyle/>
          <a:p>
            <a:pPr algn="ctr"/>
            <a:r>
              <a:rPr lang="es-ES" sz="800"/>
              <a:t>VPC</a:t>
            </a:r>
            <a:endParaRPr lang="es-CO" sz="800"/>
          </a:p>
        </p:txBody>
      </p:sp>
      <p:sp>
        <p:nvSpPr>
          <p:cNvPr id="68" name="Rectángulo 67">
            <a:extLst>
              <a:ext uri="{FF2B5EF4-FFF2-40B4-BE49-F238E27FC236}">
                <a16:creationId xmlns:a16="http://schemas.microsoft.com/office/drawing/2014/main" id="{CADF6675-EA69-4611-A4FA-883923389C16}"/>
              </a:ext>
            </a:extLst>
          </p:cNvPr>
          <p:cNvSpPr>
            <a:spLocks/>
          </p:cNvSpPr>
          <p:nvPr/>
        </p:nvSpPr>
        <p:spPr>
          <a:xfrm>
            <a:off x="6971314" y="1014831"/>
            <a:ext cx="1744562" cy="1812451"/>
          </a:xfrm>
          <a:prstGeom prst="rect">
            <a:avLst/>
          </a:prstGeom>
          <a:solidFill>
            <a:schemeClr val="accent1">
              <a:alpha val="68000"/>
            </a:schemeClr>
          </a:solidFill>
          <a:ln w="6350">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lgn="ctr"/>
            <a:r>
              <a:rPr lang="es-ES" sz="1200">
                <a:solidFill>
                  <a:schemeClr val="tx2"/>
                </a:solidFill>
              </a:rPr>
              <a:t>Aprobar descuentos comerciales respecto a las tarifas reguladas q</a:t>
            </a:r>
            <a:r>
              <a:rPr lang="es-419" sz="1200">
                <a:solidFill>
                  <a:schemeClr val="tx2"/>
                </a:solidFill>
                <a:ea typeface="+mn-lt"/>
                <a:cs typeface="+mn-lt"/>
              </a:rPr>
              <a:t>ue generen un impacto en ingresos anuales proyectados, en términos reales de cualquier cuantía</a:t>
            </a:r>
            <a:endParaRPr lang="es-ES">
              <a:solidFill>
                <a:schemeClr val="tx2"/>
              </a:solidFill>
              <a:ea typeface="+mn-lt"/>
              <a:cs typeface="+mn-lt"/>
            </a:endParaRPr>
          </a:p>
        </p:txBody>
      </p:sp>
      <p:sp>
        <p:nvSpPr>
          <p:cNvPr id="69" name="Elipse 68">
            <a:extLst>
              <a:ext uri="{FF2B5EF4-FFF2-40B4-BE49-F238E27FC236}">
                <a16:creationId xmlns:a16="http://schemas.microsoft.com/office/drawing/2014/main" id="{4D7C09D1-BFF7-48E6-99A3-05E3EF21F8A9}"/>
              </a:ext>
            </a:extLst>
          </p:cNvPr>
          <p:cNvSpPr/>
          <p:nvPr/>
        </p:nvSpPr>
        <p:spPr>
          <a:xfrm>
            <a:off x="6797686" y="861682"/>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4</a:t>
            </a:r>
            <a:endParaRPr lang="es-CO" sz="1200" b="1">
              <a:solidFill>
                <a:schemeClr val="bg1"/>
              </a:solidFill>
            </a:endParaRPr>
          </a:p>
        </p:txBody>
      </p:sp>
      <p:grpSp>
        <p:nvGrpSpPr>
          <p:cNvPr id="10" name="Grupo 9">
            <a:extLst>
              <a:ext uri="{FF2B5EF4-FFF2-40B4-BE49-F238E27FC236}">
                <a16:creationId xmlns:a16="http://schemas.microsoft.com/office/drawing/2014/main" id="{AC3BAE1D-623F-492A-BB5C-15C9B50AB571}"/>
              </a:ext>
            </a:extLst>
          </p:cNvPr>
          <p:cNvGrpSpPr/>
          <p:nvPr/>
        </p:nvGrpSpPr>
        <p:grpSpPr>
          <a:xfrm>
            <a:off x="5793024" y="3166410"/>
            <a:ext cx="888064" cy="216104"/>
            <a:chOff x="5500300" y="3622051"/>
            <a:chExt cx="888064" cy="216104"/>
          </a:xfrm>
        </p:grpSpPr>
        <p:sp>
          <p:nvSpPr>
            <p:cNvPr id="8" name="CuadroTexto 7">
              <a:extLst>
                <a:ext uri="{FF2B5EF4-FFF2-40B4-BE49-F238E27FC236}">
                  <a16:creationId xmlns:a16="http://schemas.microsoft.com/office/drawing/2014/main" id="{3E6631E3-CE7F-4FB3-A32E-70B4D93EBB83}"/>
                </a:ext>
              </a:extLst>
            </p:cNvPr>
            <p:cNvSpPr txBox="1"/>
            <p:nvPr/>
          </p:nvSpPr>
          <p:spPr>
            <a:xfrm>
              <a:off x="5956364" y="3622711"/>
              <a:ext cx="432000" cy="215444"/>
            </a:xfrm>
            <a:prstGeom prst="rect">
              <a:avLst/>
            </a:prstGeom>
            <a:solidFill>
              <a:schemeClr val="bg1"/>
            </a:solidFill>
            <a:ln w="19050">
              <a:solidFill>
                <a:srgbClr val="00B0F0"/>
              </a:solidFill>
            </a:ln>
          </p:spPr>
          <p:txBody>
            <a:bodyPr wrap="square" rtlCol="0">
              <a:spAutoFit/>
            </a:bodyPr>
            <a:lstStyle/>
            <a:p>
              <a:pPr algn="ctr"/>
              <a:r>
                <a:rPr lang="es-ES" sz="800"/>
                <a:t>GOP</a:t>
              </a:r>
              <a:endParaRPr lang="es-CO" sz="800"/>
            </a:p>
          </p:txBody>
        </p:sp>
        <p:sp>
          <p:nvSpPr>
            <p:cNvPr id="9" name="CuadroTexto 8">
              <a:extLst>
                <a:ext uri="{FF2B5EF4-FFF2-40B4-BE49-F238E27FC236}">
                  <a16:creationId xmlns:a16="http://schemas.microsoft.com/office/drawing/2014/main" id="{ECBFB82A-4D32-44D0-8F50-A2FE675A0F49}"/>
                </a:ext>
              </a:extLst>
            </p:cNvPr>
            <p:cNvSpPr txBox="1"/>
            <p:nvPr/>
          </p:nvSpPr>
          <p:spPr>
            <a:xfrm>
              <a:off x="5500300" y="3622051"/>
              <a:ext cx="432000" cy="215444"/>
            </a:xfrm>
            <a:prstGeom prst="rect">
              <a:avLst/>
            </a:prstGeom>
            <a:solidFill>
              <a:schemeClr val="bg1"/>
            </a:solidFill>
            <a:ln w="19050">
              <a:solidFill>
                <a:schemeClr val="bg2">
                  <a:lumMod val="50000"/>
                </a:schemeClr>
              </a:solidFill>
            </a:ln>
          </p:spPr>
          <p:txBody>
            <a:bodyPr wrap="square" rtlCol="0">
              <a:spAutoFit/>
            </a:bodyPr>
            <a:lstStyle/>
            <a:p>
              <a:pPr algn="ctr"/>
              <a:r>
                <a:rPr lang="es-ES" sz="800"/>
                <a:t>GRT</a:t>
              </a:r>
              <a:endParaRPr lang="es-CO" sz="800"/>
            </a:p>
          </p:txBody>
        </p:sp>
      </p:grpSp>
      <p:sp>
        <p:nvSpPr>
          <p:cNvPr id="71" name="CuadroTexto 70">
            <a:extLst>
              <a:ext uri="{FF2B5EF4-FFF2-40B4-BE49-F238E27FC236}">
                <a16:creationId xmlns:a16="http://schemas.microsoft.com/office/drawing/2014/main" id="{957CBAF9-7655-4A51-9450-50545E04AD44}"/>
              </a:ext>
            </a:extLst>
          </p:cNvPr>
          <p:cNvSpPr txBox="1"/>
          <p:nvPr/>
        </p:nvSpPr>
        <p:spPr>
          <a:xfrm>
            <a:off x="7629749" y="2746617"/>
            <a:ext cx="432000" cy="215444"/>
          </a:xfrm>
          <a:prstGeom prst="rect">
            <a:avLst/>
          </a:prstGeom>
          <a:solidFill>
            <a:schemeClr val="bg1"/>
          </a:solidFill>
          <a:ln w="19050">
            <a:solidFill>
              <a:srgbClr val="FFFF00"/>
            </a:solidFill>
          </a:ln>
        </p:spPr>
        <p:txBody>
          <a:bodyPr wrap="square" rtlCol="0">
            <a:spAutoFit/>
          </a:bodyPr>
          <a:lstStyle/>
          <a:p>
            <a:pPr algn="ctr"/>
            <a:r>
              <a:rPr lang="es-ES" sz="800"/>
              <a:t>CNI</a:t>
            </a:r>
            <a:endParaRPr lang="es-CO" sz="800"/>
          </a:p>
        </p:txBody>
      </p:sp>
      <p:sp>
        <p:nvSpPr>
          <p:cNvPr id="64" name="CuadroTexto 63">
            <a:extLst>
              <a:ext uri="{FF2B5EF4-FFF2-40B4-BE49-F238E27FC236}">
                <a16:creationId xmlns:a16="http://schemas.microsoft.com/office/drawing/2014/main" id="{2184AF9E-CE99-4046-9C2A-D7E748E9BE11}"/>
              </a:ext>
            </a:extLst>
          </p:cNvPr>
          <p:cNvSpPr txBox="1"/>
          <p:nvPr/>
        </p:nvSpPr>
        <p:spPr>
          <a:xfrm>
            <a:off x="1362114" y="3464089"/>
            <a:ext cx="432000" cy="215444"/>
          </a:xfrm>
          <a:prstGeom prst="rect">
            <a:avLst/>
          </a:prstGeom>
          <a:solidFill>
            <a:schemeClr val="bg1"/>
          </a:solidFill>
          <a:ln w="19050">
            <a:solidFill>
              <a:srgbClr val="FFFF00"/>
            </a:solidFill>
          </a:ln>
        </p:spPr>
        <p:txBody>
          <a:bodyPr wrap="square" rtlCol="0">
            <a:spAutoFit/>
          </a:bodyPr>
          <a:lstStyle/>
          <a:p>
            <a:pPr algn="ctr"/>
            <a:r>
              <a:rPr lang="es-ES" sz="800" dirty="0"/>
              <a:t>CNI</a:t>
            </a:r>
            <a:endParaRPr lang="es-CO" sz="800" dirty="0"/>
          </a:p>
        </p:txBody>
      </p:sp>
      <p:sp>
        <p:nvSpPr>
          <p:cNvPr id="85" name="CuadroTexto 84">
            <a:extLst>
              <a:ext uri="{FF2B5EF4-FFF2-40B4-BE49-F238E27FC236}">
                <a16:creationId xmlns:a16="http://schemas.microsoft.com/office/drawing/2014/main" id="{F04847A3-0674-4DA5-8BDF-031B261DD2BE}"/>
              </a:ext>
            </a:extLst>
          </p:cNvPr>
          <p:cNvSpPr txBox="1"/>
          <p:nvPr/>
        </p:nvSpPr>
        <p:spPr>
          <a:xfrm>
            <a:off x="9446558" y="3153994"/>
            <a:ext cx="432000" cy="215444"/>
          </a:xfrm>
          <a:prstGeom prst="rect">
            <a:avLst/>
          </a:prstGeom>
          <a:solidFill>
            <a:schemeClr val="bg1"/>
          </a:solidFill>
          <a:ln w="19050">
            <a:solidFill>
              <a:srgbClr val="FFFF00"/>
            </a:solidFill>
          </a:ln>
        </p:spPr>
        <p:txBody>
          <a:bodyPr wrap="square" rtlCol="0">
            <a:spAutoFit/>
          </a:bodyPr>
          <a:lstStyle/>
          <a:p>
            <a:pPr algn="ctr"/>
            <a:r>
              <a:rPr lang="es-ES" sz="800"/>
              <a:t>CNI</a:t>
            </a:r>
            <a:endParaRPr lang="es-CO" sz="800"/>
          </a:p>
        </p:txBody>
      </p:sp>
      <p:sp>
        <p:nvSpPr>
          <p:cNvPr id="6" name="CuadroTexto 47">
            <a:extLst>
              <a:ext uri="{FF2B5EF4-FFF2-40B4-BE49-F238E27FC236}">
                <a16:creationId xmlns:a16="http://schemas.microsoft.com/office/drawing/2014/main" id="{F921F928-02DC-4B65-9035-BB47DEBE4D8D}"/>
              </a:ext>
            </a:extLst>
          </p:cNvPr>
          <p:cNvSpPr txBox="1"/>
          <p:nvPr/>
        </p:nvSpPr>
        <p:spPr>
          <a:xfrm>
            <a:off x="44693" y="76443"/>
            <a:ext cx="12102613" cy="738664"/>
          </a:xfrm>
          <a:prstGeom prst="rect">
            <a:avLst/>
          </a:prstGeom>
          <a:noFill/>
          <a:ln>
            <a:noFill/>
          </a:ln>
        </p:spPr>
        <p:txBody>
          <a:bodyPr wrap="square" rtlCol="0">
            <a:spAutoFit/>
          </a:bodyPr>
          <a:lstStyle/>
          <a:p>
            <a:pPr algn="ctr"/>
            <a:r>
              <a:rPr lang="es-ES" sz="2400" b="1" dirty="0">
                <a:solidFill>
                  <a:srgbClr val="10476B"/>
                </a:solidFill>
                <a:latin typeface="Century Gothic" panose="020B0502020202020204" pitchFamily="34" charset="0"/>
                <a:cs typeface="Arial" panose="020B0604020202020204" pitchFamily="34" charset="0"/>
              </a:rPr>
              <a:t>Macroproceso Planeación Estratégica, Nuevos Negocios y Regulación</a:t>
            </a:r>
          </a:p>
          <a:p>
            <a:pPr algn="ctr"/>
            <a:r>
              <a:rPr lang="es-ES" b="1" dirty="0">
                <a:solidFill>
                  <a:schemeClr val="accent4"/>
                </a:solidFill>
                <a:latin typeface="Century Gothic" panose="020B0502020202020204" pitchFamily="34" charset="0"/>
                <a:cs typeface="Arial" panose="020B0604020202020204" pitchFamily="34" charset="0"/>
              </a:rPr>
              <a:t>Proceso Nivel 1: </a:t>
            </a:r>
            <a:r>
              <a:rPr lang="es-ES" b="1" dirty="0">
                <a:solidFill>
                  <a:schemeClr val="accent4"/>
                </a:solidFill>
                <a:latin typeface="Century Gothic" panose="020B0502020202020204" pitchFamily="34" charset="0"/>
                <a:cs typeface="Arial" panose="020B0604020202020204" pitchFamily="34" charset="0"/>
                <a:sym typeface="Wingdings" panose="05000000000000000000" pitchFamily="2" charset="2"/>
              </a:rPr>
              <a:t>Gestión Regulatoria y Aseguramiento de Tarifas</a:t>
            </a:r>
            <a:endParaRPr lang="es-CO" b="1" dirty="0">
              <a:solidFill>
                <a:schemeClr val="accent4"/>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23257602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CuadroTexto 83">
            <a:extLst>
              <a:ext uri="{FF2B5EF4-FFF2-40B4-BE49-F238E27FC236}">
                <a16:creationId xmlns:a16="http://schemas.microsoft.com/office/drawing/2014/main" id="{293DBAF3-3942-4C58-8A63-D4484E215E20}"/>
              </a:ext>
            </a:extLst>
          </p:cNvPr>
          <p:cNvSpPr txBox="1"/>
          <p:nvPr/>
        </p:nvSpPr>
        <p:spPr>
          <a:xfrm>
            <a:off x="8891669" y="4060668"/>
            <a:ext cx="3202307" cy="2169561"/>
          </a:xfrm>
          <a:prstGeom prst="rect">
            <a:avLst/>
          </a:prstGeom>
          <a:noFill/>
          <a:ln>
            <a:solidFill>
              <a:schemeClr val="accent6"/>
            </a:solidFill>
          </a:ln>
        </p:spPr>
        <p:txBody>
          <a:bodyPr wrap="square" rtlCol="0">
            <a:spAutoFit/>
          </a:bodyPr>
          <a:lstStyle/>
          <a:p>
            <a:endParaRPr lang="es-CO" sz="2000"/>
          </a:p>
        </p:txBody>
      </p:sp>
      <p:sp>
        <p:nvSpPr>
          <p:cNvPr id="86" name="Rectángulo 85">
            <a:extLst>
              <a:ext uri="{FF2B5EF4-FFF2-40B4-BE49-F238E27FC236}">
                <a16:creationId xmlns:a16="http://schemas.microsoft.com/office/drawing/2014/main" id="{7696A978-4362-4DE3-8C58-0F58608C4AA6}"/>
              </a:ext>
            </a:extLst>
          </p:cNvPr>
          <p:cNvSpPr/>
          <p:nvPr/>
        </p:nvSpPr>
        <p:spPr>
          <a:xfrm>
            <a:off x="8891669" y="4124107"/>
            <a:ext cx="3202307" cy="553998"/>
          </a:xfrm>
          <a:prstGeom prst="rect">
            <a:avLst/>
          </a:prstGeom>
          <a:ln>
            <a:noFill/>
          </a:ln>
        </p:spPr>
        <p:txBody>
          <a:bodyPr wrap="square" lIns="91440" tIns="45720" rIns="91440" bIns="45720" anchor="t">
            <a:spAutoFit/>
          </a:bodyPr>
          <a:lstStyle/>
          <a:p>
            <a:pPr algn="just"/>
            <a:r>
              <a:rPr lang="es-ES" sz="1000" b="1">
                <a:solidFill>
                  <a:schemeClr val="accent4"/>
                </a:solidFill>
                <a:sym typeface="Wingdings" panose="05000000000000000000" pitchFamily="2" charset="2"/>
              </a:rPr>
              <a:t>Total Proceso Nivel 1 de Gestión Integral de Portafolio: 6 </a:t>
            </a:r>
            <a:r>
              <a:rPr lang="es-ES" sz="1000">
                <a:solidFill>
                  <a:schemeClr val="accent4"/>
                </a:solidFill>
                <a:sym typeface="Wingdings" panose="05000000000000000000" pitchFamily="2" charset="2"/>
              </a:rPr>
              <a:t>decisiones críticas distribuidas en 14 categorías.</a:t>
            </a:r>
            <a:endParaRPr lang="es-CO" sz="1000">
              <a:solidFill>
                <a:schemeClr val="accent4"/>
              </a:solidFill>
            </a:endParaRPr>
          </a:p>
        </p:txBody>
      </p:sp>
      <p:graphicFrame>
        <p:nvGraphicFramePr>
          <p:cNvPr id="5" name="Objeto 4" hidden="1">
            <a:extLst>
              <a:ext uri="{FF2B5EF4-FFF2-40B4-BE49-F238E27FC236}">
                <a16:creationId xmlns:a16="http://schemas.microsoft.com/office/drawing/2014/main" id="{0740088A-8ABF-414B-8746-763C3F660F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421" imgH="423" progId="TCLayout.ActiveDocument.1">
                  <p:embed/>
                </p:oleObj>
              </mc:Choice>
              <mc:Fallback>
                <p:oleObj name="Diapositiva de think-cell" r:id="rId5" imgW="421" imgH="423" progId="TCLayout.ActiveDocument.1">
                  <p:embed/>
                  <p:pic>
                    <p:nvPicPr>
                      <p:cNvPr id="5" name="Objeto 4" hidden="1">
                        <a:extLst>
                          <a:ext uri="{FF2B5EF4-FFF2-40B4-BE49-F238E27FC236}">
                            <a16:creationId xmlns:a16="http://schemas.microsoft.com/office/drawing/2014/main" id="{0740088A-8ABF-414B-8746-763C3F660F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42B40C10-F876-4F1B-842D-C3F6355B6C8A}"/>
              </a:ext>
            </a:extLst>
          </p:cNvPr>
          <p:cNvSpPr/>
          <p:nvPr>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419" sz="2000" b="1">
              <a:solidFill>
                <a:schemeClr val="tx1"/>
              </a:solidFill>
              <a:latin typeface="Arial" panose="020B0604020202020204" pitchFamily="34" charset="0"/>
              <a:ea typeface="+mj-ea"/>
              <a:cs typeface="+mj-cs"/>
              <a:sym typeface="Arial" panose="020B0604020202020204" pitchFamily="34" charset="0"/>
            </a:endParaRPr>
          </a:p>
        </p:txBody>
      </p:sp>
      <p:sp>
        <p:nvSpPr>
          <p:cNvPr id="2" name="Marcador de número de diapositiva 1">
            <a:extLst>
              <a:ext uri="{FF2B5EF4-FFF2-40B4-BE49-F238E27FC236}">
                <a16:creationId xmlns:a16="http://schemas.microsoft.com/office/drawing/2014/main" id="{3A93B487-116E-4767-AA0D-CAE2A460FBE4}"/>
              </a:ext>
            </a:extLst>
          </p:cNvPr>
          <p:cNvSpPr>
            <a:spLocks noGrp="1"/>
          </p:cNvSpPr>
          <p:nvPr>
            <p:ph type="sldNum" sz="quarter" idx="10"/>
          </p:nvPr>
        </p:nvSpPr>
        <p:spPr>
          <a:xfrm>
            <a:off x="12292642" y="6749589"/>
            <a:ext cx="847124" cy="365125"/>
          </a:xfrm>
        </p:spPr>
        <p:txBody>
          <a:bodyPr/>
          <a:lstStyle/>
          <a:p>
            <a:fld id="{02F25750-4209-4357-A72F-45445C8044EF}" type="slidenum">
              <a:rPr lang="es-CO" smtClean="0"/>
              <a:pPr/>
              <a:t>35</a:t>
            </a:fld>
            <a:endParaRPr lang="es-CO"/>
          </a:p>
        </p:txBody>
      </p:sp>
      <p:sp>
        <p:nvSpPr>
          <p:cNvPr id="97" name="Rectángulo 96">
            <a:extLst>
              <a:ext uri="{FF2B5EF4-FFF2-40B4-BE49-F238E27FC236}">
                <a16:creationId xmlns:a16="http://schemas.microsoft.com/office/drawing/2014/main" id="{99300021-C267-43BD-A0F5-B3ECE622345E}"/>
              </a:ext>
            </a:extLst>
          </p:cNvPr>
          <p:cNvSpPr>
            <a:spLocks/>
          </p:cNvSpPr>
          <p:nvPr/>
        </p:nvSpPr>
        <p:spPr>
          <a:xfrm>
            <a:off x="1467027" y="912288"/>
            <a:ext cx="1654656" cy="1823446"/>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200">
                <a:solidFill>
                  <a:schemeClr val="tx2"/>
                </a:solidFill>
              </a:rPr>
              <a:t>Aprobar modificaciones al plan anual y plurianual de inversiones de Cenit y de las compañías del Segmento de Transporte según los límites y montos establecidos</a:t>
            </a:r>
          </a:p>
        </p:txBody>
      </p:sp>
      <p:sp>
        <p:nvSpPr>
          <p:cNvPr id="3" name="Elipse 2">
            <a:extLst>
              <a:ext uri="{FF2B5EF4-FFF2-40B4-BE49-F238E27FC236}">
                <a16:creationId xmlns:a16="http://schemas.microsoft.com/office/drawing/2014/main" id="{815B10B7-60B3-4C63-8431-70CC556387C9}"/>
              </a:ext>
            </a:extLst>
          </p:cNvPr>
          <p:cNvSpPr/>
          <p:nvPr/>
        </p:nvSpPr>
        <p:spPr>
          <a:xfrm>
            <a:off x="1395019" y="818246"/>
            <a:ext cx="250264" cy="207316"/>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2</a:t>
            </a:r>
            <a:endParaRPr lang="es-CO" sz="1200" b="1">
              <a:solidFill>
                <a:schemeClr val="bg1"/>
              </a:solidFill>
            </a:endParaRPr>
          </a:p>
        </p:txBody>
      </p:sp>
      <p:sp>
        <p:nvSpPr>
          <p:cNvPr id="117" name="CuadroTexto 116">
            <a:extLst>
              <a:ext uri="{FF2B5EF4-FFF2-40B4-BE49-F238E27FC236}">
                <a16:creationId xmlns:a16="http://schemas.microsoft.com/office/drawing/2014/main" id="{8960734A-1053-42D2-BD72-6674DCCE6A97}"/>
              </a:ext>
            </a:extLst>
          </p:cNvPr>
          <p:cNvSpPr txBox="1"/>
          <p:nvPr/>
        </p:nvSpPr>
        <p:spPr>
          <a:xfrm>
            <a:off x="10587413" y="4911192"/>
            <a:ext cx="1391405" cy="230832"/>
          </a:xfrm>
          <a:prstGeom prst="rect">
            <a:avLst/>
          </a:prstGeom>
          <a:noFill/>
          <a:ln w="19050">
            <a:solidFill>
              <a:srgbClr val="002060"/>
            </a:solidFill>
          </a:ln>
        </p:spPr>
        <p:txBody>
          <a:bodyPr wrap="square" rtlCol="0">
            <a:spAutoFit/>
          </a:bodyPr>
          <a:lstStyle/>
          <a:p>
            <a:pPr algn="ctr"/>
            <a:r>
              <a:rPr lang="es-ES" sz="900">
                <a:solidFill>
                  <a:schemeClr val="tx2"/>
                </a:solidFill>
              </a:rPr>
              <a:t>Palanca de Agilidad </a:t>
            </a:r>
            <a:endParaRPr lang="es-CO" sz="900">
              <a:solidFill>
                <a:schemeClr val="tx2"/>
              </a:solidFill>
            </a:endParaRPr>
          </a:p>
        </p:txBody>
      </p:sp>
      <p:sp>
        <p:nvSpPr>
          <p:cNvPr id="118" name="CuadroTexto 117">
            <a:extLst>
              <a:ext uri="{FF2B5EF4-FFF2-40B4-BE49-F238E27FC236}">
                <a16:creationId xmlns:a16="http://schemas.microsoft.com/office/drawing/2014/main" id="{C77431EE-A761-4323-B75F-692D4CAEC462}"/>
              </a:ext>
            </a:extLst>
          </p:cNvPr>
          <p:cNvSpPr txBox="1"/>
          <p:nvPr/>
        </p:nvSpPr>
        <p:spPr>
          <a:xfrm>
            <a:off x="10585618" y="5266056"/>
            <a:ext cx="1393200" cy="230832"/>
          </a:xfrm>
          <a:prstGeom prst="rect">
            <a:avLst/>
          </a:prstGeom>
          <a:noFill/>
          <a:ln w="19050">
            <a:solidFill>
              <a:schemeClr val="accent3"/>
            </a:solidFill>
          </a:ln>
        </p:spPr>
        <p:txBody>
          <a:bodyPr wrap="square" rtlCol="0">
            <a:spAutoFit/>
          </a:bodyPr>
          <a:lstStyle/>
          <a:p>
            <a:pPr algn="ctr"/>
            <a:r>
              <a:rPr lang="es-ES" sz="900">
                <a:solidFill>
                  <a:schemeClr val="tx2"/>
                </a:solidFill>
              </a:rPr>
              <a:t>Palanca de Claridad</a:t>
            </a:r>
            <a:endParaRPr lang="es-CO" sz="900">
              <a:solidFill>
                <a:schemeClr val="tx2"/>
              </a:solidFill>
            </a:endParaRPr>
          </a:p>
        </p:txBody>
      </p:sp>
      <p:sp>
        <p:nvSpPr>
          <p:cNvPr id="119" name="CuadroTexto 118">
            <a:extLst>
              <a:ext uri="{FF2B5EF4-FFF2-40B4-BE49-F238E27FC236}">
                <a16:creationId xmlns:a16="http://schemas.microsoft.com/office/drawing/2014/main" id="{A66DDFF6-8990-4632-9B16-3852035C81BA}"/>
              </a:ext>
            </a:extLst>
          </p:cNvPr>
          <p:cNvSpPr txBox="1"/>
          <p:nvPr/>
        </p:nvSpPr>
        <p:spPr>
          <a:xfrm>
            <a:off x="10575111" y="5597310"/>
            <a:ext cx="1455493" cy="230832"/>
          </a:xfrm>
          <a:prstGeom prst="rect">
            <a:avLst/>
          </a:prstGeom>
          <a:noFill/>
          <a:ln w="19050">
            <a:solidFill>
              <a:schemeClr val="bg2">
                <a:lumMod val="50000"/>
              </a:schemeClr>
            </a:solidFill>
          </a:ln>
        </p:spPr>
        <p:txBody>
          <a:bodyPr wrap="square" rtlCol="0">
            <a:spAutoFit/>
          </a:bodyPr>
          <a:lstStyle/>
          <a:p>
            <a:pPr algn="ctr"/>
            <a:r>
              <a:rPr lang="es-ES" sz="900">
                <a:solidFill>
                  <a:schemeClr val="tx2"/>
                </a:solidFill>
              </a:rPr>
              <a:t>Palanca de Consistencia</a:t>
            </a:r>
            <a:endParaRPr lang="es-CO" sz="900">
              <a:solidFill>
                <a:schemeClr val="tx2"/>
              </a:solidFill>
            </a:endParaRPr>
          </a:p>
        </p:txBody>
      </p:sp>
      <p:grpSp>
        <p:nvGrpSpPr>
          <p:cNvPr id="27" name="Grupo 26">
            <a:extLst>
              <a:ext uri="{FF2B5EF4-FFF2-40B4-BE49-F238E27FC236}">
                <a16:creationId xmlns:a16="http://schemas.microsoft.com/office/drawing/2014/main" id="{FBDB43F5-C0DD-4746-9873-93A29FDB9EFF}"/>
              </a:ext>
            </a:extLst>
          </p:cNvPr>
          <p:cNvGrpSpPr/>
          <p:nvPr/>
        </p:nvGrpSpPr>
        <p:grpSpPr>
          <a:xfrm>
            <a:off x="9028034" y="4733720"/>
            <a:ext cx="1579419" cy="369332"/>
            <a:chOff x="7423104" y="4819560"/>
            <a:chExt cx="1579419" cy="409043"/>
          </a:xfrm>
        </p:grpSpPr>
        <p:sp>
          <p:nvSpPr>
            <p:cNvPr id="28" name="CuadroTexto 27">
              <a:extLst>
                <a:ext uri="{FF2B5EF4-FFF2-40B4-BE49-F238E27FC236}">
                  <a16:creationId xmlns:a16="http://schemas.microsoft.com/office/drawing/2014/main" id="{89E54763-AFB7-4A54-AAA6-FBBB897999A0}"/>
                </a:ext>
              </a:extLst>
            </p:cNvPr>
            <p:cNvSpPr txBox="1"/>
            <p:nvPr/>
          </p:nvSpPr>
          <p:spPr>
            <a:xfrm>
              <a:off x="7802465" y="4819560"/>
              <a:ext cx="1200058" cy="409043"/>
            </a:xfrm>
            <a:prstGeom prst="rect">
              <a:avLst/>
            </a:prstGeom>
            <a:noFill/>
          </p:spPr>
          <p:txBody>
            <a:bodyPr wrap="square" lIns="91440" tIns="45720" rIns="91440" bIns="45720" rtlCol="0" anchor="t">
              <a:spAutoFit/>
            </a:bodyPr>
            <a:lstStyle/>
            <a:p>
              <a:r>
                <a:rPr lang="es-ES" sz="900">
                  <a:solidFill>
                    <a:schemeClr val="accent1">
                      <a:lumMod val="25000"/>
                    </a:schemeClr>
                  </a:solidFill>
                </a:rPr>
                <a:t>Junta Directiva</a:t>
              </a:r>
            </a:p>
            <a:p>
              <a:r>
                <a:rPr lang="es-ES" sz="900">
                  <a:solidFill>
                    <a:schemeClr val="accent1">
                      <a:lumMod val="25000"/>
                    </a:schemeClr>
                  </a:solidFill>
                </a:rPr>
                <a:t>35%</a:t>
              </a:r>
              <a:endParaRPr lang="es-CO" sz="900">
                <a:solidFill>
                  <a:schemeClr val="accent1">
                    <a:lumMod val="25000"/>
                  </a:schemeClr>
                </a:solidFill>
              </a:endParaRPr>
            </a:p>
          </p:txBody>
        </p:sp>
        <p:sp>
          <p:nvSpPr>
            <p:cNvPr id="29" name="CuadroTexto 28">
              <a:extLst>
                <a:ext uri="{FF2B5EF4-FFF2-40B4-BE49-F238E27FC236}">
                  <a16:creationId xmlns:a16="http://schemas.microsoft.com/office/drawing/2014/main" id="{E422BE05-F303-4C42-85FC-F297C620CD85}"/>
                </a:ext>
              </a:extLst>
            </p:cNvPr>
            <p:cNvSpPr txBox="1"/>
            <p:nvPr/>
          </p:nvSpPr>
          <p:spPr>
            <a:xfrm>
              <a:off x="7423104" y="4887624"/>
              <a:ext cx="432000" cy="215444"/>
            </a:xfrm>
            <a:prstGeom prst="rect">
              <a:avLst/>
            </a:prstGeom>
            <a:solidFill>
              <a:schemeClr val="bg1"/>
            </a:solidFill>
            <a:ln w="19050">
              <a:solidFill>
                <a:schemeClr val="accent5"/>
              </a:solidFill>
            </a:ln>
          </p:spPr>
          <p:txBody>
            <a:bodyPr wrap="square" rtlCol="0">
              <a:spAutoFit/>
            </a:bodyPr>
            <a:lstStyle/>
            <a:p>
              <a:pPr algn="ctr"/>
              <a:r>
                <a:rPr lang="es-ES" sz="800"/>
                <a:t>JD</a:t>
              </a:r>
              <a:endParaRPr lang="es-CO" sz="800"/>
            </a:p>
          </p:txBody>
        </p:sp>
      </p:grpSp>
      <p:grpSp>
        <p:nvGrpSpPr>
          <p:cNvPr id="30" name="Grupo 29">
            <a:extLst>
              <a:ext uri="{FF2B5EF4-FFF2-40B4-BE49-F238E27FC236}">
                <a16:creationId xmlns:a16="http://schemas.microsoft.com/office/drawing/2014/main" id="{BF4EB355-E4B6-4017-96EF-28FDA34EC932}"/>
              </a:ext>
            </a:extLst>
          </p:cNvPr>
          <p:cNvGrpSpPr/>
          <p:nvPr/>
        </p:nvGrpSpPr>
        <p:grpSpPr>
          <a:xfrm>
            <a:off x="8993581" y="5059880"/>
            <a:ext cx="1629632" cy="507831"/>
            <a:chOff x="12393947" y="3591927"/>
            <a:chExt cx="1693129" cy="562434"/>
          </a:xfrm>
        </p:grpSpPr>
        <p:sp>
          <p:nvSpPr>
            <p:cNvPr id="31" name="CuadroTexto 30">
              <a:extLst>
                <a:ext uri="{FF2B5EF4-FFF2-40B4-BE49-F238E27FC236}">
                  <a16:creationId xmlns:a16="http://schemas.microsoft.com/office/drawing/2014/main" id="{D59789AC-B3DA-4FA4-93FA-300391E9E931}"/>
                </a:ext>
              </a:extLst>
            </p:cNvPr>
            <p:cNvSpPr txBox="1"/>
            <p:nvPr/>
          </p:nvSpPr>
          <p:spPr>
            <a:xfrm>
              <a:off x="12773308" y="3591927"/>
              <a:ext cx="1313768" cy="562434"/>
            </a:xfrm>
            <a:prstGeom prst="rect">
              <a:avLst/>
            </a:prstGeom>
            <a:noFill/>
          </p:spPr>
          <p:txBody>
            <a:bodyPr wrap="square" lIns="91440" tIns="45720" rIns="91440" bIns="45720" rtlCol="0" anchor="t">
              <a:spAutoFit/>
            </a:bodyPr>
            <a:lstStyle/>
            <a:p>
              <a:r>
                <a:rPr lang="es-ES" sz="900">
                  <a:solidFill>
                    <a:schemeClr val="accent1">
                      <a:lumMod val="25000"/>
                    </a:schemeClr>
                  </a:solidFill>
                </a:rPr>
                <a:t>Comité de Negocios e Inversiones</a:t>
              </a:r>
            </a:p>
            <a:p>
              <a:r>
                <a:rPr lang="es-ES" sz="900">
                  <a:solidFill>
                    <a:schemeClr val="accent1">
                      <a:lumMod val="25000"/>
                    </a:schemeClr>
                  </a:solidFill>
                </a:rPr>
                <a:t>57 %</a:t>
              </a:r>
              <a:endParaRPr lang="es-CO" sz="900">
                <a:solidFill>
                  <a:schemeClr val="accent1">
                    <a:lumMod val="25000"/>
                  </a:schemeClr>
                </a:solidFill>
              </a:endParaRPr>
            </a:p>
          </p:txBody>
        </p:sp>
        <p:sp>
          <p:nvSpPr>
            <p:cNvPr id="32" name="CuadroTexto 31">
              <a:extLst>
                <a:ext uri="{FF2B5EF4-FFF2-40B4-BE49-F238E27FC236}">
                  <a16:creationId xmlns:a16="http://schemas.microsoft.com/office/drawing/2014/main" id="{88502FA5-27BD-47D4-8348-B9F69E7A1136}"/>
                </a:ext>
              </a:extLst>
            </p:cNvPr>
            <p:cNvSpPr txBox="1"/>
            <p:nvPr/>
          </p:nvSpPr>
          <p:spPr>
            <a:xfrm>
              <a:off x="12393947" y="3732653"/>
              <a:ext cx="432000" cy="215444"/>
            </a:xfrm>
            <a:prstGeom prst="rect">
              <a:avLst/>
            </a:prstGeom>
            <a:solidFill>
              <a:schemeClr val="bg1"/>
            </a:solidFill>
            <a:ln w="19050">
              <a:solidFill>
                <a:srgbClr val="FFFF00"/>
              </a:solidFill>
            </a:ln>
          </p:spPr>
          <p:txBody>
            <a:bodyPr wrap="square" rtlCol="0">
              <a:spAutoFit/>
            </a:bodyPr>
            <a:lstStyle/>
            <a:p>
              <a:pPr algn="ctr"/>
              <a:r>
                <a:rPr lang="es-ES" sz="800"/>
                <a:t>CNI</a:t>
              </a:r>
              <a:endParaRPr lang="es-CO" sz="800"/>
            </a:p>
          </p:txBody>
        </p:sp>
      </p:grpSp>
      <p:sp>
        <p:nvSpPr>
          <p:cNvPr id="36" name="Rectángulo 35">
            <a:extLst>
              <a:ext uri="{FF2B5EF4-FFF2-40B4-BE49-F238E27FC236}">
                <a16:creationId xmlns:a16="http://schemas.microsoft.com/office/drawing/2014/main" id="{7BF75727-F2D8-4B3A-8084-69B15B6BF24E}"/>
              </a:ext>
            </a:extLst>
          </p:cNvPr>
          <p:cNvSpPr>
            <a:spLocks/>
          </p:cNvSpPr>
          <p:nvPr/>
        </p:nvSpPr>
        <p:spPr>
          <a:xfrm>
            <a:off x="128710" y="912288"/>
            <a:ext cx="1187878" cy="1688329"/>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200">
                <a:solidFill>
                  <a:schemeClr val="tx2"/>
                </a:solidFill>
              </a:rPr>
              <a:t>Aprobar el plan anual y plurianual de inversiones de Cenit y de las compañías del Segmento de Transporte</a:t>
            </a:r>
          </a:p>
        </p:txBody>
      </p:sp>
      <p:sp>
        <p:nvSpPr>
          <p:cNvPr id="37" name="Elipse 36">
            <a:extLst>
              <a:ext uri="{FF2B5EF4-FFF2-40B4-BE49-F238E27FC236}">
                <a16:creationId xmlns:a16="http://schemas.microsoft.com/office/drawing/2014/main" id="{E03420CE-848A-49A4-87D1-5F321F0FC392}"/>
              </a:ext>
            </a:extLst>
          </p:cNvPr>
          <p:cNvSpPr/>
          <p:nvPr/>
        </p:nvSpPr>
        <p:spPr>
          <a:xfrm>
            <a:off x="36078" y="801750"/>
            <a:ext cx="250264" cy="240307"/>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1</a:t>
            </a:r>
            <a:endParaRPr lang="es-CO" sz="1200" b="1">
              <a:solidFill>
                <a:schemeClr val="bg1"/>
              </a:solidFill>
            </a:endParaRPr>
          </a:p>
        </p:txBody>
      </p:sp>
      <p:sp>
        <p:nvSpPr>
          <p:cNvPr id="47" name="Rectángulo 46">
            <a:extLst>
              <a:ext uri="{FF2B5EF4-FFF2-40B4-BE49-F238E27FC236}">
                <a16:creationId xmlns:a16="http://schemas.microsoft.com/office/drawing/2014/main" id="{08837AB5-D97B-420C-BCF2-789F49683794}"/>
              </a:ext>
            </a:extLst>
          </p:cNvPr>
          <p:cNvSpPr>
            <a:spLocks/>
          </p:cNvSpPr>
          <p:nvPr/>
        </p:nvSpPr>
        <p:spPr>
          <a:xfrm>
            <a:off x="3268641" y="907663"/>
            <a:ext cx="2353627" cy="744852"/>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200">
                <a:solidFill>
                  <a:schemeClr val="tx2"/>
                </a:solidFill>
              </a:rPr>
              <a:t>Aprobar la liberación de recursos de inversión incluidos en el plan de inversiones aprobado</a:t>
            </a:r>
          </a:p>
        </p:txBody>
      </p:sp>
      <p:sp>
        <p:nvSpPr>
          <p:cNvPr id="48" name="Elipse 47">
            <a:extLst>
              <a:ext uri="{FF2B5EF4-FFF2-40B4-BE49-F238E27FC236}">
                <a16:creationId xmlns:a16="http://schemas.microsoft.com/office/drawing/2014/main" id="{0E14E7C6-678A-4033-8579-81284F3F52CF}"/>
              </a:ext>
            </a:extLst>
          </p:cNvPr>
          <p:cNvSpPr/>
          <p:nvPr/>
        </p:nvSpPr>
        <p:spPr>
          <a:xfrm>
            <a:off x="3184222" y="817632"/>
            <a:ext cx="250264" cy="230832"/>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3</a:t>
            </a:r>
            <a:endParaRPr lang="es-CO" sz="1200" b="1">
              <a:solidFill>
                <a:schemeClr val="bg1"/>
              </a:solidFill>
            </a:endParaRPr>
          </a:p>
        </p:txBody>
      </p:sp>
      <p:sp>
        <p:nvSpPr>
          <p:cNvPr id="49" name="Rectangle 30">
            <a:extLst>
              <a:ext uri="{FF2B5EF4-FFF2-40B4-BE49-F238E27FC236}">
                <a16:creationId xmlns:a16="http://schemas.microsoft.com/office/drawing/2014/main" id="{E470E608-DE91-49F1-B012-DE560AC3DFC9}"/>
              </a:ext>
            </a:extLst>
          </p:cNvPr>
          <p:cNvSpPr>
            <a:spLocks/>
          </p:cNvSpPr>
          <p:nvPr/>
        </p:nvSpPr>
        <p:spPr>
          <a:xfrm>
            <a:off x="128710" y="2702402"/>
            <a:ext cx="1187879" cy="1211068"/>
          </a:xfrm>
          <a:prstGeom prst="rect">
            <a:avLst/>
          </a:prstGeom>
          <a:solidFill>
            <a:schemeClr val="bg2">
              <a:lumMod val="95000"/>
              <a:alpha val="68000"/>
            </a:schemeClr>
          </a:solidFill>
          <a:ln w="285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Aprobar el plan anual y plurianual de inversiones de Cenit y de las compañías del Segmento de Transporte</a:t>
            </a:r>
            <a:endParaRPr lang="es-CO" sz="1000">
              <a:solidFill>
                <a:schemeClr val="tx2"/>
              </a:solidFill>
            </a:endParaRPr>
          </a:p>
        </p:txBody>
      </p:sp>
      <p:sp>
        <p:nvSpPr>
          <p:cNvPr id="62" name="Rectángulo 61">
            <a:extLst>
              <a:ext uri="{FF2B5EF4-FFF2-40B4-BE49-F238E27FC236}">
                <a16:creationId xmlns:a16="http://schemas.microsoft.com/office/drawing/2014/main" id="{BAD8AC49-F484-4980-AAD5-672795A58DC5}"/>
              </a:ext>
            </a:extLst>
          </p:cNvPr>
          <p:cNvSpPr>
            <a:spLocks/>
          </p:cNvSpPr>
          <p:nvPr/>
        </p:nvSpPr>
        <p:spPr>
          <a:xfrm>
            <a:off x="5733318" y="888707"/>
            <a:ext cx="1654656" cy="1135330"/>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200">
                <a:solidFill>
                  <a:schemeClr val="tx2"/>
                </a:solidFill>
              </a:rPr>
              <a:t>Aprobar la liberación de recursos de inversión NO incluidos en el plan de inversiones aprobado</a:t>
            </a:r>
          </a:p>
        </p:txBody>
      </p:sp>
      <p:sp>
        <p:nvSpPr>
          <p:cNvPr id="63" name="Elipse 62">
            <a:extLst>
              <a:ext uri="{FF2B5EF4-FFF2-40B4-BE49-F238E27FC236}">
                <a16:creationId xmlns:a16="http://schemas.microsoft.com/office/drawing/2014/main" id="{A670FBED-2394-4593-B292-1EE2F3B3B323}"/>
              </a:ext>
            </a:extLst>
          </p:cNvPr>
          <p:cNvSpPr/>
          <p:nvPr/>
        </p:nvSpPr>
        <p:spPr>
          <a:xfrm>
            <a:off x="5632806" y="795821"/>
            <a:ext cx="250264" cy="252167"/>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4</a:t>
            </a:r>
            <a:endParaRPr lang="es-CO" sz="1200" b="1">
              <a:solidFill>
                <a:schemeClr val="bg1"/>
              </a:solidFill>
            </a:endParaRPr>
          </a:p>
        </p:txBody>
      </p:sp>
      <p:sp>
        <p:nvSpPr>
          <p:cNvPr id="89" name="Rectangle 30">
            <a:extLst>
              <a:ext uri="{FF2B5EF4-FFF2-40B4-BE49-F238E27FC236}">
                <a16:creationId xmlns:a16="http://schemas.microsoft.com/office/drawing/2014/main" id="{78E51770-F801-49A4-B7E4-98D680A50D5D}"/>
              </a:ext>
            </a:extLst>
          </p:cNvPr>
          <p:cNvSpPr>
            <a:spLocks/>
          </p:cNvSpPr>
          <p:nvPr/>
        </p:nvSpPr>
        <p:spPr>
          <a:xfrm>
            <a:off x="1471352" y="4085854"/>
            <a:ext cx="1631588" cy="1026553"/>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Aprobar modificaciones cuando está dentro del cupo de recomposición aprobado en firme del Portafolio de Inversiones</a:t>
            </a:r>
            <a:endParaRPr lang="es-CO" sz="1000">
              <a:solidFill>
                <a:schemeClr val="tx2"/>
              </a:solidFill>
            </a:endParaRPr>
          </a:p>
        </p:txBody>
      </p:sp>
      <p:sp>
        <p:nvSpPr>
          <p:cNvPr id="91" name="CuadroTexto 90">
            <a:extLst>
              <a:ext uri="{FF2B5EF4-FFF2-40B4-BE49-F238E27FC236}">
                <a16:creationId xmlns:a16="http://schemas.microsoft.com/office/drawing/2014/main" id="{D7C63224-3048-4B57-A2D7-C241308F819B}"/>
              </a:ext>
            </a:extLst>
          </p:cNvPr>
          <p:cNvSpPr txBox="1"/>
          <p:nvPr/>
        </p:nvSpPr>
        <p:spPr>
          <a:xfrm>
            <a:off x="543633" y="3856542"/>
            <a:ext cx="432000" cy="215444"/>
          </a:xfrm>
          <a:prstGeom prst="rect">
            <a:avLst/>
          </a:prstGeom>
          <a:solidFill>
            <a:schemeClr val="bg1"/>
          </a:solidFill>
          <a:ln w="19050">
            <a:solidFill>
              <a:schemeClr val="accent5"/>
            </a:solidFill>
          </a:ln>
        </p:spPr>
        <p:txBody>
          <a:bodyPr wrap="square" rtlCol="0">
            <a:spAutoFit/>
          </a:bodyPr>
          <a:lstStyle/>
          <a:p>
            <a:pPr algn="ctr"/>
            <a:r>
              <a:rPr lang="es-ES" sz="800"/>
              <a:t>JD</a:t>
            </a:r>
            <a:endParaRPr lang="es-CO" sz="800"/>
          </a:p>
        </p:txBody>
      </p:sp>
      <p:sp>
        <p:nvSpPr>
          <p:cNvPr id="101" name="CuadroTexto 100">
            <a:extLst>
              <a:ext uri="{FF2B5EF4-FFF2-40B4-BE49-F238E27FC236}">
                <a16:creationId xmlns:a16="http://schemas.microsoft.com/office/drawing/2014/main" id="{D856FD2F-5967-4519-89A4-8AC60519B569}"/>
              </a:ext>
            </a:extLst>
          </p:cNvPr>
          <p:cNvSpPr txBox="1"/>
          <p:nvPr/>
        </p:nvSpPr>
        <p:spPr>
          <a:xfrm>
            <a:off x="2138767" y="5054942"/>
            <a:ext cx="432000" cy="215444"/>
          </a:xfrm>
          <a:prstGeom prst="rect">
            <a:avLst/>
          </a:prstGeom>
          <a:solidFill>
            <a:schemeClr val="bg1"/>
          </a:solidFill>
          <a:ln w="19050">
            <a:solidFill>
              <a:srgbClr val="FFFF00"/>
            </a:solidFill>
          </a:ln>
        </p:spPr>
        <p:txBody>
          <a:bodyPr wrap="square" rtlCol="0">
            <a:spAutoFit/>
          </a:bodyPr>
          <a:lstStyle/>
          <a:p>
            <a:pPr algn="ctr"/>
            <a:r>
              <a:rPr lang="es-ES" sz="800"/>
              <a:t>CNI</a:t>
            </a:r>
            <a:endParaRPr lang="es-CO" sz="800"/>
          </a:p>
        </p:txBody>
      </p:sp>
      <p:sp>
        <p:nvSpPr>
          <p:cNvPr id="103" name="Rectangle 30">
            <a:extLst>
              <a:ext uri="{FF2B5EF4-FFF2-40B4-BE49-F238E27FC236}">
                <a16:creationId xmlns:a16="http://schemas.microsoft.com/office/drawing/2014/main" id="{47CDDAFF-8DCC-4B35-9FE7-57D6B6DB23D4}"/>
              </a:ext>
            </a:extLst>
          </p:cNvPr>
          <p:cNvSpPr>
            <a:spLocks/>
          </p:cNvSpPr>
          <p:nvPr/>
        </p:nvSpPr>
        <p:spPr>
          <a:xfrm>
            <a:off x="1471352" y="5363361"/>
            <a:ext cx="1631588" cy="66018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Aprobar traslados entre inversiones en SAP</a:t>
            </a:r>
            <a:endParaRPr lang="es-CO" sz="1000">
              <a:solidFill>
                <a:schemeClr val="tx2"/>
              </a:solidFill>
            </a:endParaRPr>
          </a:p>
        </p:txBody>
      </p:sp>
      <p:grpSp>
        <p:nvGrpSpPr>
          <p:cNvPr id="105" name="Grupo 104">
            <a:extLst>
              <a:ext uri="{FF2B5EF4-FFF2-40B4-BE49-F238E27FC236}">
                <a16:creationId xmlns:a16="http://schemas.microsoft.com/office/drawing/2014/main" id="{13AF375E-8C3A-427F-9D9C-080FB01DB8FB}"/>
              </a:ext>
            </a:extLst>
          </p:cNvPr>
          <p:cNvGrpSpPr/>
          <p:nvPr/>
        </p:nvGrpSpPr>
        <p:grpSpPr>
          <a:xfrm>
            <a:off x="9028034" y="5594263"/>
            <a:ext cx="1368875" cy="507831"/>
            <a:chOff x="12420159" y="4108278"/>
            <a:chExt cx="1368875" cy="562434"/>
          </a:xfrm>
        </p:grpSpPr>
        <p:sp>
          <p:nvSpPr>
            <p:cNvPr id="106" name="CuadroTexto 105">
              <a:extLst>
                <a:ext uri="{FF2B5EF4-FFF2-40B4-BE49-F238E27FC236}">
                  <a16:creationId xmlns:a16="http://schemas.microsoft.com/office/drawing/2014/main" id="{D80E5266-3B11-4E97-BA26-D60C09BA3496}"/>
                </a:ext>
              </a:extLst>
            </p:cNvPr>
            <p:cNvSpPr txBox="1"/>
            <p:nvPr/>
          </p:nvSpPr>
          <p:spPr>
            <a:xfrm>
              <a:off x="12799520" y="4108278"/>
              <a:ext cx="989514" cy="562434"/>
            </a:xfrm>
            <a:prstGeom prst="rect">
              <a:avLst/>
            </a:prstGeom>
            <a:noFill/>
          </p:spPr>
          <p:txBody>
            <a:bodyPr wrap="square" lIns="91440" tIns="45720" rIns="91440" bIns="45720" rtlCol="0" anchor="t">
              <a:spAutoFit/>
            </a:bodyPr>
            <a:lstStyle/>
            <a:p>
              <a:r>
                <a:rPr lang="es-ES" sz="900">
                  <a:solidFill>
                    <a:schemeClr val="accent1">
                      <a:lumMod val="25000"/>
                    </a:schemeClr>
                  </a:solidFill>
                </a:rPr>
                <a:t>Jefe de Portafolio</a:t>
              </a:r>
            </a:p>
            <a:p>
              <a:r>
                <a:rPr lang="es-ES" sz="900">
                  <a:solidFill>
                    <a:schemeClr val="accent1">
                      <a:lumMod val="25000"/>
                    </a:schemeClr>
                  </a:solidFill>
                </a:rPr>
                <a:t>8%</a:t>
              </a:r>
              <a:endParaRPr lang="es-CO" sz="900">
                <a:solidFill>
                  <a:schemeClr val="accent1">
                    <a:lumMod val="25000"/>
                  </a:schemeClr>
                </a:solidFill>
              </a:endParaRPr>
            </a:p>
          </p:txBody>
        </p:sp>
        <p:sp>
          <p:nvSpPr>
            <p:cNvPr id="107" name="CuadroTexto 106">
              <a:extLst>
                <a:ext uri="{FF2B5EF4-FFF2-40B4-BE49-F238E27FC236}">
                  <a16:creationId xmlns:a16="http://schemas.microsoft.com/office/drawing/2014/main" id="{D9CB01E2-D66D-461C-A4D8-77477AFC076D}"/>
                </a:ext>
              </a:extLst>
            </p:cNvPr>
            <p:cNvSpPr txBox="1"/>
            <p:nvPr/>
          </p:nvSpPr>
          <p:spPr>
            <a:xfrm>
              <a:off x="12420159" y="4239478"/>
              <a:ext cx="432000" cy="215444"/>
            </a:xfrm>
            <a:prstGeom prst="rect">
              <a:avLst/>
            </a:prstGeom>
            <a:solidFill>
              <a:schemeClr val="bg1"/>
            </a:solidFill>
            <a:ln w="19050">
              <a:solidFill>
                <a:srgbClr val="FF9999"/>
              </a:solidFill>
            </a:ln>
          </p:spPr>
          <p:txBody>
            <a:bodyPr wrap="square" rtlCol="0">
              <a:spAutoFit/>
            </a:bodyPr>
            <a:lstStyle/>
            <a:p>
              <a:pPr algn="ctr"/>
              <a:r>
                <a:rPr lang="es-ES" sz="800"/>
                <a:t>JP</a:t>
              </a:r>
              <a:endParaRPr lang="es-CO" sz="800"/>
            </a:p>
          </p:txBody>
        </p:sp>
      </p:grpSp>
      <p:sp>
        <p:nvSpPr>
          <p:cNvPr id="108" name="CuadroTexto 107">
            <a:extLst>
              <a:ext uri="{FF2B5EF4-FFF2-40B4-BE49-F238E27FC236}">
                <a16:creationId xmlns:a16="http://schemas.microsoft.com/office/drawing/2014/main" id="{CED671D3-DFA6-4098-9182-1C85FA4E2480}"/>
              </a:ext>
            </a:extLst>
          </p:cNvPr>
          <p:cNvSpPr txBox="1"/>
          <p:nvPr/>
        </p:nvSpPr>
        <p:spPr>
          <a:xfrm>
            <a:off x="2138767" y="5916439"/>
            <a:ext cx="432000" cy="215444"/>
          </a:xfrm>
          <a:prstGeom prst="rect">
            <a:avLst/>
          </a:prstGeom>
          <a:solidFill>
            <a:schemeClr val="bg1"/>
          </a:solidFill>
          <a:ln w="19050">
            <a:solidFill>
              <a:srgbClr val="FF9999"/>
            </a:solidFill>
          </a:ln>
        </p:spPr>
        <p:txBody>
          <a:bodyPr wrap="square" rtlCol="0">
            <a:spAutoFit/>
          </a:bodyPr>
          <a:lstStyle/>
          <a:p>
            <a:pPr algn="ctr"/>
            <a:r>
              <a:rPr lang="es-ES" sz="800"/>
              <a:t>JP</a:t>
            </a:r>
            <a:endParaRPr lang="es-CO" sz="800"/>
          </a:p>
        </p:txBody>
      </p:sp>
      <p:sp>
        <p:nvSpPr>
          <p:cNvPr id="109" name="Rectangle 30">
            <a:extLst>
              <a:ext uri="{FF2B5EF4-FFF2-40B4-BE49-F238E27FC236}">
                <a16:creationId xmlns:a16="http://schemas.microsoft.com/office/drawing/2014/main" id="{56717B0D-A5CF-4165-984E-31F6C44AA676}"/>
              </a:ext>
            </a:extLst>
          </p:cNvPr>
          <p:cNvSpPr>
            <a:spLocks/>
          </p:cNvSpPr>
          <p:nvPr/>
        </p:nvSpPr>
        <p:spPr>
          <a:xfrm>
            <a:off x="3254867" y="3824717"/>
            <a:ext cx="2349345" cy="361464"/>
          </a:xfrm>
          <a:prstGeom prst="rect">
            <a:avLst/>
          </a:prstGeom>
          <a:solidFill>
            <a:schemeClr val="bg2">
              <a:lumMod val="95000"/>
              <a:alpha val="68000"/>
            </a:schemeClr>
          </a:solidFill>
          <a:ln w="285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Aprobar </a:t>
            </a:r>
            <a:r>
              <a:rPr lang="es-ES" sz="1000" err="1">
                <a:solidFill>
                  <a:schemeClr val="tx2"/>
                </a:solidFill>
              </a:rPr>
              <a:t>start</a:t>
            </a:r>
            <a:r>
              <a:rPr lang="es-ES" sz="1000">
                <a:solidFill>
                  <a:schemeClr val="tx2"/>
                </a:solidFill>
              </a:rPr>
              <a:t> up de cualquier cuantía</a:t>
            </a:r>
            <a:endParaRPr lang="es-CO" sz="1000">
              <a:solidFill>
                <a:schemeClr val="tx2"/>
              </a:solidFill>
            </a:endParaRPr>
          </a:p>
        </p:txBody>
      </p:sp>
      <p:sp>
        <p:nvSpPr>
          <p:cNvPr id="111" name="CuadroTexto 110">
            <a:extLst>
              <a:ext uri="{FF2B5EF4-FFF2-40B4-BE49-F238E27FC236}">
                <a16:creationId xmlns:a16="http://schemas.microsoft.com/office/drawing/2014/main" id="{B24CA692-71DA-4227-A822-169235FC8EA2}"/>
              </a:ext>
            </a:extLst>
          </p:cNvPr>
          <p:cNvSpPr txBox="1"/>
          <p:nvPr/>
        </p:nvSpPr>
        <p:spPr>
          <a:xfrm>
            <a:off x="5203250" y="4092129"/>
            <a:ext cx="432000" cy="215444"/>
          </a:xfrm>
          <a:prstGeom prst="rect">
            <a:avLst/>
          </a:prstGeom>
          <a:solidFill>
            <a:schemeClr val="bg1"/>
          </a:solidFill>
          <a:ln w="19050">
            <a:solidFill>
              <a:srgbClr val="FFFF00"/>
            </a:solidFill>
          </a:ln>
        </p:spPr>
        <p:txBody>
          <a:bodyPr wrap="square" rtlCol="0">
            <a:spAutoFit/>
          </a:bodyPr>
          <a:lstStyle/>
          <a:p>
            <a:pPr algn="ctr"/>
            <a:r>
              <a:rPr lang="es-ES" sz="800"/>
              <a:t>CNI</a:t>
            </a:r>
            <a:endParaRPr lang="es-CO" sz="800"/>
          </a:p>
        </p:txBody>
      </p:sp>
      <p:sp>
        <p:nvSpPr>
          <p:cNvPr id="112" name="Rectangle 30">
            <a:extLst>
              <a:ext uri="{FF2B5EF4-FFF2-40B4-BE49-F238E27FC236}">
                <a16:creationId xmlns:a16="http://schemas.microsoft.com/office/drawing/2014/main" id="{257606EF-5BB9-4EA0-8BD7-F8519A29B19F}"/>
              </a:ext>
            </a:extLst>
          </p:cNvPr>
          <p:cNvSpPr>
            <a:spLocks/>
          </p:cNvSpPr>
          <p:nvPr/>
        </p:nvSpPr>
        <p:spPr>
          <a:xfrm>
            <a:off x="3255906" y="2704263"/>
            <a:ext cx="2348943" cy="994484"/>
          </a:xfrm>
          <a:prstGeom prst="rect">
            <a:avLst/>
          </a:prstGeom>
          <a:solidFill>
            <a:schemeClr val="bg2">
              <a:lumMod val="95000"/>
              <a:alpha val="68000"/>
            </a:schemeClr>
          </a:solidFill>
          <a:ln w="285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Aprobar la decisión final de inversión (FID) para proyectos, inversiones y oportunidades de negocio incluidos en el plan de inversiones aprobado, con cuantía hasta MUSD$25</a:t>
            </a:r>
            <a:endParaRPr lang="es-CO" sz="1000">
              <a:solidFill>
                <a:schemeClr val="tx2"/>
              </a:solidFill>
            </a:endParaRPr>
          </a:p>
        </p:txBody>
      </p:sp>
      <p:sp>
        <p:nvSpPr>
          <p:cNvPr id="113" name="CuadroTexto 112">
            <a:extLst>
              <a:ext uri="{FF2B5EF4-FFF2-40B4-BE49-F238E27FC236}">
                <a16:creationId xmlns:a16="http://schemas.microsoft.com/office/drawing/2014/main" id="{2A1E37BA-32FC-4C43-92F5-2CEE008FDE7E}"/>
              </a:ext>
            </a:extLst>
          </p:cNvPr>
          <p:cNvSpPr txBox="1"/>
          <p:nvPr/>
        </p:nvSpPr>
        <p:spPr>
          <a:xfrm>
            <a:off x="5200309" y="3561070"/>
            <a:ext cx="432000" cy="215444"/>
          </a:xfrm>
          <a:prstGeom prst="rect">
            <a:avLst/>
          </a:prstGeom>
          <a:solidFill>
            <a:schemeClr val="bg1"/>
          </a:solidFill>
          <a:ln w="19050">
            <a:solidFill>
              <a:srgbClr val="FFFF00"/>
            </a:solidFill>
          </a:ln>
        </p:spPr>
        <p:txBody>
          <a:bodyPr wrap="square" rtlCol="0">
            <a:spAutoFit/>
          </a:bodyPr>
          <a:lstStyle/>
          <a:p>
            <a:pPr algn="ctr"/>
            <a:r>
              <a:rPr lang="es-ES" sz="800"/>
              <a:t>CNI</a:t>
            </a:r>
            <a:endParaRPr lang="es-CO" sz="800"/>
          </a:p>
        </p:txBody>
      </p:sp>
      <p:sp>
        <p:nvSpPr>
          <p:cNvPr id="114" name="Rectangle 30">
            <a:extLst>
              <a:ext uri="{FF2B5EF4-FFF2-40B4-BE49-F238E27FC236}">
                <a16:creationId xmlns:a16="http://schemas.microsoft.com/office/drawing/2014/main" id="{18318F6E-FDF5-466F-8FC2-D4038054E523}"/>
              </a:ext>
            </a:extLst>
          </p:cNvPr>
          <p:cNvSpPr>
            <a:spLocks/>
          </p:cNvSpPr>
          <p:nvPr/>
        </p:nvSpPr>
        <p:spPr>
          <a:xfrm>
            <a:off x="3255504" y="1776213"/>
            <a:ext cx="2349345" cy="800029"/>
          </a:xfrm>
          <a:prstGeom prst="rect">
            <a:avLst/>
          </a:prstGeom>
          <a:solidFill>
            <a:schemeClr val="bg2">
              <a:lumMod val="95000"/>
              <a:alpha val="68000"/>
            </a:schemeClr>
          </a:solidFill>
          <a:ln w="285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Aprobar la decisión final de inversión (FID) para proyectos, inversiones, y oportunidades de negocio incluidos en el plan de inversiones aprobado, con cuantía mayor a MUSD$25</a:t>
            </a:r>
            <a:endParaRPr lang="es-CO" sz="1000">
              <a:solidFill>
                <a:schemeClr val="tx2"/>
              </a:solidFill>
            </a:endParaRPr>
          </a:p>
        </p:txBody>
      </p:sp>
      <p:sp>
        <p:nvSpPr>
          <p:cNvPr id="116" name="CuadroTexto 115">
            <a:extLst>
              <a:ext uri="{FF2B5EF4-FFF2-40B4-BE49-F238E27FC236}">
                <a16:creationId xmlns:a16="http://schemas.microsoft.com/office/drawing/2014/main" id="{4491A663-C80C-436C-9781-9DB6CD00443C}"/>
              </a:ext>
            </a:extLst>
          </p:cNvPr>
          <p:cNvSpPr txBox="1"/>
          <p:nvPr/>
        </p:nvSpPr>
        <p:spPr>
          <a:xfrm>
            <a:off x="5238960" y="2431955"/>
            <a:ext cx="432000" cy="215444"/>
          </a:xfrm>
          <a:prstGeom prst="rect">
            <a:avLst/>
          </a:prstGeom>
          <a:solidFill>
            <a:schemeClr val="bg1"/>
          </a:solidFill>
          <a:ln w="19050">
            <a:solidFill>
              <a:schemeClr val="accent5"/>
            </a:solidFill>
          </a:ln>
        </p:spPr>
        <p:txBody>
          <a:bodyPr wrap="square" rtlCol="0">
            <a:spAutoFit/>
          </a:bodyPr>
          <a:lstStyle/>
          <a:p>
            <a:pPr algn="ctr"/>
            <a:r>
              <a:rPr lang="es-ES" sz="800"/>
              <a:t>JD</a:t>
            </a:r>
            <a:endParaRPr lang="es-CO" sz="800"/>
          </a:p>
        </p:txBody>
      </p:sp>
      <p:sp>
        <p:nvSpPr>
          <p:cNvPr id="120" name="Rectangle 30">
            <a:extLst>
              <a:ext uri="{FF2B5EF4-FFF2-40B4-BE49-F238E27FC236}">
                <a16:creationId xmlns:a16="http://schemas.microsoft.com/office/drawing/2014/main" id="{8BFF1E86-A1DD-436B-B9A3-CC645BA93C19}"/>
              </a:ext>
            </a:extLst>
          </p:cNvPr>
          <p:cNvSpPr>
            <a:spLocks/>
          </p:cNvSpPr>
          <p:nvPr/>
        </p:nvSpPr>
        <p:spPr>
          <a:xfrm>
            <a:off x="5733318" y="4299152"/>
            <a:ext cx="1684819" cy="1836695"/>
          </a:xfrm>
          <a:prstGeom prst="rect">
            <a:avLst/>
          </a:prstGeom>
          <a:solidFill>
            <a:schemeClr val="bg2">
              <a:lumMod val="95000"/>
              <a:alpha val="68000"/>
            </a:schemeClr>
          </a:solidFill>
          <a:ln w="285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Aprobar </a:t>
            </a:r>
            <a:r>
              <a:rPr lang="es-ES" sz="1000" err="1">
                <a:solidFill>
                  <a:schemeClr val="tx2"/>
                </a:solidFill>
              </a:rPr>
              <a:t>start</a:t>
            </a:r>
            <a:r>
              <a:rPr lang="es-ES" sz="1000">
                <a:solidFill>
                  <a:schemeClr val="tx2"/>
                </a:solidFill>
              </a:rPr>
              <a:t> up, fases de planeación y decisiones finales de inversión de proyectos, inversiones, mantenimientos capitalizables (incluyendo reposición de equipos) y oportunidades de negocio NO incluidos en el plan de inversiones aprobado, con cuantía hasta MUSD$ 10</a:t>
            </a:r>
            <a:endParaRPr lang="es-CO" sz="1000" strike="sngStrike">
              <a:solidFill>
                <a:schemeClr val="tx2"/>
              </a:solidFill>
            </a:endParaRPr>
          </a:p>
        </p:txBody>
      </p:sp>
      <p:sp>
        <p:nvSpPr>
          <p:cNvPr id="121" name="CuadroTexto 120">
            <a:extLst>
              <a:ext uri="{FF2B5EF4-FFF2-40B4-BE49-F238E27FC236}">
                <a16:creationId xmlns:a16="http://schemas.microsoft.com/office/drawing/2014/main" id="{40F9F036-1144-4EE2-8AB2-DD450E530B82}"/>
              </a:ext>
            </a:extLst>
          </p:cNvPr>
          <p:cNvSpPr txBox="1"/>
          <p:nvPr/>
        </p:nvSpPr>
        <p:spPr>
          <a:xfrm>
            <a:off x="6939014" y="6056260"/>
            <a:ext cx="432000" cy="215444"/>
          </a:xfrm>
          <a:prstGeom prst="rect">
            <a:avLst/>
          </a:prstGeom>
          <a:solidFill>
            <a:schemeClr val="bg1"/>
          </a:solidFill>
          <a:ln w="19050">
            <a:solidFill>
              <a:srgbClr val="FFFF00"/>
            </a:solidFill>
          </a:ln>
        </p:spPr>
        <p:txBody>
          <a:bodyPr wrap="square" rtlCol="0">
            <a:spAutoFit/>
          </a:bodyPr>
          <a:lstStyle/>
          <a:p>
            <a:pPr algn="ctr"/>
            <a:r>
              <a:rPr lang="es-ES" sz="800"/>
              <a:t>CNI</a:t>
            </a:r>
            <a:endParaRPr lang="es-CO" sz="800"/>
          </a:p>
        </p:txBody>
      </p:sp>
      <p:sp>
        <p:nvSpPr>
          <p:cNvPr id="122" name="Rectangle 30">
            <a:extLst>
              <a:ext uri="{FF2B5EF4-FFF2-40B4-BE49-F238E27FC236}">
                <a16:creationId xmlns:a16="http://schemas.microsoft.com/office/drawing/2014/main" id="{B8505047-1817-461A-9139-B9E5DFE62916}"/>
              </a:ext>
            </a:extLst>
          </p:cNvPr>
          <p:cNvSpPr>
            <a:spLocks/>
          </p:cNvSpPr>
          <p:nvPr/>
        </p:nvSpPr>
        <p:spPr>
          <a:xfrm>
            <a:off x="5733318" y="2110156"/>
            <a:ext cx="1684819" cy="2048516"/>
          </a:xfrm>
          <a:prstGeom prst="rect">
            <a:avLst/>
          </a:prstGeom>
          <a:solidFill>
            <a:schemeClr val="bg2">
              <a:lumMod val="95000"/>
              <a:alpha val="68000"/>
            </a:schemeClr>
          </a:solidFill>
          <a:ln w="28575">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Aprobar la decisión final de inversión (FID) para proyectos, inversiones, mantenimientos capitalizables (incluyendo reposición de equipos) y oportunidades de negocio NO incluidos en el plan de inversiones aprobado, así como aprobación de </a:t>
            </a:r>
            <a:r>
              <a:rPr lang="es-ES" sz="1000" err="1">
                <a:solidFill>
                  <a:schemeClr val="tx2"/>
                </a:solidFill>
              </a:rPr>
              <a:t>start</a:t>
            </a:r>
            <a:r>
              <a:rPr lang="es-ES" sz="1000">
                <a:solidFill>
                  <a:schemeClr val="tx2"/>
                </a:solidFill>
              </a:rPr>
              <a:t> up y fases de planeación, con cuantía mayor a MUSD$10</a:t>
            </a:r>
            <a:endParaRPr lang="es-CO" sz="1000" strike="sngStrike">
              <a:solidFill>
                <a:schemeClr val="tx2"/>
              </a:solidFill>
            </a:endParaRPr>
          </a:p>
        </p:txBody>
      </p:sp>
      <p:sp>
        <p:nvSpPr>
          <p:cNvPr id="123" name="CuadroTexto 122">
            <a:extLst>
              <a:ext uri="{FF2B5EF4-FFF2-40B4-BE49-F238E27FC236}">
                <a16:creationId xmlns:a16="http://schemas.microsoft.com/office/drawing/2014/main" id="{66CF791B-8C49-49B9-A270-9DE2A3A4F271}"/>
              </a:ext>
            </a:extLst>
          </p:cNvPr>
          <p:cNvSpPr txBox="1"/>
          <p:nvPr/>
        </p:nvSpPr>
        <p:spPr>
          <a:xfrm>
            <a:off x="6931512" y="4029347"/>
            <a:ext cx="432000" cy="215444"/>
          </a:xfrm>
          <a:prstGeom prst="rect">
            <a:avLst/>
          </a:prstGeom>
          <a:solidFill>
            <a:schemeClr val="bg1"/>
          </a:solidFill>
          <a:ln w="19050">
            <a:solidFill>
              <a:schemeClr val="accent5"/>
            </a:solidFill>
          </a:ln>
        </p:spPr>
        <p:txBody>
          <a:bodyPr wrap="square" rtlCol="0">
            <a:spAutoFit/>
          </a:bodyPr>
          <a:lstStyle/>
          <a:p>
            <a:pPr algn="ctr"/>
            <a:r>
              <a:rPr lang="es-ES" sz="800"/>
              <a:t>JD</a:t>
            </a:r>
            <a:endParaRPr lang="es-CO" sz="800"/>
          </a:p>
        </p:txBody>
      </p:sp>
      <p:sp>
        <p:nvSpPr>
          <p:cNvPr id="7" name="Rectangle 30">
            <a:extLst>
              <a:ext uri="{FF2B5EF4-FFF2-40B4-BE49-F238E27FC236}">
                <a16:creationId xmlns:a16="http://schemas.microsoft.com/office/drawing/2014/main" id="{A050DA32-C215-4F0A-ACAB-695843B199F5}"/>
              </a:ext>
            </a:extLst>
          </p:cNvPr>
          <p:cNvSpPr>
            <a:spLocks/>
          </p:cNvSpPr>
          <p:nvPr/>
        </p:nvSpPr>
        <p:spPr>
          <a:xfrm>
            <a:off x="1467027" y="2828372"/>
            <a:ext cx="1635913" cy="1026553"/>
          </a:xfrm>
          <a:prstGeom prst="rect">
            <a:avLst/>
          </a:prstGeom>
          <a:solidFill>
            <a:schemeClr val="bg2">
              <a:lumMod val="95000"/>
              <a:alpha val="68000"/>
            </a:schemeClr>
          </a:solidFill>
          <a:ln w="285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Aprobar modificaciones cuando se supera el cupo de recomposición aprobado en firme del Portafolio de Inversiones</a:t>
            </a:r>
            <a:endParaRPr lang="es-CO" sz="1000">
              <a:solidFill>
                <a:schemeClr val="tx2"/>
              </a:solidFill>
            </a:endParaRPr>
          </a:p>
        </p:txBody>
      </p:sp>
      <p:sp>
        <p:nvSpPr>
          <p:cNvPr id="9" name="CuadroTexto 8">
            <a:extLst>
              <a:ext uri="{FF2B5EF4-FFF2-40B4-BE49-F238E27FC236}">
                <a16:creationId xmlns:a16="http://schemas.microsoft.com/office/drawing/2014/main" id="{AA3B63D6-706E-44CB-8B9F-D22908EDDD10}"/>
              </a:ext>
            </a:extLst>
          </p:cNvPr>
          <p:cNvSpPr txBox="1"/>
          <p:nvPr/>
        </p:nvSpPr>
        <p:spPr>
          <a:xfrm>
            <a:off x="2138767" y="3804312"/>
            <a:ext cx="432000" cy="215444"/>
          </a:xfrm>
          <a:prstGeom prst="rect">
            <a:avLst/>
          </a:prstGeom>
          <a:solidFill>
            <a:schemeClr val="bg1"/>
          </a:solidFill>
          <a:ln w="19050">
            <a:solidFill>
              <a:schemeClr val="accent5"/>
            </a:solidFill>
          </a:ln>
        </p:spPr>
        <p:txBody>
          <a:bodyPr wrap="square" rtlCol="0">
            <a:spAutoFit/>
          </a:bodyPr>
          <a:lstStyle/>
          <a:p>
            <a:pPr algn="ctr"/>
            <a:r>
              <a:rPr lang="es-ES" sz="800"/>
              <a:t>JD</a:t>
            </a:r>
            <a:endParaRPr lang="es-CO" sz="800"/>
          </a:p>
        </p:txBody>
      </p:sp>
      <p:sp>
        <p:nvSpPr>
          <p:cNvPr id="46" name="Elipse 45">
            <a:extLst>
              <a:ext uri="{FF2B5EF4-FFF2-40B4-BE49-F238E27FC236}">
                <a16:creationId xmlns:a16="http://schemas.microsoft.com/office/drawing/2014/main" id="{5B6D12EC-7692-4CC4-8B26-17DE77D9A3EB}"/>
              </a:ext>
            </a:extLst>
          </p:cNvPr>
          <p:cNvSpPr/>
          <p:nvPr/>
        </p:nvSpPr>
        <p:spPr>
          <a:xfrm>
            <a:off x="1183111" y="2653797"/>
            <a:ext cx="205485" cy="230832"/>
          </a:xfrm>
          <a:prstGeom prst="ellipse">
            <a:avLst/>
          </a:prstGeom>
          <a:solidFill>
            <a:srgbClr val="92D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err="1">
              <a:solidFill>
                <a:schemeClr val="tx1"/>
              </a:solidFill>
            </a:endParaRPr>
          </a:p>
        </p:txBody>
      </p:sp>
      <p:sp>
        <p:nvSpPr>
          <p:cNvPr id="50" name="Elipse 49">
            <a:extLst>
              <a:ext uri="{FF2B5EF4-FFF2-40B4-BE49-F238E27FC236}">
                <a16:creationId xmlns:a16="http://schemas.microsoft.com/office/drawing/2014/main" id="{3E7DF1FF-F692-4916-9876-2C81EA8EEA5E}"/>
              </a:ext>
            </a:extLst>
          </p:cNvPr>
          <p:cNvSpPr/>
          <p:nvPr/>
        </p:nvSpPr>
        <p:spPr>
          <a:xfrm>
            <a:off x="2984726" y="2739546"/>
            <a:ext cx="205485" cy="230832"/>
          </a:xfrm>
          <a:prstGeom prst="ellipse">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err="1">
              <a:solidFill>
                <a:schemeClr val="tx1"/>
              </a:solidFill>
            </a:endParaRPr>
          </a:p>
        </p:txBody>
      </p:sp>
      <p:sp>
        <p:nvSpPr>
          <p:cNvPr id="52" name="Elipse 51">
            <a:extLst>
              <a:ext uri="{FF2B5EF4-FFF2-40B4-BE49-F238E27FC236}">
                <a16:creationId xmlns:a16="http://schemas.microsoft.com/office/drawing/2014/main" id="{65DE5DA3-2505-4874-94AA-067EB59151D7}"/>
              </a:ext>
            </a:extLst>
          </p:cNvPr>
          <p:cNvSpPr/>
          <p:nvPr/>
        </p:nvSpPr>
        <p:spPr>
          <a:xfrm>
            <a:off x="2330773" y="6440054"/>
            <a:ext cx="205485" cy="219920"/>
          </a:xfrm>
          <a:prstGeom prst="ellipse">
            <a:avLst/>
          </a:prstGeom>
          <a:solidFill>
            <a:srgbClr val="92D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err="1">
              <a:solidFill>
                <a:schemeClr val="tx1"/>
              </a:solidFill>
            </a:endParaRPr>
          </a:p>
        </p:txBody>
      </p:sp>
      <p:sp>
        <p:nvSpPr>
          <p:cNvPr id="53" name="Elipse 52">
            <a:extLst>
              <a:ext uri="{FF2B5EF4-FFF2-40B4-BE49-F238E27FC236}">
                <a16:creationId xmlns:a16="http://schemas.microsoft.com/office/drawing/2014/main" id="{ACCB1DFD-0C9D-4874-A350-40D95928083A}"/>
              </a:ext>
            </a:extLst>
          </p:cNvPr>
          <p:cNvSpPr/>
          <p:nvPr/>
        </p:nvSpPr>
        <p:spPr>
          <a:xfrm>
            <a:off x="253832" y="6365348"/>
            <a:ext cx="205485" cy="219920"/>
          </a:xfrm>
          <a:prstGeom prst="ellipse">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err="1">
              <a:solidFill>
                <a:schemeClr val="tx1"/>
              </a:solidFill>
            </a:endParaRPr>
          </a:p>
        </p:txBody>
      </p:sp>
      <p:sp>
        <p:nvSpPr>
          <p:cNvPr id="54" name="CuadroTexto 53">
            <a:extLst>
              <a:ext uri="{FF2B5EF4-FFF2-40B4-BE49-F238E27FC236}">
                <a16:creationId xmlns:a16="http://schemas.microsoft.com/office/drawing/2014/main" id="{E9B0251B-206A-4E46-9779-A86683896DAD}"/>
              </a:ext>
            </a:extLst>
          </p:cNvPr>
          <p:cNvSpPr txBox="1"/>
          <p:nvPr/>
        </p:nvSpPr>
        <p:spPr>
          <a:xfrm>
            <a:off x="2536258" y="6440054"/>
            <a:ext cx="847124" cy="230832"/>
          </a:xfrm>
          <a:prstGeom prst="rect">
            <a:avLst/>
          </a:prstGeom>
          <a:noFill/>
        </p:spPr>
        <p:txBody>
          <a:bodyPr wrap="square" rtlCol="0">
            <a:spAutoFit/>
          </a:bodyPr>
          <a:lstStyle/>
          <a:p>
            <a:r>
              <a:rPr lang="es-ES" sz="900"/>
              <a:t>En Estatutos</a:t>
            </a:r>
            <a:endParaRPr lang="es-CO" sz="900"/>
          </a:p>
        </p:txBody>
      </p:sp>
      <p:sp>
        <p:nvSpPr>
          <p:cNvPr id="55" name="CuadroTexto 54">
            <a:extLst>
              <a:ext uri="{FF2B5EF4-FFF2-40B4-BE49-F238E27FC236}">
                <a16:creationId xmlns:a16="http://schemas.microsoft.com/office/drawing/2014/main" id="{CD0FF0F7-D2A7-4EE7-82EC-EC293AFDF078}"/>
              </a:ext>
            </a:extLst>
          </p:cNvPr>
          <p:cNvSpPr txBox="1"/>
          <p:nvPr/>
        </p:nvSpPr>
        <p:spPr>
          <a:xfrm>
            <a:off x="458946" y="6365348"/>
            <a:ext cx="1529125" cy="507831"/>
          </a:xfrm>
          <a:prstGeom prst="rect">
            <a:avLst/>
          </a:prstGeom>
          <a:noFill/>
        </p:spPr>
        <p:txBody>
          <a:bodyPr wrap="square" rtlCol="0">
            <a:spAutoFit/>
          </a:bodyPr>
          <a:lstStyle/>
          <a:p>
            <a:r>
              <a:rPr lang="es-ES" sz="900"/>
              <a:t>Propuesta de inclusión por lineamiento de ECP aprobada</a:t>
            </a:r>
            <a:endParaRPr lang="es-CO" sz="900"/>
          </a:p>
        </p:txBody>
      </p:sp>
      <p:sp>
        <p:nvSpPr>
          <p:cNvPr id="56" name="Elipse 55">
            <a:extLst>
              <a:ext uri="{FF2B5EF4-FFF2-40B4-BE49-F238E27FC236}">
                <a16:creationId xmlns:a16="http://schemas.microsoft.com/office/drawing/2014/main" id="{AF720D01-130D-45DF-B1BD-BCE8E8C2A1D7}"/>
              </a:ext>
            </a:extLst>
          </p:cNvPr>
          <p:cNvSpPr/>
          <p:nvPr/>
        </p:nvSpPr>
        <p:spPr>
          <a:xfrm>
            <a:off x="5506410" y="1709492"/>
            <a:ext cx="205485" cy="230832"/>
          </a:xfrm>
          <a:prstGeom prst="ellipse">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err="1">
              <a:solidFill>
                <a:schemeClr val="tx1"/>
              </a:solidFill>
            </a:endParaRPr>
          </a:p>
        </p:txBody>
      </p:sp>
      <p:sp>
        <p:nvSpPr>
          <p:cNvPr id="57" name="Elipse 56">
            <a:extLst>
              <a:ext uri="{FF2B5EF4-FFF2-40B4-BE49-F238E27FC236}">
                <a16:creationId xmlns:a16="http://schemas.microsoft.com/office/drawing/2014/main" id="{B92AE0F4-D0E5-4F4E-A67E-1AF8A40ABF32}"/>
              </a:ext>
            </a:extLst>
          </p:cNvPr>
          <p:cNvSpPr/>
          <p:nvPr/>
        </p:nvSpPr>
        <p:spPr>
          <a:xfrm>
            <a:off x="7324097" y="1994843"/>
            <a:ext cx="205485" cy="230832"/>
          </a:xfrm>
          <a:prstGeom prst="ellipse">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err="1">
              <a:solidFill>
                <a:schemeClr val="tx1"/>
              </a:solidFill>
            </a:endParaRPr>
          </a:p>
        </p:txBody>
      </p:sp>
      <p:sp>
        <p:nvSpPr>
          <p:cNvPr id="6" name="Rectángulo 5">
            <a:extLst>
              <a:ext uri="{FF2B5EF4-FFF2-40B4-BE49-F238E27FC236}">
                <a16:creationId xmlns:a16="http://schemas.microsoft.com/office/drawing/2014/main" id="{CB26EA5D-B6D2-4221-A96E-E2ED9A072A75}"/>
              </a:ext>
            </a:extLst>
          </p:cNvPr>
          <p:cNvSpPr>
            <a:spLocks/>
          </p:cNvSpPr>
          <p:nvPr/>
        </p:nvSpPr>
        <p:spPr>
          <a:xfrm>
            <a:off x="7665252" y="914983"/>
            <a:ext cx="1908971" cy="1482896"/>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200">
                <a:solidFill>
                  <a:schemeClr val="tx2"/>
                </a:solidFill>
              </a:rPr>
              <a:t>Aprobar la decisión final de inversión (FID) para mantenimientos capitalizables (incluyendo reposición de equipos), incluidos en el plan de inversiones aprobado</a:t>
            </a:r>
          </a:p>
        </p:txBody>
      </p:sp>
      <p:sp>
        <p:nvSpPr>
          <p:cNvPr id="8" name="Elipse 7">
            <a:extLst>
              <a:ext uri="{FF2B5EF4-FFF2-40B4-BE49-F238E27FC236}">
                <a16:creationId xmlns:a16="http://schemas.microsoft.com/office/drawing/2014/main" id="{CB8C6390-E2EF-4DCF-8E5B-95EC78DE8F95}"/>
              </a:ext>
            </a:extLst>
          </p:cNvPr>
          <p:cNvSpPr/>
          <p:nvPr/>
        </p:nvSpPr>
        <p:spPr>
          <a:xfrm>
            <a:off x="7499024" y="789177"/>
            <a:ext cx="250264" cy="246221"/>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5</a:t>
            </a:r>
            <a:endParaRPr lang="es-CO" sz="1200" b="1">
              <a:solidFill>
                <a:schemeClr val="bg1"/>
              </a:solidFill>
            </a:endParaRPr>
          </a:p>
        </p:txBody>
      </p:sp>
      <p:sp>
        <p:nvSpPr>
          <p:cNvPr id="11" name="Rectangle 30">
            <a:extLst>
              <a:ext uri="{FF2B5EF4-FFF2-40B4-BE49-F238E27FC236}">
                <a16:creationId xmlns:a16="http://schemas.microsoft.com/office/drawing/2014/main" id="{0F3CB088-734E-42FE-9C29-7A033771C700}"/>
              </a:ext>
            </a:extLst>
          </p:cNvPr>
          <p:cNvSpPr>
            <a:spLocks/>
          </p:cNvSpPr>
          <p:nvPr/>
        </p:nvSpPr>
        <p:spPr>
          <a:xfrm>
            <a:off x="7705619" y="2468055"/>
            <a:ext cx="1878375" cy="537963"/>
          </a:xfrm>
          <a:prstGeom prst="rect">
            <a:avLst/>
          </a:prstGeom>
          <a:solidFill>
            <a:schemeClr val="bg2">
              <a:lumMod val="95000"/>
              <a:alpha val="68000"/>
            </a:schemeClr>
          </a:solidFill>
          <a:ln w="285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Con cuantía mayor a MUSD$150</a:t>
            </a:r>
            <a:endParaRPr lang="es-CO" sz="1000">
              <a:solidFill>
                <a:schemeClr val="tx2"/>
              </a:solidFill>
            </a:endParaRPr>
          </a:p>
        </p:txBody>
      </p:sp>
      <p:sp>
        <p:nvSpPr>
          <p:cNvPr id="12" name="Rectangle 30">
            <a:extLst>
              <a:ext uri="{FF2B5EF4-FFF2-40B4-BE49-F238E27FC236}">
                <a16:creationId xmlns:a16="http://schemas.microsoft.com/office/drawing/2014/main" id="{060BAA29-1170-4237-94B5-B0E35665877C}"/>
              </a:ext>
            </a:extLst>
          </p:cNvPr>
          <p:cNvSpPr>
            <a:spLocks/>
          </p:cNvSpPr>
          <p:nvPr/>
        </p:nvSpPr>
        <p:spPr>
          <a:xfrm>
            <a:off x="7705619" y="3193915"/>
            <a:ext cx="1878376" cy="581442"/>
          </a:xfrm>
          <a:prstGeom prst="rect">
            <a:avLst/>
          </a:prstGeom>
          <a:solidFill>
            <a:schemeClr val="bg2">
              <a:lumMod val="95000"/>
              <a:alpha val="68000"/>
            </a:schemeClr>
          </a:solidFill>
          <a:ln w="285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Con cuantía hasta MUSD$150</a:t>
            </a:r>
            <a:endParaRPr lang="es-CO" sz="1000">
              <a:solidFill>
                <a:schemeClr val="tx2"/>
              </a:solidFill>
            </a:endParaRPr>
          </a:p>
        </p:txBody>
      </p:sp>
      <p:sp>
        <p:nvSpPr>
          <p:cNvPr id="13" name="CuadroTexto 12">
            <a:extLst>
              <a:ext uri="{FF2B5EF4-FFF2-40B4-BE49-F238E27FC236}">
                <a16:creationId xmlns:a16="http://schemas.microsoft.com/office/drawing/2014/main" id="{62B7E016-FBCC-4057-98B2-810FDC78B158}"/>
              </a:ext>
            </a:extLst>
          </p:cNvPr>
          <p:cNvSpPr txBox="1"/>
          <p:nvPr/>
        </p:nvSpPr>
        <p:spPr>
          <a:xfrm>
            <a:off x="8567766" y="3654537"/>
            <a:ext cx="432000" cy="215444"/>
          </a:xfrm>
          <a:prstGeom prst="rect">
            <a:avLst/>
          </a:prstGeom>
          <a:solidFill>
            <a:schemeClr val="bg1"/>
          </a:solidFill>
          <a:ln w="19050">
            <a:solidFill>
              <a:srgbClr val="FFFF00"/>
            </a:solidFill>
          </a:ln>
        </p:spPr>
        <p:txBody>
          <a:bodyPr wrap="square" rtlCol="0">
            <a:spAutoFit/>
          </a:bodyPr>
          <a:lstStyle/>
          <a:p>
            <a:pPr algn="ctr"/>
            <a:r>
              <a:rPr lang="es-ES" sz="800"/>
              <a:t>CNI</a:t>
            </a:r>
            <a:endParaRPr lang="es-CO" sz="800"/>
          </a:p>
        </p:txBody>
      </p:sp>
      <p:sp>
        <p:nvSpPr>
          <p:cNvPr id="10" name="CuadroTexto 9">
            <a:extLst>
              <a:ext uri="{FF2B5EF4-FFF2-40B4-BE49-F238E27FC236}">
                <a16:creationId xmlns:a16="http://schemas.microsoft.com/office/drawing/2014/main" id="{783C1126-FCF5-413C-BFED-8DB7FB53EBFB}"/>
              </a:ext>
            </a:extLst>
          </p:cNvPr>
          <p:cNvSpPr txBox="1"/>
          <p:nvPr/>
        </p:nvSpPr>
        <p:spPr>
          <a:xfrm>
            <a:off x="8995133" y="2853106"/>
            <a:ext cx="432000" cy="215444"/>
          </a:xfrm>
          <a:prstGeom prst="rect">
            <a:avLst/>
          </a:prstGeom>
          <a:solidFill>
            <a:schemeClr val="bg1"/>
          </a:solidFill>
          <a:ln w="19050">
            <a:solidFill>
              <a:schemeClr val="accent5"/>
            </a:solidFill>
          </a:ln>
        </p:spPr>
        <p:txBody>
          <a:bodyPr wrap="square" rtlCol="0">
            <a:spAutoFit/>
          </a:bodyPr>
          <a:lstStyle/>
          <a:p>
            <a:pPr algn="ctr"/>
            <a:r>
              <a:rPr lang="es-ES" sz="800"/>
              <a:t>JD</a:t>
            </a:r>
            <a:endParaRPr lang="es-CO" sz="800"/>
          </a:p>
        </p:txBody>
      </p:sp>
      <p:sp>
        <p:nvSpPr>
          <p:cNvPr id="14" name="Elipse 13">
            <a:extLst>
              <a:ext uri="{FF2B5EF4-FFF2-40B4-BE49-F238E27FC236}">
                <a16:creationId xmlns:a16="http://schemas.microsoft.com/office/drawing/2014/main" id="{7CCA1810-8401-44E9-B861-5DD2424DBCE8}"/>
              </a:ext>
            </a:extLst>
          </p:cNvPr>
          <p:cNvSpPr/>
          <p:nvPr/>
        </p:nvSpPr>
        <p:spPr>
          <a:xfrm>
            <a:off x="9433318" y="2426428"/>
            <a:ext cx="205485" cy="230832"/>
          </a:xfrm>
          <a:prstGeom prst="ellipse">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err="1">
              <a:solidFill>
                <a:schemeClr val="tx1"/>
              </a:solidFill>
            </a:endParaRPr>
          </a:p>
        </p:txBody>
      </p:sp>
      <p:sp>
        <p:nvSpPr>
          <p:cNvPr id="16" name="Rectángulo 15">
            <a:extLst>
              <a:ext uri="{FF2B5EF4-FFF2-40B4-BE49-F238E27FC236}">
                <a16:creationId xmlns:a16="http://schemas.microsoft.com/office/drawing/2014/main" id="{EA02E5D0-216B-4D62-A911-BBCE7C6F2916}"/>
              </a:ext>
            </a:extLst>
          </p:cNvPr>
          <p:cNvSpPr>
            <a:spLocks/>
          </p:cNvSpPr>
          <p:nvPr/>
        </p:nvSpPr>
        <p:spPr>
          <a:xfrm>
            <a:off x="9830774" y="885572"/>
            <a:ext cx="2223500" cy="1522066"/>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CO" altLang="es-CO" sz="1200">
                <a:solidFill>
                  <a:schemeClr val="tx2"/>
                </a:solidFill>
              </a:rPr>
              <a:t>Direccionar las solicitudes de manejo de cambio ante los órganos tomadores de decisión correspondientes, para los casos en los que los ajustes estén dentro y fuera del rango establecido por los lineamientos de Casa Matriz</a:t>
            </a:r>
            <a:endParaRPr lang="es-ES" sz="1200">
              <a:solidFill>
                <a:schemeClr val="tx2"/>
              </a:solidFill>
            </a:endParaRPr>
          </a:p>
        </p:txBody>
      </p:sp>
      <p:sp>
        <p:nvSpPr>
          <p:cNvPr id="17" name="CuadroTexto 16">
            <a:extLst>
              <a:ext uri="{FF2B5EF4-FFF2-40B4-BE49-F238E27FC236}">
                <a16:creationId xmlns:a16="http://schemas.microsoft.com/office/drawing/2014/main" id="{2AC9AB01-8609-451F-B00C-00FA8E114139}"/>
              </a:ext>
            </a:extLst>
          </p:cNvPr>
          <p:cNvSpPr txBox="1"/>
          <p:nvPr/>
        </p:nvSpPr>
        <p:spPr>
          <a:xfrm>
            <a:off x="10706763" y="2350217"/>
            <a:ext cx="379449" cy="215444"/>
          </a:xfrm>
          <a:prstGeom prst="rect">
            <a:avLst/>
          </a:prstGeom>
          <a:solidFill>
            <a:schemeClr val="bg1"/>
          </a:solidFill>
          <a:ln w="19050">
            <a:solidFill>
              <a:srgbClr val="FFFF00"/>
            </a:solidFill>
          </a:ln>
        </p:spPr>
        <p:txBody>
          <a:bodyPr wrap="square" rtlCol="0">
            <a:spAutoFit/>
          </a:bodyPr>
          <a:lstStyle/>
          <a:p>
            <a:pPr algn="ctr"/>
            <a:r>
              <a:rPr lang="es-ES" sz="800"/>
              <a:t>CNI</a:t>
            </a:r>
            <a:endParaRPr lang="es-CO" sz="800"/>
          </a:p>
        </p:txBody>
      </p:sp>
      <p:sp>
        <p:nvSpPr>
          <p:cNvPr id="18" name="Elipse 17">
            <a:extLst>
              <a:ext uri="{FF2B5EF4-FFF2-40B4-BE49-F238E27FC236}">
                <a16:creationId xmlns:a16="http://schemas.microsoft.com/office/drawing/2014/main" id="{8FF54D27-3873-485B-89F3-2474E67FC51C}"/>
              </a:ext>
            </a:extLst>
          </p:cNvPr>
          <p:cNvSpPr/>
          <p:nvPr/>
        </p:nvSpPr>
        <p:spPr>
          <a:xfrm>
            <a:off x="9704422" y="789177"/>
            <a:ext cx="233831" cy="230833"/>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6</a:t>
            </a:r>
            <a:endParaRPr lang="es-CO" sz="1200" b="1">
              <a:solidFill>
                <a:schemeClr val="bg1"/>
              </a:solidFill>
            </a:endParaRPr>
          </a:p>
        </p:txBody>
      </p:sp>
      <p:sp>
        <p:nvSpPr>
          <p:cNvPr id="15" name="Rectangle 30">
            <a:extLst>
              <a:ext uri="{FF2B5EF4-FFF2-40B4-BE49-F238E27FC236}">
                <a16:creationId xmlns:a16="http://schemas.microsoft.com/office/drawing/2014/main" id="{C6F68B6F-CE7C-4CD2-B38E-E630B042A8A8}"/>
              </a:ext>
            </a:extLst>
          </p:cNvPr>
          <p:cNvSpPr>
            <a:spLocks/>
          </p:cNvSpPr>
          <p:nvPr/>
        </p:nvSpPr>
        <p:spPr>
          <a:xfrm>
            <a:off x="3251319" y="4348578"/>
            <a:ext cx="2335805" cy="1030964"/>
          </a:xfrm>
          <a:prstGeom prst="rect">
            <a:avLst/>
          </a:prstGeom>
          <a:solidFill>
            <a:schemeClr val="bg2">
              <a:lumMod val="95000"/>
              <a:alpha val="68000"/>
            </a:schemeClr>
          </a:solidFill>
          <a:ln w="285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CO" sz="1000">
                <a:solidFill>
                  <a:schemeClr val="tx2"/>
                </a:solidFill>
              </a:rPr>
              <a:t>Aprobar la liberación de recursos para el desarrollo de la fase de planeación (fase 1- Caracterización, fase 2 – Selección de alternativas y fase 3 - Definición) para proyectos e inversiones con cuantía mayor a 5 MUSD*</a:t>
            </a:r>
          </a:p>
        </p:txBody>
      </p:sp>
      <p:sp>
        <p:nvSpPr>
          <p:cNvPr id="20" name="CuadroTexto 19">
            <a:extLst>
              <a:ext uri="{FF2B5EF4-FFF2-40B4-BE49-F238E27FC236}">
                <a16:creationId xmlns:a16="http://schemas.microsoft.com/office/drawing/2014/main" id="{4425422F-B1CC-424D-A80E-A67EEB3D8B26}"/>
              </a:ext>
            </a:extLst>
          </p:cNvPr>
          <p:cNvSpPr txBox="1"/>
          <p:nvPr/>
        </p:nvSpPr>
        <p:spPr>
          <a:xfrm>
            <a:off x="5202335" y="5269488"/>
            <a:ext cx="432000" cy="215444"/>
          </a:xfrm>
          <a:prstGeom prst="rect">
            <a:avLst/>
          </a:prstGeom>
          <a:solidFill>
            <a:schemeClr val="bg1"/>
          </a:solidFill>
          <a:ln w="19050">
            <a:solidFill>
              <a:srgbClr val="FFFF00"/>
            </a:solidFill>
          </a:ln>
        </p:spPr>
        <p:txBody>
          <a:bodyPr wrap="square" rtlCol="0">
            <a:spAutoFit/>
          </a:bodyPr>
          <a:lstStyle/>
          <a:p>
            <a:pPr algn="ctr"/>
            <a:r>
              <a:rPr lang="es-ES" sz="800"/>
              <a:t>CNI</a:t>
            </a:r>
            <a:endParaRPr lang="es-CO" sz="800"/>
          </a:p>
        </p:txBody>
      </p:sp>
      <p:sp>
        <p:nvSpPr>
          <p:cNvPr id="21" name="CuadroTexto 20">
            <a:extLst>
              <a:ext uri="{FF2B5EF4-FFF2-40B4-BE49-F238E27FC236}">
                <a16:creationId xmlns:a16="http://schemas.microsoft.com/office/drawing/2014/main" id="{57009D43-F55D-4DA4-A6D6-5F4AFA5593BF}"/>
              </a:ext>
            </a:extLst>
          </p:cNvPr>
          <p:cNvSpPr txBox="1"/>
          <p:nvPr/>
        </p:nvSpPr>
        <p:spPr>
          <a:xfrm>
            <a:off x="3534275" y="6558644"/>
            <a:ext cx="5616384" cy="246221"/>
          </a:xfrm>
          <a:prstGeom prst="rect">
            <a:avLst/>
          </a:prstGeom>
          <a:noFill/>
        </p:spPr>
        <p:txBody>
          <a:bodyPr wrap="square" rtlCol="0">
            <a:spAutoFit/>
          </a:bodyPr>
          <a:lstStyle/>
          <a:p>
            <a:r>
              <a:rPr lang="es-ES" sz="1000">
                <a:solidFill>
                  <a:schemeClr val="tx2"/>
                </a:solidFill>
              </a:rPr>
              <a:t>*</a:t>
            </a:r>
            <a:r>
              <a:rPr lang="es-CO" sz="1000">
                <a:solidFill>
                  <a:schemeClr val="tx2"/>
                </a:solidFill>
              </a:rPr>
              <a:t> (incluidos los relacionados con Tecnología de la Información y Tecnología de la Operación) </a:t>
            </a:r>
          </a:p>
        </p:txBody>
      </p:sp>
      <p:sp>
        <p:nvSpPr>
          <p:cNvPr id="67" name="Rectangle 30">
            <a:extLst>
              <a:ext uri="{FF2B5EF4-FFF2-40B4-BE49-F238E27FC236}">
                <a16:creationId xmlns:a16="http://schemas.microsoft.com/office/drawing/2014/main" id="{A4AF9501-C53F-469D-8A6B-2BC604B1EDD5}"/>
              </a:ext>
            </a:extLst>
          </p:cNvPr>
          <p:cNvSpPr>
            <a:spLocks/>
          </p:cNvSpPr>
          <p:nvPr/>
        </p:nvSpPr>
        <p:spPr>
          <a:xfrm>
            <a:off x="3254866" y="5493232"/>
            <a:ext cx="2349345" cy="795017"/>
          </a:xfrm>
          <a:prstGeom prst="rect">
            <a:avLst/>
          </a:prstGeom>
          <a:solidFill>
            <a:schemeClr val="bg2">
              <a:lumMod val="95000"/>
              <a:alpha val="68000"/>
            </a:schemeClr>
          </a:solidFill>
          <a:ln w="285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Aprobar la liberación de recursos para el desarrollo de la fase de planeación para mantenimientos capitalizables con cuantía mayor a 50 MUSD </a:t>
            </a:r>
          </a:p>
        </p:txBody>
      </p:sp>
      <p:sp>
        <p:nvSpPr>
          <p:cNvPr id="68" name="CuadroTexto 67">
            <a:extLst>
              <a:ext uri="{FF2B5EF4-FFF2-40B4-BE49-F238E27FC236}">
                <a16:creationId xmlns:a16="http://schemas.microsoft.com/office/drawing/2014/main" id="{BC403F92-1F27-4927-81F8-057BA12406CF}"/>
              </a:ext>
            </a:extLst>
          </p:cNvPr>
          <p:cNvSpPr txBox="1"/>
          <p:nvPr/>
        </p:nvSpPr>
        <p:spPr>
          <a:xfrm>
            <a:off x="5403119" y="6046632"/>
            <a:ext cx="432000" cy="215444"/>
          </a:xfrm>
          <a:prstGeom prst="rect">
            <a:avLst/>
          </a:prstGeom>
          <a:solidFill>
            <a:schemeClr val="bg1"/>
          </a:solidFill>
          <a:ln w="19050">
            <a:solidFill>
              <a:srgbClr val="FFFF00"/>
            </a:solidFill>
          </a:ln>
        </p:spPr>
        <p:txBody>
          <a:bodyPr wrap="square" rtlCol="0">
            <a:spAutoFit/>
          </a:bodyPr>
          <a:lstStyle/>
          <a:p>
            <a:pPr algn="ctr"/>
            <a:r>
              <a:rPr lang="es-ES" sz="800"/>
              <a:t>CNI</a:t>
            </a:r>
            <a:endParaRPr lang="es-CO" sz="800"/>
          </a:p>
        </p:txBody>
      </p:sp>
      <p:sp>
        <p:nvSpPr>
          <p:cNvPr id="19" name="CuadroTexto 47">
            <a:extLst>
              <a:ext uri="{FF2B5EF4-FFF2-40B4-BE49-F238E27FC236}">
                <a16:creationId xmlns:a16="http://schemas.microsoft.com/office/drawing/2014/main" id="{23C88E5F-79E8-49B5-98B3-244B47C73D29}"/>
              </a:ext>
            </a:extLst>
          </p:cNvPr>
          <p:cNvSpPr txBox="1"/>
          <p:nvPr/>
        </p:nvSpPr>
        <p:spPr>
          <a:xfrm>
            <a:off x="36078" y="28270"/>
            <a:ext cx="12102613" cy="738664"/>
          </a:xfrm>
          <a:prstGeom prst="rect">
            <a:avLst/>
          </a:prstGeom>
          <a:noFill/>
          <a:ln>
            <a:noFill/>
          </a:ln>
        </p:spPr>
        <p:txBody>
          <a:bodyPr wrap="square" rtlCol="0">
            <a:spAutoFit/>
          </a:bodyPr>
          <a:lstStyle/>
          <a:p>
            <a:pPr algn="ctr"/>
            <a:r>
              <a:rPr lang="es-ES" sz="2400" b="1" dirty="0">
                <a:solidFill>
                  <a:srgbClr val="10476B"/>
                </a:solidFill>
                <a:latin typeface="Century Gothic" panose="020B0502020202020204" pitchFamily="34" charset="0"/>
                <a:cs typeface="Arial" panose="020B0604020202020204" pitchFamily="34" charset="0"/>
              </a:rPr>
              <a:t>Macroproceso Planeación Estratégica, Nuevos Negocios y Regulación</a:t>
            </a:r>
          </a:p>
          <a:p>
            <a:pPr algn="ctr"/>
            <a:r>
              <a:rPr lang="es-ES" b="1" dirty="0">
                <a:solidFill>
                  <a:schemeClr val="accent4"/>
                </a:solidFill>
                <a:latin typeface="Century Gothic" panose="020B0502020202020204" pitchFamily="34" charset="0"/>
                <a:cs typeface="Arial" panose="020B0604020202020204" pitchFamily="34" charset="0"/>
              </a:rPr>
              <a:t>Proceso Nivel 1: </a:t>
            </a:r>
            <a:r>
              <a:rPr lang="es-ES" b="1" dirty="0">
                <a:solidFill>
                  <a:schemeClr val="accent4"/>
                </a:solidFill>
                <a:latin typeface="Century Gothic" panose="020B0502020202020204" pitchFamily="34" charset="0"/>
                <a:cs typeface="Arial" panose="020B0604020202020204" pitchFamily="34" charset="0"/>
                <a:sym typeface="Wingdings" panose="05000000000000000000" pitchFamily="2" charset="2"/>
              </a:rPr>
              <a:t>Gestión Integral de Portafolio</a:t>
            </a:r>
            <a:endParaRPr lang="es-CO" b="1" dirty="0">
              <a:solidFill>
                <a:schemeClr val="accent4"/>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14654793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30">
            <a:extLst>
              <a:ext uri="{FF2B5EF4-FFF2-40B4-BE49-F238E27FC236}">
                <a16:creationId xmlns:a16="http://schemas.microsoft.com/office/drawing/2014/main" id="{56717B0D-A5CF-4165-984E-31F6C44AA676}"/>
              </a:ext>
            </a:extLst>
          </p:cNvPr>
          <p:cNvSpPr>
            <a:spLocks/>
          </p:cNvSpPr>
          <p:nvPr/>
        </p:nvSpPr>
        <p:spPr>
          <a:xfrm>
            <a:off x="2757268" y="1713100"/>
            <a:ext cx="3593228" cy="552116"/>
          </a:xfrm>
          <a:prstGeom prst="rect">
            <a:avLst/>
          </a:prstGeom>
          <a:solidFill>
            <a:schemeClr val="bg2">
              <a:lumMod val="95000"/>
              <a:alpha val="68000"/>
            </a:schemeClr>
          </a:solidFill>
          <a:ln w="285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Aprobar traslados que incrementen el costo o gasto laboral (valor de la nómina)</a:t>
            </a:r>
            <a:endParaRPr lang="es-CO" sz="1000">
              <a:solidFill>
                <a:schemeClr val="tx2"/>
              </a:solidFill>
            </a:endParaRPr>
          </a:p>
        </p:txBody>
      </p:sp>
      <p:sp>
        <p:nvSpPr>
          <p:cNvPr id="54" name="Rectangle 30">
            <a:extLst>
              <a:ext uri="{FF2B5EF4-FFF2-40B4-BE49-F238E27FC236}">
                <a16:creationId xmlns:a16="http://schemas.microsoft.com/office/drawing/2014/main" id="{1FF40470-AE5D-40B6-A080-8184B6939CF7}"/>
              </a:ext>
            </a:extLst>
          </p:cNvPr>
          <p:cNvSpPr>
            <a:spLocks/>
          </p:cNvSpPr>
          <p:nvPr/>
        </p:nvSpPr>
        <p:spPr>
          <a:xfrm>
            <a:off x="2757268" y="2373652"/>
            <a:ext cx="3593228" cy="552116"/>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Aprobar traslados que disminuyan el costo o gasto laboral (valor de la nómina)</a:t>
            </a:r>
            <a:endParaRPr lang="es-CO" sz="1000">
              <a:solidFill>
                <a:schemeClr val="tx2"/>
              </a:solidFill>
            </a:endParaRPr>
          </a:p>
        </p:txBody>
      </p:sp>
      <p:sp>
        <p:nvSpPr>
          <p:cNvPr id="60" name="Rectangle 30">
            <a:extLst>
              <a:ext uri="{FF2B5EF4-FFF2-40B4-BE49-F238E27FC236}">
                <a16:creationId xmlns:a16="http://schemas.microsoft.com/office/drawing/2014/main" id="{8B92E9C2-67D1-43CB-B344-CE2A72E1D3AE}"/>
              </a:ext>
            </a:extLst>
          </p:cNvPr>
          <p:cNvSpPr>
            <a:spLocks/>
          </p:cNvSpPr>
          <p:nvPr/>
        </p:nvSpPr>
        <p:spPr>
          <a:xfrm>
            <a:off x="2757268" y="3034204"/>
            <a:ext cx="3593228" cy="627423"/>
          </a:xfrm>
          <a:prstGeom prst="rect">
            <a:avLst/>
          </a:prstGeom>
          <a:solidFill>
            <a:schemeClr val="bg2">
              <a:lumMod val="95000"/>
              <a:alpha val="68000"/>
            </a:schemeClr>
          </a:solidFill>
          <a:ln w="28575">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Aprobar traslados entre vicepresidencias mayores a COP 10 MM que no impacten a la baja el margen operacional, EBITDA o la utilidad neta</a:t>
            </a:r>
            <a:endParaRPr lang="es-CO" sz="1000">
              <a:solidFill>
                <a:schemeClr val="tx2"/>
              </a:solidFill>
            </a:endParaRPr>
          </a:p>
        </p:txBody>
      </p:sp>
      <p:sp>
        <p:nvSpPr>
          <p:cNvPr id="68" name="Rectangle 30">
            <a:extLst>
              <a:ext uri="{FF2B5EF4-FFF2-40B4-BE49-F238E27FC236}">
                <a16:creationId xmlns:a16="http://schemas.microsoft.com/office/drawing/2014/main" id="{394C5A4E-A967-4FCC-957D-2A12FA7E3183}"/>
              </a:ext>
            </a:extLst>
          </p:cNvPr>
          <p:cNvSpPr>
            <a:spLocks/>
          </p:cNvSpPr>
          <p:nvPr/>
        </p:nvSpPr>
        <p:spPr>
          <a:xfrm>
            <a:off x="2753756" y="3770063"/>
            <a:ext cx="3593228" cy="724920"/>
          </a:xfrm>
          <a:prstGeom prst="rect">
            <a:avLst/>
          </a:prstGeom>
          <a:solidFill>
            <a:schemeClr val="bg2">
              <a:lumMod val="95000"/>
              <a:alpha val="68000"/>
            </a:schemeClr>
          </a:solidFill>
          <a:ln w="28575">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Aprobar traslados entre vicepresidencias menores o iguales a </a:t>
            </a:r>
            <a:r>
              <a:rPr lang="es-ES" sz="1000">
                <a:solidFill>
                  <a:schemeClr val="tx2"/>
                </a:solidFill>
                <a:ea typeface="+mn-lt"/>
                <a:cs typeface="+mn-lt"/>
              </a:rPr>
              <a:t>COP 10 MM que</a:t>
            </a:r>
            <a:r>
              <a:rPr lang="es-ES" sz="1000">
                <a:solidFill>
                  <a:schemeClr val="tx2"/>
                </a:solidFill>
              </a:rPr>
              <a:t> no impacten a la baja el margen operacional, EBITDA o la utilidad neta</a:t>
            </a:r>
            <a:endParaRPr lang="es-CO" sz="1000">
              <a:solidFill>
                <a:schemeClr val="tx2"/>
              </a:solidFill>
              <a:cs typeface="Arial"/>
            </a:endParaRPr>
          </a:p>
        </p:txBody>
      </p:sp>
      <p:sp>
        <p:nvSpPr>
          <p:cNvPr id="84" name="CuadroTexto 83">
            <a:extLst>
              <a:ext uri="{FF2B5EF4-FFF2-40B4-BE49-F238E27FC236}">
                <a16:creationId xmlns:a16="http://schemas.microsoft.com/office/drawing/2014/main" id="{293DBAF3-3942-4C58-8A63-D4484E215E20}"/>
              </a:ext>
            </a:extLst>
          </p:cNvPr>
          <p:cNvSpPr txBox="1"/>
          <p:nvPr/>
        </p:nvSpPr>
        <p:spPr>
          <a:xfrm>
            <a:off x="6703895" y="3802938"/>
            <a:ext cx="5321181" cy="1980000"/>
          </a:xfrm>
          <a:prstGeom prst="rect">
            <a:avLst/>
          </a:prstGeom>
          <a:noFill/>
          <a:ln>
            <a:solidFill>
              <a:schemeClr val="accent6"/>
            </a:solidFill>
          </a:ln>
        </p:spPr>
        <p:txBody>
          <a:bodyPr wrap="square" rtlCol="0">
            <a:spAutoFit/>
          </a:bodyPr>
          <a:lstStyle/>
          <a:p>
            <a:endParaRPr lang="es-CO" sz="2000"/>
          </a:p>
        </p:txBody>
      </p:sp>
      <p:sp>
        <p:nvSpPr>
          <p:cNvPr id="86" name="Rectángulo 85">
            <a:extLst>
              <a:ext uri="{FF2B5EF4-FFF2-40B4-BE49-F238E27FC236}">
                <a16:creationId xmlns:a16="http://schemas.microsoft.com/office/drawing/2014/main" id="{7696A978-4362-4DE3-8C58-0F58608C4AA6}"/>
              </a:ext>
            </a:extLst>
          </p:cNvPr>
          <p:cNvSpPr/>
          <p:nvPr/>
        </p:nvSpPr>
        <p:spPr>
          <a:xfrm>
            <a:off x="6842515" y="3857844"/>
            <a:ext cx="5077379" cy="461665"/>
          </a:xfrm>
          <a:prstGeom prst="rect">
            <a:avLst/>
          </a:prstGeom>
          <a:ln>
            <a:noFill/>
          </a:ln>
        </p:spPr>
        <p:txBody>
          <a:bodyPr wrap="square" anchor="t">
            <a:spAutoFit/>
          </a:bodyPr>
          <a:lstStyle/>
          <a:p>
            <a:pPr algn="just"/>
            <a:r>
              <a:rPr lang="es-ES" sz="1200" b="1">
                <a:solidFill>
                  <a:schemeClr val="accent4"/>
                </a:solidFill>
                <a:sym typeface="Wingdings" panose="05000000000000000000" pitchFamily="2" charset="2"/>
              </a:rPr>
              <a:t>Total Proceso Nivel 1 de Planeación Financiera y Presupuesto: 3</a:t>
            </a:r>
            <a:r>
              <a:rPr lang="es-ES" sz="1200">
                <a:solidFill>
                  <a:schemeClr val="accent4"/>
                </a:solidFill>
                <a:sym typeface="Wingdings" panose="05000000000000000000" pitchFamily="2" charset="2"/>
              </a:rPr>
              <a:t> decisiones críticas distribuidas en 10 categorías.</a:t>
            </a:r>
            <a:endParaRPr lang="es-CO" sz="1200">
              <a:solidFill>
                <a:srgbClr val="254147"/>
              </a:solidFill>
            </a:endParaRPr>
          </a:p>
        </p:txBody>
      </p:sp>
      <p:graphicFrame>
        <p:nvGraphicFramePr>
          <p:cNvPr id="5" name="Objeto 4" hidden="1">
            <a:extLst>
              <a:ext uri="{FF2B5EF4-FFF2-40B4-BE49-F238E27FC236}">
                <a16:creationId xmlns:a16="http://schemas.microsoft.com/office/drawing/2014/main" id="{0740088A-8ABF-414B-8746-763C3F660F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421" imgH="423" progId="TCLayout.ActiveDocument.1">
                  <p:embed/>
                </p:oleObj>
              </mc:Choice>
              <mc:Fallback>
                <p:oleObj name="Diapositiva de think-cell" r:id="rId5" imgW="421" imgH="423" progId="TCLayout.ActiveDocument.1">
                  <p:embed/>
                  <p:pic>
                    <p:nvPicPr>
                      <p:cNvPr id="5" name="Objeto 4" hidden="1">
                        <a:extLst>
                          <a:ext uri="{FF2B5EF4-FFF2-40B4-BE49-F238E27FC236}">
                            <a16:creationId xmlns:a16="http://schemas.microsoft.com/office/drawing/2014/main" id="{0740088A-8ABF-414B-8746-763C3F660F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42B40C10-F876-4F1B-842D-C3F6355B6C8A}"/>
              </a:ext>
            </a:extLst>
          </p:cNvPr>
          <p:cNvSpPr/>
          <p:nvPr>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419" sz="2000" b="1">
              <a:solidFill>
                <a:schemeClr val="tx1"/>
              </a:solidFill>
              <a:latin typeface="Arial" panose="020B0604020202020204" pitchFamily="34" charset="0"/>
              <a:ea typeface="+mj-ea"/>
              <a:cs typeface="+mj-cs"/>
              <a:sym typeface="Arial" panose="020B0604020202020204" pitchFamily="34" charset="0"/>
            </a:endParaRPr>
          </a:p>
        </p:txBody>
      </p:sp>
      <p:sp>
        <p:nvSpPr>
          <p:cNvPr id="2" name="Marcador de número de diapositiva 1">
            <a:extLst>
              <a:ext uri="{FF2B5EF4-FFF2-40B4-BE49-F238E27FC236}">
                <a16:creationId xmlns:a16="http://schemas.microsoft.com/office/drawing/2014/main" id="{3A93B487-116E-4767-AA0D-CAE2A460FBE4}"/>
              </a:ext>
            </a:extLst>
          </p:cNvPr>
          <p:cNvSpPr>
            <a:spLocks noGrp="1"/>
          </p:cNvSpPr>
          <p:nvPr>
            <p:ph type="sldNum" sz="quarter" idx="10"/>
          </p:nvPr>
        </p:nvSpPr>
        <p:spPr>
          <a:xfrm>
            <a:off x="11344876" y="6428983"/>
            <a:ext cx="847124" cy="365125"/>
          </a:xfrm>
        </p:spPr>
        <p:txBody>
          <a:bodyPr/>
          <a:lstStyle/>
          <a:p>
            <a:fld id="{02F25750-4209-4357-A72F-45445C8044EF}" type="slidenum">
              <a:rPr lang="es-CO" smtClean="0"/>
              <a:pPr/>
              <a:t>36</a:t>
            </a:fld>
            <a:endParaRPr lang="es-CO"/>
          </a:p>
        </p:txBody>
      </p:sp>
      <p:sp>
        <p:nvSpPr>
          <p:cNvPr id="117" name="CuadroTexto 116">
            <a:extLst>
              <a:ext uri="{FF2B5EF4-FFF2-40B4-BE49-F238E27FC236}">
                <a16:creationId xmlns:a16="http://schemas.microsoft.com/office/drawing/2014/main" id="{8960734A-1053-42D2-BD72-6674DCCE6A97}"/>
              </a:ext>
            </a:extLst>
          </p:cNvPr>
          <p:cNvSpPr txBox="1"/>
          <p:nvPr/>
        </p:nvSpPr>
        <p:spPr>
          <a:xfrm>
            <a:off x="6919928" y="5399714"/>
            <a:ext cx="1391405" cy="230832"/>
          </a:xfrm>
          <a:prstGeom prst="rect">
            <a:avLst/>
          </a:prstGeom>
          <a:noFill/>
          <a:ln w="19050">
            <a:solidFill>
              <a:srgbClr val="002060"/>
            </a:solidFill>
          </a:ln>
        </p:spPr>
        <p:txBody>
          <a:bodyPr wrap="square" rtlCol="0">
            <a:spAutoFit/>
          </a:bodyPr>
          <a:lstStyle/>
          <a:p>
            <a:pPr algn="ctr"/>
            <a:r>
              <a:rPr lang="es-ES" sz="900">
                <a:solidFill>
                  <a:schemeClr val="tx2"/>
                </a:solidFill>
              </a:rPr>
              <a:t>Palanca de Agilidad </a:t>
            </a:r>
            <a:endParaRPr lang="es-CO" sz="900">
              <a:solidFill>
                <a:schemeClr val="tx2"/>
              </a:solidFill>
            </a:endParaRPr>
          </a:p>
        </p:txBody>
      </p:sp>
      <p:sp>
        <p:nvSpPr>
          <p:cNvPr id="118" name="CuadroTexto 117">
            <a:extLst>
              <a:ext uri="{FF2B5EF4-FFF2-40B4-BE49-F238E27FC236}">
                <a16:creationId xmlns:a16="http://schemas.microsoft.com/office/drawing/2014/main" id="{C77431EE-A761-4323-B75F-692D4CAEC462}"/>
              </a:ext>
            </a:extLst>
          </p:cNvPr>
          <p:cNvSpPr txBox="1"/>
          <p:nvPr/>
        </p:nvSpPr>
        <p:spPr>
          <a:xfrm>
            <a:off x="8642230" y="5399714"/>
            <a:ext cx="1393200" cy="230832"/>
          </a:xfrm>
          <a:prstGeom prst="rect">
            <a:avLst/>
          </a:prstGeom>
          <a:noFill/>
          <a:ln w="19050">
            <a:solidFill>
              <a:schemeClr val="accent3"/>
            </a:solidFill>
          </a:ln>
        </p:spPr>
        <p:txBody>
          <a:bodyPr wrap="square" rtlCol="0">
            <a:spAutoFit/>
          </a:bodyPr>
          <a:lstStyle/>
          <a:p>
            <a:pPr algn="ctr"/>
            <a:r>
              <a:rPr lang="es-ES" sz="900">
                <a:solidFill>
                  <a:schemeClr val="tx2"/>
                </a:solidFill>
              </a:rPr>
              <a:t>Palanca de Claridad</a:t>
            </a:r>
            <a:endParaRPr lang="es-CO" sz="900">
              <a:solidFill>
                <a:schemeClr val="tx2"/>
              </a:solidFill>
            </a:endParaRPr>
          </a:p>
        </p:txBody>
      </p:sp>
      <p:sp>
        <p:nvSpPr>
          <p:cNvPr id="119" name="CuadroTexto 118">
            <a:extLst>
              <a:ext uri="{FF2B5EF4-FFF2-40B4-BE49-F238E27FC236}">
                <a16:creationId xmlns:a16="http://schemas.microsoft.com/office/drawing/2014/main" id="{A66DDFF6-8990-4632-9B16-3852035C81BA}"/>
              </a:ext>
            </a:extLst>
          </p:cNvPr>
          <p:cNvSpPr txBox="1"/>
          <p:nvPr/>
        </p:nvSpPr>
        <p:spPr>
          <a:xfrm>
            <a:off x="10351516" y="5399714"/>
            <a:ext cx="1486626" cy="230832"/>
          </a:xfrm>
          <a:prstGeom prst="rect">
            <a:avLst/>
          </a:prstGeom>
          <a:noFill/>
          <a:ln w="19050">
            <a:solidFill>
              <a:schemeClr val="bg2">
                <a:lumMod val="50000"/>
              </a:schemeClr>
            </a:solidFill>
          </a:ln>
        </p:spPr>
        <p:txBody>
          <a:bodyPr wrap="square" rtlCol="0">
            <a:spAutoFit/>
          </a:bodyPr>
          <a:lstStyle/>
          <a:p>
            <a:pPr algn="ctr"/>
            <a:r>
              <a:rPr lang="es-ES" sz="900">
                <a:solidFill>
                  <a:schemeClr val="tx2"/>
                </a:solidFill>
              </a:rPr>
              <a:t>Palanca de Consistencia</a:t>
            </a:r>
            <a:endParaRPr lang="es-CO" sz="900">
              <a:solidFill>
                <a:schemeClr val="tx2"/>
              </a:solidFill>
            </a:endParaRPr>
          </a:p>
        </p:txBody>
      </p:sp>
      <p:grpSp>
        <p:nvGrpSpPr>
          <p:cNvPr id="27" name="Grupo 26">
            <a:extLst>
              <a:ext uri="{FF2B5EF4-FFF2-40B4-BE49-F238E27FC236}">
                <a16:creationId xmlns:a16="http://schemas.microsoft.com/office/drawing/2014/main" id="{FBDB43F5-C0DD-4746-9873-93A29FDB9EFF}"/>
              </a:ext>
            </a:extLst>
          </p:cNvPr>
          <p:cNvGrpSpPr/>
          <p:nvPr/>
        </p:nvGrpSpPr>
        <p:grpSpPr>
          <a:xfrm>
            <a:off x="6940990" y="4416619"/>
            <a:ext cx="1579419" cy="369332"/>
            <a:chOff x="7423104" y="4819560"/>
            <a:chExt cx="1579419" cy="369332"/>
          </a:xfrm>
        </p:grpSpPr>
        <p:sp>
          <p:nvSpPr>
            <p:cNvPr id="28" name="CuadroTexto 27">
              <a:extLst>
                <a:ext uri="{FF2B5EF4-FFF2-40B4-BE49-F238E27FC236}">
                  <a16:creationId xmlns:a16="http://schemas.microsoft.com/office/drawing/2014/main" id="{89E54763-AFB7-4A54-AAA6-FBBB897999A0}"/>
                </a:ext>
              </a:extLst>
            </p:cNvPr>
            <p:cNvSpPr txBox="1"/>
            <p:nvPr/>
          </p:nvSpPr>
          <p:spPr>
            <a:xfrm>
              <a:off x="7802465" y="4819560"/>
              <a:ext cx="1200058" cy="369332"/>
            </a:xfrm>
            <a:prstGeom prst="rect">
              <a:avLst/>
            </a:prstGeom>
            <a:noFill/>
          </p:spPr>
          <p:txBody>
            <a:bodyPr wrap="square" rtlCol="0">
              <a:spAutoFit/>
            </a:bodyPr>
            <a:lstStyle/>
            <a:p>
              <a:r>
                <a:rPr lang="es-ES" sz="900">
                  <a:solidFill>
                    <a:schemeClr val="accent1">
                      <a:lumMod val="25000"/>
                    </a:schemeClr>
                  </a:solidFill>
                </a:rPr>
                <a:t>Junta Directiva</a:t>
              </a:r>
            </a:p>
            <a:p>
              <a:r>
                <a:rPr lang="es-ES" sz="900">
                  <a:solidFill>
                    <a:schemeClr val="accent1">
                      <a:lumMod val="25000"/>
                    </a:schemeClr>
                  </a:solidFill>
                </a:rPr>
                <a:t>30 %</a:t>
              </a:r>
              <a:endParaRPr lang="es-CO" sz="900">
                <a:solidFill>
                  <a:schemeClr val="accent1">
                    <a:lumMod val="25000"/>
                  </a:schemeClr>
                </a:solidFill>
              </a:endParaRPr>
            </a:p>
          </p:txBody>
        </p:sp>
        <p:sp>
          <p:nvSpPr>
            <p:cNvPr id="29" name="CuadroTexto 28">
              <a:extLst>
                <a:ext uri="{FF2B5EF4-FFF2-40B4-BE49-F238E27FC236}">
                  <a16:creationId xmlns:a16="http://schemas.microsoft.com/office/drawing/2014/main" id="{E422BE05-F303-4C42-85FC-F297C620CD85}"/>
                </a:ext>
              </a:extLst>
            </p:cNvPr>
            <p:cNvSpPr txBox="1"/>
            <p:nvPr/>
          </p:nvSpPr>
          <p:spPr>
            <a:xfrm>
              <a:off x="7423104" y="4887624"/>
              <a:ext cx="432000" cy="215444"/>
            </a:xfrm>
            <a:prstGeom prst="rect">
              <a:avLst/>
            </a:prstGeom>
            <a:solidFill>
              <a:schemeClr val="bg1"/>
            </a:solidFill>
            <a:ln w="19050">
              <a:solidFill>
                <a:schemeClr val="accent5"/>
              </a:solidFill>
            </a:ln>
          </p:spPr>
          <p:txBody>
            <a:bodyPr wrap="square" rtlCol="0">
              <a:spAutoFit/>
            </a:bodyPr>
            <a:lstStyle/>
            <a:p>
              <a:pPr algn="ctr"/>
              <a:r>
                <a:rPr lang="es-ES" sz="800"/>
                <a:t>JD</a:t>
              </a:r>
              <a:endParaRPr lang="es-CO" sz="800"/>
            </a:p>
          </p:txBody>
        </p:sp>
      </p:grpSp>
      <p:sp>
        <p:nvSpPr>
          <p:cNvPr id="36" name="Rectángulo 35">
            <a:extLst>
              <a:ext uri="{FF2B5EF4-FFF2-40B4-BE49-F238E27FC236}">
                <a16:creationId xmlns:a16="http://schemas.microsoft.com/office/drawing/2014/main" id="{7BF75727-F2D8-4B3A-8084-69B15B6BF24E}"/>
              </a:ext>
            </a:extLst>
          </p:cNvPr>
          <p:cNvSpPr>
            <a:spLocks/>
          </p:cNvSpPr>
          <p:nvPr/>
        </p:nvSpPr>
        <p:spPr>
          <a:xfrm>
            <a:off x="311689" y="942579"/>
            <a:ext cx="2160000" cy="649931"/>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200">
                <a:solidFill>
                  <a:schemeClr val="tx2"/>
                </a:solidFill>
              </a:rPr>
              <a:t>Aprobar presupuesto, ingresos y Gastos</a:t>
            </a:r>
          </a:p>
        </p:txBody>
      </p:sp>
      <p:sp>
        <p:nvSpPr>
          <p:cNvPr id="37" name="Elipse 36">
            <a:extLst>
              <a:ext uri="{FF2B5EF4-FFF2-40B4-BE49-F238E27FC236}">
                <a16:creationId xmlns:a16="http://schemas.microsoft.com/office/drawing/2014/main" id="{E03420CE-848A-49A4-87D1-5F321F0FC392}"/>
              </a:ext>
            </a:extLst>
          </p:cNvPr>
          <p:cNvSpPr/>
          <p:nvPr/>
        </p:nvSpPr>
        <p:spPr>
          <a:xfrm>
            <a:off x="148979" y="804392"/>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1</a:t>
            </a:r>
            <a:endParaRPr lang="es-CO" sz="1200" b="1">
              <a:solidFill>
                <a:schemeClr val="bg1"/>
              </a:solidFill>
            </a:endParaRPr>
          </a:p>
        </p:txBody>
      </p:sp>
      <p:sp>
        <p:nvSpPr>
          <p:cNvPr id="47" name="Rectángulo 46">
            <a:extLst>
              <a:ext uri="{FF2B5EF4-FFF2-40B4-BE49-F238E27FC236}">
                <a16:creationId xmlns:a16="http://schemas.microsoft.com/office/drawing/2014/main" id="{08837AB5-D97B-420C-BCF2-789F49683794}"/>
              </a:ext>
            </a:extLst>
          </p:cNvPr>
          <p:cNvSpPr>
            <a:spLocks/>
          </p:cNvSpPr>
          <p:nvPr/>
        </p:nvSpPr>
        <p:spPr>
          <a:xfrm>
            <a:off x="2757268" y="942579"/>
            <a:ext cx="3593228" cy="638012"/>
          </a:xfrm>
          <a:prstGeom prst="rect">
            <a:avLst/>
          </a:prstGeom>
          <a:solidFill>
            <a:schemeClr val="accent1">
              <a:alpha val="68000"/>
            </a:schemeClr>
          </a:solidFill>
          <a:ln w="635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200">
                <a:solidFill>
                  <a:schemeClr val="tx2"/>
                </a:solidFill>
              </a:rPr>
              <a:t>Aprobar los traslados presupuestales de costos y gastos</a:t>
            </a:r>
          </a:p>
        </p:txBody>
      </p:sp>
      <p:sp>
        <p:nvSpPr>
          <p:cNvPr id="48" name="Elipse 47">
            <a:extLst>
              <a:ext uri="{FF2B5EF4-FFF2-40B4-BE49-F238E27FC236}">
                <a16:creationId xmlns:a16="http://schemas.microsoft.com/office/drawing/2014/main" id="{0E14E7C6-678A-4033-8579-81284F3F52CF}"/>
              </a:ext>
            </a:extLst>
          </p:cNvPr>
          <p:cNvSpPr/>
          <p:nvPr/>
        </p:nvSpPr>
        <p:spPr>
          <a:xfrm>
            <a:off x="2588391" y="804392"/>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2</a:t>
            </a:r>
            <a:endParaRPr lang="es-CO" sz="1200" b="1">
              <a:solidFill>
                <a:schemeClr val="bg1"/>
              </a:solidFill>
            </a:endParaRPr>
          </a:p>
        </p:txBody>
      </p:sp>
      <p:sp>
        <p:nvSpPr>
          <p:cNvPr id="49" name="Rectangle 30">
            <a:extLst>
              <a:ext uri="{FF2B5EF4-FFF2-40B4-BE49-F238E27FC236}">
                <a16:creationId xmlns:a16="http://schemas.microsoft.com/office/drawing/2014/main" id="{E470E608-DE91-49F1-B012-DE560AC3DFC9}"/>
              </a:ext>
            </a:extLst>
          </p:cNvPr>
          <p:cNvSpPr>
            <a:spLocks/>
          </p:cNvSpPr>
          <p:nvPr/>
        </p:nvSpPr>
        <p:spPr>
          <a:xfrm>
            <a:off x="311689" y="1710077"/>
            <a:ext cx="2160000" cy="552116"/>
          </a:xfrm>
          <a:prstGeom prst="rect">
            <a:avLst/>
          </a:prstGeom>
          <a:solidFill>
            <a:schemeClr val="bg2">
              <a:lumMod val="95000"/>
              <a:alpha val="68000"/>
            </a:schemeClr>
          </a:solidFill>
          <a:ln w="285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Aprobar el primer año del Plan Financiero Plurianual</a:t>
            </a:r>
            <a:endParaRPr lang="es-CO" sz="1000">
              <a:solidFill>
                <a:schemeClr val="tx2"/>
              </a:solidFill>
            </a:endParaRPr>
          </a:p>
        </p:txBody>
      </p:sp>
      <p:sp>
        <p:nvSpPr>
          <p:cNvPr id="62" name="Rectángulo 61">
            <a:extLst>
              <a:ext uri="{FF2B5EF4-FFF2-40B4-BE49-F238E27FC236}">
                <a16:creationId xmlns:a16="http://schemas.microsoft.com/office/drawing/2014/main" id="{BAD8AC49-F484-4980-AAD5-672795A58DC5}"/>
              </a:ext>
            </a:extLst>
          </p:cNvPr>
          <p:cNvSpPr>
            <a:spLocks/>
          </p:cNvSpPr>
          <p:nvPr/>
        </p:nvSpPr>
        <p:spPr>
          <a:xfrm>
            <a:off x="6562736" y="942579"/>
            <a:ext cx="2583454" cy="1122484"/>
          </a:xfrm>
          <a:prstGeom prst="rect">
            <a:avLst/>
          </a:prstGeom>
          <a:solidFill>
            <a:schemeClr val="accent1">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200">
                <a:solidFill>
                  <a:schemeClr val="tx2"/>
                </a:solidFill>
              </a:rPr>
              <a:t>Asegurar los recursos necesarios dentro del Plan Financiero Plurianual para cumplir con los compromisos pendientes de ejecución</a:t>
            </a:r>
          </a:p>
        </p:txBody>
      </p:sp>
      <p:sp>
        <p:nvSpPr>
          <p:cNvPr id="63" name="Elipse 62">
            <a:extLst>
              <a:ext uri="{FF2B5EF4-FFF2-40B4-BE49-F238E27FC236}">
                <a16:creationId xmlns:a16="http://schemas.microsoft.com/office/drawing/2014/main" id="{A670FBED-2394-4593-B292-1EE2F3B3B323}"/>
              </a:ext>
            </a:extLst>
          </p:cNvPr>
          <p:cNvSpPr/>
          <p:nvPr/>
        </p:nvSpPr>
        <p:spPr>
          <a:xfrm>
            <a:off x="6403830" y="804392"/>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3</a:t>
            </a:r>
            <a:endParaRPr lang="es-CO" sz="1200" b="1">
              <a:solidFill>
                <a:schemeClr val="bg1"/>
              </a:solidFill>
            </a:endParaRPr>
          </a:p>
        </p:txBody>
      </p:sp>
      <p:sp>
        <p:nvSpPr>
          <p:cNvPr id="89" name="Rectangle 30">
            <a:extLst>
              <a:ext uri="{FF2B5EF4-FFF2-40B4-BE49-F238E27FC236}">
                <a16:creationId xmlns:a16="http://schemas.microsoft.com/office/drawing/2014/main" id="{78E51770-F801-49A4-B7E4-98D680A50D5D}"/>
              </a:ext>
            </a:extLst>
          </p:cNvPr>
          <p:cNvSpPr>
            <a:spLocks/>
          </p:cNvSpPr>
          <p:nvPr/>
        </p:nvSpPr>
        <p:spPr>
          <a:xfrm>
            <a:off x="318179" y="2458921"/>
            <a:ext cx="2160000" cy="933230"/>
          </a:xfrm>
          <a:prstGeom prst="rect">
            <a:avLst/>
          </a:prstGeom>
          <a:solidFill>
            <a:schemeClr val="bg2">
              <a:lumMod val="95000"/>
              <a:alpha val="68000"/>
            </a:schemeClr>
          </a:solidFill>
          <a:ln w="285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Aprobar adiciones al presupuesto anual que impacten a la baja el margen operacional, EBITDA o la utilidad neta</a:t>
            </a:r>
            <a:endParaRPr lang="es-CO" sz="1000">
              <a:solidFill>
                <a:schemeClr val="tx2"/>
              </a:solidFill>
            </a:endParaRPr>
          </a:p>
        </p:txBody>
      </p:sp>
      <p:sp>
        <p:nvSpPr>
          <p:cNvPr id="91" name="CuadroTexto 90">
            <a:extLst>
              <a:ext uri="{FF2B5EF4-FFF2-40B4-BE49-F238E27FC236}">
                <a16:creationId xmlns:a16="http://schemas.microsoft.com/office/drawing/2014/main" id="{D7C63224-3048-4B57-A2D7-C241308F819B}"/>
              </a:ext>
            </a:extLst>
          </p:cNvPr>
          <p:cNvSpPr txBox="1"/>
          <p:nvPr/>
        </p:nvSpPr>
        <p:spPr>
          <a:xfrm>
            <a:off x="2046179" y="2160209"/>
            <a:ext cx="432000" cy="215444"/>
          </a:xfrm>
          <a:prstGeom prst="rect">
            <a:avLst/>
          </a:prstGeom>
          <a:solidFill>
            <a:schemeClr val="bg1"/>
          </a:solidFill>
          <a:ln w="19050">
            <a:solidFill>
              <a:schemeClr val="accent5"/>
            </a:solidFill>
          </a:ln>
        </p:spPr>
        <p:txBody>
          <a:bodyPr wrap="square" rtlCol="0">
            <a:spAutoFit/>
          </a:bodyPr>
          <a:lstStyle/>
          <a:p>
            <a:pPr algn="ctr"/>
            <a:r>
              <a:rPr lang="es-ES" sz="800"/>
              <a:t>JD</a:t>
            </a:r>
            <a:endParaRPr lang="es-CO" sz="800"/>
          </a:p>
        </p:txBody>
      </p:sp>
      <p:sp>
        <p:nvSpPr>
          <p:cNvPr id="103" name="Rectangle 30">
            <a:extLst>
              <a:ext uri="{FF2B5EF4-FFF2-40B4-BE49-F238E27FC236}">
                <a16:creationId xmlns:a16="http://schemas.microsoft.com/office/drawing/2014/main" id="{47CDDAFF-8DCC-4B35-9FE7-57D6B6DB23D4}"/>
              </a:ext>
            </a:extLst>
          </p:cNvPr>
          <p:cNvSpPr>
            <a:spLocks/>
          </p:cNvSpPr>
          <p:nvPr/>
        </p:nvSpPr>
        <p:spPr>
          <a:xfrm>
            <a:off x="318179" y="3576846"/>
            <a:ext cx="2160000" cy="933229"/>
          </a:xfrm>
          <a:prstGeom prst="rect">
            <a:avLst/>
          </a:prstGeom>
          <a:solidFill>
            <a:schemeClr val="bg2">
              <a:lumMod val="95000"/>
              <a:alpha val="68000"/>
            </a:schemeClr>
          </a:solidFill>
          <a:ln w="28575">
            <a:solidFill>
              <a:schemeClr val="bg2">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Aprobar adiciones al presupuesto anual que NO impacten a la baja el margen operacional, EBITDA o la utilidad neta</a:t>
            </a:r>
            <a:endParaRPr lang="es-CO" sz="1000">
              <a:solidFill>
                <a:schemeClr val="tx2"/>
              </a:solidFill>
            </a:endParaRPr>
          </a:p>
        </p:txBody>
      </p:sp>
      <p:sp>
        <p:nvSpPr>
          <p:cNvPr id="46" name="CuadroTexto 45">
            <a:extLst>
              <a:ext uri="{FF2B5EF4-FFF2-40B4-BE49-F238E27FC236}">
                <a16:creationId xmlns:a16="http://schemas.microsoft.com/office/drawing/2014/main" id="{C355FBF1-6C0C-4B15-91DB-6049D734A006}"/>
              </a:ext>
            </a:extLst>
          </p:cNvPr>
          <p:cNvSpPr txBox="1"/>
          <p:nvPr/>
        </p:nvSpPr>
        <p:spPr>
          <a:xfrm>
            <a:off x="2046179" y="3259578"/>
            <a:ext cx="432000" cy="215444"/>
          </a:xfrm>
          <a:prstGeom prst="rect">
            <a:avLst/>
          </a:prstGeom>
          <a:solidFill>
            <a:schemeClr val="bg1"/>
          </a:solidFill>
          <a:ln w="19050">
            <a:solidFill>
              <a:schemeClr val="accent5"/>
            </a:solidFill>
          </a:ln>
        </p:spPr>
        <p:txBody>
          <a:bodyPr wrap="square" rtlCol="0">
            <a:spAutoFit/>
          </a:bodyPr>
          <a:lstStyle/>
          <a:p>
            <a:pPr algn="ctr"/>
            <a:r>
              <a:rPr lang="es-ES" sz="800"/>
              <a:t>JD</a:t>
            </a:r>
            <a:endParaRPr lang="es-CO" sz="800"/>
          </a:p>
        </p:txBody>
      </p:sp>
      <p:sp>
        <p:nvSpPr>
          <p:cNvPr id="116" name="CuadroTexto 115">
            <a:extLst>
              <a:ext uri="{FF2B5EF4-FFF2-40B4-BE49-F238E27FC236}">
                <a16:creationId xmlns:a16="http://schemas.microsoft.com/office/drawing/2014/main" id="{4491A663-C80C-436C-9781-9DB6CD00443C}"/>
              </a:ext>
            </a:extLst>
          </p:cNvPr>
          <p:cNvSpPr txBox="1"/>
          <p:nvPr/>
        </p:nvSpPr>
        <p:spPr>
          <a:xfrm>
            <a:off x="5911472" y="2056376"/>
            <a:ext cx="432000" cy="215444"/>
          </a:xfrm>
          <a:prstGeom prst="rect">
            <a:avLst/>
          </a:prstGeom>
          <a:solidFill>
            <a:schemeClr val="bg1"/>
          </a:solidFill>
          <a:ln w="19050">
            <a:solidFill>
              <a:schemeClr val="accent5"/>
            </a:solidFill>
          </a:ln>
        </p:spPr>
        <p:txBody>
          <a:bodyPr wrap="square" rtlCol="0">
            <a:spAutoFit/>
          </a:bodyPr>
          <a:lstStyle/>
          <a:p>
            <a:pPr algn="ctr"/>
            <a:r>
              <a:rPr lang="es-ES" sz="800"/>
              <a:t>JD</a:t>
            </a:r>
            <a:endParaRPr lang="es-CO" sz="800"/>
          </a:p>
        </p:txBody>
      </p:sp>
      <p:grpSp>
        <p:nvGrpSpPr>
          <p:cNvPr id="50" name="Grupo 49">
            <a:extLst>
              <a:ext uri="{FF2B5EF4-FFF2-40B4-BE49-F238E27FC236}">
                <a16:creationId xmlns:a16="http://schemas.microsoft.com/office/drawing/2014/main" id="{33C5D268-10D8-49D7-8DB6-0A27006658D7}"/>
              </a:ext>
            </a:extLst>
          </p:cNvPr>
          <p:cNvGrpSpPr/>
          <p:nvPr/>
        </p:nvGrpSpPr>
        <p:grpSpPr>
          <a:xfrm>
            <a:off x="6929022" y="4885935"/>
            <a:ext cx="1563626" cy="369332"/>
            <a:chOff x="7429372" y="5323385"/>
            <a:chExt cx="1563626" cy="369332"/>
          </a:xfrm>
          <a:noFill/>
        </p:grpSpPr>
        <p:sp>
          <p:nvSpPr>
            <p:cNvPr id="51" name="CuadroTexto 50">
              <a:extLst>
                <a:ext uri="{FF2B5EF4-FFF2-40B4-BE49-F238E27FC236}">
                  <a16:creationId xmlns:a16="http://schemas.microsoft.com/office/drawing/2014/main" id="{A70B0E68-AC77-4F36-BD0B-1BC9CA84A837}"/>
                </a:ext>
              </a:extLst>
            </p:cNvPr>
            <p:cNvSpPr txBox="1"/>
            <p:nvPr/>
          </p:nvSpPr>
          <p:spPr>
            <a:xfrm>
              <a:off x="7792940" y="5323385"/>
              <a:ext cx="1200058" cy="369332"/>
            </a:xfrm>
            <a:prstGeom prst="rect">
              <a:avLst/>
            </a:prstGeom>
            <a:grpFill/>
            <a:ln>
              <a:noFill/>
              <a:prstDash val="solid"/>
            </a:ln>
          </p:spPr>
          <p:txBody>
            <a:bodyPr wrap="square" rtlCol="0" anchor="t">
              <a:spAutoFit/>
            </a:bodyPr>
            <a:lstStyle/>
            <a:p>
              <a:r>
                <a:rPr lang="es-ES" sz="900">
                  <a:solidFill>
                    <a:schemeClr val="accent1">
                      <a:lumMod val="25000"/>
                    </a:schemeClr>
                  </a:solidFill>
                </a:rPr>
                <a:t>Presidente</a:t>
              </a:r>
            </a:p>
            <a:p>
              <a:r>
                <a:rPr lang="es-ES" sz="900">
                  <a:solidFill>
                    <a:schemeClr val="accent1">
                      <a:lumMod val="25000"/>
                    </a:schemeClr>
                  </a:solidFill>
                </a:rPr>
                <a:t>10 %</a:t>
              </a:r>
              <a:endParaRPr lang="es-CO" sz="900">
                <a:solidFill>
                  <a:schemeClr val="accent1">
                    <a:lumMod val="25000"/>
                  </a:schemeClr>
                </a:solidFill>
              </a:endParaRPr>
            </a:p>
          </p:txBody>
        </p:sp>
        <p:sp>
          <p:nvSpPr>
            <p:cNvPr id="52" name="CuadroTexto 51">
              <a:extLst>
                <a:ext uri="{FF2B5EF4-FFF2-40B4-BE49-F238E27FC236}">
                  <a16:creationId xmlns:a16="http://schemas.microsoft.com/office/drawing/2014/main" id="{C4B18941-9740-476F-8D23-D191F34E4A49}"/>
                </a:ext>
              </a:extLst>
            </p:cNvPr>
            <p:cNvSpPr txBox="1"/>
            <p:nvPr/>
          </p:nvSpPr>
          <p:spPr>
            <a:xfrm>
              <a:off x="7429372" y="5399548"/>
              <a:ext cx="432000" cy="215444"/>
            </a:xfrm>
            <a:prstGeom prst="rect">
              <a:avLst/>
            </a:prstGeom>
            <a:grpFill/>
            <a:ln w="19050">
              <a:solidFill>
                <a:srgbClr val="00B050"/>
              </a:solidFill>
            </a:ln>
          </p:spPr>
          <p:txBody>
            <a:bodyPr wrap="square" rtlCol="0">
              <a:spAutoFit/>
            </a:bodyPr>
            <a:lstStyle/>
            <a:p>
              <a:pPr algn="ctr"/>
              <a:r>
                <a:rPr lang="es-ES" sz="800"/>
                <a:t>P</a:t>
              </a:r>
              <a:endParaRPr lang="es-CO" sz="800"/>
            </a:p>
          </p:txBody>
        </p:sp>
      </p:grpSp>
      <p:sp>
        <p:nvSpPr>
          <p:cNvPr id="53" name="CuadroTexto 52">
            <a:extLst>
              <a:ext uri="{FF2B5EF4-FFF2-40B4-BE49-F238E27FC236}">
                <a16:creationId xmlns:a16="http://schemas.microsoft.com/office/drawing/2014/main" id="{3183033D-4A65-4606-9615-DDAF1BAFFCD7}"/>
              </a:ext>
            </a:extLst>
          </p:cNvPr>
          <p:cNvSpPr txBox="1"/>
          <p:nvPr/>
        </p:nvSpPr>
        <p:spPr>
          <a:xfrm>
            <a:off x="2046179" y="4425664"/>
            <a:ext cx="432000" cy="215444"/>
          </a:xfrm>
          <a:prstGeom prst="rect">
            <a:avLst/>
          </a:prstGeom>
          <a:solidFill>
            <a:schemeClr val="bg1"/>
          </a:solidFill>
          <a:ln w="19050">
            <a:solidFill>
              <a:srgbClr val="00B050"/>
            </a:solidFill>
          </a:ln>
        </p:spPr>
        <p:txBody>
          <a:bodyPr wrap="square" rtlCol="0">
            <a:spAutoFit/>
          </a:bodyPr>
          <a:lstStyle/>
          <a:p>
            <a:pPr algn="ctr"/>
            <a:r>
              <a:rPr lang="es-ES" sz="800"/>
              <a:t>P</a:t>
            </a:r>
            <a:endParaRPr lang="es-CO" sz="800"/>
          </a:p>
        </p:txBody>
      </p:sp>
      <p:grpSp>
        <p:nvGrpSpPr>
          <p:cNvPr id="56" name="Grupo 55">
            <a:extLst>
              <a:ext uri="{FF2B5EF4-FFF2-40B4-BE49-F238E27FC236}">
                <a16:creationId xmlns:a16="http://schemas.microsoft.com/office/drawing/2014/main" id="{F4EC4EF0-7190-4E9B-8549-5101761B6B1E}"/>
              </a:ext>
            </a:extLst>
          </p:cNvPr>
          <p:cNvGrpSpPr/>
          <p:nvPr/>
        </p:nvGrpSpPr>
        <p:grpSpPr>
          <a:xfrm>
            <a:off x="10458022" y="4728723"/>
            <a:ext cx="1656875" cy="646331"/>
            <a:chOff x="9415622" y="5200320"/>
            <a:chExt cx="1656875" cy="646331"/>
          </a:xfrm>
        </p:grpSpPr>
        <p:sp>
          <p:nvSpPr>
            <p:cNvPr id="57" name="CuadroTexto 56">
              <a:extLst>
                <a:ext uri="{FF2B5EF4-FFF2-40B4-BE49-F238E27FC236}">
                  <a16:creationId xmlns:a16="http://schemas.microsoft.com/office/drawing/2014/main" id="{D79E12ED-3045-4D75-99EC-3C5B617C5598}"/>
                </a:ext>
              </a:extLst>
            </p:cNvPr>
            <p:cNvSpPr txBox="1"/>
            <p:nvPr/>
          </p:nvSpPr>
          <p:spPr>
            <a:xfrm>
              <a:off x="9841673" y="5200320"/>
              <a:ext cx="1230824" cy="646331"/>
            </a:xfrm>
            <a:prstGeom prst="rect">
              <a:avLst/>
            </a:prstGeom>
            <a:noFill/>
          </p:spPr>
          <p:txBody>
            <a:bodyPr wrap="square" rtlCol="0" anchor="t">
              <a:spAutoFit/>
            </a:bodyPr>
            <a:lstStyle/>
            <a:p>
              <a:r>
                <a:rPr lang="es-ES" sz="900">
                  <a:solidFill>
                    <a:schemeClr val="accent1">
                      <a:lumMod val="25000"/>
                    </a:schemeClr>
                  </a:solidFill>
                </a:rPr>
                <a:t>Gerente de Planeación Financiera</a:t>
              </a:r>
            </a:p>
            <a:p>
              <a:r>
                <a:rPr lang="es-ES" sz="900">
                  <a:solidFill>
                    <a:schemeClr val="accent1">
                      <a:lumMod val="25000"/>
                    </a:schemeClr>
                  </a:solidFill>
                  <a:cs typeface="Arial"/>
                </a:rPr>
                <a:t>20 %</a:t>
              </a:r>
            </a:p>
          </p:txBody>
        </p:sp>
        <p:sp>
          <p:nvSpPr>
            <p:cNvPr id="58" name="CuadroTexto 57">
              <a:extLst>
                <a:ext uri="{FF2B5EF4-FFF2-40B4-BE49-F238E27FC236}">
                  <a16:creationId xmlns:a16="http://schemas.microsoft.com/office/drawing/2014/main" id="{9450D43D-D524-439B-949D-EA1BD3EAC296}"/>
                </a:ext>
              </a:extLst>
            </p:cNvPr>
            <p:cNvSpPr txBox="1"/>
            <p:nvPr/>
          </p:nvSpPr>
          <p:spPr>
            <a:xfrm>
              <a:off x="9415622" y="5407892"/>
              <a:ext cx="432000" cy="215444"/>
            </a:xfrm>
            <a:prstGeom prst="rect">
              <a:avLst/>
            </a:prstGeom>
            <a:solidFill>
              <a:schemeClr val="bg1"/>
            </a:solidFill>
            <a:ln w="19050">
              <a:solidFill>
                <a:srgbClr val="0070C0"/>
              </a:solidFill>
            </a:ln>
          </p:spPr>
          <p:txBody>
            <a:bodyPr wrap="square" rtlCol="0">
              <a:spAutoFit/>
            </a:bodyPr>
            <a:lstStyle/>
            <a:p>
              <a:pPr algn="ctr"/>
              <a:r>
                <a:rPr lang="es-ES" sz="800"/>
                <a:t>GPF</a:t>
              </a:r>
              <a:endParaRPr lang="es-CO" sz="800"/>
            </a:p>
          </p:txBody>
        </p:sp>
      </p:grpSp>
      <p:sp>
        <p:nvSpPr>
          <p:cNvPr id="59" name="CuadroTexto 58">
            <a:extLst>
              <a:ext uri="{FF2B5EF4-FFF2-40B4-BE49-F238E27FC236}">
                <a16:creationId xmlns:a16="http://schemas.microsoft.com/office/drawing/2014/main" id="{C67781E8-CCED-4804-A3A4-FB9AECEBE0F2}"/>
              </a:ext>
            </a:extLst>
          </p:cNvPr>
          <p:cNvSpPr txBox="1"/>
          <p:nvPr/>
        </p:nvSpPr>
        <p:spPr>
          <a:xfrm>
            <a:off x="5911472" y="2757785"/>
            <a:ext cx="432000" cy="215444"/>
          </a:xfrm>
          <a:prstGeom prst="rect">
            <a:avLst/>
          </a:prstGeom>
          <a:solidFill>
            <a:schemeClr val="bg1"/>
          </a:solidFill>
          <a:ln w="19050">
            <a:solidFill>
              <a:srgbClr val="0070C0"/>
            </a:solidFill>
          </a:ln>
        </p:spPr>
        <p:txBody>
          <a:bodyPr wrap="square" rtlCol="0">
            <a:spAutoFit/>
          </a:bodyPr>
          <a:lstStyle/>
          <a:p>
            <a:pPr algn="ctr"/>
            <a:r>
              <a:rPr lang="es-ES" sz="800"/>
              <a:t>GPF</a:t>
            </a:r>
            <a:endParaRPr lang="es-CO" sz="800"/>
          </a:p>
        </p:txBody>
      </p:sp>
      <p:grpSp>
        <p:nvGrpSpPr>
          <p:cNvPr id="64" name="Grupo 63">
            <a:extLst>
              <a:ext uri="{FF2B5EF4-FFF2-40B4-BE49-F238E27FC236}">
                <a16:creationId xmlns:a16="http://schemas.microsoft.com/office/drawing/2014/main" id="{31798F15-706D-45E0-A3B0-893CC2623D99}"/>
              </a:ext>
            </a:extLst>
          </p:cNvPr>
          <p:cNvGrpSpPr/>
          <p:nvPr/>
        </p:nvGrpSpPr>
        <p:grpSpPr>
          <a:xfrm>
            <a:off x="8728493" y="4360347"/>
            <a:ext cx="1579419" cy="507831"/>
            <a:chOff x="9392140" y="4751078"/>
            <a:chExt cx="1579419" cy="507831"/>
          </a:xfrm>
        </p:grpSpPr>
        <p:sp>
          <p:nvSpPr>
            <p:cNvPr id="65" name="CuadroTexto 64">
              <a:extLst>
                <a:ext uri="{FF2B5EF4-FFF2-40B4-BE49-F238E27FC236}">
                  <a16:creationId xmlns:a16="http://schemas.microsoft.com/office/drawing/2014/main" id="{482F7767-BBB7-4FA0-A100-DDFC4E41EAB6}"/>
                </a:ext>
              </a:extLst>
            </p:cNvPr>
            <p:cNvSpPr txBox="1"/>
            <p:nvPr/>
          </p:nvSpPr>
          <p:spPr>
            <a:xfrm>
              <a:off x="9771501" y="4751078"/>
              <a:ext cx="1200058" cy="507831"/>
            </a:xfrm>
            <a:prstGeom prst="rect">
              <a:avLst/>
            </a:prstGeom>
            <a:noFill/>
          </p:spPr>
          <p:txBody>
            <a:bodyPr wrap="square" rtlCol="0" anchor="t">
              <a:spAutoFit/>
            </a:bodyPr>
            <a:lstStyle/>
            <a:p>
              <a:r>
                <a:rPr lang="es-ES" sz="900">
                  <a:solidFill>
                    <a:schemeClr val="accent1">
                      <a:lumMod val="25000"/>
                    </a:schemeClr>
                  </a:solidFill>
                </a:rPr>
                <a:t>Vicepresidente Finanzas</a:t>
              </a:r>
            </a:p>
            <a:p>
              <a:r>
                <a:rPr lang="es-ES" sz="900">
                  <a:solidFill>
                    <a:schemeClr val="accent1">
                      <a:lumMod val="25000"/>
                    </a:schemeClr>
                  </a:solidFill>
                </a:rPr>
                <a:t>10 %</a:t>
              </a:r>
              <a:endParaRPr lang="es-CO" sz="900">
                <a:solidFill>
                  <a:schemeClr val="accent1">
                    <a:lumMod val="25000"/>
                  </a:schemeClr>
                </a:solidFill>
              </a:endParaRPr>
            </a:p>
          </p:txBody>
        </p:sp>
        <p:sp>
          <p:nvSpPr>
            <p:cNvPr id="66" name="CuadroTexto 65">
              <a:extLst>
                <a:ext uri="{FF2B5EF4-FFF2-40B4-BE49-F238E27FC236}">
                  <a16:creationId xmlns:a16="http://schemas.microsoft.com/office/drawing/2014/main" id="{7D701BE1-DFFF-466E-94E4-351601689DF4}"/>
                </a:ext>
              </a:extLst>
            </p:cNvPr>
            <p:cNvSpPr txBox="1"/>
            <p:nvPr/>
          </p:nvSpPr>
          <p:spPr>
            <a:xfrm>
              <a:off x="9392140" y="4884294"/>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grpSp>
      <p:sp>
        <p:nvSpPr>
          <p:cNvPr id="67" name="CuadroTexto 66">
            <a:extLst>
              <a:ext uri="{FF2B5EF4-FFF2-40B4-BE49-F238E27FC236}">
                <a16:creationId xmlns:a16="http://schemas.microsoft.com/office/drawing/2014/main" id="{76C1D0A2-5C54-47B8-ACD4-1751E53219F1}"/>
              </a:ext>
            </a:extLst>
          </p:cNvPr>
          <p:cNvSpPr txBox="1"/>
          <p:nvPr/>
        </p:nvSpPr>
        <p:spPr>
          <a:xfrm>
            <a:off x="5911472" y="3468611"/>
            <a:ext cx="432000" cy="215444"/>
          </a:xfrm>
          <a:prstGeom prst="rect">
            <a:avLst/>
          </a:prstGeom>
          <a:solidFill>
            <a:schemeClr val="bg1"/>
          </a:solidFill>
          <a:ln w="19050">
            <a:solidFill>
              <a:schemeClr val="accent3"/>
            </a:solidFill>
          </a:ln>
        </p:spPr>
        <p:txBody>
          <a:bodyPr wrap="square" rtlCol="0">
            <a:spAutoFit/>
          </a:bodyPr>
          <a:lstStyle/>
          <a:p>
            <a:pPr algn="ctr"/>
            <a:r>
              <a:rPr lang="es-ES" sz="800"/>
              <a:t>VPF</a:t>
            </a:r>
            <a:endParaRPr lang="es-CO" sz="800"/>
          </a:p>
        </p:txBody>
      </p:sp>
      <p:sp>
        <p:nvSpPr>
          <p:cNvPr id="70" name="CuadroTexto 69">
            <a:extLst>
              <a:ext uri="{FF2B5EF4-FFF2-40B4-BE49-F238E27FC236}">
                <a16:creationId xmlns:a16="http://schemas.microsoft.com/office/drawing/2014/main" id="{BEF3E9DA-9207-416D-BA5D-FD9163A7CEDE}"/>
              </a:ext>
            </a:extLst>
          </p:cNvPr>
          <p:cNvSpPr txBox="1"/>
          <p:nvPr/>
        </p:nvSpPr>
        <p:spPr>
          <a:xfrm>
            <a:off x="5911472" y="4290099"/>
            <a:ext cx="432000" cy="215444"/>
          </a:xfrm>
          <a:prstGeom prst="rect">
            <a:avLst/>
          </a:prstGeom>
          <a:solidFill>
            <a:schemeClr val="bg1"/>
          </a:solidFill>
          <a:ln w="19050">
            <a:solidFill>
              <a:srgbClr val="0070C0"/>
            </a:solidFill>
          </a:ln>
        </p:spPr>
        <p:txBody>
          <a:bodyPr wrap="square" rtlCol="0">
            <a:spAutoFit/>
          </a:bodyPr>
          <a:lstStyle/>
          <a:p>
            <a:pPr algn="ctr"/>
            <a:r>
              <a:rPr lang="es-ES" sz="800"/>
              <a:t>GPF</a:t>
            </a:r>
            <a:endParaRPr lang="es-CO" sz="800"/>
          </a:p>
        </p:txBody>
      </p:sp>
      <p:grpSp>
        <p:nvGrpSpPr>
          <p:cNvPr id="75" name="Grupo 74">
            <a:extLst>
              <a:ext uri="{FF2B5EF4-FFF2-40B4-BE49-F238E27FC236}">
                <a16:creationId xmlns:a16="http://schemas.microsoft.com/office/drawing/2014/main" id="{077A4C80-B6E4-40B6-B2DC-9B42ECFBED08}"/>
              </a:ext>
            </a:extLst>
          </p:cNvPr>
          <p:cNvGrpSpPr/>
          <p:nvPr/>
        </p:nvGrpSpPr>
        <p:grpSpPr>
          <a:xfrm>
            <a:off x="8728493" y="4828882"/>
            <a:ext cx="1387613" cy="507831"/>
            <a:chOff x="11328566" y="4715018"/>
            <a:chExt cx="1387613" cy="507831"/>
          </a:xfrm>
        </p:grpSpPr>
        <p:sp>
          <p:nvSpPr>
            <p:cNvPr id="76" name="CuadroTexto 75">
              <a:extLst>
                <a:ext uri="{FF2B5EF4-FFF2-40B4-BE49-F238E27FC236}">
                  <a16:creationId xmlns:a16="http://schemas.microsoft.com/office/drawing/2014/main" id="{007A7D90-2895-4218-AC2C-2C7019EDD874}"/>
                </a:ext>
              </a:extLst>
            </p:cNvPr>
            <p:cNvSpPr txBox="1"/>
            <p:nvPr/>
          </p:nvSpPr>
          <p:spPr>
            <a:xfrm>
              <a:off x="11711185" y="4715018"/>
              <a:ext cx="1004994" cy="507831"/>
            </a:xfrm>
            <a:prstGeom prst="rect">
              <a:avLst/>
            </a:prstGeom>
            <a:noFill/>
          </p:spPr>
          <p:txBody>
            <a:bodyPr wrap="square" rtlCol="0">
              <a:spAutoFit/>
            </a:bodyPr>
            <a:lstStyle/>
            <a:p>
              <a:r>
                <a:rPr lang="es-ES" sz="900">
                  <a:solidFill>
                    <a:schemeClr val="accent1">
                      <a:lumMod val="25000"/>
                    </a:schemeClr>
                  </a:solidFill>
                </a:rPr>
                <a:t>Vicepresidente del área</a:t>
              </a:r>
            </a:p>
            <a:p>
              <a:r>
                <a:rPr lang="es-ES" sz="900">
                  <a:solidFill>
                    <a:schemeClr val="accent1">
                      <a:lumMod val="25000"/>
                    </a:schemeClr>
                  </a:solidFill>
                </a:rPr>
                <a:t>20 %</a:t>
              </a:r>
              <a:endParaRPr lang="es-CO" sz="900">
                <a:solidFill>
                  <a:schemeClr val="accent1">
                    <a:lumMod val="25000"/>
                  </a:schemeClr>
                </a:solidFill>
              </a:endParaRPr>
            </a:p>
          </p:txBody>
        </p:sp>
        <p:sp>
          <p:nvSpPr>
            <p:cNvPr id="77" name="CuadroTexto 76">
              <a:extLst>
                <a:ext uri="{FF2B5EF4-FFF2-40B4-BE49-F238E27FC236}">
                  <a16:creationId xmlns:a16="http://schemas.microsoft.com/office/drawing/2014/main" id="{D3DE7C35-0A17-4172-B0B1-98FED0C3E1FB}"/>
                </a:ext>
              </a:extLst>
            </p:cNvPr>
            <p:cNvSpPr txBox="1"/>
            <p:nvPr/>
          </p:nvSpPr>
          <p:spPr>
            <a:xfrm>
              <a:off x="11328566" y="4853823"/>
              <a:ext cx="432000" cy="215444"/>
            </a:xfrm>
            <a:prstGeom prst="rect">
              <a:avLst/>
            </a:prstGeom>
            <a:solidFill>
              <a:schemeClr val="bg1"/>
            </a:solidFill>
            <a:ln w="19050">
              <a:solidFill>
                <a:srgbClr val="FFC000"/>
              </a:solidFill>
            </a:ln>
          </p:spPr>
          <p:txBody>
            <a:bodyPr wrap="square" rtlCol="0">
              <a:spAutoFit/>
            </a:bodyPr>
            <a:lstStyle/>
            <a:p>
              <a:pPr algn="ctr"/>
              <a:r>
                <a:rPr lang="es-ES" sz="800"/>
                <a:t>VPÁ</a:t>
              </a:r>
              <a:endParaRPr lang="es-CO" sz="800"/>
            </a:p>
          </p:txBody>
        </p:sp>
      </p:grpSp>
      <p:sp>
        <p:nvSpPr>
          <p:cNvPr id="83" name="CuadroTexto 82">
            <a:extLst>
              <a:ext uri="{FF2B5EF4-FFF2-40B4-BE49-F238E27FC236}">
                <a16:creationId xmlns:a16="http://schemas.microsoft.com/office/drawing/2014/main" id="{700AFB1B-26A3-4EDF-ACCA-11E220C8CF3E}"/>
              </a:ext>
            </a:extLst>
          </p:cNvPr>
          <p:cNvSpPr txBox="1"/>
          <p:nvPr/>
        </p:nvSpPr>
        <p:spPr>
          <a:xfrm>
            <a:off x="8518920" y="1984853"/>
            <a:ext cx="432000" cy="215444"/>
          </a:xfrm>
          <a:prstGeom prst="rect">
            <a:avLst/>
          </a:prstGeom>
          <a:solidFill>
            <a:schemeClr val="bg1"/>
          </a:solidFill>
          <a:ln w="19050">
            <a:solidFill>
              <a:srgbClr val="FFC000"/>
            </a:solidFill>
          </a:ln>
        </p:spPr>
        <p:txBody>
          <a:bodyPr wrap="square" rtlCol="0">
            <a:spAutoFit/>
          </a:bodyPr>
          <a:lstStyle/>
          <a:p>
            <a:pPr algn="ctr"/>
            <a:r>
              <a:rPr lang="es-ES" sz="800"/>
              <a:t>VPÁ</a:t>
            </a:r>
            <a:endParaRPr lang="es-CO" sz="800"/>
          </a:p>
        </p:txBody>
      </p:sp>
      <p:sp>
        <p:nvSpPr>
          <p:cNvPr id="6" name="Rectangle 30">
            <a:extLst>
              <a:ext uri="{FF2B5EF4-FFF2-40B4-BE49-F238E27FC236}">
                <a16:creationId xmlns:a16="http://schemas.microsoft.com/office/drawing/2014/main" id="{86C90260-4432-439E-A036-9D4593264927}"/>
              </a:ext>
            </a:extLst>
          </p:cNvPr>
          <p:cNvSpPr>
            <a:spLocks/>
          </p:cNvSpPr>
          <p:nvPr/>
        </p:nvSpPr>
        <p:spPr>
          <a:xfrm>
            <a:off x="2756855" y="4612547"/>
            <a:ext cx="3593228" cy="627423"/>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Aprobar traslados entre gerencias de la misma vicepresidencia que no impacten a la baja el margen operacional, EBITDA o la utilidad neta</a:t>
            </a:r>
            <a:endParaRPr lang="es-CO" sz="1000">
              <a:solidFill>
                <a:schemeClr val="tx2"/>
              </a:solidFill>
            </a:endParaRPr>
          </a:p>
        </p:txBody>
      </p:sp>
      <p:sp>
        <p:nvSpPr>
          <p:cNvPr id="7" name="Rectangle 30">
            <a:extLst>
              <a:ext uri="{FF2B5EF4-FFF2-40B4-BE49-F238E27FC236}">
                <a16:creationId xmlns:a16="http://schemas.microsoft.com/office/drawing/2014/main" id="{10A9BD64-6D9E-4D54-A8D6-0C3F6E2D8914}"/>
              </a:ext>
            </a:extLst>
          </p:cNvPr>
          <p:cNvSpPr>
            <a:spLocks/>
          </p:cNvSpPr>
          <p:nvPr/>
        </p:nvSpPr>
        <p:spPr>
          <a:xfrm>
            <a:off x="2753343" y="5348406"/>
            <a:ext cx="3593228" cy="724920"/>
          </a:xfrm>
          <a:prstGeom prst="rect">
            <a:avLst/>
          </a:prstGeom>
          <a:solidFill>
            <a:schemeClr val="bg2">
              <a:lumMod val="95000"/>
              <a:alpha val="68000"/>
            </a:schemeClr>
          </a:solidFill>
          <a:ln w="28575">
            <a:solidFill>
              <a:schemeClr val="accent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r>
              <a:rPr lang="es-ES" sz="1000">
                <a:solidFill>
                  <a:schemeClr val="tx2"/>
                </a:solidFill>
              </a:rPr>
              <a:t>Aprobar traslados entre rubros de la misma gerencia que no impacten a la baja el margen operacional, EBITDA o la utilidad neta</a:t>
            </a:r>
            <a:endParaRPr lang="es-CO" sz="1000">
              <a:solidFill>
                <a:schemeClr val="tx2"/>
              </a:solidFill>
            </a:endParaRPr>
          </a:p>
        </p:txBody>
      </p:sp>
      <p:sp>
        <p:nvSpPr>
          <p:cNvPr id="10" name="CuadroTexto 9">
            <a:extLst>
              <a:ext uri="{FF2B5EF4-FFF2-40B4-BE49-F238E27FC236}">
                <a16:creationId xmlns:a16="http://schemas.microsoft.com/office/drawing/2014/main" id="{6C1A014E-FF60-4949-9B36-14D5AEFA9B07}"/>
              </a:ext>
            </a:extLst>
          </p:cNvPr>
          <p:cNvSpPr txBox="1"/>
          <p:nvPr/>
        </p:nvSpPr>
        <p:spPr>
          <a:xfrm>
            <a:off x="5880000" y="5089946"/>
            <a:ext cx="432000" cy="215444"/>
          </a:xfrm>
          <a:prstGeom prst="rect">
            <a:avLst/>
          </a:prstGeom>
          <a:solidFill>
            <a:schemeClr val="bg1"/>
          </a:solidFill>
          <a:ln w="19050">
            <a:solidFill>
              <a:srgbClr val="FFC000"/>
            </a:solidFill>
          </a:ln>
        </p:spPr>
        <p:txBody>
          <a:bodyPr wrap="square" rtlCol="0">
            <a:spAutoFit/>
          </a:bodyPr>
          <a:lstStyle/>
          <a:p>
            <a:pPr algn="ctr"/>
            <a:r>
              <a:rPr lang="es-ES" sz="800"/>
              <a:t>VPÁ</a:t>
            </a:r>
            <a:endParaRPr lang="es-CO" sz="800"/>
          </a:p>
        </p:txBody>
      </p:sp>
      <p:sp>
        <p:nvSpPr>
          <p:cNvPr id="11" name="CuadroTexto 10">
            <a:extLst>
              <a:ext uri="{FF2B5EF4-FFF2-40B4-BE49-F238E27FC236}">
                <a16:creationId xmlns:a16="http://schemas.microsoft.com/office/drawing/2014/main" id="{13112420-243A-4852-9111-3F087F4D8C9F}"/>
              </a:ext>
            </a:extLst>
          </p:cNvPr>
          <p:cNvSpPr txBox="1"/>
          <p:nvPr/>
        </p:nvSpPr>
        <p:spPr>
          <a:xfrm>
            <a:off x="5871680" y="5937491"/>
            <a:ext cx="432000" cy="215444"/>
          </a:xfrm>
          <a:prstGeom prst="rect">
            <a:avLst/>
          </a:prstGeom>
          <a:solidFill>
            <a:schemeClr val="bg1"/>
          </a:solidFill>
          <a:ln w="19050">
            <a:solidFill>
              <a:srgbClr val="7C6670"/>
            </a:solidFill>
          </a:ln>
        </p:spPr>
        <p:txBody>
          <a:bodyPr wrap="square" rtlCol="0">
            <a:spAutoFit/>
          </a:bodyPr>
          <a:lstStyle/>
          <a:p>
            <a:pPr algn="ctr"/>
            <a:r>
              <a:rPr lang="es-ES" sz="800"/>
              <a:t>GÁ</a:t>
            </a:r>
            <a:endParaRPr lang="es-CO" sz="800"/>
          </a:p>
        </p:txBody>
      </p:sp>
      <p:grpSp>
        <p:nvGrpSpPr>
          <p:cNvPr id="14" name="Grupo 13">
            <a:extLst>
              <a:ext uri="{FF2B5EF4-FFF2-40B4-BE49-F238E27FC236}">
                <a16:creationId xmlns:a16="http://schemas.microsoft.com/office/drawing/2014/main" id="{49391088-76C7-4581-ABD3-84E3FFFD3B30}"/>
              </a:ext>
            </a:extLst>
          </p:cNvPr>
          <p:cNvGrpSpPr/>
          <p:nvPr/>
        </p:nvGrpSpPr>
        <p:grpSpPr>
          <a:xfrm>
            <a:off x="10434644" y="4269536"/>
            <a:ext cx="1202397" cy="507831"/>
            <a:chOff x="9218732" y="3337174"/>
            <a:chExt cx="1202397" cy="507831"/>
          </a:xfrm>
        </p:grpSpPr>
        <p:sp>
          <p:nvSpPr>
            <p:cNvPr id="12" name="CuadroTexto 11">
              <a:extLst>
                <a:ext uri="{FF2B5EF4-FFF2-40B4-BE49-F238E27FC236}">
                  <a16:creationId xmlns:a16="http://schemas.microsoft.com/office/drawing/2014/main" id="{5FFDB4A6-04E4-4BC7-9B96-179A6E41F52E}"/>
                </a:ext>
              </a:extLst>
            </p:cNvPr>
            <p:cNvSpPr txBox="1"/>
            <p:nvPr/>
          </p:nvSpPr>
          <p:spPr>
            <a:xfrm>
              <a:off x="9218732" y="3451146"/>
              <a:ext cx="432000" cy="215444"/>
            </a:xfrm>
            <a:prstGeom prst="rect">
              <a:avLst/>
            </a:prstGeom>
            <a:solidFill>
              <a:schemeClr val="bg1"/>
            </a:solidFill>
            <a:ln w="19050">
              <a:solidFill>
                <a:srgbClr val="7C6670"/>
              </a:solidFill>
            </a:ln>
          </p:spPr>
          <p:txBody>
            <a:bodyPr wrap="square" rtlCol="0">
              <a:spAutoFit/>
            </a:bodyPr>
            <a:lstStyle/>
            <a:p>
              <a:pPr algn="ctr"/>
              <a:r>
                <a:rPr lang="es-ES" sz="800"/>
                <a:t>GÁ</a:t>
              </a:r>
              <a:endParaRPr lang="es-CO" sz="800"/>
            </a:p>
          </p:txBody>
        </p:sp>
        <p:sp>
          <p:nvSpPr>
            <p:cNvPr id="13" name="CuadroTexto 12">
              <a:extLst>
                <a:ext uri="{FF2B5EF4-FFF2-40B4-BE49-F238E27FC236}">
                  <a16:creationId xmlns:a16="http://schemas.microsoft.com/office/drawing/2014/main" id="{BB03C578-04DF-49C8-BD4D-28A04F5C3771}"/>
                </a:ext>
              </a:extLst>
            </p:cNvPr>
            <p:cNvSpPr txBox="1"/>
            <p:nvPr/>
          </p:nvSpPr>
          <p:spPr>
            <a:xfrm>
              <a:off x="9676163" y="3337174"/>
              <a:ext cx="744966" cy="507831"/>
            </a:xfrm>
            <a:prstGeom prst="rect">
              <a:avLst/>
            </a:prstGeom>
            <a:noFill/>
          </p:spPr>
          <p:txBody>
            <a:bodyPr wrap="square" rtlCol="0" anchor="t">
              <a:spAutoFit/>
            </a:bodyPr>
            <a:lstStyle/>
            <a:p>
              <a:r>
                <a:rPr lang="es-ES" sz="900">
                  <a:solidFill>
                    <a:schemeClr val="accent1">
                      <a:lumMod val="25000"/>
                    </a:schemeClr>
                  </a:solidFill>
                </a:rPr>
                <a:t>Gerente del área</a:t>
              </a:r>
            </a:p>
            <a:p>
              <a:r>
                <a:rPr lang="es-ES" sz="900">
                  <a:solidFill>
                    <a:schemeClr val="accent1">
                      <a:lumMod val="25000"/>
                    </a:schemeClr>
                  </a:solidFill>
                </a:rPr>
                <a:t>10 %</a:t>
              </a:r>
              <a:endParaRPr lang="es-CO" sz="900">
                <a:solidFill>
                  <a:schemeClr val="accent1">
                    <a:lumMod val="25000"/>
                  </a:schemeClr>
                </a:solidFill>
              </a:endParaRPr>
            </a:p>
          </p:txBody>
        </p:sp>
      </p:grpSp>
      <p:sp>
        <p:nvSpPr>
          <p:cNvPr id="55" name="Elipse 54">
            <a:extLst>
              <a:ext uri="{FF2B5EF4-FFF2-40B4-BE49-F238E27FC236}">
                <a16:creationId xmlns:a16="http://schemas.microsoft.com/office/drawing/2014/main" id="{4C57F57D-9B93-4190-8F7F-06D0F82C58CD}"/>
              </a:ext>
            </a:extLst>
          </p:cNvPr>
          <p:cNvSpPr/>
          <p:nvPr/>
        </p:nvSpPr>
        <p:spPr>
          <a:xfrm>
            <a:off x="386924" y="1984917"/>
            <a:ext cx="205485" cy="230832"/>
          </a:xfrm>
          <a:prstGeom prst="ellipse">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err="1">
              <a:solidFill>
                <a:schemeClr val="tx1"/>
              </a:solidFill>
            </a:endParaRPr>
          </a:p>
        </p:txBody>
      </p:sp>
      <p:sp>
        <p:nvSpPr>
          <p:cNvPr id="61" name="Elipse 60">
            <a:extLst>
              <a:ext uri="{FF2B5EF4-FFF2-40B4-BE49-F238E27FC236}">
                <a16:creationId xmlns:a16="http://schemas.microsoft.com/office/drawing/2014/main" id="{069C2810-B436-42D4-99DC-61899B71615D}"/>
              </a:ext>
            </a:extLst>
          </p:cNvPr>
          <p:cNvSpPr/>
          <p:nvPr/>
        </p:nvSpPr>
        <p:spPr>
          <a:xfrm>
            <a:off x="417473" y="3111420"/>
            <a:ext cx="205485" cy="230832"/>
          </a:xfrm>
          <a:prstGeom prst="ellipse">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err="1">
              <a:solidFill>
                <a:schemeClr val="tx1"/>
              </a:solidFill>
            </a:endParaRPr>
          </a:p>
        </p:txBody>
      </p:sp>
      <p:sp>
        <p:nvSpPr>
          <p:cNvPr id="69" name="Elipse 68">
            <a:extLst>
              <a:ext uri="{FF2B5EF4-FFF2-40B4-BE49-F238E27FC236}">
                <a16:creationId xmlns:a16="http://schemas.microsoft.com/office/drawing/2014/main" id="{7B78055E-E81C-49D0-953C-F2B6D7C044CC}"/>
              </a:ext>
            </a:extLst>
          </p:cNvPr>
          <p:cNvSpPr/>
          <p:nvPr/>
        </p:nvSpPr>
        <p:spPr>
          <a:xfrm>
            <a:off x="2926791" y="1997135"/>
            <a:ext cx="205485" cy="230832"/>
          </a:xfrm>
          <a:prstGeom prst="ellipse">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err="1">
              <a:solidFill>
                <a:schemeClr val="tx1"/>
              </a:solidFill>
            </a:endParaRPr>
          </a:p>
        </p:txBody>
      </p:sp>
      <p:sp>
        <p:nvSpPr>
          <p:cNvPr id="71" name="CuadroTexto 70">
            <a:extLst>
              <a:ext uri="{FF2B5EF4-FFF2-40B4-BE49-F238E27FC236}">
                <a16:creationId xmlns:a16="http://schemas.microsoft.com/office/drawing/2014/main" id="{E0773A80-04AB-45A2-8B8A-C06D64850B85}"/>
              </a:ext>
            </a:extLst>
          </p:cNvPr>
          <p:cNvSpPr txBox="1"/>
          <p:nvPr/>
        </p:nvSpPr>
        <p:spPr>
          <a:xfrm>
            <a:off x="503867" y="4705186"/>
            <a:ext cx="1321051" cy="1235908"/>
          </a:xfrm>
          <a:prstGeom prst="rect">
            <a:avLst/>
          </a:prstGeom>
          <a:noFill/>
          <a:ln>
            <a:solidFill>
              <a:schemeClr val="tx1"/>
            </a:solidFill>
          </a:ln>
        </p:spPr>
        <p:txBody>
          <a:bodyPr wrap="square" rtlCol="0">
            <a:spAutoFit/>
          </a:bodyPr>
          <a:lstStyle/>
          <a:p>
            <a:endParaRPr lang="es-CO"/>
          </a:p>
        </p:txBody>
      </p:sp>
      <p:sp>
        <p:nvSpPr>
          <p:cNvPr id="72" name="Elipse 71">
            <a:extLst>
              <a:ext uri="{FF2B5EF4-FFF2-40B4-BE49-F238E27FC236}">
                <a16:creationId xmlns:a16="http://schemas.microsoft.com/office/drawing/2014/main" id="{6A39F8F6-385A-4CDC-90FE-D384FBA2C97D}"/>
              </a:ext>
            </a:extLst>
          </p:cNvPr>
          <p:cNvSpPr/>
          <p:nvPr/>
        </p:nvSpPr>
        <p:spPr>
          <a:xfrm>
            <a:off x="701844" y="4935368"/>
            <a:ext cx="205485" cy="230832"/>
          </a:xfrm>
          <a:prstGeom prst="ellipse">
            <a:avLst/>
          </a:prstGeom>
          <a:solidFill>
            <a:srgbClr val="92D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err="1">
              <a:solidFill>
                <a:schemeClr val="tx1"/>
              </a:solidFill>
            </a:endParaRPr>
          </a:p>
        </p:txBody>
      </p:sp>
      <p:sp>
        <p:nvSpPr>
          <p:cNvPr id="73" name="Elipse 72">
            <a:extLst>
              <a:ext uri="{FF2B5EF4-FFF2-40B4-BE49-F238E27FC236}">
                <a16:creationId xmlns:a16="http://schemas.microsoft.com/office/drawing/2014/main" id="{0D12E2C8-CF80-406B-8FE2-4CB02189473C}"/>
              </a:ext>
            </a:extLst>
          </p:cNvPr>
          <p:cNvSpPr/>
          <p:nvPr/>
        </p:nvSpPr>
        <p:spPr>
          <a:xfrm>
            <a:off x="727754" y="5421465"/>
            <a:ext cx="205485" cy="230832"/>
          </a:xfrm>
          <a:prstGeom prst="ellipse">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err="1">
              <a:solidFill>
                <a:schemeClr val="tx1"/>
              </a:solidFill>
            </a:endParaRPr>
          </a:p>
        </p:txBody>
      </p:sp>
      <p:sp>
        <p:nvSpPr>
          <p:cNvPr id="74" name="CuadroTexto 73">
            <a:extLst>
              <a:ext uri="{FF2B5EF4-FFF2-40B4-BE49-F238E27FC236}">
                <a16:creationId xmlns:a16="http://schemas.microsoft.com/office/drawing/2014/main" id="{634384A3-8DA4-4CE6-9D38-479CE9997266}"/>
              </a:ext>
            </a:extLst>
          </p:cNvPr>
          <p:cNvSpPr txBox="1"/>
          <p:nvPr/>
        </p:nvSpPr>
        <p:spPr>
          <a:xfrm>
            <a:off x="933239" y="4910935"/>
            <a:ext cx="847124" cy="230832"/>
          </a:xfrm>
          <a:prstGeom prst="rect">
            <a:avLst/>
          </a:prstGeom>
          <a:noFill/>
        </p:spPr>
        <p:txBody>
          <a:bodyPr wrap="square" rtlCol="0">
            <a:spAutoFit/>
          </a:bodyPr>
          <a:lstStyle/>
          <a:p>
            <a:r>
              <a:rPr lang="es-ES" sz="900"/>
              <a:t>En Estatutos</a:t>
            </a:r>
            <a:endParaRPr lang="es-CO" sz="900"/>
          </a:p>
        </p:txBody>
      </p:sp>
      <p:sp>
        <p:nvSpPr>
          <p:cNvPr id="78" name="CuadroTexto 77">
            <a:extLst>
              <a:ext uri="{FF2B5EF4-FFF2-40B4-BE49-F238E27FC236}">
                <a16:creationId xmlns:a16="http://schemas.microsoft.com/office/drawing/2014/main" id="{8C4DED4C-7039-46D9-9DA0-94CBAC19FB27}"/>
              </a:ext>
            </a:extLst>
          </p:cNvPr>
          <p:cNvSpPr txBox="1"/>
          <p:nvPr/>
        </p:nvSpPr>
        <p:spPr>
          <a:xfrm>
            <a:off x="889209" y="5252057"/>
            <a:ext cx="1096167" cy="646331"/>
          </a:xfrm>
          <a:prstGeom prst="rect">
            <a:avLst/>
          </a:prstGeom>
          <a:noFill/>
        </p:spPr>
        <p:txBody>
          <a:bodyPr wrap="square" rtlCol="0">
            <a:spAutoFit/>
          </a:bodyPr>
          <a:lstStyle/>
          <a:p>
            <a:r>
              <a:rPr lang="es-ES" sz="900"/>
              <a:t>Propuesta de inclusión por lineamientos de ECP aprobada</a:t>
            </a:r>
            <a:endParaRPr lang="es-CO" sz="900"/>
          </a:p>
        </p:txBody>
      </p:sp>
      <p:sp>
        <p:nvSpPr>
          <p:cNvPr id="3" name="CuadroTexto 47">
            <a:extLst>
              <a:ext uri="{FF2B5EF4-FFF2-40B4-BE49-F238E27FC236}">
                <a16:creationId xmlns:a16="http://schemas.microsoft.com/office/drawing/2014/main" id="{6306E97D-9178-4C1E-887A-40CA511CDC75}"/>
              </a:ext>
            </a:extLst>
          </p:cNvPr>
          <p:cNvSpPr txBox="1"/>
          <p:nvPr/>
        </p:nvSpPr>
        <p:spPr>
          <a:xfrm>
            <a:off x="36078" y="28270"/>
            <a:ext cx="12102613" cy="738664"/>
          </a:xfrm>
          <a:prstGeom prst="rect">
            <a:avLst/>
          </a:prstGeom>
          <a:noFill/>
          <a:ln>
            <a:noFill/>
          </a:ln>
        </p:spPr>
        <p:txBody>
          <a:bodyPr wrap="square" rtlCol="0">
            <a:spAutoFit/>
          </a:bodyPr>
          <a:lstStyle/>
          <a:p>
            <a:pPr algn="ctr"/>
            <a:r>
              <a:rPr lang="es-ES" sz="2400" b="1" dirty="0">
                <a:solidFill>
                  <a:srgbClr val="10476B"/>
                </a:solidFill>
                <a:latin typeface="Century Gothic" panose="020B0502020202020204" pitchFamily="34" charset="0"/>
                <a:cs typeface="Arial" panose="020B0604020202020204" pitchFamily="34" charset="0"/>
              </a:rPr>
              <a:t>Macroproceso Planeación Estratégica, Nuevos Negocios y Regulación</a:t>
            </a:r>
          </a:p>
          <a:p>
            <a:pPr algn="ctr"/>
            <a:r>
              <a:rPr lang="es-ES" b="1" dirty="0">
                <a:solidFill>
                  <a:schemeClr val="accent4"/>
                </a:solidFill>
                <a:latin typeface="Century Gothic" panose="020B0502020202020204" pitchFamily="34" charset="0"/>
                <a:cs typeface="Arial" panose="020B0604020202020204" pitchFamily="34" charset="0"/>
              </a:rPr>
              <a:t>Proceso Nivel 1: </a:t>
            </a:r>
            <a:r>
              <a:rPr lang="es-ES" b="1" dirty="0">
                <a:solidFill>
                  <a:schemeClr val="accent4"/>
                </a:solidFill>
                <a:latin typeface="Century Gothic" panose="020B0502020202020204" pitchFamily="34" charset="0"/>
                <a:cs typeface="Arial" panose="020B0604020202020204" pitchFamily="34" charset="0"/>
                <a:sym typeface="Wingdings" panose="05000000000000000000" pitchFamily="2" charset="2"/>
              </a:rPr>
              <a:t>Planeación Financiera y Presupuesto</a:t>
            </a:r>
            <a:endParaRPr lang="es-CO" b="1" dirty="0">
              <a:solidFill>
                <a:schemeClr val="accent4"/>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13397142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CuadroTexto 83">
            <a:extLst>
              <a:ext uri="{FF2B5EF4-FFF2-40B4-BE49-F238E27FC236}">
                <a16:creationId xmlns:a16="http://schemas.microsoft.com/office/drawing/2014/main" id="{293DBAF3-3942-4C58-8A63-D4484E215E20}"/>
              </a:ext>
            </a:extLst>
          </p:cNvPr>
          <p:cNvSpPr txBox="1"/>
          <p:nvPr/>
        </p:nvSpPr>
        <p:spPr>
          <a:xfrm>
            <a:off x="4848924" y="4484829"/>
            <a:ext cx="6893234" cy="1620000"/>
          </a:xfrm>
          <a:prstGeom prst="rect">
            <a:avLst/>
          </a:prstGeom>
          <a:noFill/>
          <a:ln>
            <a:solidFill>
              <a:schemeClr val="accent6"/>
            </a:solidFill>
          </a:ln>
        </p:spPr>
        <p:txBody>
          <a:bodyPr wrap="square" rtlCol="0">
            <a:spAutoFit/>
          </a:bodyPr>
          <a:lstStyle/>
          <a:p>
            <a:endParaRPr lang="es-CO" sz="2000"/>
          </a:p>
        </p:txBody>
      </p:sp>
      <p:sp>
        <p:nvSpPr>
          <p:cNvPr id="86" name="Rectángulo 85">
            <a:extLst>
              <a:ext uri="{FF2B5EF4-FFF2-40B4-BE49-F238E27FC236}">
                <a16:creationId xmlns:a16="http://schemas.microsoft.com/office/drawing/2014/main" id="{7696A978-4362-4DE3-8C58-0F58608C4AA6}"/>
              </a:ext>
            </a:extLst>
          </p:cNvPr>
          <p:cNvSpPr/>
          <p:nvPr/>
        </p:nvSpPr>
        <p:spPr>
          <a:xfrm>
            <a:off x="4864690" y="4536763"/>
            <a:ext cx="5808565" cy="276999"/>
          </a:xfrm>
          <a:prstGeom prst="rect">
            <a:avLst/>
          </a:prstGeom>
          <a:ln>
            <a:noFill/>
          </a:ln>
        </p:spPr>
        <p:txBody>
          <a:bodyPr wrap="square" anchor="t">
            <a:spAutoFit/>
          </a:bodyPr>
          <a:lstStyle/>
          <a:p>
            <a:pPr algn="just"/>
            <a:r>
              <a:rPr lang="es-ES" sz="1200" b="1">
                <a:solidFill>
                  <a:schemeClr val="accent4"/>
                </a:solidFill>
                <a:sym typeface="Wingdings" panose="05000000000000000000" pitchFamily="2" charset="2"/>
              </a:rPr>
              <a:t>Total Proceso Nivel 1 de Desempeño empresarial: </a:t>
            </a:r>
            <a:r>
              <a:rPr lang="es-ES" sz="1200">
                <a:solidFill>
                  <a:schemeClr val="accent4"/>
                </a:solidFill>
                <a:sym typeface="Wingdings" panose="05000000000000000000" pitchFamily="2" charset="2"/>
              </a:rPr>
              <a:t>3 decisiones críticas.</a:t>
            </a:r>
            <a:endParaRPr lang="es-CO" sz="1200">
              <a:solidFill>
                <a:srgbClr val="254147"/>
              </a:solidFill>
            </a:endParaRPr>
          </a:p>
        </p:txBody>
      </p:sp>
      <p:graphicFrame>
        <p:nvGraphicFramePr>
          <p:cNvPr id="5" name="Objeto 4" hidden="1">
            <a:extLst>
              <a:ext uri="{FF2B5EF4-FFF2-40B4-BE49-F238E27FC236}">
                <a16:creationId xmlns:a16="http://schemas.microsoft.com/office/drawing/2014/main" id="{0740088A-8ABF-414B-8746-763C3F660F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421" imgH="423" progId="TCLayout.ActiveDocument.1">
                  <p:embed/>
                </p:oleObj>
              </mc:Choice>
              <mc:Fallback>
                <p:oleObj name="Diapositiva de think-cell" r:id="rId5" imgW="421" imgH="423" progId="TCLayout.ActiveDocument.1">
                  <p:embed/>
                  <p:pic>
                    <p:nvPicPr>
                      <p:cNvPr id="5" name="Objeto 4" hidden="1">
                        <a:extLst>
                          <a:ext uri="{FF2B5EF4-FFF2-40B4-BE49-F238E27FC236}">
                            <a16:creationId xmlns:a16="http://schemas.microsoft.com/office/drawing/2014/main" id="{0740088A-8ABF-414B-8746-763C3F660F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ángulo 3" hidden="1">
            <a:extLst>
              <a:ext uri="{FF2B5EF4-FFF2-40B4-BE49-F238E27FC236}">
                <a16:creationId xmlns:a16="http://schemas.microsoft.com/office/drawing/2014/main" id="{42B40C10-F876-4F1B-842D-C3F6355B6C8A}"/>
              </a:ext>
            </a:extLst>
          </p:cNvPr>
          <p:cNvSpPr/>
          <p:nvPr>
            <p:custDataLst>
              <p:tags r:id="rId2"/>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419" sz="2000" b="1">
              <a:solidFill>
                <a:schemeClr val="tx1"/>
              </a:solidFill>
              <a:latin typeface="Arial" panose="020B0604020202020204" pitchFamily="34" charset="0"/>
              <a:ea typeface="+mj-ea"/>
              <a:cs typeface="+mj-cs"/>
              <a:sym typeface="Arial" panose="020B0604020202020204" pitchFamily="34" charset="0"/>
            </a:endParaRPr>
          </a:p>
        </p:txBody>
      </p:sp>
      <p:sp>
        <p:nvSpPr>
          <p:cNvPr id="2" name="Marcador de número de diapositiva 1">
            <a:extLst>
              <a:ext uri="{FF2B5EF4-FFF2-40B4-BE49-F238E27FC236}">
                <a16:creationId xmlns:a16="http://schemas.microsoft.com/office/drawing/2014/main" id="{3A93B487-116E-4767-AA0D-CAE2A460FBE4}"/>
              </a:ext>
            </a:extLst>
          </p:cNvPr>
          <p:cNvSpPr>
            <a:spLocks noGrp="1"/>
          </p:cNvSpPr>
          <p:nvPr>
            <p:ph type="sldNum" sz="quarter" idx="10"/>
          </p:nvPr>
        </p:nvSpPr>
        <p:spPr>
          <a:xfrm>
            <a:off x="11344876" y="6428983"/>
            <a:ext cx="847124" cy="365125"/>
          </a:xfrm>
        </p:spPr>
        <p:txBody>
          <a:bodyPr/>
          <a:lstStyle/>
          <a:p>
            <a:fld id="{02F25750-4209-4357-A72F-45445C8044EF}" type="slidenum">
              <a:rPr lang="es-CO" smtClean="0"/>
              <a:pPr/>
              <a:t>37</a:t>
            </a:fld>
            <a:endParaRPr lang="es-CO"/>
          </a:p>
        </p:txBody>
      </p:sp>
      <p:sp>
        <p:nvSpPr>
          <p:cNvPr id="97" name="Rectángulo 96">
            <a:extLst>
              <a:ext uri="{FF2B5EF4-FFF2-40B4-BE49-F238E27FC236}">
                <a16:creationId xmlns:a16="http://schemas.microsoft.com/office/drawing/2014/main" id="{99300021-C267-43BD-A0F5-B3ECE622345E}"/>
              </a:ext>
            </a:extLst>
          </p:cNvPr>
          <p:cNvSpPr>
            <a:spLocks/>
          </p:cNvSpPr>
          <p:nvPr/>
        </p:nvSpPr>
        <p:spPr>
          <a:xfrm>
            <a:off x="1289117" y="1409650"/>
            <a:ext cx="2519356" cy="2189009"/>
          </a:xfrm>
          <a:prstGeom prst="rect">
            <a:avLst/>
          </a:prstGeom>
          <a:solidFill>
            <a:schemeClr val="accent1">
              <a:alpha val="68000"/>
            </a:schemeClr>
          </a:solidFill>
          <a:ln w="28575">
            <a:solidFill>
              <a:schemeClr val="accent6"/>
            </a:solid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400">
                <a:solidFill>
                  <a:schemeClr val="tx2"/>
                </a:solidFill>
              </a:rPr>
              <a:t>Aprobar el Tablero Balanceado de Gestión y sus controles de cambio para Cenit y segmento</a:t>
            </a:r>
          </a:p>
        </p:txBody>
      </p:sp>
      <p:sp>
        <p:nvSpPr>
          <p:cNvPr id="3" name="Elipse 2">
            <a:extLst>
              <a:ext uri="{FF2B5EF4-FFF2-40B4-BE49-F238E27FC236}">
                <a16:creationId xmlns:a16="http://schemas.microsoft.com/office/drawing/2014/main" id="{815B10B7-60B3-4C63-8431-70CC556387C9}"/>
              </a:ext>
            </a:extLst>
          </p:cNvPr>
          <p:cNvSpPr/>
          <p:nvPr/>
        </p:nvSpPr>
        <p:spPr>
          <a:xfrm>
            <a:off x="1115604" y="1243326"/>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1</a:t>
            </a:r>
            <a:endParaRPr lang="es-CO" sz="1200" b="1">
              <a:solidFill>
                <a:schemeClr val="bg1"/>
              </a:solidFill>
            </a:endParaRPr>
          </a:p>
        </p:txBody>
      </p:sp>
      <p:sp>
        <p:nvSpPr>
          <p:cNvPr id="117" name="CuadroTexto 116">
            <a:extLst>
              <a:ext uri="{FF2B5EF4-FFF2-40B4-BE49-F238E27FC236}">
                <a16:creationId xmlns:a16="http://schemas.microsoft.com/office/drawing/2014/main" id="{8960734A-1053-42D2-BD72-6674DCCE6A97}"/>
              </a:ext>
            </a:extLst>
          </p:cNvPr>
          <p:cNvSpPr txBox="1"/>
          <p:nvPr/>
        </p:nvSpPr>
        <p:spPr>
          <a:xfrm>
            <a:off x="5157829" y="5629829"/>
            <a:ext cx="1391405" cy="230832"/>
          </a:xfrm>
          <a:prstGeom prst="rect">
            <a:avLst/>
          </a:prstGeom>
          <a:noFill/>
          <a:ln w="19050">
            <a:solidFill>
              <a:srgbClr val="002060"/>
            </a:solidFill>
          </a:ln>
        </p:spPr>
        <p:txBody>
          <a:bodyPr wrap="square" rtlCol="0">
            <a:spAutoFit/>
          </a:bodyPr>
          <a:lstStyle/>
          <a:p>
            <a:pPr algn="ctr"/>
            <a:r>
              <a:rPr lang="es-ES" sz="900">
                <a:solidFill>
                  <a:schemeClr val="tx2"/>
                </a:solidFill>
              </a:rPr>
              <a:t>Palanca de Agilidad </a:t>
            </a:r>
            <a:endParaRPr lang="es-CO" sz="900">
              <a:solidFill>
                <a:schemeClr val="tx2"/>
              </a:solidFill>
            </a:endParaRPr>
          </a:p>
        </p:txBody>
      </p:sp>
      <p:sp>
        <p:nvSpPr>
          <p:cNvPr id="118" name="CuadroTexto 117">
            <a:extLst>
              <a:ext uri="{FF2B5EF4-FFF2-40B4-BE49-F238E27FC236}">
                <a16:creationId xmlns:a16="http://schemas.microsoft.com/office/drawing/2014/main" id="{C77431EE-A761-4323-B75F-692D4CAEC462}"/>
              </a:ext>
            </a:extLst>
          </p:cNvPr>
          <p:cNvSpPr txBox="1"/>
          <p:nvPr/>
        </p:nvSpPr>
        <p:spPr>
          <a:xfrm>
            <a:off x="7490305" y="5627345"/>
            <a:ext cx="1393200" cy="230832"/>
          </a:xfrm>
          <a:prstGeom prst="rect">
            <a:avLst/>
          </a:prstGeom>
          <a:noFill/>
          <a:ln w="19050">
            <a:solidFill>
              <a:schemeClr val="accent3"/>
            </a:solidFill>
          </a:ln>
        </p:spPr>
        <p:txBody>
          <a:bodyPr wrap="square" rtlCol="0">
            <a:spAutoFit/>
          </a:bodyPr>
          <a:lstStyle/>
          <a:p>
            <a:pPr algn="ctr"/>
            <a:r>
              <a:rPr lang="es-ES" sz="900">
                <a:solidFill>
                  <a:schemeClr val="tx2"/>
                </a:solidFill>
              </a:rPr>
              <a:t>Palanca de Claridad</a:t>
            </a:r>
            <a:endParaRPr lang="es-CO" sz="900">
              <a:solidFill>
                <a:schemeClr val="tx2"/>
              </a:solidFill>
            </a:endParaRPr>
          </a:p>
        </p:txBody>
      </p:sp>
      <p:sp>
        <p:nvSpPr>
          <p:cNvPr id="119" name="CuadroTexto 118">
            <a:extLst>
              <a:ext uri="{FF2B5EF4-FFF2-40B4-BE49-F238E27FC236}">
                <a16:creationId xmlns:a16="http://schemas.microsoft.com/office/drawing/2014/main" id="{A66DDFF6-8990-4632-9B16-3852035C81BA}"/>
              </a:ext>
            </a:extLst>
          </p:cNvPr>
          <p:cNvSpPr txBox="1"/>
          <p:nvPr/>
        </p:nvSpPr>
        <p:spPr>
          <a:xfrm>
            <a:off x="9824576" y="5627345"/>
            <a:ext cx="1486626" cy="230832"/>
          </a:xfrm>
          <a:prstGeom prst="rect">
            <a:avLst/>
          </a:prstGeom>
          <a:noFill/>
          <a:ln w="19050">
            <a:solidFill>
              <a:schemeClr val="bg2">
                <a:lumMod val="50000"/>
              </a:schemeClr>
            </a:solidFill>
          </a:ln>
        </p:spPr>
        <p:txBody>
          <a:bodyPr wrap="square" rtlCol="0">
            <a:spAutoFit/>
          </a:bodyPr>
          <a:lstStyle/>
          <a:p>
            <a:pPr algn="ctr"/>
            <a:r>
              <a:rPr lang="es-ES" sz="900">
                <a:solidFill>
                  <a:schemeClr val="tx2"/>
                </a:solidFill>
              </a:rPr>
              <a:t>Palanca de Consistencia</a:t>
            </a:r>
            <a:endParaRPr lang="es-CO" sz="900">
              <a:solidFill>
                <a:schemeClr val="tx2"/>
              </a:solidFill>
            </a:endParaRPr>
          </a:p>
        </p:txBody>
      </p:sp>
      <p:grpSp>
        <p:nvGrpSpPr>
          <p:cNvPr id="16" name="Grupo 15">
            <a:extLst>
              <a:ext uri="{FF2B5EF4-FFF2-40B4-BE49-F238E27FC236}">
                <a16:creationId xmlns:a16="http://schemas.microsoft.com/office/drawing/2014/main" id="{C2A3B512-7A1C-4FAF-A81F-067631C52819}"/>
              </a:ext>
            </a:extLst>
          </p:cNvPr>
          <p:cNvGrpSpPr/>
          <p:nvPr/>
        </p:nvGrpSpPr>
        <p:grpSpPr>
          <a:xfrm>
            <a:off x="5225591" y="4981739"/>
            <a:ext cx="1514445" cy="400110"/>
            <a:chOff x="7423104" y="4811068"/>
            <a:chExt cx="1514445" cy="400110"/>
          </a:xfrm>
        </p:grpSpPr>
        <p:sp>
          <p:nvSpPr>
            <p:cNvPr id="91" name="CuadroTexto 90">
              <a:extLst>
                <a:ext uri="{FF2B5EF4-FFF2-40B4-BE49-F238E27FC236}">
                  <a16:creationId xmlns:a16="http://schemas.microsoft.com/office/drawing/2014/main" id="{232CC050-3BFF-4FBB-A326-2B3CF9176A99}"/>
                </a:ext>
              </a:extLst>
            </p:cNvPr>
            <p:cNvSpPr txBox="1"/>
            <p:nvPr/>
          </p:nvSpPr>
          <p:spPr>
            <a:xfrm>
              <a:off x="7830601" y="4811068"/>
              <a:ext cx="1106948" cy="400110"/>
            </a:xfrm>
            <a:prstGeom prst="rect">
              <a:avLst/>
            </a:prstGeom>
            <a:noFill/>
          </p:spPr>
          <p:txBody>
            <a:bodyPr wrap="square" rtlCol="0">
              <a:spAutoFit/>
            </a:bodyPr>
            <a:lstStyle/>
            <a:p>
              <a:r>
                <a:rPr lang="es-ES" sz="1000">
                  <a:solidFill>
                    <a:schemeClr val="accent1">
                      <a:lumMod val="25000"/>
                    </a:schemeClr>
                  </a:solidFill>
                </a:rPr>
                <a:t>Junta Directiva</a:t>
              </a:r>
            </a:p>
            <a:p>
              <a:r>
                <a:rPr lang="es-ES" sz="1000">
                  <a:solidFill>
                    <a:schemeClr val="accent1">
                      <a:lumMod val="25000"/>
                    </a:schemeClr>
                  </a:solidFill>
                </a:rPr>
                <a:t>25 %</a:t>
              </a:r>
              <a:endParaRPr lang="es-CO" sz="1000">
                <a:solidFill>
                  <a:schemeClr val="accent1">
                    <a:lumMod val="25000"/>
                  </a:schemeClr>
                </a:solidFill>
              </a:endParaRPr>
            </a:p>
          </p:txBody>
        </p:sp>
        <p:sp>
          <p:nvSpPr>
            <p:cNvPr id="122" name="CuadroTexto 121">
              <a:extLst>
                <a:ext uri="{FF2B5EF4-FFF2-40B4-BE49-F238E27FC236}">
                  <a16:creationId xmlns:a16="http://schemas.microsoft.com/office/drawing/2014/main" id="{F92D7973-FA2F-45B1-8D65-1BB666EE24DD}"/>
                </a:ext>
              </a:extLst>
            </p:cNvPr>
            <p:cNvSpPr txBox="1"/>
            <p:nvPr/>
          </p:nvSpPr>
          <p:spPr>
            <a:xfrm>
              <a:off x="7423104" y="4887624"/>
              <a:ext cx="432000" cy="230832"/>
            </a:xfrm>
            <a:prstGeom prst="rect">
              <a:avLst/>
            </a:prstGeom>
            <a:solidFill>
              <a:schemeClr val="bg1"/>
            </a:solidFill>
            <a:ln w="19050">
              <a:solidFill>
                <a:schemeClr val="accent5"/>
              </a:solidFill>
            </a:ln>
          </p:spPr>
          <p:txBody>
            <a:bodyPr wrap="square" rtlCol="0">
              <a:spAutoFit/>
            </a:bodyPr>
            <a:lstStyle/>
            <a:p>
              <a:pPr algn="ctr"/>
              <a:r>
                <a:rPr lang="es-ES" sz="900"/>
                <a:t>JD</a:t>
              </a:r>
              <a:endParaRPr lang="es-CO" sz="900"/>
            </a:p>
          </p:txBody>
        </p:sp>
      </p:grpSp>
      <p:sp>
        <p:nvSpPr>
          <p:cNvPr id="147" name="Rectángulo 146">
            <a:extLst>
              <a:ext uri="{FF2B5EF4-FFF2-40B4-BE49-F238E27FC236}">
                <a16:creationId xmlns:a16="http://schemas.microsoft.com/office/drawing/2014/main" id="{28985963-B271-4E6A-83C5-F3A62A87E6BA}"/>
              </a:ext>
            </a:extLst>
          </p:cNvPr>
          <p:cNvSpPr>
            <a:spLocks/>
          </p:cNvSpPr>
          <p:nvPr/>
        </p:nvSpPr>
        <p:spPr>
          <a:xfrm>
            <a:off x="4688417" y="1404719"/>
            <a:ext cx="2519356" cy="2189009"/>
          </a:xfrm>
          <a:prstGeom prst="rect">
            <a:avLst/>
          </a:prstGeom>
          <a:solidFill>
            <a:schemeClr val="accent1">
              <a:alpha val="68000"/>
            </a:schemeClr>
          </a:solidFill>
          <a:ln w="28575">
            <a:solidFill>
              <a:schemeClr val="accent6"/>
            </a:solid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400">
                <a:solidFill>
                  <a:schemeClr val="tx2"/>
                </a:solidFill>
              </a:rPr>
              <a:t>Aprobar el Tablero Balanceado de Gestión de las Vicepresidencias y Gerencias nivel 1 de Cenit</a:t>
            </a:r>
          </a:p>
        </p:txBody>
      </p:sp>
      <p:sp>
        <p:nvSpPr>
          <p:cNvPr id="156" name="Elipse 155">
            <a:extLst>
              <a:ext uri="{FF2B5EF4-FFF2-40B4-BE49-F238E27FC236}">
                <a16:creationId xmlns:a16="http://schemas.microsoft.com/office/drawing/2014/main" id="{D69C9D48-D741-473B-B9DB-21F11F279802}"/>
              </a:ext>
            </a:extLst>
          </p:cNvPr>
          <p:cNvSpPr/>
          <p:nvPr/>
        </p:nvSpPr>
        <p:spPr>
          <a:xfrm>
            <a:off x="4530946" y="1238395"/>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2</a:t>
            </a:r>
            <a:endParaRPr lang="es-CO" sz="1200" b="1">
              <a:solidFill>
                <a:schemeClr val="bg1"/>
              </a:solidFill>
            </a:endParaRPr>
          </a:p>
        </p:txBody>
      </p:sp>
      <p:sp>
        <p:nvSpPr>
          <p:cNvPr id="164" name="CuadroTexto 163">
            <a:extLst>
              <a:ext uri="{FF2B5EF4-FFF2-40B4-BE49-F238E27FC236}">
                <a16:creationId xmlns:a16="http://schemas.microsoft.com/office/drawing/2014/main" id="{017B2A88-B738-413B-82B2-A287FE0FC4EF}"/>
              </a:ext>
            </a:extLst>
          </p:cNvPr>
          <p:cNvSpPr txBox="1"/>
          <p:nvPr/>
        </p:nvSpPr>
        <p:spPr>
          <a:xfrm>
            <a:off x="2332795" y="3490593"/>
            <a:ext cx="432000" cy="230832"/>
          </a:xfrm>
          <a:prstGeom prst="rect">
            <a:avLst/>
          </a:prstGeom>
          <a:solidFill>
            <a:schemeClr val="bg1"/>
          </a:solidFill>
          <a:ln w="19050">
            <a:solidFill>
              <a:schemeClr val="accent5"/>
            </a:solidFill>
          </a:ln>
        </p:spPr>
        <p:txBody>
          <a:bodyPr wrap="square" rtlCol="0">
            <a:spAutoFit/>
          </a:bodyPr>
          <a:lstStyle/>
          <a:p>
            <a:pPr algn="ctr"/>
            <a:r>
              <a:rPr lang="es-ES" sz="900" dirty="0"/>
              <a:t>JD</a:t>
            </a:r>
            <a:endParaRPr lang="es-CO" sz="900" dirty="0"/>
          </a:p>
        </p:txBody>
      </p:sp>
      <p:sp>
        <p:nvSpPr>
          <p:cNvPr id="21" name="Rectángulo 20">
            <a:extLst>
              <a:ext uri="{FF2B5EF4-FFF2-40B4-BE49-F238E27FC236}">
                <a16:creationId xmlns:a16="http://schemas.microsoft.com/office/drawing/2014/main" id="{6DF582FE-4ED3-41AC-A715-CB130A94E54C}"/>
              </a:ext>
            </a:extLst>
          </p:cNvPr>
          <p:cNvSpPr>
            <a:spLocks/>
          </p:cNvSpPr>
          <p:nvPr/>
        </p:nvSpPr>
        <p:spPr>
          <a:xfrm>
            <a:off x="8005788" y="1409650"/>
            <a:ext cx="2519356" cy="2189009"/>
          </a:xfrm>
          <a:prstGeom prst="rect">
            <a:avLst/>
          </a:prstGeom>
          <a:solidFill>
            <a:schemeClr val="accent1">
              <a:alpha val="68000"/>
            </a:schemeClr>
          </a:solidFill>
          <a:ln w="28575">
            <a:solidFill>
              <a:schemeClr val="accent3"/>
            </a:solidFill>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s-ES" sz="1400">
                <a:solidFill>
                  <a:schemeClr val="tx2"/>
                </a:solidFill>
              </a:rPr>
              <a:t>Aprobar las Hojas de Vida establecidas para cada uno de los indicadores e hitos que hacen parte del Tablero Balanceado de Gestión y sus controles de cambios</a:t>
            </a:r>
          </a:p>
        </p:txBody>
      </p:sp>
      <p:sp>
        <p:nvSpPr>
          <p:cNvPr id="22" name="Elipse 21">
            <a:extLst>
              <a:ext uri="{FF2B5EF4-FFF2-40B4-BE49-F238E27FC236}">
                <a16:creationId xmlns:a16="http://schemas.microsoft.com/office/drawing/2014/main" id="{E652DC89-A856-4D57-8E2C-B61602C127E1}"/>
              </a:ext>
            </a:extLst>
          </p:cNvPr>
          <p:cNvSpPr/>
          <p:nvPr/>
        </p:nvSpPr>
        <p:spPr>
          <a:xfrm>
            <a:off x="7848317" y="1243326"/>
            <a:ext cx="338400" cy="298800"/>
          </a:xfrm>
          <a:prstGeom prst="ellipse">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bg1"/>
                </a:solidFill>
              </a:rPr>
              <a:t>3</a:t>
            </a:r>
            <a:endParaRPr lang="es-CO" sz="1200" b="1">
              <a:solidFill>
                <a:schemeClr val="bg1"/>
              </a:solidFill>
            </a:endParaRPr>
          </a:p>
        </p:txBody>
      </p:sp>
      <p:grpSp>
        <p:nvGrpSpPr>
          <p:cNvPr id="28" name="Grupo 27">
            <a:extLst>
              <a:ext uri="{FF2B5EF4-FFF2-40B4-BE49-F238E27FC236}">
                <a16:creationId xmlns:a16="http://schemas.microsoft.com/office/drawing/2014/main" id="{2AEE4E67-C0FA-4308-BDBD-87AF29BE81B0}"/>
              </a:ext>
            </a:extLst>
          </p:cNvPr>
          <p:cNvGrpSpPr/>
          <p:nvPr/>
        </p:nvGrpSpPr>
        <p:grpSpPr>
          <a:xfrm>
            <a:off x="7123410" y="4997128"/>
            <a:ext cx="1590922" cy="369332"/>
            <a:chOff x="7429372" y="5323385"/>
            <a:chExt cx="1590922" cy="369332"/>
          </a:xfrm>
          <a:noFill/>
        </p:grpSpPr>
        <p:sp>
          <p:nvSpPr>
            <p:cNvPr id="29" name="CuadroTexto 28">
              <a:extLst>
                <a:ext uri="{FF2B5EF4-FFF2-40B4-BE49-F238E27FC236}">
                  <a16:creationId xmlns:a16="http://schemas.microsoft.com/office/drawing/2014/main" id="{B27F720B-5A7F-463B-95BD-C79AA5CD2E66}"/>
                </a:ext>
              </a:extLst>
            </p:cNvPr>
            <p:cNvSpPr txBox="1"/>
            <p:nvPr/>
          </p:nvSpPr>
          <p:spPr>
            <a:xfrm>
              <a:off x="7820236" y="5323385"/>
              <a:ext cx="1200058" cy="369332"/>
            </a:xfrm>
            <a:prstGeom prst="rect">
              <a:avLst/>
            </a:prstGeom>
            <a:grpFill/>
            <a:ln>
              <a:noFill/>
              <a:prstDash val="solid"/>
            </a:ln>
          </p:spPr>
          <p:txBody>
            <a:bodyPr wrap="square" rtlCol="0" anchor="t">
              <a:spAutoFit/>
            </a:bodyPr>
            <a:lstStyle/>
            <a:p>
              <a:r>
                <a:rPr lang="es-ES" sz="900">
                  <a:solidFill>
                    <a:schemeClr val="accent1">
                      <a:lumMod val="25000"/>
                    </a:schemeClr>
                  </a:solidFill>
                </a:rPr>
                <a:t>Presidente</a:t>
              </a:r>
            </a:p>
            <a:p>
              <a:r>
                <a:rPr lang="es-ES" sz="900">
                  <a:solidFill>
                    <a:schemeClr val="accent1">
                      <a:lumMod val="25000"/>
                    </a:schemeClr>
                  </a:solidFill>
                </a:rPr>
                <a:t>25 %</a:t>
              </a:r>
              <a:endParaRPr lang="es-CO" sz="900">
                <a:solidFill>
                  <a:schemeClr val="accent1">
                    <a:lumMod val="25000"/>
                  </a:schemeClr>
                </a:solidFill>
              </a:endParaRPr>
            </a:p>
          </p:txBody>
        </p:sp>
        <p:sp>
          <p:nvSpPr>
            <p:cNvPr id="30" name="CuadroTexto 29">
              <a:extLst>
                <a:ext uri="{FF2B5EF4-FFF2-40B4-BE49-F238E27FC236}">
                  <a16:creationId xmlns:a16="http://schemas.microsoft.com/office/drawing/2014/main" id="{730FDC58-A347-4683-B440-F7B27AE429B6}"/>
                </a:ext>
              </a:extLst>
            </p:cNvPr>
            <p:cNvSpPr txBox="1"/>
            <p:nvPr/>
          </p:nvSpPr>
          <p:spPr>
            <a:xfrm>
              <a:off x="7429372" y="5399548"/>
              <a:ext cx="432000" cy="215444"/>
            </a:xfrm>
            <a:prstGeom prst="rect">
              <a:avLst/>
            </a:prstGeom>
            <a:grpFill/>
            <a:ln w="19050">
              <a:solidFill>
                <a:srgbClr val="00B050"/>
              </a:solidFill>
            </a:ln>
          </p:spPr>
          <p:txBody>
            <a:bodyPr wrap="square" rtlCol="0">
              <a:spAutoFit/>
            </a:bodyPr>
            <a:lstStyle/>
            <a:p>
              <a:pPr algn="ctr"/>
              <a:r>
                <a:rPr lang="es-ES" sz="800"/>
                <a:t>P</a:t>
              </a:r>
              <a:endParaRPr lang="es-CO" sz="800"/>
            </a:p>
          </p:txBody>
        </p:sp>
      </p:grpSp>
      <p:sp>
        <p:nvSpPr>
          <p:cNvPr id="7" name="CuadroTexto 6">
            <a:extLst>
              <a:ext uri="{FF2B5EF4-FFF2-40B4-BE49-F238E27FC236}">
                <a16:creationId xmlns:a16="http://schemas.microsoft.com/office/drawing/2014/main" id="{5F9B1E71-580F-4E7C-9DF1-2DFC90AFEE34}"/>
              </a:ext>
            </a:extLst>
          </p:cNvPr>
          <p:cNvSpPr txBox="1"/>
          <p:nvPr/>
        </p:nvSpPr>
        <p:spPr>
          <a:xfrm>
            <a:off x="5732095" y="3490593"/>
            <a:ext cx="432000" cy="230832"/>
          </a:xfrm>
          <a:prstGeom prst="rect">
            <a:avLst/>
          </a:prstGeom>
          <a:solidFill>
            <a:schemeClr val="bg1"/>
          </a:solidFill>
          <a:ln w="19050">
            <a:solidFill>
              <a:srgbClr val="00B050"/>
            </a:solidFill>
          </a:ln>
        </p:spPr>
        <p:txBody>
          <a:bodyPr wrap="square" rtlCol="0">
            <a:spAutoFit/>
          </a:bodyPr>
          <a:lstStyle/>
          <a:p>
            <a:pPr algn="ctr"/>
            <a:r>
              <a:rPr lang="es-ES" sz="900"/>
              <a:t>P</a:t>
            </a:r>
            <a:endParaRPr lang="es-CO" sz="900"/>
          </a:p>
        </p:txBody>
      </p:sp>
      <p:grpSp>
        <p:nvGrpSpPr>
          <p:cNvPr id="32" name="Grupo 31">
            <a:extLst>
              <a:ext uri="{FF2B5EF4-FFF2-40B4-BE49-F238E27FC236}">
                <a16:creationId xmlns:a16="http://schemas.microsoft.com/office/drawing/2014/main" id="{EF33476E-57EC-4B24-BF48-38DA777DD938}"/>
              </a:ext>
            </a:extLst>
          </p:cNvPr>
          <p:cNvGrpSpPr/>
          <p:nvPr/>
        </p:nvGrpSpPr>
        <p:grpSpPr>
          <a:xfrm>
            <a:off x="8583953" y="4927879"/>
            <a:ext cx="1387613" cy="507831"/>
            <a:chOff x="11328566" y="4715018"/>
            <a:chExt cx="1387613" cy="507831"/>
          </a:xfrm>
        </p:grpSpPr>
        <p:sp>
          <p:nvSpPr>
            <p:cNvPr id="33" name="CuadroTexto 32">
              <a:extLst>
                <a:ext uri="{FF2B5EF4-FFF2-40B4-BE49-F238E27FC236}">
                  <a16:creationId xmlns:a16="http://schemas.microsoft.com/office/drawing/2014/main" id="{259112D1-22BA-4AA3-8022-89A6DDF6CFF6}"/>
                </a:ext>
              </a:extLst>
            </p:cNvPr>
            <p:cNvSpPr txBox="1"/>
            <p:nvPr/>
          </p:nvSpPr>
          <p:spPr>
            <a:xfrm>
              <a:off x="11711185" y="4715018"/>
              <a:ext cx="1004994" cy="507831"/>
            </a:xfrm>
            <a:prstGeom prst="rect">
              <a:avLst/>
            </a:prstGeom>
            <a:noFill/>
          </p:spPr>
          <p:txBody>
            <a:bodyPr wrap="square" rtlCol="0">
              <a:spAutoFit/>
            </a:bodyPr>
            <a:lstStyle/>
            <a:p>
              <a:r>
                <a:rPr lang="es-ES" sz="900">
                  <a:solidFill>
                    <a:schemeClr val="accent1">
                      <a:lumMod val="25000"/>
                    </a:schemeClr>
                  </a:solidFill>
                </a:rPr>
                <a:t>Vicepresidente del área</a:t>
              </a:r>
            </a:p>
            <a:p>
              <a:r>
                <a:rPr lang="es-ES" sz="900">
                  <a:solidFill>
                    <a:schemeClr val="accent1">
                      <a:lumMod val="25000"/>
                    </a:schemeClr>
                  </a:solidFill>
                </a:rPr>
                <a:t>25 %</a:t>
              </a:r>
              <a:endParaRPr lang="es-CO" sz="900">
                <a:solidFill>
                  <a:schemeClr val="accent1">
                    <a:lumMod val="25000"/>
                  </a:schemeClr>
                </a:solidFill>
              </a:endParaRPr>
            </a:p>
          </p:txBody>
        </p:sp>
        <p:sp>
          <p:nvSpPr>
            <p:cNvPr id="34" name="CuadroTexto 33">
              <a:extLst>
                <a:ext uri="{FF2B5EF4-FFF2-40B4-BE49-F238E27FC236}">
                  <a16:creationId xmlns:a16="http://schemas.microsoft.com/office/drawing/2014/main" id="{9622B43E-2B98-44EA-8811-B5EDE6C3D473}"/>
                </a:ext>
              </a:extLst>
            </p:cNvPr>
            <p:cNvSpPr txBox="1"/>
            <p:nvPr/>
          </p:nvSpPr>
          <p:spPr>
            <a:xfrm>
              <a:off x="11328566" y="4853823"/>
              <a:ext cx="432000" cy="215444"/>
            </a:xfrm>
            <a:prstGeom prst="rect">
              <a:avLst/>
            </a:prstGeom>
            <a:solidFill>
              <a:schemeClr val="bg1"/>
            </a:solidFill>
            <a:ln w="19050">
              <a:solidFill>
                <a:srgbClr val="FFC000"/>
              </a:solidFill>
            </a:ln>
          </p:spPr>
          <p:txBody>
            <a:bodyPr wrap="square" rtlCol="0">
              <a:spAutoFit/>
            </a:bodyPr>
            <a:lstStyle/>
            <a:p>
              <a:pPr algn="ctr"/>
              <a:r>
                <a:rPr lang="es-ES" sz="800"/>
                <a:t>VPÁ</a:t>
              </a:r>
              <a:endParaRPr lang="es-CO" sz="800"/>
            </a:p>
          </p:txBody>
        </p:sp>
      </p:grpSp>
      <p:grpSp>
        <p:nvGrpSpPr>
          <p:cNvPr id="37" name="Grupo 36">
            <a:extLst>
              <a:ext uri="{FF2B5EF4-FFF2-40B4-BE49-F238E27FC236}">
                <a16:creationId xmlns:a16="http://schemas.microsoft.com/office/drawing/2014/main" id="{33A4F641-6F0E-462A-898E-0641B151AA65}"/>
              </a:ext>
            </a:extLst>
          </p:cNvPr>
          <p:cNvGrpSpPr/>
          <p:nvPr/>
        </p:nvGrpSpPr>
        <p:grpSpPr>
          <a:xfrm>
            <a:off x="10094790" y="4999618"/>
            <a:ext cx="1578268" cy="369332"/>
            <a:chOff x="11328566" y="5277205"/>
            <a:chExt cx="1578268" cy="369332"/>
          </a:xfrm>
        </p:grpSpPr>
        <p:sp>
          <p:nvSpPr>
            <p:cNvPr id="38" name="CuadroTexto 37">
              <a:extLst>
                <a:ext uri="{FF2B5EF4-FFF2-40B4-BE49-F238E27FC236}">
                  <a16:creationId xmlns:a16="http://schemas.microsoft.com/office/drawing/2014/main" id="{A70D06D3-12BC-4CDA-B9D7-EEF1588242C9}"/>
                </a:ext>
              </a:extLst>
            </p:cNvPr>
            <p:cNvSpPr txBox="1"/>
            <p:nvPr/>
          </p:nvSpPr>
          <p:spPr>
            <a:xfrm>
              <a:off x="11328566" y="5361946"/>
              <a:ext cx="432000" cy="215444"/>
            </a:xfrm>
            <a:prstGeom prst="rect">
              <a:avLst/>
            </a:prstGeom>
            <a:solidFill>
              <a:schemeClr val="bg1"/>
            </a:solidFill>
            <a:ln w="19050">
              <a:solidFill>
                <a:srgbClr val="92D050"/>
              </a:solidFill>
            </a:ln>
          </p:spPr>
          <p:txBody>
            <a:bodyPr wrap="square" rtlCol="0">
              <a:spAutoFit/>
            </a:bodyPr>
            <a:lstStyle/>
            <a:p>
              <a:pPr algn="ctr"/>
              <a:r>
                <a:rPr lang="es-ES" sz="800"/>
                <a:t>GN1</a:t>
              </a:r>
              <a:endParaRPr lang="es-CO" sz="800"/>
            </a:p>
          </p:txBody>
        </p:sp>
        <p:sp>
          <p:nvSpPr>
            <p:cNvPr id="39" name="CuadroTexto 38">
              <a:extLst>
                <a:ext uri="{FF2B5EF4-FFF2-40B4-BE49-F238E27FC236}">
                  <a16:creationId xmlns:a16="http://schemas.microsoft.com/office/drawing/2014/main" id="{5FAD9D39-0163-48A2-AB90-B7B2E4C2CCC8}"/>
                </a:ext>
              </a:extLst>
            </p:cNvPr>
            <p:cNvSpPr txBox="1"/>
            <p:nvPr/>
          </p:nvSpPr>
          <p:spPr>
            <a:xfrm>
              <a:off x="11706776" y="5277205"/>
              <a:ext cx="1200058" cy="369332"/>
            </a:xfrm>
            <a:prstGeom prst="rect">
              <a:avLst/>
            </a:prstGeom>
            <a:noFill/>
          </p:spPr>
          <p:txBody>
            <a:bodyPr wrap="square" rtlCol="0">
              <a:spAutoFit/>
            </a:bodyPr>
            <a:lstStyle/>
            <a:p>
              <a:r>
                <a:rPr lang="es-ES" sz="900">
                  <a:solidFill>
                    <a:schemeClr val="accent1">
                      <a:lumMod val="25000"/>
                    </a:schemeClr>
                  </a:solidFill>
                </a:rPr>
                <a:t>Gerente Nivel 1</a:t>
              </a:r>
            </a:p>
            <a:p>
              <a:r>
                <a:rPr lang="es-ES" sz="900">
                  <a:solidFill>
                    <a:schemeClr val="accent1">
                      <a:lumMod val="25000"/>
                    </a:schemeClr>
                  </a:solidFill>
                </a:rPr>
                <a:t>25 %</a:t>
              </a:r>
              <a:endParaRPr lang="es-CO" sz="900">
                <a:solidFill>
                  <a:schemeClr val="accent1">
                    <a:lumMod val="25000"/>
                  </a:schemeClr>
                </a:solidFill>
              </a:endParaRPr>
            </a:p>
          </p:txBody>
        </p:sp>
      </p:grpSp>
      <p:grpSp>
        <p:nvGrpSpPr>
          <p:cNvPr id="14" name="Grupo 13">
            <a:extLst>
              <a:ext uri="{FF2B5EF4-FFF2-40B4-BE49-F238E27FC236}">
                <a16:creationId xmlns:a16="http://schemas.microsoft.com/office/drawing/2014/main" id="{F9B624AC-D760-4747-9E53-02B94BF6FD12}"/>
              </a:ext>
            </a:extLst>
          </p:cNvPr>
          <p:cNvGrpSpPr/>
          <p:nvPr/>
        </p:nvGrpSpPr>
        <p:grpSpPr>
          <a:xfrm>
            <a:off x="8808027" y="3482899"/>
            <a:ext cx="910868" cy="246221"/>
            <a:chOff x="8750572" y="3482899"/>
            <a:chExt cx="910868" cy="246221"/>
          </a:xfrm>
        </p:grpSpPr>
        <p:sp>
          <p:nvSpPr>
            <p:cNvPr id="8" name="CuadroTexto 7">
              <a:extLst>
                <a:ext uri="{FF2B5EF4-FFF2-40B4-BE49-F238E27FC236}">
                  <a16:creationId xmlns:a16="http://schemas.microsoft.com/office/drawing/2014/main" id="{D56DD898-A2CC-4C35-A745-597FF6C8EDAC}"/>
                </a:ext>
              </a:extLst>
            </p:cNvPr>
            <p:cNvSpPr txBox="1"/>
            <p:nvPr/>
          </p:nvSpPr>
          <p:spPr>
            <a:xfrm>
              <a:off x="8750572" y="3490593"/>
              <a:ext cx="432000" cy="230832"/>
            </a:xfrm>
            <a:prstGeom prst="rect">
              <a:avLst/>
            </a:prstGeom>
            <a:solidFill>
              <a:schemeClr val="bg1"/>
            </a:solidFill>
            <a:ln w="19050">
              <a:solidFill>
                <a:srgbClr val="FFC000"/>
              </a:solidFill>
            </a:ln>
          </p:spPr>
          <p:txBody>
            <a:bodyPr wrap="square" rtlCol="0">
              <a:spAutoFit/>
            </a:bodyPr>
            <a:lstStyle/>
            <a:p>
              <a:pPr algn="ctr"/>
              <a:r>
                <a:rPr lang="es-ES" sz="900"/>
                <a:t>VPÁ</a:t>
              </a:r>
              <a:endParaRPr lang="es-CO" sz="900"/>
            </a:p>
          </p:txBody>
        </p:sp>
        <p:sp>
          <p:nvSpPr>
            <p:cNvPr id="9" name="CuadroTexto 8">
              <a:extLst>
                <a:ext uri="{FF2B5EF4-FFF2-40B4-BE49-F238E27FC236}">
                  <a16:creationId xmlns:a16="http://schemas.microsoft.com/office/drawing/2014/main" id="{2D85D67A-011F-439C-B53C-22C0C03918CD}"/>
                </a:ext>
              </a:extLst>
            </p:cNvPr>
            <p:cNvSpPr txBox="1"/>
            <p:nvPr/>
          </p:nvSpPr>
          <p:spPr>
            <a:xfrm>
              <a:off x="9194341" y="3490593"/>
              <a:ext cx="432000" cy="230832"/>
            </a:xfrm>
            <a:prstGeom prst="rect">
              <a:avLst/>
            </a:prstGeom>
            <a:solidFill>
              <a:schemeClr val="bg1"/>
            </a:solidFill>
            <a:ln w="19050">
              <a:solidFill>
                <a:srgbClr val="92D050"/>
              </a:solidFill>
            </a:ln>
          </p:spPr>
          <p:txBody>
            <a:bodyPr wrap="square" rtlCol="0">
              <a:spAutoFit/>
            </a:bodyPr>
            <a:lstStyle/>
            <a:p>
              <a:pPr algn="ctr"/>
              <a:r>
                <a:rPr lang="es-ES" sz="900"/>
                <a:t>GN1</a:t>
              </a:r>
              <a:endParaRPr lang="es-CO" sz="900"/>
            </a:p>
          </p:txBody>
        </p:sp>
        <p:sp>
          <p:nvSpPr>
            <p:cNvPr id="10" name="CuadroTexto 9">
              <a:extLst>
                <a:ext uri="{FF2B5EF4-FFF2-40B4-BE49-F238E27FC236}">
                  <a16:creationId xmlns:a16="http://schemas.microsoft.com/office/drawing/2014/main" id="{A0A62B23-8C37-402B-B888-DFE93A4E3F97}"/>
                </a:ext>
              </a:extLst>
            </p:cNvPr>
            <p:cNvSpPr txBox="1"/>
            <p:nvPr/>
          </p:nvSpPr>
          <p:spPr>
            <a:xfrm>
              <a:off x="9427080" y="3482899"/>
              <a:ext cx="234360" cy="246221"/>
            </a:xfrm>
            <a:prstGeom prst="rect">
              <a:avLst/>
            </a:prstGeom>
            <a:noFill/>
          </p:spPr>
          <p:txBody>
            <a:bodyPr wrap="none" rtlCol="0">
              <a:spAutoFit/>
            </a:bodyPr>
            <a:lstStyle/>
            <a:p>
              <a:r>
                <a:rPr lang="es-ES" sz="1000"/>
                <a:t>*</a:t>
              </a:r>
              <a:endParaRPr lang="es-CO" sz="1000"/>
            </a:p>
          </p:txBody>
        </p:sp>
        <p:sp>
          <p:nvSpPr>
            <p:cNvPr id="11" name="CuadroTexto 10">
              <a:extLst>
                <a:ext uri="{FF2B5EF4-FFF2-40B4-BE49-F238E27FC236}">
                  <a16:creationId xmlns:a16="http://schemas.microsoft.com/office/drawing/2014/main" id="{290C6D62-899A-488B-8B00-F81CF96C27F5}"/>
                </a:ext>
              </a:extLst>
            </p:cNvPr>
            <p:cNvSpPr txBox="1"/>
            <p:nvPr/>
          </p:nvSpPr>
          <p:spPr>
            <a:xfrm>
              <a:off x="8994415" y="3482899"/>
              <a:ext cx="234360" cy="246221"/>
            </a:xfrm>
            <a:prstGeom prst="rect">
              <a:avLst/>
            </a:prstGeom>
            <a:noFill/>
          </p:spPr>
          <p:txBody>
            <a:bodyPr wrap="none" rtlCol="0">
              <a:spAutoFit/>
            </a:bodyPr>
            <a:lstStyle/>
            <a:p>
              <a:r>
                <a:rPr lang="es-ES" sz="1000"/>
                <a:t>*</a:t>
              </a:r>
              <a:endParaRPr lang="es-CO" sz="1000"/>
            </a:p>
          </p:txBody>
        </p:sp>
      </p:grpSp>
      <p:sp>
        <p:nvSpPr>
          <p:cNvPr id="12" name="CuadroTexto 11">
            <a:extLst>
              <a:ext uri="{FF2B5EF4-FFF2-40B4-BE49-F238E27FC236}">
                <a16:creationId xmlns:a16="http://schemas.microsoft.com/office/drawing/2014/main" id="{54411719-0D48-4E09-865F-F0B937E53A16}"/>
              </a:ext>
            </a:extLst>
          </p:cNvPr>
          <p:cNvSpPr txBox="1"/>
          <p:nvPr/>
        </p:nvSpPr>
        <p:spPr>
          <a:xfrm>
            <a:off x="0" y="6475203"/>
            <a:ext cx="6893234" cy="261610"/>
          </a:xfrm>
          <a:prstGeom prst="rect">
            <a:avLst/>
          </a:prstGeom>
          <a:noFill/>
        </p:spPr>
        <p:txBody>
          <a:bodyPr wrap="none" rtlCol="0">
            <a:spAutoFit/>
          </a:bodyPr>
          <a:lstStyle/>
          <a:p>
            <a:r>
              <a:rPr lang="es-ES" sz="1100">
                <a:solidFill>
                  <a:schemeClr val="tx2"/>
                </a:solidFill>
              </a:rPr>
              <a:t>*'Vicepresidente del área / Gerente nivel 1 con el visto bueno del Gerente de Estrategia y Nuevos Negocios</a:t>
            </a:r>
            <a:endParaRPr lang="es-CO" sz="1100">
              <a:solidFill>
                <a:schemeClr val="tx2"/>
              </a:solidFill>
            </a:endParaRPr>
          </a:p>
        </p:txBody>
      </p:sp>
      <p:sp>
        <p:nvSpPr>
          <p:cNvPr id="40" name="CuadroTexto 39">
            <a:extLst>
              <a:ext uri="{FF2B5EF4-FFF2-40B4-BE49-F238E27FC236}">
                <a16:creationId xmlns:a16="http://schemas.microsoft.com/office/drawing/2014/main" id="{BE835994-810C-437D-8375-BD1539C015D6}"/>
              </a:ext>
            </a:extLst>
          </p:cNvPr>
          <p:cNvSpPr txBox="1"/>
          <p:nvPr/>
        </p:nvSpPr>
        <p:spPr>
          <a:xfrm>
            <a:off x="1546657" y="4664174"/>
            <a:ext cx="1321051" cy="1235908"/>
          </a:xfrm>
          <a:prstGeom prst="rect">
            <a:avLst/>
          </a:prstGeom>
          <a:noFill/>
          <a:ln>
            <a:solidFill>
              <a:schemeClr val="tx1"/>
            </a:solidFill>
          </a:ln>
        </p:spPr>
        <p:txBody>
          <a:bodyPr wrap="square" rtlCol="0">
            <a:spAutoFit/>
          </a:bodyPr>
          <a:lstStyle/>
          <a:p>
            <a:endParaRPr lang="es-CO"/>
          </a:p>
        </p:txBody>
      </p:sp>
      <p:sp>
        <p:nvSpPr>
          <p:cNvPr id="41" name="Elipse 40">
            <a:extLst>
              <a:ext uri="{FF2B5EF4-FFF2-40B4-BE49-F238E27FC236}">
                <a16:creationId xmlns:a16="http://schemas.microsoft.com/office/drawing/2014/main" id="{3098CD75-4BCE-4E02-BCEB-92806DCACE51}"/>
              </a:ext>
            </a:extLst>
          </p:cNvPr>
          <p:cNvSpPr/>
          <p:nvPr/>
        </p:nvSpPr>
        <p:spPr>
          <a:xfrm>
            <a:off x="1744634" y="4894356"/>
            <a:ext cx="205485" cy="230832"/>
          </a:xfrm>
          <a:prstGeom prst="ellipse">
            <a:avLst/>
          </a:prstGeom>
          <a:solidFill>
            <a:srgbClr val="92D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err="1">
              <a:solidFill>
                <a:schemeClr val="tx1"/>
              </a:solidFill>
            </a:endParaRPr>
          </a:p>
        </p:txBody>
      </p:sp>
      <p:sp>
        <p:nvSpPr>
          <p:cNvPr id="42" name="Elipse 41">
            <a:extLst>
              <a:ext uri="{FF2B5EF4-FFF2-40B4-BE49-F238E27FC236}">
                <a16:creationId xmlns:a16="http://schemas.microsoft.com/office/drawing/2014/main" id="{294F5A6A-33F6-44C4-8383-C8A97A91137A}"/>
              </a:ext>
            </a:extLst>
          </p:cNvPr>
          <p:cNvSpPr/>
          <p:nvPr/>
        </p:nvSpPr>
        <p:spPr>
          <a:xfrm>
            <a:off x="1770544" y="5380453"/>
            <a:ext cx="205485" cy="230832"/>
          </a:xfrm>
          <a:prstGeom prst="ellipse">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err="1">
              <a:solidFill>
                <a:schemeClr val="tx1"/>
              </a:solidFill>
            </a:endParaRPr>
          </a:p>
        </p:txBody>
      </p:sp>
      <p:sp>
        <p:nvSpPr>
          <p:cNvPr id="43" name="CuadroTexto 42">
            <a:extLst>
              <a:ext uri="{FF2B5EF4-FFF2-40B4-BE49-F238E27FC236}">
                <a16:creationId xmlns:a16="http://schemas.microsoft.com/office/drawing/2014/main" id="{965A8248-B74B-4C42-85C3-5833A0AE98D3}"/>
              </a:ext>
            </a:extLst>
          </p:cNvPr>
          <p:cNvSpPr txBox="1"/>
          <p:nvPr/>
        </p:nvSpPr>
        <p:spPr>
          <a:xfrm>
            <a:off x="1976029" y="4869923"/>
            <a:ext cx="847124" cy="230832"/>
          </a:xfrm>
          <a:prstGeom prst="rect">
            <a:avLst/>
          </a:prstGeom>
          <a:noFill/>
        </p:spPr>
        <p:txBody>
          <a:bodyPr wrap="square" rtlCol="0">
            <a:spAutoFit/>
          </a:bodyPr>
          <a:lstStyle/>
          <a:p>
            <a:r>
              <a:rPr lang="es-ES" sz="900"/>
              <a:t>En Estatutos</a:t>
            </a:r>
            <a:endParaRPr lang="es-CO" sz="900"/>
          </a:p>
        </p:txBody>
      </p:sp>
      <p:sp>
        <p:nvSpPr>
          <p:cNvPr id="44" name="CuadroTexto 43">
            <a:extLst>
              <a:ext uri="{FF2B5EF4-FFF2-40B4-BE49-F238E27FC236}">
                <a16:creationId xmlns:a16="http://schemas.microsoft.com/office/drawing/2014/main" id="{99F95E4D-6599-4C99-9582-526D072BCE92}"/>
              </a:ext>
            </a:extLst>
          </p:cNvPr>
          <p:cNvSpPr txBox="1"/>
          <p:nvPr/>
        </p:nvSpPr>
        <p:spPr>
          <a:xfrm>
            <a:off x="1931999" y="5260618"/>
            <a:ext cx="933882" cy="646331"/>
          </a:xfrm>
          <a:prstGeom prst="rect">
            <a:avLst/>
          </a:prstGeom>
          <a:noFill/>
        </p:spPr>
        <p:txBody>
          <a:bodyPr wrap="square" rtlCol="0">
            <a:spAutoFit/>
          </a:bodyPr>
          <a:lstStyle/>
          <a:p>
            <a:r>
              <a:rPr lang="es-ES" sz="900"/>
              <a:t>Propuesta de inclusión por lineamiento de ECP aprobada</a:t>
            </a:r>
            <a:endParaRPr lang="es-CO" sz="900"/>
          </a:p>
        </p:txBody>
      </p:sp>
      <p:sp>
        <p:nvSpPr>
          <p:cNvPr id="45" name="Elipse 44">
            <a:extLst>
              <a:ext uri="{FF2B5EF4-FFF2-40B4-BE49-F238E27FC236}">
                <a16:creationId xmlns:a16="http://schemas.microsoft.com/office/drawing/2014/main" id="{CEB3AF00-1C8F-40A0-891B-D8074B27590B}"/>
              </a:ext>
            </a:extLst>
          </p:cNvPr>
          <p:cNvSpPr/>
          <p:nvPr/>
        </p:nvSpPr>
        <p:spPr>
          <a:xfrm>
            <a:off x="1565059" y="3108021"/>
            <a:ext cx="205485" cy="230832"/>
          </a:xfrm>
          <a:prstGeom prst="ellipse">
            <a:avLst/>
          </a:prstGeom>
          <a:solidFill>
            <a:srgbClr val="FFFF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err="1">
              <a:solidFill>
                <a:schemeClr val="tx1"/>
              </a:solidFill>
            </a:endParaRPr>
          </a:p>
        </p:txBody>
      </p:sp>
      <p:sp>
        <p:nvSpPr>
          <p:cNvPr id="6" name="CuadroTexto 47">
            <a:extLst>
              <a:ext uri="{FF2B5EF4-FFF2-40B4-BE49-F238E27FC236}">
                <a16:creationId xmlns:a16="http://schemas.microsoft.com/office/drawing/2014/main" id="{7C943894-8B3F-4C9C-90C9-0618D09492B3}"/>
              </a:ext>
            </a:extLst>
          </p:cNvPr>
          <p:cNvSpPr txBox="1"/>
          <p:nvPr/>
        </p:nvSpPr>
        <p:spPr>
          <a:xfrm>
            <a:off x="36078" y="28270"/>
            <a:ext cx="12102613" cy="738664"/>
          </a:xfrm>
          <a:prstGeom prst="rect">
            <a:avLst/>
          </a:prstGeom>
          <a:noFill/>
          <a:ln>
            <a:noFill/>
          </a:ln>
        </p:spPr>
        <p:txBody>
          <a:bodyPr wrap="square" rtlCol="0">
            <a:spAutoFit/>
          </a:bodyPr>
          <a:lstStyle/>
          <a:p>
            <a:pPr algn="ctr"/>
            <a:r>
              <a:rPr lang="es-ES" sz="2400" b="1" dirty="0">
                <a:solidFill>
                  <a:srgbClr val="10476B"/>
                </a:solidFill>
                <a:latin typeface="Century Gothic" panose="020B0502020202020204" pitchFamily="34" charset="0"/>
                <a:cs typeface="Arial" panose="020B0604020202020204" pitchFamily="34" charset="0"/>
              </a:rPr>
              <a:t>Macroproceso Planeación Estratégica, Nuevos Negocios y Regulación</a:t>
            </a:r>
          </a:p>
          <a:p>
            <a:pPr algn="ctr"/>
            <a:r>
              <a:rPr lang="es-ES" b="1" dirty="0">
                <a:solidFill>
                  <a:schemeClr val="accent4"/>
                </a:solidFill>
                <a:latin typeface="Century Gothic" panose="020B0502020202020204" pitchFamily="34" charset="0"/>
                <a:cs typeface="Arial" panose="020B0604020202020204" pitchFamily="34" charset="0"/>
              </a:rPr>
              <a:t>Proceso Nivel 1: </a:t>
            </a:r>
            <a:r>
              <a:rPr lang="es-ES" b="1" dirty="0">
                <a:solidFill>
                  <a:schemeClr val="accent4"/>
                </a:solidFill>
                <a:latin typeface="Century Gothic" panose="020B0502020202020204" pitchFamily="34" charset="0"/>
                <a:cs typeface="Arial" panose="020B0604020202020204" pitchFamily="34" charset="0"/>
                <a:sym typeface="Wingdings" panose="05000000000000000000" pitchFamily="2" charset="2"/>
              </a:rPr>
              <a:t>Desempeño Empresarial</a:t>
            </a:r>
            <a:endParaRPr lang="es-CO" b="1" dirty="0">
              <a:solidFill>
                <a:schemeClr val="accent4"/>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26186028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82DBCC50-9677-4C0F-8F91-CE8AF2C2076F}"/>
              </a:ext>
            </a:extLst>
          </p:cNvPr>
          <p:cNvPicPr>
            <a:picLocks noChangeAspect="1"/>
          </p:cNvPicPr>
          <p:nvPr/>
        </p:nvPicPr>
        <p:blipFill>
          <a:blip r:embed="rId2"/>
          <a:stretch>
            <a:fillRect/>
          </a:stretch>
        </p:blipFill>
        <p:spPr>
          <a:xfrm>
            <a:off x="0" y="1673"/>
            <a:ext cx="12192000" cy="6854653"/>
          </a:xfrm>
          <a:prstGeom prst="rect">
            <a:avLst/>
          </a:prstGeom>
        </p:spPr>
      </p:pic>
    </p:spTree>
    <p:extLst>
      <p:ext uri="{BB962C8B-B14F-4D97-AF65-F5344CB8AC3E}">
        <p14:creationId xmlns:p14="http://schemas.microsoft.com/office/powerpoint/2010/main" val="16589450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picture containing light&#10;&#10;Description automatically generated">
            <a:extLst>
              <a:ext uri="{FF2B5EF4-FFF2-40B4-BE49-F238E27FC236}">
                <a16:creationId xmlns:a16="http://schemas.microsoft.com/office/drawing/2014/main" id="{683C0F51-8C09-CE43-9A68-12C0E64311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6203" y="3939967"/>
            <a:ext cx="10919593" cy="1855341"/>
          </a:xfrm>
          <a:prstGeom prst="rect">
            <a:avLst/>
          </a:prstGeom>
        </p:spPr>
      </p:pic>
      <p:sp>
        <p:nvSpPr>
          <p:cNvPr id="2" name="CuadroTexto 145">
            <a:extLst>
              <a:ext uri="{FF2B5EF4-FFF2-40B4-BE49-F238E27FC236}">
                <a16:creationId xmlns:a16="http://schemas.microsoft.com/office/drawing/2014/main" id="{465636FD-CDFE-0043-A2AE-795688D7897B}"/>
              </a:ext>
            </a:extLst>
          </p:cNvPr>
          <p:cNvSpPr txBox="1"/>
          <p:nvPr/>
        </p:nvSpPr>
        <p:spPr>
          <a:xfrm>
            <a:off x="4002009" y="2548702"/>
            <a:ext cx="7015399" cy="369332"/>
          </a:xfrm>
          <a:prstGeom prst="rect">
            <a:avLst/>
          </a:prstGeom>
          <a:noFill/>
          <a:ln>
            <a:solidFill>
              <a:schemeClr val="bg2"/>
            </a:solidFill>
          </a:ln>
        </p:spPr>
        <p:txBody>
          <a:bodyPr wrap="square">
            <a:spAutoFit/>
          </a:bodyPr>
          <a:lstStyle>
            <a:defPPr>
              <a:defRPr lang="en-US"/>
            </a:defPPr>
            <a:lvl1pPr algn="just">
              <a:defRPr sz="1400" b="1">
                <a:solidFill>
                  <a:srgbClr val="10476B"/>
                </a:solidFill>
                <a:latin typeface="Arial" panose="020B0604020202020204" pitchFamily="34" charset="0"/>
                <a:cs typeface="Arial" panose="020B0604020202020204" pitchFamily="34" charset="0"/>
              </a:defRPr>
            </a:lvl1pPr>
          </a:lstStyle>
          <a:p>
            <a:r>
              <a:rPr lang="es-ES" sz="1800"/>
              <a:t>Etapas </a:t>
            </a:r>
            <a:r>
              <a:rPr lang="es-ES" sz="1800" b="0"/>
              <a:t>de </a:t>
            </a:r>
            <a:r>
              <a:rPr lang="es-ES" sz="1800"/>
              <a:t>negociación</a:t>
            </a:r>
            <a:r>
              <a:rPr lang="es-ES" sz="1800" b="0"/>
              <a:t> y de </a:t>
            </a:r>
            <a:r>
              <a:rPr lang="es-ES" sz="1800"/>
              <a:t>acuerdo</a:t>
            </a:r>
            <a:r>
              <a:rPr lang="es-ES" sz="1800" b="0"/>
              <a:t> con las filiales.</a:t>
            </a:r>
            <a:endParaRPr lang="es-CO" sz="1800"/>
          </a:p>
        </p:txBody>
      </p:sp>
      <p:sp>
        <p:nvSpPr>
          <p:cNvPr id="3" name="CuadroTexto 146">
            <a:extLst>
              <a:ext uri="{FF2B5EF4-FFF2-40B4-BE49-F238E27FC236}">
                <a16:creationId xmlns:a16="http://schemas.microsoft.com/office/drawing/2014/main" id="{77D62C3A-45C4-024F-9483-8A1D73A274A3}"/>
              </a:ext>
            </a:extLst>
          </p:cNvPr>
          <p:cNvSpPr txBox="1"/>
          <p:nvPr/>
        </p:nvSpPr>
        <p:spPr>
          <a:xfrm>
            <a:off x="4002009" y="1719004"/>
            <a:ext cx="7015399" cy="646331"/>
          </a:xfrm>
          <a:prstGeom prst="rect">
            <a:avLst/>
          </a:prstGeom>
          <a:noFill/>
          <a:ln>
            <a:solidFill>
              <a:schemeClr val="bg2"/>
            </a:solidFill>
          </a:ln>
        </p:spPr>
        <p:txBody>
          <a:bodyPr wrap="square">
            <a:spAutoFit/>
          </a:bodyPr>
          <a:lstStyle>
            <a:defPPr>
              <a:defRPr lang="en-US"/>
            </a:defPPr>
            <a:lvl1pPr algn="just">
              <a:defRPr sz="1400">
                <a:solidFill>
                  <a:srgbClr val="10476B"/>
                </a:solidFill>
                <a:latin typeface="Arial" panose="020B0604020202020204" pitchFamily="34" charset="0"/>
                <a:cs typeface="Arial" panose="020B0604020202020204" pitchFamily="34" charset="0"/>
              </a:defRPr>
            </a:lvl1pPr>
          </a:lstStyle>
          <a:p>
            <a:r>
              <a:rPr lang="es-ES" sz="1800" b="1"/>
              <a:t>Relación</a:t>
            </a:r>
            <a:r>
              <a:rPr lang="es-ES" sz="1800"/>
              <a:t> clara Matriz - </a:t>
            </a:r>
            <a:r>
              <a:rPr lang="es-ES" sz="1800" b="1"/>
              <a:t>Filiales</a:t>
            </a:r>
            <a:r>
              <a:rPr lang="es-ES" sz="1800"/>
              <a:t> (Ecopetrol – Cenit y Cenit con sus </a:t>
            </a:r>
            <a:r>
              <a:rPr lang="es-ES" sz="1800" b="1"/>
              <a:t>filiales</a:t>
            </a:r>
            <a:r>
              <a:rPr lang="es-ES" sz="1800"/>
              <a:t>).</a:t>
            </a:r>
          </a:p>
        </p:txBody>
      </p:sp>
      <p:sp>
        <p:nvSpPr>
          <p:cNvPr id="4" name="CuadroTexto 157">
            <a:extLst>
              <a:ext uri="{FF2B5EF4-FFF2-40B4-BE49-F238E27FC236}">
                <a16:creationId xmlns:a16="http://schemas.microsoft.com/office/drawing/2014/main" id="{6A31DB10-96F1-8D45-8D81-CCA502E42C15}"/>
              </a:ext>
            </a:extLst>
          </p:cNvPr>
          <p:cNvSpPr txBox="1"/>
          <p:nvPr/>
        </p:nvSpPr>
        <p:spPr>
          <a:xfrm>
            <a:off x="4002009" y="3100273"/>
            <a:ext cx="7015399" cy="369332"/>
          </a:xfrm>
          <a:prstGeom prst="rect">
            <a:avLst/>
          </a:prstGeom>
          <a:noFill/>
          <a:ln>
            <a:solidFill>
              <a:schemeClr val="bg2"/>
            </a:solidFill>
          </a:ln>
        </p:spPr>
        <p:txBody>
          <a:bodyPr wrap="square">
            <a:spAutoFit/>
          </a:bodyPr>
          <a:lstStyle>
            <a:defPPr>
              <a:defRPr lang="en-US"/>
            </a:defPPr>
            <a:lvl1pPr algn="just">
              <a:defRPr sz="1400" b="1">
                <a:solidFill>
                  <a:srgbClr val="10476B"/>
                </a:solidFill>
                <a:latin typeface="Arial" panose="020B0604020202020204" pitchFamily="34" charset="0"/>
                <a:cs typeface="Arial" panose="020B0604020202020204" pitchFamily="34" charset="0"/>
              </a:defRPr>
            </a:lvl1pPr>
          </a:lstStyle>
          <a:p>
            <a:r>
              <a:rPr lang="es-ES" sz="1800"/>
              <a:t>Modelo de Relacionamiento </a:t>
            </a:r>
            <a:r>
              <a:rPr lang="es-ES" sz="1800" b="0"/>
              <a:t>para 11 de 12 macroprocesos.</a:t>
            </a:r>
            <a:endParaRPr lang="es-CO" sz="1800"/>
          </a:p>
        </p:txBody>
      </p:sp>
      <p:pic>
        <p:nvPicPr>
          <p:cNvPr id="5" name="Imagen 161" descr="Imagen que contiene plato, alimentos, dibujo&#10;&#10;Descripción generada automáticamente">
            <a:extLst>
              <a:ext uri="{FF2B5EF4-FFF2-40B4-BE49-F238E27FC236}">
                <a16:creationId xmlns:a16="http://schemas.microsoft.com/office/drawing/2014/main" id="{94885677-7B19-2C48-B6F1-0E1A52DC522C}"/>
              </a:ext>
            </a:extLst>
          </p:cNvPr>
          <p:cNvPicPr>
            <a:picLocks noChangeAspect="1"/>
          </p:cNvPicPr>
          <p:nvPr/>
        </p:nvPicPr>
        <p:blipFill>
          <a:blip r:embed="rId3"/>
          <a:stretch>
            <a:fillRect/>
          </a:stretch>
        </p:blipFill>
        <p:spPr>
          <a:xfrm>
            <a:off x="1828198" y="4496387"/>
            <a:ext cx="1154528" cy="1154528"/>
          </a:xfrm>
          <a:prstGeom prst="rect">
            <a:avLst/>
          </a:prstGeom>
        </p:spPr>
      </p:pic>
      <p:pic>
        <p:nvPicPr>
          <p:cNvPr id="6" name="Imagen 167" descr="Imagen que contiene dibujo&#10;&#10;Descripción generada automáticamente">
            <a:extLst>
              <a:ext uri="{FF2B5EF4-FFF2-40B4-BE49-F238E27FC236}">
                <a16:creationId xmlns:a16="http://schemas.microsoft.com/office/drawing/2014/main" id="{D6A27ED5-971F-DE4E-8750-72A34AB089D8}"/>
              </a:ext>
            </a:extLst>
          </p:cNvPr>
          <p:cNvPicPr>
            <a:picLocks noChangeAspect="1"/>
          </p:cNvPicPr>
          <p:nvPr/>
        </p:nvPicPr>
        <p:blipFill>
          <a:blip r:embed="rId4"/>
          <a:stretch>
            <a:fillRect/>
          </a:stretch>
        </p:blipFill>
        <p:spPr>
          <a:xfrm>
            <a:off x="5756822" y="4575044"/>
            <a:ext cx="1154528" cy="1154528"/>
          </a:xfrm>
          <a:prstGeom prst="rect">
            <a:avLst/>
          </a:prstGeom>
        </p:spPr>
      </p:pic>
      <p:pic>
        <p:nvPicPr>
          <p:cNvPr id="7" name="Imagen 169" descr="Imagen que contiene reloj, plato, señal&#10;&#10;Descripción generada automáticamente">
            <a:extLst>
              <a:ext uri="{FF2B5EF4-FFF2-40B4-BE49-F238E27FC236}">
                <a16:creationId xmlns:a16="http://schemas.microsoft.com/office/drawing/2014/main" id="{6DE5FCA8-E048-8D4C-8161-943E5E7B4F9A}"/>
              </a:ext>
            </a:extLst>
          </p:cNvPr>
          <p:cNvPicPr>
            <a:picLocks noChangeAspect="1"/>
          </p:cNvPicPr>
          <p:nvPr/>
        </p:nvPicPr>
        <p:blipFill>
          <a:blip r:embed="rId5"/>
          <a:stretch>
            <a:fillRect/>
          </a:stretch>
        </p:blipFill>
        <p:spPr>
          <a:xfrm>
            <a:off x="9561642" y="4466973"/>
            <a:ext cx="1154528" cy="1154528"/>
          </a:xfrm>
          <a:prstGeom prst="rect">
            <a:avLst/>
          </a:prstGeom>
        </p:spPr>
      </p:pic>
      <p:sp>
        <p:nvSpPr>
          <p:cNvPr id="8" name="CuadroTexto 170">
            <a:extLst>
              <a:ext uri="{FF2B5EF4-FFF2-40B4-BE49-F238E27FC236}">
                <a16:creationId xmlns:a16="http://schemas.microsoft.com/office/drawing/2014/main" id="{D2451A65-5C54-7E48-8D52-CB24D8CE93B9}"/>
              </a:ext>
            </a:extLst>
          </p:cNvPr>
          <p:cNvSpPr txBox="1"/>
          <p:nvPr/>
        </p:nvSpPr>
        <p:spPr>
          <a:xfrm>
            <a:off x="1517285" y="4053966"/>
            <a:ext cx="1776353" cy="369332"/>
          </a:xfrm>
          <a:prstGeom prst="rect">
            <a:avLst/>
          </a:prstGeom>
          <a:noFill/>
        </p:spPr>
        <p:txBody>
          <a:bodyPr wrap="square" rtlCol="0">
            <a:spAutoFit/>
          </a:bodyPr>
          <a:lstStyle/>
          <a:p>
            <a:pPr algn="ctr"/>
            <a:r>
              <a:rPr lang="es-ES" b="1">
                <a:solidFill>
                  <a:srgbClr val="10476B"/>
                </a:solidFill>
                <a:latin typeface="Century Gothic" panose="020B0502020202020204" pitchFamily="34" charset="0"/>
                <a:cs typeface="Arial" panose="020B0604020202020204" pitchFamily="34" charset="0"/>
              </a:rPr>
              <a:t>Negociación</a:t>
            </a:r>
            <a:endParaRPr lang="es-CO" b="1">
              <a:solidFill>
                <a:srgbClr val="10476B"/>
              </a:solidFill>
              <a:latin typeface="Century Gothic" panose="020B0502020202020204" pitchFamily="34" charset="0"/>
              <a:cs typeface="Arial" panose="020B0604020202020204" pitchFamily="34" charset="0"/>
            </a:endParaRPr>
          </a:p>
        </p:txBody>
      </p:sp>
      <p:sp>
        <p:nvSpPr>
          <p:cNvPr id="9" name="CuadroTexto 171">
            <a:extLst>
              <a:ext uri="{FF2B5EF4-FFF2-40B4-BE49-F238E27FC236}">
                <a16:creationId xmlns:a16="http://schemas.microsoft.com/office/drawing/2014/main" id="{3EA31D6B-43E8-CB47-83EA-4134A270433D}"/>
              </a:ext>
            </a:extLst>
          </p:cNvPr>
          <p:cNvSpPr txBox="1"/>
          <p:nvPr/>
        </p:nvSpPr>
        <p:spPr>
          <a:xfrm>
            <a:off x="5387452" y="4132623"/>
            <a:ext cx="1676252" cy="369332"/>
          </a:xfrm>
          <a:prstGeom prst="rect">
            <a:avLst/>
          </a:prstGeom>
          <a:noFill/>
        </p:spPr>
        <p:txBody>
          <a:bodyPr wrap="square" rtlCol="0">
            <a:spAutoFit/>
          </a:bodyPr>
          <a:lstStyle/>
          <a:p>
            <a:pPr algn="ctr"/>
            <a:r>
              <a:rPr lang="es-ES" b="1">
                <a:solidFill>
                  <a:srgbClr val="10476B"/>
                </a:solidFill>
                <a:latin typeface="Century Gothic" panose="020B0502020202020204" pitchFamily="34" charset="0"/>
                <a:cs typeface="Arial" panose="020B0604020202020204" pitchFamily="34" charset="0"/>
              </a:rPr>
              <a:t>Aprobación</a:t>
            </a:r>
            <a:endParaRPr lang="es-CO" b="1">
              <a:solidFill>
                <a:srgbClr val="10476B"/>
              </a:solidFill>
              <a:latin typeface="Century Gothic" panose="020B0502020202020204" pitchFamily="34" charset="0"/>
              <a:cs typeface="Arial" panose="020B0604020202020204" pitchFamily="34" charset="0"/>
            </a:endParaRPr>
          </a:p>
        </p:txBody>
      </p:sp>
      <p:sp>
        <p:nvSpPr>
          <p:cNvPr id="10" name="CuadroTexto 172">
            <a:extLst>
              <a:ext uri="{FF2B5EF4-FFF2-40B4-BE49-F238E27FC236}">
                <a16:creationId xmlns:a16="http://schemas.microsoft.com/office/drawing/2014/main" id="{2C55E4C0-E506-A544-99EF-1A4FADAE96DE}"/>
              </a:ext>
            </a:extLst>
          </p:cNvPr>
          <p:cNvSpPr txBox="1"/>
          <p:nvPr/>
        </p:nvSpPr>
        <p:spPr>
          <a:xfrm>
            <a:off x="8963355" y="4024552"/>
            <a:ext cx="2032929" cy="369332"/>
          </a:xfrm>
          <a:prstGeom prst="rect">
            <a:avLst/>
          </a:prstGeom>
          <a:noFill/>
        </p:spPr>
        <p:txBody>
          <a:bodyPr wrap="none" rtlCol="0">
            <a:spAutoFit/>
          </a:bodyPr>
          <a:lstStyle/>
          <a:p>
            <a:pPr algn="r"/>
            <a:r>
              <a:rPr lang="es-ES" b="1">
                <a:solidFill>
                  <a:srgbClr val="10476B"/>
                </a:solidFill>
                <a:latin typeface="Century Gothic" panose="020B0502020202020204" pitchFamily="34" charset="0"/>
                <a:cs typeface="Arial" panose="020B0604020202020204" pitchFamily="34" charset="0"/>
              </a:rPr>
              <a:t>Implementación</a:t>
            </a:r>
            <a:endParaRPr lang="es-CO" b="1">
              <a:solidFill>
                <a:srgbClr val="10476B"/>
              </a:solidFill>
              <a:latin typeface="Century Gothic" panose="020B0502020202020204" pitchFamily="34" charset="0"/>
              <a:cs typeface="Arial" panose="020B0604020202020204" pitchFamily="34" charset="0"/>
            </a:endParaRPr>
          </a:p>
        </p:txBody>
      </p:sp>
      <p:sp>
        <p:nvSpPr>
          <p:cNvPr id="12" name="CuadroTexto 31">
            <a:extLst>
              <a:ext uri="{FF2B5EF4-FFF2-40B4-BE49-F238E27FC236}">
                <a16:creationId xmlns:a16="http://schemas.microsoft.com/office/drawing/2014/main" id="{CFEF7504-136F-CF4E-BC65-65D7B80E6249}"/>
              </a:ext>
            </a:extLst>
          </p:cNvPr>
          <p:cNvSpPr txBox="1"/>
          <p:nvPr/>
        </p:nvSpPr>
        <p:spPr>
          <a:xfrm>
            <a:off x="9868650" y="636959"/>
            <a:ext cx="1434642" cy="584775"/>
          </a:xfrm>
          <a:prstGeom prst="rect">
            <a:avLst/>
          </a:prstGeom>
          <a:noFill/>
          <a:ln>
            <a:noFill/>
          </a:ln>
        </p:spPr>
        <p:txBody>
          <a:bodyPr wrap="square" rtlCol="0">
            <a:spAutoFit/>
          </a:bodyPr>
          <a:lstStyle>
            <a:defPPr>
              <a:defRPr lang="es-CO"/>
            </a:defPPr>
            <a:lvl1pPr algn="ctr">
              <a:defRPr sz="1400" b="1">
                <a:solidFill>
                  <a:srgbClr val="07212E"/>
                </a:solidFill>
                <a:latin typeface="Arial" panose="020B0604020202020204" pitchFamily="34" charset="0"/>
                <a:cs typeface="Arial" panose="020B0604020202020204" pitchFamily="34" charset="0"/>
              </a:defRPr>
            </a:lvl1pPr>
          </a:lstStyle>
          <a:p>
            <a:r>
              <a:rPr lang="es-ES" sz="3200" u="sng">
                <a:solidFill>
                  <a:srgbClr val="4A8347"/>
                </a:solidFill>
              </a:rPr>
              <a:t>100%</a:t>
            </a:r>
            <a:endParaRPr lang="es-CO" sz="3200" u="sng">
              <a:solidFill>
                <a:srgbClr val="4A8347"/>
              </a:solidFill>
            </a:endParaRPr>
          </a:p>
        </p:txBody>
      </p:sp>
      <p:sp>
        <p:nvSpPr>
          <p:cNvPr id="18" name="CuadroTexto 47">
            <a:extLst>
              <a:ext uri="{FF2B5EF4-FFF2-40B4-BE49-F238E27FC236}">
                <a16:creationId xmlns:a16="http://schemas.microsoft.com/office/drawing/2014/main" id="{73C77D80-3296-9F46-BA35-4412CBAF9405}"/>
              </a:ext>
            </a:extLst>
          </p:cNvPr>
          <p:cNvSpPr txBox="1"/>
          <p:nvPr/>
        </p:nvSpPr>
        <p:spPr>
          <a:xfrm>
            <a:off x="3841254" y="605209"/>
            <a:ext cx="5344534" cy="523220"/>
          </a:xfrm>
          <a:prstGeom prst="rect">
            <a:avLst/>
          </a:prstGeom>
          <a:noFill/>
          <a:ln>
            <a:noFill/>
          </a:ln>
        </p:spPr>
        <p:txBody>
          <a:bodyPr wrap="square" rtlCol="0">
            <a:spAutoFit/>
          </a:bodyPr>
          <a:lstStyle/>
          <a:p>
            <a:pPr algn="ctr"/>
            <a:r>
              <a:rPr lang="es-ES" sz="2800" b="1">
                <a:solidFill>
                  <a:srgbClr val="10476B"/>
                </a:solidFill>
                <a:latin typeface="Century Gothic" panose="020B0502020202020204" pitchFamily="34" charset="0"/>
                <a:cs typeface="Arial" panose="020B0604020202020204" pitchFamily="34" charset="0"/>
              </a:rPr>
              <a:t>Modelo de Relacionamiento</a:t>
            </a:r>
            <a:endParaRPr lang="es-CO" sz="2800" b="1">
              <a:solidFill>
                <a:srgbClr val="10476B"/>
              </a:solidFill>
              <a:latin typeface="Century Gothic" panose="020B0502020202020204" pitchFamily="34" charset="0"/>
              <a:cs typeface="Arial" panose="020B0604020202020204" pitchFamily="34" charset="0"/>
            </a:endParaRPr>
          </a:p>
        </p:txBody>
      </p:sp>
      <p:pic>
        <p:nvPicPr>
          <p:cNvPr id="13" name="Picture 14" descr="A close up of a sign&#10;&#10;Description automatically generated">
            <a:extLst>
              <a:ext uri="{FF2B5EF4-FFF2-40B4-BE49-F238E27FC236}">
                <a16:creationId xmlns:a16="http://schemas.microsoft.com/office/drawing/2014/main" id="{F0E2C602-B151-4A8B-B98B-63ECC8DB5DE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8886" y="441596"/>
            <a:ext cx="2547279" cy="2554815"/>
          </a:xfrm>
          <a:prstGeom prst="rect">
            <a:avLst/>
          </a:prstGeom>
        </p:spPr>
      </p:pic>
      <p:sp>
        <p:nvSpPr>
          <p:cNvPr id="11" name="Oval 110">
            <a:extLst>
              <a:ext uri="{FF2B5EF4-FFF2-40B4-BE49-F238E27FC236}">
                <a16:creationId xmlns:a16="http://schemas.microsoft.com/office/drawing/2014/main" id="{9EB26948-AEB9-40DC-95A3-307946587810}"/>
              </a:ext>
            </a:extLst>
          </p:cNvPr>
          <p:cNvSpPr/>
          <p:nvPr/>
        </p:nvSpPr>
        <p:spPr>
          <a:xfrm>
            <a:off x="2324299" y="901695"/>
            <a:ext cx="548470" cy="548470"/>
          </a:xfrm>
          <a:prstGeom prst="ellipse">
            <a:avLst/>
          </a:prstGeom>
          <a:solidFill>
            <a:schemeClr val="bg1"/>
          </a:solidFill>
          <a:ln>
            <a:solidFill>
              <a:srgbClr val="4A83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O" sz="2400" b="1">
                <a:solidFill>
                  <a:schemeClr val="accent1">
                    <a:lumMod val="50000"/>
                  </a:schemeClr>
                </a:solidFill>
                <a:latin typeface="Century Gothic" panose="020B0502020202020204" pitchFamily="34" charset="0"/>
              </a:rPr>
              <a:t>4</a:t>
            </a:r>
          </a:p>
        </p:txBody>
      </p:sp>
    </p:spTree>
    <p:extLst>
      <p:ext uri="{BB962C8B-B14F-4D97-AF65-F5344CB8AC3E}">
        <p14:creationId xmlns:p14="http://schemas.microsoft.com/office/powerpoint/2010/main" val="30333308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F5A2E55E-1082-4EBF-B81F-F2C9A9EC720A}"/>
              </a:ext>
            </a:extLst>
          </p:cNvPr>
          <p:cNvSpPr>
            <a:spLocks noGrp="1"/>
          </p:cNvSpPr>
          <p:nvPr>
            <p:ph type="sldNum" sz="quarter" idx="4"/>
          </p:nvPr>
        </p:nvSpPr>
        <p:spPr/>
        <p:txBody>
          <a:bodyPr/>
          <a:lstStyle/>
          <a:p>
            <a:fld id="{02F25750-4209-4357-A72F-45445C8044EF}" type="slidenum">
              <a:rPr lang="es-CO" smtClean="0"/>
              <a:pPr/>
              <a:t>4</a:t>
            </a:fld>
            <a:endParaRPr lang="es-CO"/>
          </a:p>
        </p:txBody>
      </p:sp>
      <p:pic>
        <p:nvPicPr>
          <p:cNvPr id="3" name="Gobierno Corporativo">
            <a:hlinkClick r:id="" action="ppaction://media"/>
            <a:extLst>
              <a:ext uri="{FF2B5EF4-FFF2-40B4-BE49-F238E27FC236}">
                <a16:creationId xmlns:a16="http://schemas.microsoft.com/office/drawing/2014/main" id="{C4A8EB8B-7E0F-4094-9A33-123F6F27F699}"/>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161251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1358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a16="http://schemas.microsoft.com/office/drawing/2014/main" id="{D0394A36-CC20-4A8D-8DAB-D9204DC97A90}"/>
              </a:ext>
            </a:extLst>
          </p:cNvPr>
          <p:cNvSpPr>
            <a:spLocks noGrp="1"/>
          </p:cNvSpPr>
          <p:nvPr>
            <p:ph type="sldNum" sz="quarter" idx="10"/>
          </p:nvPr>
        </p:nvSpPr>
        <p:spPr/>
        <p:txBody>
          <a:bodyPr/>
          <a:lstStyle/>
          <a:p>
            <a:fld id="{02F25750-4209-4357-A72F-45445C8044EF}" type="slidenum">
              <a:rPr lang="es-CO" smtClean="0"/>
              <a:pPr/>
              <a:t>40</a:t>
            </a:fld>
            <a:endParaRPr lang="es-CO"/>
          </a:p>
        </p:txBody>
      </p:sp>
      <p:sp>
        <p:nvSpPr>
          <p:cNvPr id="5" name="Título 1">
            <a:extLst>
              <a:ext uri="{FF2B5EF4-FFF2-40B4-BE49-F238E27FC236}">
                <a16:creationId xmlns:a16="http://schemas.microsoft.com/office/drawing/2014/main" id="{60144380-CBE4-4263-86E5-F4A7E5CEC0BB}"/>
              </a:ext>
            </a:extLst>
          </p:cNvPr>
          <p:cNvSpPr txBox="1">
            <a:spLocks/>
          </p:cNvSpPr>
          <p:nvPr/>
        </p:nvSpPr>
        <p:spPr>
          <a:xfrm>
            <a:off x="74339" y="527797"/>
            <a:ext cx="6570118" cy="434369"/>
          </a:xfrm>
          <a:prstGeom prst="rect">
            <a:avLst/>
          </a:prstGeom>
        </p:spPr>
        <p:txBody>
          <a:bodyPr>
            <a:noAutofit/>
          </a:bodyPr>
          <a:lstStyle>
            <a:lvl1pPr algn="l" defTabSz="914400" rtl="0" eaLnBrk="1" latinLnBrk="0" hangingPunct="1">
              <a:lnSpc>
                <a:spcPct val="90000"/>
              </a:lnSpc>
              <a:spcBef>
                <a:spcPct val="0"/>
              </a:spcBef>
              <a:buNone/>
              <a:defRPr sz="3200" b="1" i="0" kern="1200">
                <a:solidFill>
                  <a:srgbClr val="2F655C"/>
                </a:solidFill>
                <a:latin typeface="Arial Black" panose="020B0604020202020204" pitchFamily="34" charset="0"/>
                <a:ea typeface="+mj-ea"/>
                <a:cs typeface="Arial Black" panose="020B0604020202020204" pitchFamily="34" charset="0"/>
              </a:defRPr>
            </a:lvl1pPr>
          </a:lstStyle>
          <a:p>
            <a:r>
              <a:rPr lang="es-ES" sz="1800" u="sng">
                <a:solidFill>
                  <a:schemeClr val="tx2"/>
                </a:solidFill>
                <a:latin typeface="Arial" panose="020B0604020202020204" pitchFamily="34" charset="0"/>
                <a:cs typeface="Arial" panose="020B0604020202020204" pitchFamily="34" charset="0"/>
              </a:rPr>
              <a:t>Extendemos nuestro relacionamiento a las filiales en…</a:t>
            </a:r>
          </a:p>
        </p:txBody>
      </p:sp>
      <p:sp>
        <p:nvSpPr>
          <p:cNvPr id="7" name="TextBox 30">
            <a:extLst>
              <a:ext uri="{FF2B5EF4-FFF2-40B4-BE49-F238E27FC236}">
                <a16:creationId xmlns:a16="http://schemas.microsoft.com/office/drawing/2014/main" id="{49F21896-A687-4F29-8499-091C5F1FE377}"/>
              </a:ext>
            </a:extLst>
          </p:cNvPr>
          <p:cNvSpPr txBox="1">
            <a:spLocks/>
          </p:cNvSpPr>
          <p:nvPr>
            <p:custDataLst>
              <p:tags r:id="rId1"/>
            </p:custDataLst>
          </p:nvPr>
        </p:nvSpPr>
        <p:spPr>
          <a:xfrm>
            <a:off x="86973" y="1353789"/>
            <a:ext cx="5249525" cy="4893647"/>
          </a:xfrm>
          <a:prstGeom prst="rect">
            <a:avLst/>
          </a:prstGeom>
          <a:ln>
            <a:solidFill>
              <a:srgbClr val="BDD4B4"/>
            </a:solidFill>
          </a:ln>
        </p:spPr>
        <p:txBody>
          <a:bodyPr vert="horz" wrap="square" lIns="36000" tIns="0" rIns="36000" bIns="0" rtlCol="0" anchor="t" anchorCtr="0">
            <a:spAutoFit/>
          </a:bodyPr>
          <a:lstStyle>
            <a:lvl1pPr marL="0" lvl="0" indent="0" defTabSz="895350" eaLnBrk="1" latinLnBrk="0" hangingPunct="1">
              <a:buClr>
                <a:schemeClr val="tx2"/>
              </a:buClr>
              <a:buSzPct val="100000"/>
              <a:defRPr lang="es-ES" baseline="0" dirty="0">
                <a:latin typeface="+mn-lt"/>
              </a:defRPr>
            </a:lvl1pPr>
            <a:lvl2pPr marL="194400" lvl="1" indent="-190800" defTabSz="895350" eaLnBrk="1" latinLnBrk="0" hangingPunct="1">
              <a:buClr>
                <a:schemeClr val="tx2"/>
              </a:buClr>
              <a:buSzPct val="125000"/>
              <a:buFont typeface="Arial" charset="0"/>
              <a:buChar char="▪"/>
              <a:defRPr lang="es-ES" baseline="0" dirty="0">
                <a:latin typeface="+mn-lt"/>
              </a:defRPr>
            </a:lvl2pPr>
            <a:lvl3pPr marL="446400" lvl="2" indent="-248400" defTabSz="895350" eaLnBrk="1" latinLnBrk="0" hangingPunct="1">
              <a:buClr>
                <a:schemeClr val="tx2"/>
              </a:buClr>
              <a:buSzPct val="120000"/>
              <a:buFont typeface="Arial" charset="0"/>
              <a:buChar char="–"/>
              <a:defRPr lang="es-ES" baseline="0" dirty="0">
                <a:latin typeface="+mn-lt"/>
              </a:defRPr>
            </a:lvl3pPr>
            <a:lvl4pPr marL="615600" lvl="3" indent="-154800" defTabSz="895350" eaLnBrk="1" latinLnBrk="0" hangingPunct="1">
              <a:buClr>
                <a:schemeClr val="tx2"/>
              </a:buClr>
              <a:buSzPct val="120000"/>
              <a:buFont typeface="Arial" charset="0"/>
              <a:buChar char="▫"/>
              <a:defRPr lang="es-ES" baseline="0" dirty="0">
                <a:latin typeface="+mn-lt"/>
              </a:defRPr>
            </a:lvl4pPr>
            <a:lvl5pPr marL="748800" lvl="4" indent="-129600" defTabSz="895350" eaLnBrk="1" latinLnBrk="0" hangingPunct="1">
              <a:buClr>
                <a:schemeClr val="tx2"/>
              </a:buClr>
              <a:buSzPct val="89000"/>
              <a:buFont typeface="Arial" charset="0"/>
              <a:buChar char="-"/>
              <a:defRPr lang="es-E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1" algn="just">
              <a:spcBef>
                <a:spcPct val="50000"/>
              </a:spcBef>
            </a:pPr>
            <a:r>
              <a:rPr lang="es-ES" sz="1200">
                <a:solidFill>
                  <a:schemeClr val="tx2"/>
                </a:solidFill>
              </a:rPr>
              <a:t>Emitir y divulgar </a:t>
            </a:r>
            <a:r>
              <a:rPr lang="es-ES" sz="1200" b="1">
                <a:solidFill>
                  <a:schemeClr val="tx2"/>
                </a:solidFill>
              </a:rPr>
              <a:t>lineamientos</a:t>
            </a:r>
            <a:r>
              <a:rPr lang="es-ES" sz="1200">
                <a:solidFill>
                  <a:schemeClr val="tx2"/>
                </a:solidFill>
              </a:rPr>
              <a:t> para la construcción y seguimiento de:</a:t>
            </a:r>
          </a:p>
          <a:p>
            <a:pPr marL="255600" lvl="2" indent="0" algn="just">
              <a:spcBef>
                <a:spcPct val="50000"/>
              </a:spcBef>
              <a:buNone/>
            </a:pPr>
            <a:r>
              <a:rPr lang="es-ES" sz="1200">
                <a:solidFill>
                  <a:schemeClr val="tx2"/>
                </a:solidFill>
              </a:rPr>
              <a:t>(i) Plan Financiero</a:t>
            </a:r>
          </a:p>
          <a:p>
            <a:pPr marL="255600" lvl="2" indent="0" algn="just">
              <a:spcBef>
                <a:spcPct val="50000"/>
              </a:spcBef>
              <a:buNone/>
            </a:pPr>
            <a:r>
              <a:rPr lang="es-ES" sz="1200">
                <a:solidFill>
                  <a:schemeClr val="tx2"/>
                </a:solidFill>
              </a:rPr>
              <a:t>(</a:t>
            </a:r>
            <a:r>
              <a:rPr lang="es-ES" sz="1200" err="1">
                <a:solidFill>
                  <a:schemeClr val="tx2"/>
                </a:solidFill>
              </a:rPr>
              <a:t>ii</a:t>
            </a:r>
            <a:r>
              <a:rPr lang="es-ES" sz="1200">
                <a:solidFill>
                  <a:schemeClr val="tx2"/>
                </a:solidFill>
              </a:rPr>
              <a:t>) Plan de Inversiones (incluye cupo recomposición, liberación recursos, adición de proyectos no incluidos en el plan y manejo del cambio)</a:t>
            </a:r>
          </a:p>
          <a:p>
            <a:pPr marL="255600" lvl="2" indent="0" algn="just">
              <a:spcBef>
                <a:spcPct val="50000"/>
              </a:spcBef>
              <a:buNone/>
            </a:pPr>
            <a:r>
              <a:rPr lang="es-ES" sz="1200">
                <a:solidFill>
                  <a:schemeClr val="tx2"/>
                </a:solidFill>
              </a:rPr>
              <a:t>(</a:t>
            </a:r>
            <a:r>
              <a:rPr lang="es-ES" sz="1200" err="1">
                <a:solidFill>
                  <a:schemeClr val="tx2"/>
                </a:solidFill>
              </a:rPr>
              <a:t>iii</a:t>
            </a:r>
            <a:r>
              <a:rPr lang="es-ES" sz="1200">
                <a:solidFill>
                  <a:schemeClr val="tx2"/>
                </a:solidFill>
              </a:rPr>
              <a:t>) TBG del segmento (incluye indicadores estratégicos y hojas de vida)</a:t>
            </a:r>
          </a:p>
          <a:p>
            <a:pPr lvl="1" algn="just">
              <a:spcBef>
                <a:spcPct val="50000"/>
              </a:spcBef>
            </a:pPr>
            <a:r>
              <a:rPr lang="es-ES" sz="1200">
                <a:solidFill>
                  <a:schemeClr val="tx2"/>
                </a:solidFill>
              </a:rPr>
              <a:t>Emitir y divulgar los elementos del </a:t>
            </a:r>
            <a:r>
              <a:rPr lang="es-ES" sz="1200" b="1">
                <a:solidFill>
                  <a:schemeClr val="tx2"/>
                </a:solidFill>
              </a:rPr>
              <a:t>marco estratégico </a:t>
            </a:r>
            <a:r>
              <a:rPr lang="es-ES" sz="1200">
                <a:solidFill>
                  <a:schemeClr val="tx2"/>
                </a:solidFill>
              </a:rPr>
              <a:t>para el segmento</a:t>
            </a:r>
          </a:p>
          <a:p>
            <a:pPr lvl="1" algn="just">
              <a:spcBef>
                <a:spcPct val="50000"/>
              </a:spcBef>
            </a:pPr>
            <a:r>
              <a:rPr lang="es-ES" sz="1200">
                <a:solidFill>
                  <a:schemeClr val="tx2"/>
                </a:solidFill>
              </a:rPr>
              <a:t>Recopilar y analizar información del medio, puntos de referencia, mejores prácticas externas y en el grupo, así como de </a:t>
            </a:r>
            <a:r>
              <a:rPr lang="es-ES" sz="1200" b="1">
                <a:solidFill>
                  <a:schemeClr val="tx2"/>
                </a:solidFill>
              </a:rPr>
              <a:t>tendencias de la función de Tributaria para socializar e impulsar su adopción </a:t>
            </a:r>
            <a:r>
              <a:rPr lang="es-ES" sz="1200">
                <a:solidFill>
                  <a:schemeClr val="tx2"/>
                </a:solidFill>
              </a:rPr>
              <a:t>en el segmento de acuerdo con lineamientos del Grupo</a:t>
            </a:r>
          </a:p>
          <a:p>
            <a:pPr lvl="1" algn="just">
              <a:spcBef>
                <a:spcPct val="50000"/>
              </a:spcBef>
            </a:pPr>
            <a:r>
              <a:rPr lang="es-ES" sz="1200">
                <a:solidFill>
                  <a:schemeClr val="tx2"/>
                </a:solidFill>
              </a:rPr>
              <a:t>Proponer </a:t>
            </a:r>
            <a:r>
              <a:rPr lang="es-ES" sz="1200" b="1">
                <a:solidFill>
                  <a:schemeClr val="tx2"/>
                </a:solidFill>
              </a:rPr>
              <a:t>estrategias de optimización </a:t>
            </a:r>
            <a:r>
              <a:rPr lang="es-ES" sz="1200">
                <a:solidFill>
                  <a:schemeClr val="tx2"/>
                </a:solidFill>
              </a:rPr>
              <a:t>y lineamientos en procesos para las </a:t>
            </a:r>
            <a:r>
              <a:rPr lang="es-ES" sz="1200" b="1">
                <a:solidFill>
                  <a:schemeClr val="tx2"/>
                </a:solidFill>
              </a:rPr>
              <a:t>Tesorerías</a:t>
            </a:r>
            <a:r>
              <a:rPr lang="es-ES" sz="1200">
                <a:solidFill>
                  <a:schemeClr val="tx2"/>
                </a:solidFill>
              </a:rPr>
              <a:t> del segmento</a:t>
            </a:r>
          </a:p>
          <a:p>
            <a:pPr lvl="1" algn="just">
              <a:spcBef>
                <a:spcPct val="50000"/>
              </a:spcBef>
            </a:pPr>
            <a:r>
              <a:rPr lang="es-ES" sz="1200">
                <a:solidFill>
                  <a:schemeClr val="tx2"/>
                </a:solidFill>
              </a:rPr>
              <a:t>Compartir los lineamientos, Guías, y Políticas para el </a:t>
            </a:r>
            <a:r>
              <a:rPr lang="es-ES" sz="1200" b="1">
                <a:solidFill>
                  <a:schemeClr val="tx2"/>
                </a:solidFill>
              </a:rPr>
              <a:t>manejo de excedentes de liquidez</a:t>
            </a:r>
            <a:r>
              <a:rPr lang="es-ES" sz="1200">
                <a:solidFill>
                  <a:schemeClr val="tx2"/>
                </a:solidFill>
              </a:rPr>
              <a:t> entre las filiales del segmento y que en materia de seguros garanticen la adecuada gestión de riesgos de las compañías del segmento y en materia de financiamiento garanticen la </a:t>
            </a:r>
            <a:r>
              <a:rPr lang="es-ES" sz="1200" b="1">
                <a:solidFill>
                  <a:schemeClr val="tx2"/>
                </a:solidFill>
              </a:rPr>
              <a:t>adecuada gestión de endeudamiento por parte de las compañías del segmento</a:t>
            </a:r>
            <a:r>
              <a:rPr lang="es-ES" sz="1200">
                <a:solidFill>
                  <a:schemeClr val="tx2"/>
                </a:solidFill>
              </a:rPr>
              <a:t> </a:t>
            </a:r>
          </a:p>
          <a:p>
            <a:pPr lvl="1" algn="just">
              <a:spcBef>
                <a:spcPct val="50000"/>
              </a:spcBef>
            </a:pPr>
            <a:r>
              <a:rPr lang="es-ES" sz="1200">
                <a:solidFill>
                  <a:schemeClr val="tx2"/>
                </a:solidFill>
              </a:rPr>
              <a:t>Emitir </a:t>
            </a:r>
            <a:r>
              <a:rPr lang="es-ES" sz="1200" b="1">
                <a:solidFill>
                  <a:schemeClr val="tx2"/>
                </a:solidFill>
              </a:rPr>
              <a:t>la política contable </a:t>
            </a:r>
            <a:r>
              <a:rPr lang="es-ES" sz="1200">
                <a:solidFill>
                  <a:schemeClr val="tx2"/>
                </a:solidFill>
              </a:rPr>
              <a:t>aplicable a las compañías que hacen parte de los EEFF Consolidados de Cenit y </a:t>
            </a:r>
            <a:r>
              <a:rPr lang="es-ES" sz="1200" b="1">
                <a:solidFill>
                  <a:schemeClr val="tx2"/>
                </a:solidFill>
              </a:rPr>
              <a:t>diseñar los lineamientos </a:t>
            </a:r>
            <a:r>
              <a:rPr lang="es-ES" sz="1200">
                <a:solidFill>
                  <a:schemeClr val="tx2"/>
                </a:solidFill>
              </a:rPr>
              <a:t>de implementación de nueva normatividad para el </a:t>
            </a:r>
            <a:r>
              <a:rPr lang="es-ES" sz="1200" b="1">
                <a:solidFill>
                  <a:schemeClr val="tx2"/>
                </a:solidFill>
              </a:rPr>
              <a:t>reporte de la información financiera.</a:t>
            </a:r>
          </a:p>
          <a:p>
            <a:pPr lvl="1" algn="just">
              <a:spcBef>
                <a:spcPct val="50000"/>
              </a:spcBef>
            </a:pPr>
            <a:r>
              <a:rPr lang="es-ES" sz="1200">
                <a:solidFill>
                  <a:schemeClr val="tx2"/>
                </a:solidFill>
              </a:rPr>
              <a:t>Definir las fechas clave de reporte de información según necesidad</a:t>
            </a:r>
          </a:p>
        </p:txBody>
      </p:sp>
      <p:sp>
        <p:nvSpPr>
          <p:cNvPr id="11" name="Rectángulo 10">
            <a:extLst>
              <a:ext uri="{FF2B5EF4-FFF2-40B4-BE49-F238E27FC236}">
                <a16:creationId xmlns:a16="http://schemas.microsoft.com/office/drawing/2014/main" id="{BE3FDB33-82DE-49B7-85B7-9476B27F9C30}"/>
              </a:ext>
            </a:extLst>
          </p:cNvPr>
          <p:cNvSpPr/>
          <p:nvPr/>
        </p:nvSpPr>
        <p:spPr>
          <a:xfrm>
            <a:off x="9409352" y="1353789"/>
            <a:ext cx="2680396" cy="830997"/>
          </a:xfrm>
          <a:prstGeom prst="rect">
            <a:avLst/>
          </a:prstGeom>
          <a:ln>
            <a:solidFill>
              <a:srgbClr val="BDD4B4"/>
            </a:solidFill>
          </a:ln>
        </p:spPr>
        <p:txBody>
          <a:bodyPr wrap="square">
            <a:spAutoFit/>
          </a:bodyPr>
          <a:lstStyle/>
          <a:p>
            <a:pPr marL="194400" lvl="1" indent="-190800" algn="just" defTabSz="895350">
              <a:spcBef>
                <a:spcPct val="50000"/>
              </a:spcBef>
              <a:buClr>
                <a:schemeClr val="tx2"/>
              </a:buClr>
              <a:buSzPct val="125000"/>
              <a:buFont typeface="Arial" charset="0"/>
              <a:buChar char="▪"/>
            </a:pPr>
            <a:r>
              <a:rPr lang="es-ES" sz="1200">
                <a:solidFill>
                  <a:schemeClr val="accent4"/>
                </a:solidFill>
                <a:latin typeface="Arial" charset="0"/>
              </a:rPr>
              <a:t>Apoyar la Planeación tributaria y alineación de estrategia para el  </a:t>
            </a:r>
            <a:r>
              <a:rPr lang="es-ES" sz="1200" b="1">
                <a:solidFill>
                  <a:schemeClr val="accent4"/>
                </a:solidFill>
                <a:latin typeface="Arial" charset="0"/>
              </a:rPr>
              <a:t>fortalecimiento de la función Tributaria en el Segmento</a:t>
            </a:r>
          </a:p>
        </p:txBody>
      </p:sp>
      <p:grpSp>
        <p:nvGrpSpPr>
          <p:cNvPr id="12" name="Grupo 11">
            <a:extLst>
              <a:ext uri="{FF2B5EF4-FFF2-40B4-BE49-F238E27FC236}">
                <a16:creationId xmlns:a16="http://schemas.microsoft.com/office/drawing/2014/main" id="{97A64B71-2068-4384-8243-F4ED1BE3BD64}"/>
              </a:ext>
            </a:extLst>
          </p:cNvPr>
          <p:cNvGrpSpPr/>
          <p:nvPr/>
        </p:nvGrpSpPr>
        <p:grpSpPr>
          <a:xfrm>
            <a:off x="9409352" y="881749"/>
            <a:ext cx="2680395" cy="388097"/>
            <a:chOff x="8824116" y="839935"/>
            <a:chExt cx="3144075" cy="388097"/>
          </a:xfrm>
        </p:grpSpPr>
        <p:sp>
          <p:nvSpPr>
            <p:cNvPr id="10" name="Rectángulo 9">
              <a:extLst>
                <a:ext uri="{FF2B5EF4-FFF2-40B4-BE49-F238E27FC236}">
                  <a16:creationId xmlns:a16="http://schemas.microsoft.com/office/drawing/2014/main" id="{4EF69960-2302-4C37-B17A-2E116254781D}"/>
                </a:ext>
              </a:extLst>
            </p:cNvPr>
            <p:cNvSpPr/>
            <p:nvPr/>
          </p:nvSpPr>
          <p:spPr>
            <a:xfrm>
              <a:off x="8824116" y="839935"/>
              <a:ext cx="3144075" cy="388097"/>
            </a:xfrm>
            <a:prstGeom prst="rect">
              <a:avLst/>
            </a:prstGeom>
            <a:solidFill>
              <a:schemeClr val="accent3">
                <a:lumMod val="60000"/>
                <a:lumOff val="4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tx2"/>
                  </a:solidFill>
                </a:rPr>
                <a:t>Servicio</a:t>
              </a:r>
              <a:endParaRPr lang="es-CO" sz="1200" b="1">
                <a:solidFill>
                  <a:schemeClr val="tx2"/>
                </a:solidFill>
              </a:endParaRPr>
            </a:p>
          </p:txBody>
        </p:sp>
        <p:sp>
          <p:nvSpPr>
            <p:cNvPr id="18" name="CustomIcon">
              <a:extLst>
                <a:ext uri="{FF2B5EF4-FFF2-40B4-BE49-F238E27FC236}">
                  <a16:creationId xmlns:a16="http://schemas.microsoft.com/office/drawing/2014/main" id="{B5FA47DF-667C-4E6C-9D12-E5E5CEA490D8}"/>
                </a:ext>
              </a:extLst>
            </p:cNvPr>
            <p:cNvSpPr>
              <a:spLocks noChangeAspect="1" noEditPoints="1"/>
            </p:cNvSpPr>
            <p:nvPr>
              <p:custDataLst>
                <p:tags r:id="rId3"/>
              </p:custDataLst>
            </p:nvPr>
          </p:nvSpPr>
          <p:spPr bwMode="auto">
            <a:xfrm>
              <a:off x="9748146" y="904481"/>
              <a:ext cx="235982" cy="241422"/>
            </a:xfrm>
            <a:custGeom>
              <a:avLst/>
              <a:gdLst>
                <a:gd name="T0" fmla="*/ 1162 w 3202"/>
                <a:gd name="T1" fmla="*/ 0 h 2668"/>
                <a:gd name="T2" fmla="*/ 1091 w 3202"/>
                <a:gd name="T3" fmla="*/ 626 h 2668"/>
                <a:gd name="T4" fmla="*/ 127 w 3202"/>
                <a:gd name="T5" fmla="*/ 697 h 2668"/>
                <a:gd name="T6" fmla="*/ 71 w 3202"/>
                <a:gd name="T7" fmla="*/ 2146 h 2668"/>
                <a:gd name="T8" fmla="*/ 0 w 3202"/>
                <a:gd name="T9" fmla="*/ 2597 h 2668"/>
                <a:gd name="T10" fmla="*/ 2730 w 3202"/>
                <a:gd name="T11" fmla="*/ 2668 h 2668"/>
                <a:gd name="T12" fmla="*/ 2801 w 3202"/>
                <a:gd name="T13" fmla="*/ 2217 h 2668"/>
                <a:gd name="T14" fmla="*/ 2674 w 3202"/>
                <a:gd name="T15" fmla="*/ 2146 h 2668"/>
                <a:gd name="T16" fmla="*/ 3131 w 3202"/>
                <a:gd name="T17" fmla="*/ 1127 h 2668"/>
                <a:gd name="T18" fmla="*/ 3202 w 3202"/>
                <a:gd name="T19" fmla="*/ 71 h 2668"/>
                <a:gd name="T20" fmla="*/ 2659 w 3202"/>
                <a:gd name="T21" fmla="*/ 2526 h 2668"/>
                <a:gd name="T22" fmla="*/ 142 w 3202"/>
                <a:gd name="T23" fmla="*/ 2288 h 2668"/>
                <a:gd name="T24" fmla="*/ 950 w 3202"/>
                <a:gd name="T25" fmla="*/ 2288 h 2668"/>
                <a:gd name="T26" fmla="*/ 1021 w 3202"/>
                <a:gd name="T27" fmla="*/ 2414 h 2668"/>
                <a:gd name="T28" fmla="*/ 1851 w 3202"/>
                <a:gd name="T29" fmla="*/ 2343 h 2668"/>
                <a:gd name="T30" fmla="*/ 2603 w 3202"/>
                <a:gd name="T31" fmla="*/ 2288 h 2668"/>
                <a:gd name="T32" fmla="*/ 2659 w 3202"/>
                <a:gd name="T33" fmla="*/ 2526 h 2668"/>
                <a:gd name="T34" fmla="*/ 1780 w 3202"/>
                <a:gd name="T35" fmla="*/ 2146 h 2668"/>
                <a:gd name="T36" fmla="*/ 268 w 3202"/>
                <a:gd name="T37" fmla="*/ 2146 h 2668"/>
                <a:gd name="T38" fmla="*/ 1091 w 3202"/>
                <a:gd name="T39" fmla="*/ 768 h 2668"/>
                <a:gd name="T40" fmla="*/ 1162 w 3202"/>
                <a:gd name="T41" fmla="*/ 1127 h 2668"/>
                <a:gd name="T42" fmla="*/ 1419 w 3202"/>
                <a:gd name="T43" fmla="*/ 1466 h 2668"/>
                <a:gd name="T44" fmla="*/ 1466 w 3202"/>
                <a:gd name="T45" fmla="*/ 1533 h 2668"/>
                <a:gd name="T46" fmla="*/ 1475 w 3202"/>
                <a:gd name="T47" fmla="*/ 1535 h 2668"/>
                <a:gd name="T48" fmla="*/ 1482 w 3202"/>
                <a:gd name="T49" fmla="*/ 1537 h 2668"/>
                <a:gd name="T50" fmla="*/ 1490 w 3202"/>
                <a:gd name="T51" fmla="*/ 1537 h 2668"/>
                <a:gd name="T52" fmla="*/ 1491 w 3202"/>
                <a:gd name="T53" fmla="*/ 1537 h 2668"/>
                <a:gd name="T54" fmla="*/ 1497 w 3202"/>
                <a:gd name="T55" fmla="*/ 1537 h 2668"/>
                <a:gd name="T56" fmla="*/ 1503 w 3202"/>
                <a:gd name="T57" fmla="*/ 1536 h 2668"/>
                <a:gd name="T58" fmla="*/ 1508 w 3202"/>
                <a:gd name="T59" fmla="*/ 1535 h 2668"/>
                <a:gd name="T60" fmla="*/ 1515 w 3202"/>
                <a:gd name="T61" fmla="*/ 1533 h 2668"/>
                <a:gd name="T62" fmla="*/ 1521 w 3202"/>
                <a:gd name="T63" fmla="*/ 1530 h 2668"/>
                <a:gd name="T64" fmla="*/ 1526 w 3202"/>
                <a:gd name="T65" fmla="*/ 1527 h 2668"/>
                <a:gd name="T66" fmla="*/ 1531 w 3202"/>
                <a:gd name="T67" fmla="*/ 1524 h 2668"/>
                <a:gd name="T68" fmla="*/ 2008 w 3202"/>
                <a:gd name="T69" fmla="*/ 1127 h 2668"/>
                <a:gd name="T70" fmla="*/ 2532 w 3202"/>
                <a:gd name="T71" fmla="*/ 2146 h 2668"/>
                <a:gd name="T72" fmla="*/ 2603 w 3202"/>
                <a:gd name="T73" fmla="*/ 985 h 2668"/>
                <a:gd name="T74" fmla="*/ 1937 w 3202"/>
                <a:gd name="T75" fmla="*/ 1001 h 2668"/>
                <a:gd name="T76" fmla="*/ 1561 w 3202"/>
                <a:gd name="T77" fmla="*/ 1056 h 2668"/>
                <a:gd name="T78" fmla="*/ 1233 w 3202"/>
                <a:gd name="T79" fmla="*/ 985 h 2668"/>
                <a:gd name="T80" fmla="*/ 1233 w 3202"/>
                <a:gd name="T81" fmla="*/ 142 h 2668"/>
                <a:gd name="T82" fmla="*/ 3060 w 3202"/>
                <a:gd name="T83" fmla="*/ 985 h 2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2" h="2668">
                  <a:moveTo>
                    <a:pt x="3131" y="0"/>
                  </a:moveTo>
                  <a:cubicBezTo>
                    <a:pt x="1162" y="0"/>
                    <a:pt x="1162" y="0"/>
                    <a:pt x="1162" y="0"/>
                  </a:cubicBezTo>
                  <a:cubicBezTo>
                    <a:pt x="1123" y="0"/>
                    <a:pt x="1091" y="32"/>
                    <a:pt x="1091" y="71"/>
                  </a:cubicBezTo>
                  <a:cubicBezTo>
                    <a:pt x="1091" y="626"/>
                    <a:pt x="1091" y="626"/>
                    <a:pt x="1091" y="626"/>
                  </a:cubicBezTo>
                  <a:cubicBezTo>
                    <a:pt x="198" y="626"/>
                    <a:pt x="198" y="626"/>
                    <a:pt x="198" y="626"/>
                  </a:cubicBezTo>
                  <a:cubicBezTo>
                    <a:pt x="158" y="626"/>
                    <a:pt x="127" y="658"/>
                    <a:pt x="127" y="697"/>
                  </a:cubicBezTo>
                  <a:cubicBezTo>
                    <a:pt x="127" y="2146"/>
                    <a:pt x="127" y="2146"/>
                    <a:pt x="127" y="2146"/>
                  </a:cubicBezTo>
                  <a:cubicBezTo>
                    <a:pt x="71" y="2146"/>
                    <a:pt x="71" y="2146"/>
                    <a:pt x="71" y="2146"/>
                  </a:cubicBezTo>
                  <a:cubicBezTo>
                    <a:pt x="32" y="2146"/>
                    <a:pt x="0" y="2178"/>
                    <a:pt x="0" y="2217"/>
                  </a:cubicBezTo>
                  <a:cubicBezTo>
                    <a:pt x="0" y="2597"/>
                    <a:pt x="0" y="2597"/>
                    <a:pt x="0" y="2597"/>
                  </a:cubicBezTo>
                  <a:cubicBezTo>
                    <a:pt x="0" y="2636"/>
                    <a:pt x="32" y="2668"/>
                    <a:pt x="71" y="2668"/>
                  </a:cubicBezTo>
                  <a:cubicBezTo>
                    <a:pt x="2730" y="2668"/>
                    <a:pt x="2730" y="2668"/>
                    <a:pt x="2730" y="2668"/>
                  </a:cubicBezTo>
                  <a:cubicBezTo>
                    <a:pt x="2769" y="2668"/>
                    <a:pt x="2801" y="2636"/>
                    <a:pt x="2801" y="2597"/>
                  </a:cubicBezTo>
                  <a:cubicBezTo>
                    <a:pt x="2801" y="2217"/>
                    <a:pt x="2801" y="2217"/>
                    <a:pt x="2801" y="2217"/>
                  </a:cubicBezTo>
                  <a:cubicBezTo>
                    <a:pt x="2801" y="2178"/>
                    <a:pt x="2769" y="2146"/>
                    <a:pt x="2730" y="2146"/>
                  </a:cubicBezTo>
                  <a:cubicBezTo>
                    <a:pt x="2674" y="2146"/>
                    <a:pt x="2674" y="2146"/>
                    <a:pt x="2674" y="2146"/>
                  </a:cubicBezTo>
                  <a:cubicBezTo>
                    <a:pt x="2674" y="1127"/>
                    <a:pt x="2674" y="1127"/>
                    <a:pt x="2674" y="1127"/>
                  </a:cubicBezTo>
                  <a:cubicBezTo>
                    <a:pt x="3131" y="1127"/>
                    <a:pt x="3131" y="1127"/>
                    <a:pt x="3131" y="1127"/>
                  </a:cubicBezTo>
                  <a:cubicBezTo>
                    <a:pt x="3170" y="1127"/>
                    <a:pt x="3202" y="1095"/>
                    <a:pt x="3202" y="1056"/>
                  </a:cubicBezTo>
                  <a:cubicBezTo>
                    <a:pt x="3202" y="71"/>
                    <a:pt x="3202" y="71"/>
                    <a:pt x="3202" y="71"/>
                  </a:cubicBezTo>
                  <a:cubicBezTo>
                    <a:pt x="3202" y="32"/>
                    <a:pt x="3170" y="0"/>
                    <a:pt x="3131" y="0"/>
                  </a:cubicBezTo>
                  <a:close/>
                  <a:moveTo>
                    <a:pt x="2659" y="2526"/>
                  </a:moveTo>
                  <a:cubicBezTo>
                    <a:pt x="142" y="2526"/>
                    <a:pt x="142" y="2526"/>
                    <a:pt x="142" y="2526"/>
                  </a:cubicBezTo>
                  <a:cubicBezTo>
                    <a:pt x="142" y="2288"/>
                    <a:pt x="142" y="2288"/>
                    <a:pt x="142" y="2288"/>
                  </a:cubicBezTo>
                  <a:cubicBezTo>
                    <a:pt x="198" y="2288"/>
                    <a:pt x="198" y="2288"/>
                    <a:pt x="198" y="2288"/>
                  </a:cubicBezTo>
                  <a:cubicBezTo>
                    <a:pt x="950" y="2288"/>
                    <a:pt x="950" y="2288"/>
                    <a:pt x="950" y="2288"/>
                  </a:cubicBezTo>
                  <a:cubicBezTo>
                    <a:pt x="950" y="2343"/>
                    <a:pt x="950" y="2343"/>
                    <a:pt x="950" y="2343"/>
                  </a:cubicBezTo>
                  <a:cubicBezTo>
                    <a:pt x="950" y="2383"/>
                    <a:pt x="981" y="2414"/>
                    <a:pt x="1021" y="2414"/>
                  </a:cubicBezTo>
                  <a:cubicBezTo>
                    <a:pt x="1780" y="2414"/>
                    <a:pt x="1780" y="2414"/>
                    <a:pt x="1780" y="2414"/>
                  </a:cubicBezTo>
                  <a:cubicBezTo>
                    <a:pt x="1819" y="2414"/>
                    <a:pt x="1851" y="2383"/>
                    <a:pt x="1851" y="2343"/>
                  </a:cubicBezTo>
                  <a:cubicBezTo>
                    <a:pt x="1851" y="2288"/>
                    <a:pt x="1851" y="2288"/>
                    <a:pt x="1851" y="2288"/>
                  </a:cubicBezTo>
                  <a:cubicBezTo>
                    <a:pt x="2603" y="2288"/>
                    <a:pt x="2603" y="2288"/>
                    <a:pt x="2603" y="2288"/>
                  </a:cubicBezTo>
                  <a:cubicBezTo>
                    <a:pt x="2659" y="2288"/>
                    <a:pt x="2659" y="2288"/>
                    <a:pt x="2659" y="2288"/>
                  </a:cubicBezTo>
                  <a:lnTo>
                    <a:pt x="2659" y="2526"/>
                  </a:lnTo>
                  <a:close/>
                  <a:moveTo>
                    <a:pt x="2532" y="2146"/>
                  </a:moveTo>
                  <a:cubicBezTo>
                    <a:pt x="1780" y="2146"/>
                    <a:pt x="1780" y="2146"/>
                    <a:pt x="1780" y="2146"/>
                  </a:cubicBezTo>
                  <a:cubicBezTo>
                    <a:pt x="1021" y="2146"/>
                    <a:pt x="1021" y="2146"/>
                    <a:pt x="1021" y="2146"/>
                  </a:cubicBezTo>
                  <a:cubicBezTo>
                    <a:pt x="268" y="2146"/>
                    <a:pt x="268" y="2146"/>
                    <a:pt x="268" y="2146"/>
                  </a:cubicBezTo>
                  <a:cubicBezTo>
                    <a:pt x="268" y="768"/>
                    <a:pt x="268" y="768"/>
                    <a:pt x="268" y="768"/>
                  </a:cubicBezTo>
                  <a:cubicBezTo>
                    <a:pt x="1091" y="768"/>
                    <a:pt x="1091" y="768"/>
                    <a:pt x="1091" y="768"/>
                  </a:cubicBezTo>
                  <a:cubicBezTo>
                    <a:pt x="1091" y="1056"/>
                    <a:pt x="1091" y="1056"/>
                    <a:pt x="1091" y="1056"/>
                  </a:cubicBezTo>
                  <a:cubicBezTo>
                    <a:pt x="1091" y="1095"/>
                    <a:pt x="1123" y="1127"/>
                    <a:pt x="1162" y="1127"/>
                  </a:cubicBezTo>
                  <a:cubicBezTo>
                    <a:pt x="1419" y="1127"/>
                    <a:pt x="1419" y="1127"/>
                    <a:pt x="1419" y="1127"/>
                  </a:cubicBezTo>
                  <a:cubicBezTo>
                    <a:pt x="1419" y="1466"/>
                    <a:pt x="1419" y="1466"/>
                    <a:pt x="1419" y="1466"/>
                  </a:cubicBezTo>
                  <a:cubicBezTo>
                    <a:pt x="1419" y="1494"/>
                    <a:pt x="1435" y="1519"/>
                    <a:pt x="1460" y="1530"/>
                  </a:cubicBezTo>
                  <a:cubicBezTo>
                    <a:pt x="1462" y="1531"/>
                    <a:pt x="1464" y="1532"/>
                    <a:pt x="1466" y="1533"/>
                  </a:cubicBezTo>
                  <a:cubicBezTo>
                    <a:pt x="1467" y="1533"/>
                    <a:pt x="1468" y="1533"/>
                    <a:pt x="1468" y="1534"/>
                  </a:cubicBezTo>
                  <a:cubicBezTo>
                    <a:pt x="1470" y="1534"/>
                    <a:pt x="1472" y="1535"/>
                    <a:pt x="1475" y="1535"/>
                  </a:cubicBezTo>
                  <a:cubicBezTo>
                    <a:pt x="1475" y="1535"/>
                    <a:pt x="1475" y="1535"/>
                    <a:pt x="1475" y="1536"/>
                  </a:cubicBezTo>
                  <a:cubicBezTo>
                    <a:pt x="1477" y="1536"/>
                    <a:pt x="1479" y="1536"/>
                    <a:pt x="1482" y="1537"/>
                  </a:cubicBezTo>
                  <a:cubicBezTo>
                    <a:pt x="1482" y="1537"/>
                    <a:pt x="1483" y="1537"/>
                    <a:pt x="1483" y="1537"/>
                  </a:cubicBezTo>
                  <a:cubicBezTo>
                    <a:pt x="1485" y="1537"/>
                    <a:pt x="1488" y="1537"/>
                    <a:pt x="1490" y="1537"/>
                  </a:cubicBezTo>
                  <a:cubicBezTo>
                    <a:pt x="1490" y="1537"/>
                    <a:pt x="1490" y="1537"/>
                    <a:pt x="1490" y="1537"/>
                  </a:cubicBezTo>
                  <a:cubicBezTo>
                    <a:pt x="1490" y="1537"/>
                    <a:pt x="1491" y="1537"/>
                    <a:pt x="1491" y="1537"/>
                  </a:cubicBezTo>
                  <a:cubicBezTo>
                    <a:pt x="1493" y="1537"/>
                    <a:pt x="1494" y="1537"/>
                    <a:pt x="1495" y="1537"/>
                  </a:cubicBezTo>
                  <a:cubicBezTo>
                    <a:pt x="1496" y="1537"/>
                    <a:pt x="1497" y="1537"/>
                    <a:pt x="1497" y="1537"/>
                  </a:cubicBezTo>
                  <a:cubicBezTo>
                    <a:pt x="1499" y="1537"/>
                    <a:pt x="1500" y="1536"/>
                    <a:pt x="1501" y="1536"/>
                  </a:cubicBezTo>
                  <a:cubicBezTo>
                    <a:pt x="1502" y="1536"/>
                    <a:pt x="1502" y="1536"/>
                    <a:pt x="1503" y="1536"/>
                  </a:cubicBezTo>
                  <a:cubicBezTo>
                    <a:pt x="1504" y="1536"/>
                    <a:pt x="1506" y="1535"/>
                    <a:pt x="1507" y="1535"/>
                  </a:cubicBezTo>
                  <a:cubicBezTo>
                    <a:pt x="1507" y="1535"/>
                    <a:pt x="1508" y="1535"/>
                    <a:pt x="1508" y="1535"/>
                  </a:cubicBezTo>
                  <a:cubicBezTo>
                    <a:pt x="1510" y="1534"/>
                    <a:pt x="1512" y="1534"/>
                    <a:pt x="1514" y="1533"/>
                  </a:cubicBezTo>
                  <a:cubicBezTo>
                    <a:pt x="1514" y="1533"/>
                    <a:pt x="1514" y="1533"/>
                    <a:pt x="1515" y="1533"/>
                  </a:cubicBezTo>
                  <a:cubicBezTo>
                    <a:pt x="1516" y="1532"/>
                    <a:pt x="1518" y="1532"/>
                    <a:pt x="1519" y="1531"/>
                  </a:cubicBezTo>
                  <a:cubicBezTo>
                    <a:pt x="1520" y="1531"/>
                    <a:pt x="1520" y="1530"/>
                    <a:pt x="1521" y="1530"/>
                  </a:cubicBezTo>
                  <a:cubicBezTo>
                    <a:pt x="1522" y="1530"/>
                    <a:pt x="1523" y="1529"/>
                    <a:pt x="1524" y="1528"/>
                  </a:cubicBezTo>
                  <a:cubicBezTo>
                    <a:pt x="1525" y="1528"/>
                    <a:pt x="1525" y="1528"/>
                    <a:pt x="1526" y="1527"/>
                  </a:cubicBezTo>
                  <a:cubicBezTo>
                    <a:pt x="1527" y="1527"/>
                    <a:pt x="1528" y="1526"/>
                    <a:pt x="1529" y="1525"/>
                  </a:cubicBezTo>
                  <a:cubicBezTo>
                    <a:pt x="1530" y="1525"/>
                    <a:pt x="1530" y="1525"/>
                    <a:pt x="1531" y="1524"/>
                  </a:cubicBezTo>
                  <a:cubicBezTo>
                    <a:pt x="1532" y="1523"/>
                    <a:pt x="1534" y="1522"/>
                    <a:pt x="1535" y="1521"/>
                  </a:cubicBezTo>
                  <a:cubicBezTo>
                    <a:pt x="2008" y="1127"/>
                    <a:pt x="2008" y="1127"/>
                    <a:pt x="2008" y="1127"/>
                  </a:cubicBezTo>
                  <a:cubicBezTo>
                    <a:pt x="2532" y="1127"/>
                    <a:pt x="2532" y="1127"/>
                    <a:pt x="2532" y="1127"/>
                  </a:cubicBezTo>
                  <a:lnTo>
                    <a:pt x="2532" y="2146"/>
                  </a:lnTo>
                  <a:close/>
                  <a:moveTo>
                    <a:pt x="3060" y="985"/>
                  </a:moveTo>
                  <a:cubicBezTo>
                    <a:pt x="2603" y="985"/>
                    <a:pt x="2603" y="985"/>
                    <a:pt x="2603" y="985"/>
                  </a:cubicBezTo>
                  <a:cubicBezTo>
                    <a:pt x="1982" y="985"/>
                    <a:pt x="1982" y="985"/>
                    <a:pt x="1982" y="985"/>
                  </a:cubicBezTo>
                  <a:cubicBezTo>
                    <a:pt x="1966" y="985"/>
                    <a:pt x="1950" y="991"/>
                    <a:pt x="1937" y="1001"/>
                  </a:cubicBezTo>
                  <a:cubicBezTo>
                    <a:pt x="1561" y="1315"/>
                    <a:pt x="1561" y="1315"/>
                    <a:pt x="1561" y="1315"/>
                  </a:cubicBezTo>
                  <a:cubicBezTo>
                    <a:pt x="1561" y="1056"/>
                    <a:pt x="1561" y="1056"/>
                    <a:pt x="1561" y="1056"/>
                  </a:cubicBezTo>
                  <a:cubicBezTo>
                    <a:pt x="1561" y="1017"/>
                    <a:pt x="1529" y="985"/>
                    <a:pt x="1490" y="985"/>
                  </a:cubicBezTo>
                  <a:cubicBezTo>
                    <a:pt x="1233" y="985"/>
                    <a:pt x="1233" y="985"/>
                    <a:pt x="1233" y="985"/>
                  </a:cubicBezTo>
                  <a:cubicBezTo>
                    <a:pt x="1233" y="697"/>
                    <a:pt x="1233" y="697"/>
                    <a:pt x="1233" y="697"/>
                  </a:cubicBezTo>
                  <a:cubicBezTo>
                    <a:pt x="1233" y="142"/>
                    <a:pt x="1233" y="142"/>
                    <a:pt x="1233" y="142"/>
                  </a:cubicBezTo>
                  <a:cubicBezTo>
                    <a:pt x="3060" y="142"/>
                    <a:pt x="3060" y="142"/>
                    <a:pt x="3060" y="142"/>
                  </a:cubicBezTo>
                  <a:lnTo>
                    <a:pt x="3060" y="985"/>
                  </a:lnTo>
                  <a:close/>
                </a:path>
              </a:pathLst>
            </a:custGeom>
            <a:solidFill>
              <a:srgbClr val="004236">
                <a:lumMod val="90000"/>
                <a:lumOff val="10000"/>
              </a:srgbClr>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s-CO" sz="1200" kern="0">
                <a:solidFill>
                  <a:schemeClr val="tx2"/>
                </a:solidFill>
              </a:endParaRPr>
            </a:p>
          </p:txBody>
        </p:sp>
      </p:grpSp>
      <p:grpSp>
        <p:nvGrpSpPr>
          <p:cNvPr id="16" name="Grupo 15">
            <a:extLst>
              <a:ext uri="{FF2B5EF4-FFF2-40B4-BE49-F238E27FC236}">
                <a16:creationId xmlns:a16="http://schemas.microsoft.com/office/drawing/2014/main" id="{0B2E59AD-3929-43C2-8F9D-A17671E2843E}"/>
              </a:ext>
            </a:extLst>
          </p:cNvPr>
          <p:cNvGrpSpPr/>
          <p:nvPr/>
        </p:nvGrpSpPr>
        <p:grpSpPr>
          <a:xfrm>
            <a:off x="86973" y="881749"/>
            <a:ext cx="5249525" cy="398779"/>
            <a:chOff x="274218" y="869915"/>
            <a:chExt cx="5139766" cy="398779"/>
          </a:xfrm>
        </p:grpSpPr>
        <p:sp>
          <p:nvSpPr>
            <p:cNvPr id="6" name="Rectángulo 5">
              <a:extLst>
                <a:ext uri="{FF2B5EF4-FFF2-40B4-BE49-F238E27FC236}">
                  <a16:creationId xmlns:a16="http://schemas.microsoft.com/office/drawing/2014/main" id="{935E60B3-FFBE-4EF9-967C-09104A4E6C2E}"/>
                </a:ext>
              </a:extLst>
            </p:cNvPr>
            <p:cNvSpPr/>
            <p:nvPr/>
          </p:nvSpPr>
          <p:spPr>
            <a:xfrm>
              <a:off x="274218" y="869915"/>
              <a:ext cx="5139766" cy="398779"/>
            </a:xfrm>
            <a:prstGeom prst="rect">
              <a:avLst/>
            </a:prstGeom>
            <a:solidFill>
              <a:schemeClr val="accent6">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tx2"/>
                  </a:solidFill>
                </a:rPr>
                <a:t>Dirección - Lineamientos, Metodologías, Parámetros</a:t>
              </a:r>
              <a:endParaRPr lang="es-CO" sz="1200" b="1">
                <a:solidFill>
                  <a:schemeClr val="tx2"/>
                </a:solidFill>
              </a:endParaRPr>
            </a:p>
          </p:txBody>
        </p:sp>
        <p:pic>
          <p:nvPicPr>
            <p:cNvPr id="19" name="Graphic 47">
              <a:extLst>
                <a:ext uri="{FF2B5EF4-FFF2-40B4-BE49-F238E27FC236}">
                  <a16:creationId xmlns:a16="http://schemas.microsoft.com/office/drawing/2014/main" id="{5D90D1B2-2CBD-4FED-8155-3C080DC03FC0}"/>
                </a:ext>
              </a:extLst>
            </p:cNvPr>
            <p:cNvPicPr preferRelativeResize="0">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0013" y="926321"/>
              <a:ext cx="246528" cy="257703"/>
            </a:xfrm>
            <a:prstGeom prst="rect">
              <a:avLst/>
            </a:prstGeom>
          </p:spPr>
        </p:pic>
      </p:grpSp>
      <p:grpSp>
        <p:nvGrpSpPr>
          <p:cNvPr id="13" name="Grupo 12">
            <a:extLst>
              <a:ext uri="{FF2B5EF4-FFF2-40B4-BE49-F238E27FC236}">
                <a16:creationId xmlns:a16="http://schemas.microsoft.com/office/drawing/2014/main" id="{A8D5E88D-0623-41AE-9881-9D4BA0197AEA}"/>
              </a:ext>
            </a:extLst>
          </p:cNvPr>
          <p:cNvGrpSpPr/>
          <p:nvPr/>
        </p:nvGrpSpPr>
        <p:grpSpPr>
          <a:xfrm>
            <a:off x="5434339" y="880997"/>
            <a:ext cx="3900063" cy="404369"/>
            <a:chOff x="5015682" y="854173"/>
            <a:chExt cx="3257550" cy="404369"/>
          </a:xfrm>
        </p:grpSpPr>
        <p:sp>
          <p:nvSpPr>
            <p:cNvPr id="8" name="Rectángulo 7">
              <a:extLst>
                <a:ext uri="{FF2B5EF4-FFF2-40B4-BE49-F238E27FC236}">
                  <a16:creationId xmlns:a16="http://schemas.microsoft.com/office/drawing/2014/main" id="{81A81C5F-F714-4D52-A962-FC37F5FDCEB1}"/>
                </a:ext>
              </a:extLst>
            </p:cNvPr>
            <p:cNvSpPr/>
            <p:nvPr/>
          </p:nvSpPr>
          <p:spPr>
            <a:xfrm>
              <a:off x="5015682" y="854173"/>
              <a:ext cx="3257550" cy="388097"/>
            </a:xfrm>
            <a:prstGeom prst="rect">
              <a:avLst/>
            </a:prstGeom>
            <a:solidFill>
              <a:schemeClr val="accent5">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a:solidFill>
                    <a:schemeClr val="tx2"/>
                  </a:solidFill>
                </a:rPr>
                <a:t>Control</a:t>
              </a:r>
              <a:endParaRPr lang="es-CO" sz="1200" b="1">
                <a:solidFill>
                  <a:schemeClr val="tx2"/>
                </a:solidFill>
              </a:endParaRPr>
            </a:p>
          </p:txBody>
        </p:sp>
        <p:pic>
          <p:nvPicPr>
            <p:cNvPr id="21" name="Gráfico 20" descr="Flecha circular">
              <a:extLst>
                <a:ext uri="{FF2B5EF4-FFF2-40B4-BE49-F238E27FC236}">
                  <a16:creationId xmlns:a16="http://schemas.microsoft.com/office/drawing/2014/main" id="{802D394E-E061-44FF-8816-DDC7B1B331B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974918" y="859763"/>
              <a:ext cx="398779" cy="398779"/>
            </a:xfrm>
            <a:prstGeom prst="rect">
              <a:avLst/>
            </a:prstGeom>
          </p:spPr>
        </p:pic>
      </p:grpSp>
      <p:sp>
        <p:nvSpPr>
          <p:cNvPr id="14" name="TextBox 30">
            <a:extLst>
              <a:ext uri="{FF2B5EF4-FFF2-40B4-BE49-F238E27FC236}">
                <a16:creationId xmlns:a16="http://schemas.microsoft.com/office/drawing/2014/main" id="{0572F48F-01C6-4118-B2F6-94C3B890E625}"/>
              </a:ext>
            </a:extLst>
          </p:cNvPr>
          <p:cNvSpPr txBox="1">
            <a:spLocks/>
          </p:cNvSpPr>
          <p:nvPr>
            <p:custDataLst>
              <p:tags r:id="rId2"/>
            </p:custDataLst>
          </p:nvPr>
        </p:nvSpPr>
        <p:spPr>
          <a:xfrm>
            <a:off x="5434339" y="1353789"/>
            <a:ext cx="3874553" cy="4892400"/>
          </a:xfrm>
          <a:prstGeom prst="rect">
            <a:avLst/>
          </a:prstGeom>
          <a:ln>
            <a:solidFill>
              <a:srgbClr val="BDD4B4"/>
            </a:solidFill>
          </a:ln>
        </p:spPr>
        <p:txBody>
          <a:bodyPr vert="horz" wrap="square" lIns="36000" tIns="0" rIns="36000" bIns="0" rtlCol="0" anchor="t" anchorCtr="0">
            <a:spAutoFit/>
          </a:bodyPr>
          <a:lstStyle>
            <a:lvl1pPr marL="0" lvl="0" indent="0" defTabSz="895350" eaLnBrk="1" latinLnBrk="0" hangingPunct="1">
              <a:buClr>
                <a:schemeClr val="tx2"/>
              </a:buClr>
              <a:buSzPct val="100000"/>
              <a:defRPr lang="es-ES" baseline="0" dirty="0">
                <a:latin typeface="+mn-lt"/>
              </a:defRPr>
            </a:lvl1pPr>
            <a:lvl2pPr marL="194400" lvl="1" indent="-190800" defTabSz="895350" eaLnBrk="1" latinLnBrk="0" hangingPunct="1">
              <a:buClr>
                <a:schemeClr val="tx2"/>
              </a:buClr>
              <a:buSzPct val="125000"/>
              <a:buFont typeface="Arial" charset="0"/>
              <a:buChar char="▪"/>
              <a:defRPr lang="es-ES" baseline="0" dirty="0">
                <a:latin typeface="+mn-lt"/>
              </a:defRPr>
            </a:lvl2pPr>
            <a:lvl3pPr marL="446400" lvl="2" indent="-248400" defTabSz="895350" eaLnBrk="1" latinLnBrk="0" hangingPunct="1">
              <a:buClr>
                <a:schemeClr val="tx2"/>
              </a:buClr>
              <a:buSzPct val="120000"/>
              <a:buFont typeface="Arial" charset="0"/>
              <a:buChar char="–"/>
              <a:defRPr lang="es-ES" baseline="0" dirty="0">
                <a:latin typeface="+mn-lt"/>
              </a:defRPr>
            </a:lvl3pPr>
            <a:lvl4pPr marL="615600" lvl="3" indent="-154800" defTabSz="895350" eaLnBrk="1" latinLnBrk="0" hangingPunct="1">
              <a:buClr>
                <a:schemeClr val="tx2"/>
              </a:buClr>
              <a:buSzPct val="120000"/>
              <a:buFont typeface="Arial" charset="0"/>
              <a:buChar char="▫"/>
              <a:defRPr lang="es-ES" baseline="0" dirty="0">
                <a:latin typeface="+mn-lt"/>
              </a:defRPr>
            </a:lvl4pPr>
            <a:lvl5pPr marL="748800" lvl="4" indent="-129600" defTabSz="895350" eaLnBrk="1" latinLnBrk="0" hangingPunct="1">
              <a:buClr>
                <a:schemeClr val="tx2"/>
              </a:buClr>
              <a:buSzPct val="89000"/>
              <a:buFont typeface="Arial" charset="0"/>
              <a:buChar char="-"/>
              <a:defRPr lang="es-E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lvl="1" algn="just">
              <a:spcBef>
                <a:spcPct val="50000"/>
              </a:spcBef>
            </a:pPr>
            <a:r>
              <a:rPr lang="es-ES" sz="1200" b="1" dirty="0">
                <a:solidFill>
                  <a:schemeClr val="tx2"/>
                </a:solidFill>
                <a:latin typeface="Arial" charset="0"/>
              </a:rPr>
              <a:t>Consolidar información presupuestal </a:t>
            </a:r>
            <a:r>
              <a:rPr lang="es-ES" sz="1200" dirty="0">
                <a:solidFill>
                  <a:schemeClr val="tx2"/>
                </a:solidFill>
                <a:latin typeface="Arial" charset="0"/>
              </a:rPr>
              <a:t>de Cenit y las filiales para generar presupuesto de EEFF consolidados del segmento</a:t>
            </a:r>
          </a:p>
          <a:p>
            <a:pPr lvl="1" algn="just">
              <a:spcBef>
                <a:spcPct val="50000"/>
              </a:spcBef>
            </a:pPr>
            <a:r>
              <a:rPr lang="es-ES" sz="1200" dirty="0">
                <a:solidFill>
                  <a:schemeClr val="tx2"/>
                </a:solidFill>
              </a:rPr>
              <a:t>Análisis de </a:t>
            </a:r>
            <a:r>
              <a:rPr lang="es-ES" sz="1200" b="1" dirty="0">
                <a:solidFill>
                  <a:schemeClr val="tx2"/>
                </a:solidFill>
              </a:rPr>
              <a:t>cumplimiento del plan financiero </a:t>
            </a:r>
            <a:r>
              <a:rPr lang="es-ES" sz="1200" dirty="0">
                <a:solidFill>
                  <a:schemeClr val="tx2"/>
                </a:solidFill>
              </a:rPr>
              <a:t>y del </a:t>
            </a:r>
            <a:r>
              <a:rPr lang="es-ES" sz="1200" b="1" dirty="0">
                <a:solidFill>
                  <a:schemeClr val="tx2"/>
                </a:solidFill>
              </a:rPr>
              <a:t>plan de inversiones </a:t>
            </a:r>
            <a:r>
              <a:rPr lang="es-ES" sz="1200" dirty="0">
                <a:solidFill>
                  <a:schemeClr val="tx2"/>
                </a:solidFill>
              </a:rPr>
              <a:t>(causas de desviaciones) y proyecciones financieras pertinentes</a:t>
            </a:r>
          </a:p>
          <a:p>
            <a:pPr lvl="1" algn="just">
              <a:spcBef>
                <a:spcPct val="50000"/>
              </a:spcBef>
            </a:pPr>
            <a:r>
              <a:rPr lang="es-ES" sz="1200" dirty="0">
                <a:solidFill>
                  <a:schemeClr val="tx2"/>
                </a:solidFill>
              </a:rPr>
              <a:t>Análisis de cumplimiento de los indicadores de gestión (</a:t>
            </a:r>
            <a:r>
              <a:rPr lang="es-ES" sz="1200" b="1" dirty="0">
                <a:solidFill>
                  <a:schemeClr val="tx2"/>
                </a:solidFill>
              </a:rPr>
              <a:t>causas de desviaciones y planes de ajuste cuando se requiera</a:t>
            </a:r>
            <a:r>
              <a:rPr lang="es-ES" sz="1200" dirty="0">
                <a:solidFill>
                  <a:schemeClr val="tx2"/>
                </a:solidFill>
              </a:rPr>
              <a:t>)</a:t>
            </a:r>
          </a:p>
          <a:p>
            <a:pPr lvl="1" algn="just">
              <a:spcBef>
                <a:spcPct val="50000"/>
              </a:spcBef>
            </a:pPr>
            <a:r>
              <a:rPr lang="es-ES" sz="1200" dirty="0">
                <a:solidFill>
                  <a:schemeClr val="tx2"/>
                </a:solidFill>
              </a:rPr>
              <a:t>Seguimiento a procesos jurídicos tributarios y a la aplicación de los lineamientos emitidos</a:t>
            </a:r>
          </a:p>
          <a:p>
            <a:pPr lvl="1" algn="just">
              <a:spcBef>
                <a:spcPct val="50000"/>
              </a:spcBef>
            </a:pPr>
            <a:r>
              <a:rPr lang="es-ES" sz="1200" dirty="0">
                <a:solidFill>
                  <a:schemeClr val="tx2"/>
                </a:solidFill>
              </a:rPr>
              <a:t>Recopilar información de las tesorerías del segmento, para </a:t>
            </a:r>
            <a:r>
              <a:rPr lang="es-ES" sz="1200" b="1" dirty="0">
                <a:solidFill>
                  <a:schemeClr val="tx2"/>
                </a:solidFill>
              </a:rPr>
              <a:t>monitoreo de portafolios de inversión y flujo de caja</a:t>
            </a:r>
            <a:r>
              <a:rPr lang="es-ES" sz="1200" dirty="0">
                <a:solidFill>
                  <a:schemeClr val="tx2"/>
                </a:solidFill>
              </a:rPr>
              <a:t> y seguimiento al cumplimiento de las políticas y lineamientos</a:t>
            </a:r>
          </a:p>
          <a:p>
            <a:pPr lvl="1" algn="just">
              <a:spcBef>
                <a:spcPct val="50000"/>
              </a:spcBef>
            </a:pPr>
            <a:r>
              <a:rPr lang="es-ES" sz="1200" dirty="0">
                <a:solidFill>
                  <a:schemeClr val="tx2"/>
                </a:solidFill>
              </a:rPr>
              <a:t>Seguimiento al programa de seguros del segmento</a:t>
            </a:r>
          </a:p>
          <a:p>
            <a:pPr lvl="1" algn="just">
              <a:spcBef>
                <a:spcPct val="50000"/>
              </a:spcBef>
            </a:pPr>
            <a:r>
              <a:rPr lang="es-ES" sz="1200" dirty="0">
                <a:solidFill>
                  <a:schemeClr val="tx2"/>
                </a:solidFill>
              </a:rPr>
              <a:t>Recopilar la información de filiales para la </a:t>
            </a:r>
            <a:r>
              <a:rPr lang="es-ES" sz="1200" b="1" dirty="0">
                <a:solidFill>
                  <a:schemeClr val="tx2"/>
                </a:solidFill>
              </a:rPr>
              <a:t>construcción de información financiera </a:t>
            </a:r>
            <a:r>
              <a:rPr lang="es-ES" sz="1200" dirty="0">
                <a:solidFill>
                  <a:schemeClr val="tx2"/>
                </a:solidFill>
              </a:rPr>
              <a:t>consolidada y del segmento</a:t>
            </a:r>
          </a:p>
          <a:p>
            <a:pPr lvl="1" algn="just">
              <a:spcBef>
                <a:spcPct val="50000"/>
              </a:spcBef>
            </a:pPr>
            <a:r>
              <a:rPr lang="es-ES" sz="1200" dirty="0">
                <a:solidFill>
                  <a:schemeClr val="tx2"/>
                </a:solidFill>
              </a:rPr>
              <a:t>Revisar la información financiera reportada por las filiales (oportunidad del contenido), la </a:t>
            </a:r>
            <a:r>
              <a:rPr lang="es-ES" sz="1200" b="1" dirty="0">
                <a:solidFill>
                  <a:schemeClr val="tx2"/>
                </a:solidFill>
              </a:rPr>
              <a:t>responsabilidad de las cifras individuales y el cumplimiento del cierre contable de cada filial</a:t>
            </a:r>
          </a:p>
        </p:txBody>
      </p:sp>
      <p:sp>
        <p:nvSpPr>
          <p:cNvPr id="9" name="Rectángulo 8">
            <a:extLst>
              <a:ext uri="{FF2B5EF4-FFF2-40B4-BE49-F238E27FC236}">
                <a16:creationId xmlns:a16="http://schemas.microsoft.com/office/drawing/2014/main" id="{843A89DC-9148-428C-8B25-E10F36D4E507}"/>
              </a:ext>
            </a:extLst>
          </p:cNvPr>
          <p:cNvSpPr/>
          <p:nvPr/>
        </p:nvSpPr>
        <p:spPr>
          <a:xfrm>
            <a:off x="74339" y="6450185"/>
            <a:ext cx="6557265" cy="276999"/>
          </a:xfrm>
          <a:prstGeom prst="rect">
            <a:avLst/>
          </a:prstGeom>
          <a:ln>
            <a:solidFill>
              <a:srgbClr val="BDD4B4"/>
            </a:solidFill>
          </a:ln>
        </p:spPr>
        <p:txBody>
          <a:bodyPr wrap="square">
            <a:spAutoFit/>
          </a:bodyPr>
          <a:lstStyle/>
          <a:p>
            <a:pPr marL="171450" indent="-171450" algn="just">
              <a:spcBef>
                <a:spcPct val="50000"/>
              </a:spcBef>
              <a:buFont typeface="Arial" panose="020B0604020202020204" pitchFamily="34" charset="0"/>
              <a:buChar char="•"/>
            </a:pPr>
            <a:r>
              <a:rPr lang="es-ES" sz="1200">
                <a:solidFill>
                  <a:schemeClr val="tx2"/>
                </a:solidFill>
              </a:rPr>
              <a:t>Las actividades que se hacen hoy no están documentadas / oficializadas </a:t>
            </a:r>
          </a:p>
        </p:txBody>
      </p:sp>
      <p:sp>
        <p:nvSpPr>
          <p:cNvPr id="3" name="CuadroTexto 47">
            <a:extLst>
              <a:ext uri="{FF2B5EF4-FFF2-40B4-BE49-F238E27FC236}">
                <a16:creationId xmlns:a16="http://schemas.microsoft.com/office/drawing/2014/main" id="{A601CB2A-16D4-4875-9428-EE9FB5180955}"/>
              </a:ext>
            </a:extLst>
          </p:cNvPr>
          <p:cNvSpPr txBox="1"/>
          <p:nvPr/>
        </p:nvSpPr>
        <p:spPr>
          <a:xfrm>
            <a:off x="-99210" y="85340"/>
            <a:ext cx="12390420" cy="400110"/>
          </a:xfrm>
          <a:prstGeom prst="rect">
            <a:avLst/>
          </a:prstGeom>
          <a:noFill/>
          <a:ln>
            <a:noFill/>
          </a:ln>
        </p:spPr>
        <p:txBody>
          <a:bodyPr wrap="square" rtlCol="0">
            <a:spAutoFit/>
          </a:bodyPr>
          <a:lstStyle/>
          <a:p>
            <a:pPr algn="ctr"/>
            <a:r>
              <a:rPr lang="es-ES" sz="2000" b="1" dirty="0">
                <a:solidFill>
                  <a:srgbClr val="10476B"/>
                </a:solidFill>
                <a:latin typeface="Century Gothic" panose="020B0502020202020204" pitchFamily="34" charset="0"/>
                <a:cs typeface="Arial" panose="020B0604020202020204" pitchFamily="34" charset="0"/>
              </a:rPr>
              <a:t>Modelo de Relacionamiento – Finanzas y Planeación Estratégica, Nuevos Negocios  y Regulación </a:t>
            </a:r>
            <a:endParaRPr lang="es-CO" sz="2000" b="1" dirty="0">
              <a:solidFill>
                <a:srgbClr val="10476B"/>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19662048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301F4E9D-AF80-407A-857F-32DDC94021EF}"/>
              </a:ext>
            </a:extLst>
          </p:cNvPr>
          <p:cNvPicPr>
            <a:picLocks noChangeAspect="1"/>
          </p:cNvPicPr>
          <p:nvPr/>
        </p:nvPicPr>
        <p:blipFill rotWithShape="1">
          <a:blip r:embed="rId2"/>
          <a:srcRect b="5334"/>
          <a:stretch/>
        </p:blipFill>
        <p:spPr>
          <a:xfrm>
            <a:off x="0" y="1674"/>
            <a:ext cx="12192000" cy="6856326"/>
          </a:xfrm>
          <a:prstGeom prst="rect">
            <a:avLst/>
          </a:prstGeom>
        </p:spPr>
      </p:pic>
    </p:spTree>
    <p:extLst>
      <p:ext uri="{BB962C8B-B14F-4D97-AF65-F5344CB8AC3E}">
        <p14:creationId xmlns:p14="http://schemas.microsoft.com/office/powerpoint/2010/main" val="37668312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576DB5E4-BFCE-496A-83D6-EAE11A2D0EFA}"/>
              </a:ext>
            </a:extLst>
          </p:cNvPr>
          <p:cNvPicPr>
            <a:picLocks noChangeAspect="1"/>
          </p:cNvPicPr>
          <p:nvPr/>
        </p:nvPicPr>
        <p:blipFill rotWithShape="1">
          <a:blip r:embed="rId2"/>
          <a:srcRect t="4787" r="1270" b="5988"/>
          <a:stretch/>
        </p:blipFill>
        <p:spPr>
          <a:xfrm>
            <a:off x="0" y="74953"/>
            <a:ext cx="12192000" cy="6194687"/>
          </a:xfrm>
          <a:prstGeom prst="rect">
            <a:avLst/>
          </a:prstGeom>
        </p:spPr>
      </p:pic>
    </p:spTree>
    <p:extLst>
      <p:ext uri="{BB962C8B-B14F-4D97-AF65-F5344CB8AC3E}">
        <p14:creationId xmlns:p14="http://schemas.microsoft.com/office/powerpoint/2010/main" val="105235384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957EAA4A-611C-4244-89F5-F39EF823DE08}"/>
              </a:ext>
            </a:extLst>
          </p:cNvPr>
          <p:cNvSpPr txBox="1"/>
          <p:nvPr/>
        </p:nvSpPr>
        <p:spPr>
          <a:xfrm>
            <a:off x="4823857" y="3055920"/>
            <a:ext cx="2544286" cy="369332"/>
          </a:xfrm>
          <a:prstGeom prst="rect">
            <a:avLst/>
          </a:prstGeom>
          <a:noFill/>
        </p:spPr>
        <p:txBody>
          <a:bodyPr wrap="none" rtlCol="0">
            <a:spAutoFit/>
          </a:bodyPr>
          <a:lstStyle/>
          <a:p>
            <a:r>
              <a:rPr lang="es-ES">
                <a:highlight>
                  <a:srgbClr val="FFFF00"/>
                </a:highlight>
              </a:rPr>
              <a:t>Vídeo Comité Directivo</a:t>
            </a:r>
            <a:endParaRPr lang="es-CO">
              <a:highlight>
                <a:srgbClr val="FFFF00"/>
              </a:highlight>
            </a:endParaRPr>
          </a:p>
        </p:txBody>
      </p:sp>
      <p:pic>
        <p:nvPicPr>
          <p:cNvPr id="4" name="Vídeo Cierre PGC">
            <a:hlinkClick r:id="" action="ppaction://media"/>
            <a:extLst>
              <a:ext uri="{FF2B5EF4-FFF2-40B4-BE49-F238E27FC236}">
                <a16:creationId xmlns:a16="http://schemas.microsoft.com/office/drawing/2014/main" id="{70371C8E-53B3-426B-95BC-2A4DC84527D9}"/>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459037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831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091FAB4A-142A-434B-BB3E-E6440A7673E0}"/>
              </a:ext>
            </a:extLst>
          </p:cNvPr>
          <p:cNvSpPr>
            <a:spLocks noGrp="1"/>
          </p:cNvSpPr>
          <p:nvPr>
            <p:ph type="sldNum" sz="quarter" idx="4"/>
          </p:nvPr>
        </p:nvSpPr>
        <p:spPr/>
        <p:txBody>
          <a:bodyPr/>
          <a:lstStyle/>
          <a:p>
            <a:fld id="{02F25750-4209-4357-A72F-45445C8044EF}" type="slidenum">
              <a:rPr lang="es-CO" smtClean="0"/>
              <a:pPr/>
              <a:t>5</a:t>
            </a:fld>
            <a:endParaRPr lang="es-CO"/>
          </a:p>
        </p:txBody>
      </p:sp>
      <p:sp>
        <p:nvSpPr>
          <p:cNvPr id="6" name="Título 5">
            <a:extLst>
              <a:ext uri="{FF2B5EF4-FFF2-40B4-BE49-F238E27FC236}">
                <a16:creationId xmlns:a16="http://schemas.microsoft.com/office/drawing/2014/main" id="{B98BFC37-647B-418B-BCC1-75FEE0AF5DD7}"/>
              </a:ext>
            </a:extLst>
          </p:cNvPr>
          <p:cNvSpPr>
            <a:spLocks noGrp="1"/>
          </p:cNvSpPr>
          <p:nvPr>
            <p:ph type="ctrTitle"/>
          </p:nvPr>
        </p:nvSpPr>
        <p:spPr/>
        <p:txBody>
          <a:bodyPr/>
          <a:lstStyle/>
          <a:p>
            <a:endParaRPr lang="es-CO"/>
          </a:p>
        </p:txBody>
      </p:sp>
      <p:pic>
        <p:nvPicPr>
          <p:cNvPr id="3" name="Imagen 2">
            <a:extLst>
              <a:ext uri="{FF2B5EF4-FFF2-40B4-BE49-F238E27FC236}">
                <a16:creationId xmlns:a16="http://schemas.microsoft.com/office/drawing/2014/main" id="{4E0DC0D8-EE90-46CF-B1EB-A222BC48C74F}"/>
              </a:ext>
            </a:extLst>
          </p:cNvPr>
          <p:cNvPicPr>
            <a:picLocks noChangeAspect="1"/>
          </p:cNvPicPr>
          <p:nvPr/>
        </p:nvPicPr>
        <p:blipFill>
          <a:blip r:embed="rId2"/>
          <a:stretch>
            <a:fillRect/>
          </a:stretch>
        </p:blipFill>
        <p:spPr>
          <a:xfrm>
            <a:off x="0" y="1673"/>
            <a:ext cx="12192000" cy="6856327"/>
          </a:xfrm>
          <a:prstGeom prst="rect">
            <a:avLst/>
          </a:prstGeom>
        </p:spPr>
      </p:pic>
    </p:spTree>
    <p:extLst>
      <p:ext uri="{BB962C8B-B14F-4D97-AF65-F5344CB8AC3E}">
        <p14:creationId xmlns:p14="http://schemas.microsoft.com/office/powerpoint/2010/main" val="18243682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D05F3256-18DF-4D2F-A3BD-25B28D8DE1B0}"/>
              </a:ext>
            </a:extLst>
          </p:cNvPr>
          <p:cNvPicPr>
            <a:picLocks noChangeAspect="1"/>
          </p:cNvPicPr>
          <p:nvPr/>
        </p:nvPicPr>
        <p:blipFill>
          <a:blip r:embed="rId2"/>
          <a:stretch>
            <a:fillRect/>
          </a:stretch>
        </p:blipFill>
        <p:spPr>
          <a:xfrm>
            <a:off x="267855" y="1053146"/>
            <a:ext cx="10529456" cy="5121152"/>
          </a:xfrm>
          <a:prstGeom prst="rect">
            <a:avLst/>
          </a:prstGeom>
        </p:spPr>
      </p:pic>
      <p:sp>
        <p:nvSpPr>
          <p:cNvPr id="11" name="Rectángulo 10"/>
          <p:cNvSpPr/>
          <p:nvPr/>
        </p:nvSpPr>
        <p:spPr>
          <a:xfrm>
            <a:off x="8" y="952109"/>
            <a:ext cx="5995350" cy="45719"/>
          </a:xfrm>
          <a:prstGeom prst="rect">
            <a:avLst/>
          </a:prstGeom>
          <a:solidFill>
            <a:srgbClr val="0E365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prstClr val="white"/>
                </a:solidFill>
                <a:effectLst/>
                <a:uLnTx/>
                <a:uFillTx/>
                <a:latin typeface="Calibri"/>
                <a:ea typeface="+mn-ea"/>
                <a:cs typeface="+mn-cs"/>
              </a:rPr>
              <a:t> </a:t>
            </a:r>
          </a:p>
        </p:txBody>
      </p:sp>
      <p:grpSp>
        <p:nvGrpSpPr>
          <p:cNvPr id="9" name="Agrupar 8"/>
          <p:cNvGrpSpPr/>
          <p:nvPr/>
        </p:nvGrpSpPr>
        <p:grpSpPr>
          <a:xfrm>
            <a:off x="-4" y="4856158"/>
            <a:ext cx="3186917" cy="2001842"/>
            <a:chOff x="-4" y="4856158"/>
            <a:chExt cx="3186917" cy="2001842"/>
          </a:xfrm>
        </p:grpSpPr>
        <p:sp>
          <p:nvSpPr>
            <p:cNvPr id="10" name="Triángulo rectángulo 9"/>
            <p:cNvSpPr/>
            <p:nvPr/>
          </p:nvSpPr>
          <p:spPr>
            <a:xfrm>
              <a:off x="576231" y="6102532"/>
              <a:ext cx="2610682" cy="755468"/>
            </a:xfrm>
            <a:prstGeom prst="rtTriangle">
              <a:avLst/>
            </a:prstGeom>
            <a:solidFill>
              <a:srgbClr val="F4981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0000"/>
                </a:solidFill>
                <a:effectLst/>
                <a:uLnTx/>
                <a:uFillTx/>
                <a:latin typeface="Calibri"/>
                <a:ea typeface="+mn-ea"/>
                <a:cs typeface="+mn-cs"/>
              </a:endParaRPr>
            </a:p>
          </p:txBody>
        </p:sp>
        <p:sp>
          <p:nvSpPr>
            <p:cNvPr id="12" name="Triángulo isósceles 11"/>
            <p:cNvSpPr/>
            <p:nvPr/>
          </p:nvSpPr>
          <p:spPr>
            <a:xfrm flipH="1">
              <a:off x="-4" y="4856158"/>
              <a:ext cx="952549" cy="2001841"/>
            </a:xfrm>
            <a:prstGeom prst="triangle">
              <a:avLst>
                <a:gd name="adj" fmla="val 100000"/>
              </a:avLst>
            </a:prstGeom>
            <a:solidFill>
              <a:srgbClr val="0E3758"/>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Triángulo isósceles 12"/>
            <p:cNvSpPr/>
            <p:nvPr/>
          </p:nvSpPr>
          <p:spPr>
            <a:xfrm>
              <a:off x="0" y="6126049"/>
              <a:ext cx="1822773" cy="731951"/>
            </a:xfrm>
            <a:prstGeom prst="triangle">
              <a:avLst>
                <a:gd name="adj" fmla="val 33872"/>
              </a:avLst>
            </a:prstGeom>
            <a:solidFill>
              <a:srgbClr val="106495"/>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4" name="Agrupar 13"/>
          <p:cNvGrpSpPr/>
          <p:nvPr/>
        </p:nvGrpSpPr>
        <p:grpSpPr>
          <a:xfrm flipH="1" flipV="1">
            <a:off x="9005083" y="0"/>
            <a:ext cx="3186917" cy="2001842"/>
            <a:chOff x="6690860" y="2598117"/>
            <a:chExt cx="3186917" cy="2001842"/>
          </a:xfrm>
        </p:grpSpPr>
        <p:sp>
          <p:nvSpPr>
            <p:cNvPr id="15" name="Triángulo rectángulo 14"/>
            <p:cNvSpPr/>
            <p:nvPr/>
          </p:nvSpPr>
          <p:spPr>
            <a:xfrm>
              <a:off x="7267095" y="3844491"/>
              <a:ext cx="2610682" cy="755468"/>
            </a:xfrm>
            <a:prstGeom prst="rtTriangle">
              <a:avLst/>
            </a:prstGeom>
            <a:solidFill>
              <a:srgbClr val="CCD63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0000"/>
                </a:solidFill>
                <a:effectLst/>
                <a:uLnTx/>
                <a:uFillTx/>
                <a:latin typeface="Calibri"/>
                <a:ea typeface="+mn-ea"/>
                <a:cs typeface="+mn-cs"/>
              </a:endParaRPr>
            </a:p>
          </p:txBody>
        </p:sp>
        <p:sp>
          <p:nvSpPr>
            <p:cNvPr id="16" name="Triángulo isósceles 15"/>
            <p:cNvSpPr/>
            <p:nvPr/>
          </p:nvSpPr>
          <p:spPr>
            <a:xfrm flipH="1">
              <a:off x="6690860" y="2598117"/>
              <a:ext cx="952549" cy="2001841"/>
            </a:xfrm>
            <a:prstGeom prst="triangle">
              <a:avLst>
                <a:gd name="adj" fmla="val 100000"/>
              </a:avLst>
            </a:prstGeom>
            <a:solidFill>
              <a:srgbClr val="0E3758"/>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sp>
          <p:nvSpPr>
            <p:cNvPr id="17" name="Triángulo isósceles 16"/>
            <p:cNvSpPr/>
            <p:nvPr/>
          </p:nvSpPr>
          <p:spPr>
            <a:xfrm>
              <a:off x="6690864" y="3868008"/>
              <a:ext cx="1822773" cy="731951"/>
            </a:xfrm>
            <a:prstGeom prst="triangle">
              <a:avLst>
                <a:gd name="adj" fmla="val 33872"/>
              </a:avLst>
            </a:prstGeom>
            <a:solidFill>
              <a:srgbClr val="106495"/>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19" name="Imagen 18" descr="Cenit_Whit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6500" y="6338602"/>
            <a:ext cx="694888" cy="519398"/>
          </a:xfrm>
          <a:prstGeom prst="rect">
            <a:avLst/>
          </a:prstGeom>
        </p:spPr>
      </p:pic>
      <p:sp>
        <p:nvSpPr>
          <p:cNvPr id="20" name="Recortar rectángulo de esquina diagonal 19"/>
          <p:cNvSpPr/>
          <p:nvPr/>
        </p:nvSpPr>
        <p:spPr>
          <a:xfrm flipH="1">
            <a:off x="10047202" y="6065868"/>
            <a:ext cx="2144798" cy="569334"/>
          </a:xfrm>
          <a:prstGeom prst="snip2DiagRect">
            <a:avLst>
              <a:gd name="adj1" fmla="val 0"/>
              <a:gd name="adj2" fmla="val 50000"/>
            </a:avLst>
          </a:prstGeom>
          <a:solidFill>
            <a:srgbClr val="106495"/>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sp>
        <p:nvSpPr>
          <p:cNvPr id="23" name="CuadroTexto 22"/>
          <p:cNvSpPr txBox="1"/>
          <p:nvPr/>
        </p:nvSpPr>
        <p:spPr>
          <a:xfrm>
            <a:off x="9730172" y="6042511"/>
            <a:ext cx="2305859" cy="53699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prstClr val="white">
                    <a:lumMod val="95000"/>
                  </a:prstClr>
                </a:solidFill>
                <a:effectLst/>
                <a:uLnTx/>
                <a:uFillTx/>
                <a:latin typeface="Calibri light titulos"/>
                <a:ea typeface="+mn-ea"/>
                <a:cs typeface="Calibri light titulos"/>
              </a:rPr>
              <a:t>Implementación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prstClr val="white">
                    <a:lumMod val="95000"/>
                  </a:prstClr>
                </a:solidFill>
                <a:effectLst/>
                <a:uLnTx/>
                <a:uFillTx/>
                <a:latin typeface="Calibri light titulos"/>
                <a:ea typeface="+mn-ea"/>
                <a:cs typeface="Calibri light titulos"/>
              </a:rPr>
              <a:t>de Procesos</a:t>
            </a:r>
          </a:p>
        </p:txBody>
      </p:sp>
      <p:sp>
        <p:nvSpPr>
          <p:cNvPr id="18" name="CuadroTexto 17">
            <a:extLst>
              <a:ext uri="{FF2B5EF4-FFF2-40B4-BE49-F238E27FC236}">
                <a16:creationId xmlns:a16="http://schemas.microsoft.com/office/drawing/2014/main" id="{C49F24FC-F98D-487C-B498-814F5ABEB0BF}"/>
              </a:ext>
            </a:extLst>
          </p:cNvPr>
          <p:cNvSpPr txBox="1"/>
          <p:nvPr/>
        </p:nvSpPr>
        <p:spPr>
          <a:xfrm>
            <a:off x="62679" y="362503"/>
            <a:ext cx="9748027"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3200" b="1" i="0" u="none" strike="noStrike" kern="1200" cap="none" spc="0" normalizeH="0" baseline="0" noProof="0">
                <a:ln>
                  <a:noFill/>
                </a:ln>
                <a:solidFill>
                  <a:srgbClr val="0E3658"/>
                </a:solidFill>
                <a:effectLst/>
                <a:uLnTx/>
                <a:uFillTx/>
                <a:latin typeface="Calibri light titulos"/>
                <a:ea typeface="+mn-ea"/>
                <a:cs typeface="Calibri light titulos"/>
              </a:rPr>
              <a:t>Modelo de Procesos 202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3200" b="1" i="0" u="none" strike="noStrike" kern="1200" cap="none" spc="0" normalizeH="0" baseline="0" noProof="0">
              <a:ln>
                <a:noFill/>
              </a:ln>
              <a:solidFill>
                <a:srgbClr val="0E3658"/>
              </a:solidFill>
              <a:effectLst/>
              <a:uLnTx/>
              <a:uFillTx/>
              <a:latin typeface="Calibri light titulos"/>
              <a:ea typeface="+mn-ea"/>
              <a:cs typeface="Calibri light titulos"/>
            </a:endParaRPr>
          </a:p>
        </p:txBody>
      </p:sp>
      <p:pic>
        <p:nvPicPr>
          <p:cNvPr id="21" name="Imagen 20">
            <a:extLst>
              <a:ext uri="{FF2B5EF4-FFF2-40B4-BE49-F238E27FC236}">
                <a16:creationId xmlns:a16="http://schemas.microsoft.com/office/drawing/2014/main" id="{C4A9CCEF-9CA8-4E63-BD72-A70A516A49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5610" y="2116972"/>
            <a:ext cx="2478157" cy="2657034"/>
          </a:xfrm>
          <a:prstGeom prst="rect">
            <a:avLst/>
          </a:prstGeom>
        </p:spPr>
      </p:pic>
    </p:spTree>
    <p:extLst>
      <p:ext uri="{BB962C8B-B14F-4D97-AF65-F5344CB8AC3E}">
        <p14:creationId xmlns:p14="http://schemas.microsoft.com/office/powerpoint/2010/main" val="11205978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ángulo 8"/>
          <p:cNvSpPr/>
          <p:nvPr/>
        </p:nvSpPr>
        <p:spPr>
          <a:xfrm>
            <a:off x="8" y="952109"/>
            <a:ext cx="5995350" cy="45719"/>
          </a:xfrm>
          <a:prstGeom prst="rect">
            <a:avLst/>
          </a:prstGeom>
          <a:solidFill>
            <a:srgbClr val="0E365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a:ln>
                  <a:noFill/>
                </a:ln>
                <a:solidFill>
                  <a:prstClr val="white"/>
                </a:solidFill>
                <a:effectLst/>
                <a:uLnTx/>
                <a:uFillTx/>
                <a:latin typeface="Calibri"/>
                <a:ea typeface="+mn-ea"/>
                <a:cs typeface="+mn-cs"/>
              </a:rPr>
              <a:t> </a:t>
            </a:r>
          </a:p>
        </p:txBody>
      </p:sp>
      <p:grpSp>
        <p:nvGrpSpPr>
          <p:cNvPr id="11" name="Agrupar 10"/>
          <p:cNvGrpSpPr/>
          <p:nvPr/>
        </p:nvGrpSpPr>
        <p:grpSpPr>
          <a:xfrm>
            <a:off x="-4" y="4856158"/>
            <a:ext cx="3186917" cy="2001842"/>
            <a:chOff x="-4" y="4856158"/>
            <a:chExt cx="3186917" cy="2001842"/>
          </a:xfrm>
        </p:grpSpPr>
        <p:sp>
          <p:nvSpPr>
            <p:cNvPr id="12" name="Triángulo rectángulo 11"/>
            <p:cNvSpPr/>
            <p:nvPr/>
          </p:nvSpPr>
          <p:spPr>
            <a:xfrm>
              <a:off x="576231" y="6102532"/>
              <a:ext cx="2610682" cy="755468"/>
            </a:xfrm>
            <a:prstGeom prst="rtTriangle">
              <a:avLst/>
            </a:prstGeom>
            <a:solidFill>
              <a:srgbClr val="F4981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0000"/>
                </a:solidFill>
                <a:effectLst/>
                <a:uLnTx/>
                <a:uFillTx/>
                <a:latin typeface="Calibri"/>
                <a:ea typeface="+mn-ea"/>
                <a:cs typeface="+mn-cs"/>
              </a:endParaRPr>
            </a:p>
          </p:txBody>
        </p:sp>
        <p:sp>
          <p:nvSpPr>
            <p:cNvPr id="13" name="Triángulo isósceles 12"/>
            <p:cNvSpPr/>
            <p:nvPr/>
          </p:nvSpPr>
          <p:spPr>
            <a:xfrm flipH="1">
              <a:off x="-4" y="4856158"/>
              <a:ext cx="952549" cy="2001841"/>
            </a:xfrm>
            <a:prstGeom prst="triangle">
              <a:avLst>
                <a:gd name="adj" fmla="val 100000"/>
              </a:avLst>
            </a:prstGeom>
            <a:solidFill>
              <a:srgbClr val="0E3758"/>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Triángulo isósceles 13"/>
            <p:cNvSpPr/>
            <p:nvPr/>
          </p:nvSpPr>
          <p:spPr>
            <a:xfrm>
              <a:off x="0" y="6126049"/>
              <a:ext cx="1822773" cy="731951"/>
            </a:xfrm>
            <a:prstGeom prst="triangle">
              <a:avLst>
                <a:gd name="adj" fmla="val 33872"/>
              </a:avLst>
            </a:prstGeom>
            <a:solidFill>
              <a:srgbClr val="106495"/>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9" name="Agrupar 18"/>
          <p:cNvGrpSpPr/>
          <p:nvPr/>
        </p:nvGrpSpPr>
        <p:grpSpPr>
          <a:xfrm flipH="1" flipV="1">
            <a:off x="9005083" y="0"/>
            <a:ext cx="3186917" cy="2001842"/>
            <a:chOff x="6690860" y="2598117"/>
            <a:chExt cx="3186917" cy="2001842"/>
          </a:xfrm>
        </p:grpSpPr>
        <p:sp>
          <p:nvSpPr>
            <p:cNvPr id="20" name="Triángulo rectángulo 19"/>
            <p:cNvSpPr/>
            <p:nvPr/>
          </p:nvSpPr>
          <p:spPr>
            <a:xfrm>
              <a:off x="7267095" y="3844491"/>
              <a:ext cx="2610682" cy="755468"/>
            </a:xfrm>
            <a:prstGeom prst="rtTriangle">
              <a:avLst/>
            </a:prstGeom>
            <a:solidFill>
              <a:srgbClr val="CCD63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0000"/>
                </a:solidFill>
                <a:effectLst/>
                <a:uLnTx/>
                <a:uFillTx/>
                <a:latin typeface="Calibri"/>
                <a:ea typeface="+mn-ea"/>
                <a:cs typeface="+mn-cs"/>
              </a:endParaRPr>
            </a:p>
          </p:txBody>
        </p:sp>
        <p:sp>
          <p:nvSpPr>
            <p:cNvPr id="21" name="Triángulo isósceles 20"/>
            <p:cNvSpPr/>
            <p:nvPr/>
          </p:nvSpPr>
          <p:spPr>
            <a:xfrm flipH="1">
              <a:off x="6690860" y="2598117"/>
              <a:ext cx="952549" cy="2001841"/>
            </a:xfrm>
            <a:prstGeom prst="triangle">
              <a:avLst>
                <a:gd name="adj" fmla="val 100000"/>
              </a:avLst>
            </a:prstGeom>
            <a:solidFill>
              <a:srgbClr val="0E3758"/>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sp>
          <p:nvSpPr>
            <p:cNvPr id="22" name="Triángulo isósceles 21"/>
            <p:cNvSpPr/>
            <p:nvPr/>
          </p:nvSpPr>
          <p:spPr>
            <a:xfrm>
              <a:off x="6690864" y="3868008"/>
              <a:ext cx="1822773" cy="731951"/>
            </a:xfrm>
            <a:prstGeom prst="triangle">
              <a:avLst>
                <a:gd name="adj" fmla="val 33872"/>
              </a:avLst>
            </a:prstGeom>
            <a:solidFill>
              <a:srgbClr val="106495"/>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16" name="Imagen 15" descr="Cenit_Whit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6500" y="6338602"/>
            <a:ext cx="694888" cy="519398"/>
          </a:xfrm>
          <a:prstGeom prst="rect">
            <a:avLst/>
          </a:prstGeom>
        </p:spPr>
      </p:pic>
      <p:sp>
        <p:nvSpPr>
          <p:cNvPr id="17" name="Recortar rectángulo de esquina diagonal 16"/>
          <p:cNvSpPr/>
          <p:nvPr/>
        </p:nvSpPr>
        <p:spPr>
          <a:xfrm flipH="1">
            <a:off x="10047202" y="6065868"/>
            <a:ext cx="2144798" cy="569334"/>
          </a:xfrm>
          <a:prstGeom prst="snip2DiagRect">
            <a:avLst>
              <a:gd name="adj1" fmla="val 0"/>
              <a:gd name="adj2" fmla="val 50000"/>
            </a:avLst>
          </a:prstGeom>
          <a:solidFill>
            <a:srgbClr val="106495"/>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sp>
        <p:nvSpPr>
          <p:cNvPr id="18" name="CuadroTexto 17"/>
          <p:cNvSpPr txBox="1"/>
          <p:nvPr/>
        </p:nvSpPr>
        <p:spPr>
          <a:xfrm>
            <a:off x="9730172" y="6042511"/>
            <a:ext cx="2305859" cy="53699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prstClr val="white">
                    <a:lumMod val="95000"/>
                  </a:prstClr>
                </a:solidFill>
                <a:effectLst/>
                <a:uLnTx/>
                <a:uFillTx/>
                <a:latin typeface="Calibri light titulos"/>
                <a:ea typeface="+mn-ea"/>
                <a:cs typeface="Calibri light titulos"/>
              </a:rPr>
              <a:t>Implementación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prstClr val="white">
                    <a:lumMod val="95000"/>
                  </a:prstClr>
                </a:solidFill>
                <a:effectLst/>
                <a:uLnTx/>
                <a:uFillTx/>
                <a:latin typeface="Calibri light titulos"/>
                <a:ea typeface="+mn-ea"/>
                <a:cs typeface="Calibri light titulos"/>
              </a:rPr>
              <a:t>de Procesos</a:t>
            </a:r>
          </a:p>
        </p:txBody>
      </p:sp>
      <p:sp>
        <p:nvSpPr>
          <p:cNvPr id="23" name="CuadroTexto 22">
            <a:extLst>
              <a:ext uri="{FF2B5EF4-FFF2-40B4-BE49-F238E27FC236}">
                <a16:creationId xmlns:a16="http://schemas.microsoft.com/office/drawing/2014/main" id="{F8F01AF4-864E-4177-9256-C4F8CB5AAC1F}"/>
              </a:ext>
            </a:extLst>
          </p:cNvPr>
          <p:cNvSpPr txBox="1"/>
          <p:nvPr/>
        </p:nvSpPr>
        <p:spPr>
          <a:xfrm>
            <a:off x="67737" y="228618"/>
            <a:ext cx="10767629"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3200" b="1" i="0" u="none" strike="noStrike" kern="1200" cap="none" spc="0" normalizeH="0" baseline="0" noProof="0">
                <a:ln>
                  <a:noFill/>
                </a:ln>
                <a:solidFill>
                  <a:srgbClr val="0E3658"/>
                </a:solidFill>
                <a:effectLst/>
                <a:uLnTx/>
                <a:uFillTx/>
                <a:latin typeface="Calibri light titulos"/>
                <a:ea typeface="+mn-ea"/>
                <a:cs typeface="Calibri light titulos"/>
              </a:rPr>
              <a:t>Lideres de Macroprocesos - Modelo de Procesos 202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3200" b="1" i="0" u="none" strike="noStrike" kern="1200" cap="none" spc="0" normalizeH="0" baseline="0" noProof="0">
              <a:ln>
                <a:noFill/>
              </a:ln>
              <a:solidFill>
                <a:srgbClr val="0E3658"/>
              </a:solidFill>
              <a:effectLst/>
              <a:uLnTx/>
              <a:uFillTx/>
              <a:latin typeface="Calibri light titulos"/>
              <a:ea typeface="+mn-ea"/>
              <a:cs typeface="Calibri light titulos"/>
            </a:endParaRPr>
          </a:p>
        </p:txBody>
      </p:sp>
      <p:pic>
        <p:nvPicPr>
          <p:cNvPr id="4" name="Imagen 3">
            <a:extLst>
              <a:ext uri="{FF2B5EF4-FFF2-40B4-BE49-F238E27FC236}">
                <a16:creationId xmlns:a16="http://schemas.microsoft.com/office/drawing/2014/main" id="{C2FBD9B2-B889-44B6-84F6-7594AEE469FA}"/>
              </a:ext>
            </a:extLst>
          </p:cNvPr>
          <p:cNvPicPr>
            <a:picLocks noChangeAspect="1"/>
          </p:cNvPicPr>
          <p:nvPr/>
        </p:nvPicPr>
        <p:blipFill>
          <a:blip r:embed="rId3"/>
          <a:stretch>
            <a:fillRect/>
          </a:stretch>
        </p:blipFill>
        <p:spPr>
          <a:xfrm>
            <a:off x="646545" y="1064691"/>
            <a:ext cx="9986586" cy="5285844"/>
          </a:xfrm>
          <a:prstGeom prst="rect">
            <a:avLst/>
          </a:prstGeom>
        </p:spPr>
      </p:pic>
    </p:spTree>
    <p:extLst>
      <p:ext uri="{BB962C8B-B14F-4D97-AF65-F5344CB8AC3E}">
        <p14:creationId xmlns:p14="http://schemas.microsoft.com/office/powerpoint/2010/main" val="18107295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ángulo 13"/>
          <p:cNvSpPr/>
          <p:nvPr/>
        </p:nvSpPr>
        <p:spPr>
          <a:xfrm>
            <a:off x="8" y="1034423"/>
            <a:ext cx="5995350" cy="45719"/>
          </a:xfrm>
          <a:prstGeom prst="rect">
            <a:avLst/>
          </a:prstGeom>
          <a:solidFill>
            <a:srgbClr val="0E365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Calibri"/>
                <a:ea typeface="+mn-ea"/>
                <a:cs typeface="+mn-cs"/>
              </a:rPr>
              <a:t> </a:t>
            </a:r>
          </a:p>
        </p:txBody>
      </p:sp>
      <p:grpSp>
        <p:nvGrpSpPr>
          <p:cNvPr id="23" name="Agrupar 22"/>
          <p:cNvGrpSpPr/>
          <p:nvPr/>
        </p:nvGrpSpPr>
        <p:grpSpPr>
          <a:xfrm flipH="1" flipV="1">
            <a:off x="9005083" y="0"/>
            <a:ext cx="3186917" cy="2001842"/>
            <a:chOff x="6690860" y="2598117"/>
            <a:chExt cx="3186917" cy="2001842"/>
          </a:xfrm>
        </p:grpSpPr>
        <p:sp>
          <p:nvSpPr>
            <p:cNvPr id="24" name="Triángulo rectángulo 23"/>
            <p:cNvSpPr/>
            <p:nvPr/>
          </p:nvSpPr>
          <p:spPr>
            <a:xfrm>
              <a:off x="7267095" y="3844491"/>
              <a:ext cx="2610682" cy="755468"/>
            </a:xfrm>
            <a:prstGeom prst="rtTriangle">
              <a:avLst/>
            </a:prstGeom>
            <a:solidFill>
              <a:srgbClr val="CCD63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0000"/>
                </a:solidFill>
                <a:effectLst/>
                <a:uLnTx/>
                <a:uFillTx/>
                <a:latin typeface="Calibri"/>
                <a:ea typeface="+mn-ea"/>
                <a:cs typeface="+mn-cs"/>
              </a:endParaRPr>
            </a:p>
          </p:txBody>
        </p:sp>
        <p:sp>
          <p:nvSpPr>
            <p:cNvPr id="25" name="Triángulo isósceles 24"/>
            <p:cNvSpPr/>
            <p:nvPr/>
          </p:nvSpPr>
          <p:spPr>
            <a:xfrm flipH="1">
              <a:off x="6690860" y="2598117"/>
              <a:ext cx="952549" cy="2001841"/>
            </a:xfrm>
            <a:prstGeom prst="triangle">
              <a:avLst>
                <a:gd name="adj" fmla="val 100000"/>
              </a:avLst>
            </a:prstGeom>
            <a:solidFill>
              <a:srgbClr val="0E3758"/>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6" name="Triángulo isósceles 25"/>
            <p:cNvSpPr/>
            <p:nvPr/>
          </p:nvSpPr>
          <p:spPr>
            <a:xfrm>
              <a:off x="6690864" y="3868008"/>
              <a:ext cx="1822773" cy="731951"/>
            </a:xfrm>
            <a:prstGeom prst="triangle">
              <a:avLst>
                <a:gd name="adj" fmla="val 33872"/>
              </a:avLst>
            </a:prstGeom>
            <a:solidFill>
              <a:srgbClr val="106495"/>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28" name="Recortar rectángulo de esquina diagonal 27"/>
          <p:cNvSpPr/>
          <p:nvPr/>
        </p:nvSpPr>
        <p:spPr>
          <a:xfrm flipH="1">
            <a:off x="10047202" y="6065868"/>
            <a:ext cx="2144798" cy="569334"/>
          </a:xfrm>
          <a:prstGeom prst="snip2DiagRect">
            <a:avLst>
              <a:gd name="adj1" fmla="val 0"/>
              <a:gd name="adj2" fmla="val 50000"/>
            </a:avLst>
          </a:prstGeom>
          <a:solidFill>
            <a:srgbClr val="106495"/>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sp>
        <p:nvSpPr>
          <p:cNvPr id="31" name="CuadroTexto 30"/>
          <p:cNvSpPr txBox="1"/>
          <p:nvPr/>
        </p:nvSpPr>
        <p:spPr>
          <a:xfrm>
            <a:off x="9730172" y="6042511"/>
            <a:ext cx="2305859" cy="53699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prstClr val="white">
                    <a:lumMod val="95000"/>
                  </a:prstClr>
                </a:solidFill>
                <a:effectLst/>
                <a:uLnTx/>
                <a:uFillTx/>
                <a:latin typeface="Calibri light titulos"/>
                <a:ea typeface="+mn-ea"/>
                <a:cs typeface="Calibri light titulos"/>
              </a:rPr>
              <a:t>Implementación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prstClr val="white">
                    <a:lumMod val="95000"/>
                  </a:prstClr>
                </a:solidFill>
                <a:effectLst/>
                <a:uLnTx/>
                <a:uFillTx/>
                <a:latin typeface="Calibri light titulos"/>
                <a:ea typeface="+mn-ea"/>
                <a:cs typeface="Calibri light titulos"/>
              </a:rPr>
              <a:t>de Procesos</a:t>
            </a:r>
          </a:p>
        </p:txBody>
      </p:sp>
      <p:sp>
        <p:nvSpPr>
          <p:cNvPr id="33" name="CuadroTexto 32">
            <a:extLst>
              <a:ext uri="{FF2B5EF4-FFF2-40B4-BE49-F238E27FC236}">
                <a16:creationId xmlns:a16="http://schemas.microsoft.com/office/drawing/2014/main" id="{12B1C783-BCBA-4E8F-9178-D33D5C515EFC}"/>
              </a:ext>
            </a:extLst>
          </p:cNvPr>
          <p:cNvSpPr txBox="1"/>
          <p:nvPr/>
        </p:nvSpPr>
        <p:spPr>
          <a:xfrm>
            <a:off x="155968" y="338507"/>
            <a:ext cx="907971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3200" b="1" i="0" u="none" strike="noStrike" kern="1200" cap="none" spc="0" normalizeH="0" baseline="0" noProof="0" dirty="0">
                <a:ln>
                  <a:noFill/>
                </a:ln>
                <a:solidFill>
                  <a:srgbClr val="0E3658"/>
                </a:solidFill>
                <a:effectLst/>
                <a:uLnTx/>
                <a:uFillTx/>
                <a:latin typeface="Calibri light titulos"/>
                <a:ea typeface="+mn-ea"/>
                <a:cs typeface="Calibri light titulos"/>
              </a:rPr>
              <a:t>Metodología Diseño de Procesos</a:t>
            </a:r>
          </a:p>
        </p:txBody>
      </p:sp>
      <p:sp>
        <p:nvSpPr>
          <p:cNvPr id="48" name="10 Cheurón">
            <a:extLst>
              <a:ext uri="{FF2B5EF4-FFF2-40B4-BE49-F238E27FC236}">
                <a16:creationId xmlns:a16="http://schemas.microsoft.com/office/drawing/2014/main" id="{C2B9C1FB-B696-4113-AE82-70C16D13390B}"/>
              </a:ext>
            </a:extLst>
          </p:cNvPr>
          <p:cNvSpPr/>
          <p:nvPr/>
        </p:nvSpPr>
        <p:spPr>
          <a:xfrm>
            <a:off x="1943144" y="1277700"/>
            <a:ext cx="1751719" cy="572102"/>
          </a:xfrm>
          <a:prstGeom prst="chevron">
            <a:avLst/>
          </a:prstGeom>
          <a:solidFill>
            <a:schemeClr val="tx2"/>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18" tIns="44809" rIns="89618" bIns="4480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400" b="0" i="0" u="none" strike="noStrike" kern="1200" cap="none" spc="0" normalizeH="0" baseline="0" noProof="0" dirty="0">
                <a:ln>
                  <a:noFill/>
                </a:ln>
                <a:solidFill>
                  <a:srgbClr val="FFFFFF"/>
                </a:solidFill>
                <a:effectLst/>
                <a:uLnTx/>
                <a:uFillTx/>
                <a:latin typeface="Arial" panose="020B0604020202020204"/>
                <a:ea typeface="+mn-ea"/>
                <a:cs typeface="+mn-cs"/>
              </a:rPr>
              <a:t>Nivel 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400" b="0" i="0" u="none" strike="noStrike" kern="1200" cap="none" spc="0" normalizeH="0" baseline="0" noProof="0" dirty="0">
                <a:ln>
                  <a:noFill/>
                </a:ln>
                <a:solidFill>
                  <a:srgbClr val="FFFFFF"/>
                </a:solidFill>
                <a:effectLst/>
                <a:uLnTx/>
                <a:uFillTx/>
                <a:latin typeface="Arial" panose="020B0604020202020204"/>
                <a:ea typeface="+mn-ea"/>
                <a:cs typeface="+mn-cs"/>
              </a:rPr>
              <a:t>(Macro proceso)</a:t>
            </a:r>
          </a:p>
        </p:txBody>
      </p:sp>
      <p:sp>
        <p:nvSpPr>
          <p:cNvPr id="49" name="11 Cheurón">
            <a:extLst>
              <a:ext uri="{FF2B5EF4-FFF2-40B4-BE49-F238E27FC236}">
                <a16:creationId xmlns:a16="http://schemas.microsoft.com/office/drawing/2014/main" id="{D2121297-E51B-4399-8F07-883520E6F03F}"/>
              </a:ext>
            </a:extLst>
          </p:cNvPr>
          <p:cNvSpPr/>
          <p:nvPr/>
        </p:nvSpPr>
        <p:spPr>
          <a:xfrm>
            <a:off x="4348712" y="1277700"/>
            <a:ext cx="1751719" cy="572102"/>
          </a:xfrm>
          <a:prstGeom prst="chevron">
            <a:avLst/>
          </a:prstGeom>
          <a:solidFill>
            <a:schemeClr val="tx2"/>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18" tIns="44809" rIns="89618" bIns="4480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0" i="0" u="none" strike="noStrike" kern="1200" cap="none" spc="0" normalizeH="0" baseline="0" noProof="0" dirty="0">
                <a:ln>
                  <a:noFill/>
                </a:ln>
                <a:solidFill>
                  <a:srgbClr val="FFFFFF"/>
                </a:solidFill>
                <a:effectLst/>
                <a:uLnTx/>
                <a:uFillTx/>
                <a:latin typeface="Arial" panose="020B0604020202020204"/>
                <a:ea typeface="+mn-ea"/>
                <a:cs typeface="+mn-cs"/>
              </a:rPr>
              <a:t>Nivel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0" i="0" u="none" strike="noStrike" kern="1200" cap="none" spc="0" normalizeH="0" baseline="0" noProof="0" dirty="0">
                <a:ln>
                  <a:noFill/>
                </a:ln>
                <a:solidFill>
                  <a:srgbClr val="FFFFFF"/>
                </a:solidFill>
                <a:effectLst/>
                <a:uLnTx/>
                <a:uFillTx/>
                <a:latin typeface="Arial" panose="020B0604020202020204"/>
                <a:ea typeface="+mn-ea"/>
                <a:cs typeface="+mn-cs"/>
              </a:rPr>
              <a:t>(Proceso)</a:t>
            </a:r>
          </a:p>
        </p:txBody>
      </p:sp>
      <p:sp>
        <p:nvSpPr>
          <p:cNvPr id="50" name="12 Cheurón">
            <a:extLst>
              <a:ext uri="{FF2B5EF4-FFF2-40B4-BE49-F238E27FC236}">
                <a16:creationId xmlns:a16="http://schemas.microsoft.com/office/drawing/2014/main" id="{42D04F8F-093C-4746-9839-1591CB7E2758}"/>
              </a:ext>
            </a:extLst>
          </p:cNvPr>
          <p:cNvSpPr/>
          <p:nvPr/>
        </p:nvSpPr>
        <p:spPr>
          <a:xfrm>
            <a:off x="6415397" y="1277622"/>
            <a:ext cx="1751719" cy="572102"/>
          </a:xfrm>
          <a:prstGeom prst="chevron">
            <a:avLst/>
          </a:prstGeom>
          <a:solidFill>
            <a:schemeClr val="tx2"/>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18" tIns="44809" rIns="89618" bIns="4480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0" i="0" u="none" strike="noStrike" kern="1200" cap="none" spc="0" normalizeH="0" baseline="0" noProof="0" dirty="0">
                <a:ln>
                  <a:noFill/>
                </a:ln>
                <a:solidFill>
                  <a:srgbClr val="FFFFFF"/>
                </a:solidFill>
                <a:effectLst/>
                <a:uLnTx/>
                <a:uFillTx/>
                <a:latin typeface="Arial" panose="020B0604020202020204"/>
                <a:ea typeface="+mn-ea"/>
                <a:cs typeface="+mn-cs"/>
              </a:rPr>
              <a:t>Nivel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0" i="0" u="none" strike="noStrike" kern="1200" cap="none" spc="0" normalizeH="0" baseline="0" noProof="0" dirty="0">
                <a:ln>
                  <a:noFill/>
                </a:ln>
                <a:solidFill>
                  <a:srgbClr val="FFFFFF"/>
                </a:solidFill>
                <a:effectLst/>
                <a:uLnTx/>
                <a:uFillTx/>
                <a:latin typeface="Arial" panose="020B0604020202020204"/>
                <a:ea typeface="+mn-ea"/>
                <a:cs typeface="+mn-cs"/>
              </a:rPr>
              <a:t>(Subproceso)</a:t>
            </a:r>
          </a:p>
        </p:txBody>
      </p:sp>
      <p:sp>
        <p:nvSpPr>
          <p:cNvPr id="51" name="14 CuadroTexto">
            <a:extLst>
              <a:ext uri="{FF2B5EF4-FFF2-40B4-BE49-F238E27FC236}">
                <a16:creationId xmlns:a16="http://schemas.microsoft.com/office/drawing/2014/main" id="{64EF63F0-478F-46E8-9E07-3A3B1EFF9003}"/>
              </a:ext>
            </a:extLst>
          </p:cNvPr>
          <p:cNvSpPr txBox="1"/>
          <p:nvPr/>
        </p:nvSpPr>
        <p:spPr>
          <a:xfrm>
            <a:off x="362427" y="3587837"/>
            <a:ext cx="148204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400" b="1" i="0" u="none" strike="noStrike" kern="1200" cap="none" spc="0" normalizeH="0" baseline="0" noProof="0" dirty="0">
                <a:ln>
                  <a:noFill/>
                </a:ln>
                <a:solidFill>
                  <a:srgbClr val="000000"/>
                </a:solidFill>
                <a:effectLst/>
                <a:uLnTx/>
                <a:uFillTx/>
                <a:latin typeface="Arial" panose="020B0604020202020204"/>
                <a:ea typeface="+mn-ea"/>
                <a:cs typeface="+mn-cs"/>
              </a:rPr>
              <a:t>Diseño</a:t>
            </a:r>
          </a:p>
        </p:txBody>
      </p:sp>
      <p:sp>
        <p:nvSpPr>
          <p:cNvPr id="52" name="15 CuadroTexto">
            <a:extLst>
              <a:ext uri="{FF2B5EF4-FFF2-40B4-BE49-F238E27FC236}">
                <a16:creationId xmlns:a16="http://schemas.microsoft.com/office/drawing/2014/main" id="{873AEF9B-8C55-4B78-8D0F-A313E197D685}"/>
              </a:ext>
            </a:extLst>
          </p:cNvPr>
          <p:cNvSpPr txBox="1"/>
          <p:nvPr/>
        </p:nvSpPr>
        <p:spPr>
          <a:xfrm>
            <a:off x="362427" y="4328023"/>
            <a:ext cx="148204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400" b="1" i="0" u="none" strike="noStrike" kern="1200" cap="none" spc="0" normalizeH="0" baseline="0" noProof="0" dirty="0">
                <a:ln>
                  <a:noFill/>
                </a:ln>
                <a:solidFill>
                  <a:srgbClr val="000000"/>
                </a:solidFill>
                <a:effectLst/>
                <a:uLnTx/>
                <a:uFillTx/>
                <a:latin typeface="Arial" panose="020B0604020202020204"/>
                <a:ea typeface="+mn-ea"/>
                <a:cs typeface="+mn-cs"/>
              </a:rPr>
              <a:t>Gobierno y Control</a:t>
            </a:r>
          </a:p>
        </p:txBody>
      </p:sp>
      <p:sp>
        <p:nvSpPr>
          <p:cNvPr id="53" name="16 CuadroTexto">
            <a:extLst>
              <a:ext uri="{FF2B5EF4-FFF2-40B4-BE49-F238E27FC236}">
                <a16:creationId xmlns:a16="http://schemas.microsoft.com/office/drawing/2014/main" id="{A27A6107-78A3-4260-801B-88F51CAA0D7B}"/>
              </a:ext>
            </a:extLst>
          </p:cNvPr>
          <p:cNvSpPr txBox="1"/>
          <p:nvPr/>
        </p:nvSpPr>
        <p:spPr>
          <a:xfrm>
            <a:off x="360839" y="5444053"/>
            <a:ext cx="148204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400" b="1" i="0" u="none" strike="noStrike" kern="1200" cap="none" spc="0" normalizeH="0" baseline="0" noProof="0" dirty="0">
                <a:ln>
                  <a:noFill/>
                </a:ln>
                <a:solidFill>
                  <a:srgbClr val="000000"/>
                </a:solidFill>
                <a:effectLst/>
                <a:uLnTx/>
                <a:uFillTx/>
                <a:latin typeface="Arial" panose="020B0604020202020204"/>
                <a:ea typeface="+mn-ea"/>
                <a:cs typeface="+mn-cs"/>
              </a:rPr>
              <a:t>Talento Humano</a:t>
            </a:r>
          </a:p>
        </p:txBody>
      </p:sp>
      <p:cxnSp>
        <p:nvCxnSpPr>
          <p:cNvPr id="54" name="18 Conector recto">
            <a:extLst>
              <a:ext uri="{FF2B5EF4-FFF2-40B4-BE49-F238E27FC236}">
                <a16:creationId xmlns:a16="http://schemas.microsoft.com/office/drawing/2014/main" id="{2DA48FF2-B61C-4676-98BF-53816E8FBADB}"/>
              </a:ext>
            </a:extLst>
          </p:cNvPr>
          <p:cNvCxnSpPr>
            <a:cxnSpLocks/>
          </p:cNvCxnSpPr>
          <p:nvPr/>
        </p:nvCxnSpPr>
        <p:spPr>
          <a:xfrm>
            <a:off x="362427" y="4061947"/>
            <a:ext cx="11245059" cy="0"/>
          </a:xfrm>
          <a:prstGeom prst="line">
            <a:avLst/>
          </a:prstGeom>
          <a:ln w="19050" cmpd="sng">
            <a:solidFill>
              <a:schemeClr val="tx2"/>
            </a:solidFill>
            <a:prstDash val="dash"/>
          </a:ln>
        </p:spPr>
        <p:style>
          <a:lnRef idx="2">
            <a:schemeClr val="accent1"/>
          </a:lnRef>
          <a:fillRef idx="0">
            <a:schemeClr val="accent1"/>
          </a:fillRef>
          <a:effectRef idx="1">
            <a:schemeClr val="accent1"/>
          </a:effectRef>
          <a:fontRef idx="minor">
            <a:schemeClr val="tx1"/>
          </a:fontRef>
        </p:style>
      </p:cxnSp>
      <p:cxnSp>
        <p:nvCxnSpPr>
          <p:cNvPr id="55" name="19 Conector recto">
            <a:extLst>
              <a:ext uri="{FF2B5EF4-FFF2-40B4-BE49-F238E27FC236}">
                <a16:creationId xmlns:a16="http://schemas.microsoft.com/office/drawing/2014/main" id="{4C77E6DC-3585-4FC1-BEC6-048A35EFAE70}"/>
              </a:ext>
            </a:extLst>
          </p:cNvPr>
          <p:cNvCxnSpPr>
            <a:cxnSpLocks/>
          </p:cNvCxnSpPr>
          <p:nvPr/>
        </p:nvCxnSpPr>
        <p:spPr>
          <a:xfrm>
            <a:off x="362427" y="5211539"/>
            <a:ext cx="11245059" cy="0"/>
          </a:xfrm>
          <a:prstGeom prst="line">
            <a:avLst/>
          </a:prstGeom>
          <a:ln w="19050" cmpd="sng">
            <a:solidFill>
              <a:schemeClr val="tx2"/>
            </a:solidFill>
            <a:prstDash val="dash"/>
          </a:ln>
        </p:spPr>
        <p:style>
          <a:lnRef idx="2">
            <a:schemeClr val="accent1"/>
          </a:lnRef>
          <a:fillRef idx="0">
            <a:schemeClr val="accent1"/>
          </a:fillRef>
          <a:effectRef idx="1">
            <a:schemeClr val="accent1"/>
          </a:effectRef>
          <a:fontRef idx="minor">
            <a:schemeClr val="tx1"/>
          </a:fontRef>
        </p:style>
      </p:cxnSp>
      <p:cxnSp>
        <p:nvCxnSpPr>
          <p:cNvPr id="56" name="21 Conector recto">
            <a:extLst>
              <a:ext uri="{FF2B5EF4-FFF2-40B4-BE49-F238E27FC236}">
                <a16:creationId xmlns:a16="http://schemas.microsoft.com/office/drawing/2014/main" id="{2F429F4E-6C16-4D84-A6CB-F85C75A6067E}"/>
              </a:ext>
            </a:extLst>
          </p:cNvPr>
          <p:cNvCxnSpPr>
            <a:cxnSpLocks/>
          </p:cNvCxnSpPr>
          <p:nvPr/>
        </p:nvCxnSpPr>
        <p:spPr>
          <a:xfrm>
            <a:off x="3902915" y="4061949"/>
            <a:ext cx="0" cy="2808000"/>
          </a:xfrm>
          <a:prstGeom prst="line">
            <a:avLst/>
          </a:prstGeom>
          <a:ln w="19050" cmpd="sng">
            <a:solidFill>
              <a:schemeClr val="tx2"/>
            </a:solidFill>
            <a:prstDash val="dash"/>
          </a:ln>
        </p:spPr>
        <p:style>
          <a:lnRef idx="2">
            <a:schemeClr val="accent1"/>
          </a:lnRef>
          <a:fillRef idx="0">
            <a:schemeClr val="accent1"/>
          </a:fillRef>
          <a:effectRef idx="1">
            <a:schemeClr val="accent1"/>
          </a:effectRef>
          <a:fontRef idx="minor">
            <a:schemeClr val="tx1"/>
          </a:fontRef>
        </p:style>
      </p:cxnSp>
      <p:cxnSp>
        <p:nvCxnSpPr>
          <p:cNvPr id="57" name="22 Conector recto">
            <a:extLst>
              <a:ext uri="{FF2B5EF4-FFF2-40B4-BE49-F238E27FC236}">
                <a16:creationId xmlns:a16="http://schemas.microsoft.com/office/drawing/2014/main" id="{2EC31B02-586F-446F-94DA-81550A2507ED}"/>
              </a:ext>
            </a:extLst>
          </p:cNvPr>
          <p:cNvCxnSpPr>
            <a:cxnSpLocks/>
          </p:cNvCxnSpPr>
          <p:nvPr/>
        </p:nvCxnSpPr>
        <p:spPr>
          <a:xfrm>
            <a:off x="6162725" y="3002663"/>
            <a:ext cx="0" cy="3888000"/>
          </a:xfrm>
          <a:prstGeom prst="line">
            <a:avLst/>
          </a:prstGeom>
          <a:ln w="19050" cmpd="sng">
            <a:solidFill>
              <a:schemeClr val="tx2"/>
            </a:solidFill>
            <a:prstDash val="dash"/>
          </a:ln>
        </p:spPr>
        <p:style>
          <a:lnRef idx="2">
            <a:schemeClr val="accent1"/>
          </a:lnRef>
          <a:fillRef idx="0">
            <a:schemeClr val="accent1"/>
          </a:fillRef>
          <a:effectRef idx="1">
            <a:schemeClr val="accent1"/>
          </a:effectRef>
          <a:fontRef idx="minor">
            <a:schemeClr val="tx1"/>
          </a:fontRef>
        </p:style>
      </p:cxnSp>
      <p:sp>
        <p:nvSpPr>
          <p:cNvPr id="58" name="2 Marcador de contenido">
            <a:extLst>
              <a:ext uri="{FF2B5EF4-FFF2-40B4-BE49-F238E27FC236}">
                <a16:creationId xmlns:a16="http://schemas.microsoft.com/office/drawing/2014/main" id="{C03389A6-F5F9-4B22-B110-694CB01D1687}"/>
              </a:ext>
            </a:extLst>
          </p:cNvPr>
          <p:cNvSpPr txBox="1">
            <a:spLocks/>
          </p:cNvSpPr>
          <p:nvPr/>
        </p:nvSpPr>
        <p:spPr>
          <a:xfrm>
            <a:off x="2317048" y="3184113"/>
            <a:ext cx="2328666" cy="784458"/>
          </a:xfrm>
          <a:prstGeom prst="rect">
            <a:avLst/>
          </a:prstGeom>
        </p:spPr>
        <p:txBody>
          <a:bodyPr>
            <a:noAutofit/>
          </a:bodyPr>
          <a:lstStyle>
            <a:lvl1pPr marL="263525" indent="-263525" algn="l" rtl="0" eaLnBrk="1" fontAlgn="base" hangingPunct="1">
              <a:lnSpc>
                <a:spcPct val="100000"/>
              </a:lnSpc>
              <a:spcBef>
                <a:spcPts val="200"/>
              </a:spcBef>
              <a:spcAft>
                <a:spcPts val="0"/>
              </a:spcAft>
              <a:buClr>
                <a:schemeClr val="tx2"/>
              </a:buClr>
              <a:buSzPct val="80000"/>
              <a:buFont typeface="Lucida Grande"/>
              <a:buChar char="+"/>
              <a:defRPr sz="1600" b="0" kern="1200">
                <a:solidFill>
                  <a:schemeClr val="tx1"/>
                </a:solidFill>
                <a:latin typeface="Calibri"/>
                <a:ea typeface="ヒラギノ角ゴ Pro W3" charset="0"/>
                <a:cs typeface="ヒラギノ角ゴ Pro W3" charset="0"/>
              </a:defRPr>
            </a:lvl1pPr>
            <a:lvl2pPr marL="444500" indent="-179388" algn="l" rtl="0" eaLnBrk="1" fontAlgn="base" hangingPunct="1">
              <a:spcBef>
                <a:spcPts val="200"/>
              </a:spcBef>
              <a:spcAft>
                <a:spcPts val="0"/>
              </a:spcAft>
              <a:buClr>
                <a:schemeClr val="tx2"/>
              </a:buClr>
              <a:buSzPct val="80000"/>
              <a:buFont typeface="Lucida Grande"/>
              <a:buChar char="−"/>
              <a:defRPr sz="1500" kern="1200" baseline="0">
                <a:solidFill>
                  <a:schemeClr val="tx1"/>
                </a:solidFill>
                <a:latin typeface="Calibri"/>
                <a:ea typeface="ヒラギノ角ゴ Pro W3" charset="0"/>
                <a:cs typeface="ヒラギノ角ゴ Pro W3" charset="0"/>
              </a:defRPr>
            </a:lvl2pPr>
            <a:lvl3pPr marL="648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3pPr>
            <a:lvl4pPr marL="864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4pPr>
            <a:lvl5pPr marL="1080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marL="263525" marR="0" lvl="0" indent="-263525" algn="ctr" defTabSz="914400" rtl="0" eaLnBrk="1" fontAlgn="base" latinLnBrk="0" hangingPunct="1">
              <a:lnSpc>
                <a:spcPct val="100000"/>
              </a:lnSpc>
              <a:spcBef>
                <a:spcPts val="200"/>
              </a:spcBef>
              <a:spcAft>
                <a:spcPts val="0"/>
              </a:spcAft>
              <a:buClr>
                <a:srgbClr val="234F67"/>
              </a:buClr>
              <a:buSzPct val="80000"/>
              <a:buFont typeface="Lucida Grande"/>
              <a:buChar char="+"/>
              <a:tabLst/>
              <a:defRPr/>
            </a:pPr>
            <a:r>
              <a:rPr kumimoji="0" lang="es-CO" sz="1100" b="0" i="0" u="none" strike="noStrike" kern="1200" cap="none" spc="0" normalizeH="0" baseline="0" noProof="0" dirty="0">
                <a:ln>
                  <a:noFill/>
                </a:ln>
                <a:solidFill>
                  <a:srgbClr val="000000"/>
                </a:solidFill>
                <a:effectLst/>
                <a:uLnTx/>
                <a:uFillTx/>
                <a:latin typeface="Arial" panose="020B0604020202020204"/>
              </a:rPr>
              <a:t>Objetivo</a:t>
            </a:r>
          </a:p>
          <a:p>
            <a:pPr marL="263525" marR="0" lvl="0" indent="-263525" algn="ctr" defTabSz="914400" rtl="0" eaLnBrk="1" fontAlgn="base" latinLnBrk="0" hangingPunct="1">
              <a:lnSpc>
                <a:spcPct val="100000"/>
              </a:lnSpc>
              <a:spcBef>
                <a:spcPts val="200"/>
              </a:spcBef>
              <a:spcAft>
                <a:spcPts val="0"/>
              </a:spcAft>
              <a:buClr>
                <a:srgbClr val="234F67"/>
              </a:buClr>
              <a:buSzPct val="80000"/>
              <a:buFont typeface="Lucida Grande"/>
              <a:buChar char="+"/>
              <a:tabLst/>
              <a:defRPr/>
            </a:pPr>
            <a:r>
              <a:rPr kumimoji="0" lang="es-CO" sz="1100" b="0" i="0" u="none" strike="noStrike" kern="1200" cap="none" spc="0" normalizeH="0" baseline="0" noProof="0" dirty="0">
                <a:ln>
                  <a:noFill/>
                </a:ln>
                <a:solidFill>
                  <a:srgbClr val="000000"/>
                </a:solidFill>
                <a:effectLst/>
                <a:uLnTx/>
                <a:uFillTx/>
                <a:latin typeface="Arial" panose="020B0604020202020204"/>
              </a:rPr>
              <a:t>Alcance</a:t>
            </a:r>
          </a:p>
          <a:p>
            <a:pPr marL="263525" marR="0" lvl="0" indent="-263525" algn="ctr" defTabSz="914400" rtl="0" eaLnBrk="1" fontAlgn="base" latinLnBrk="0" hangingPunct="1">
              <a:lnSpc>
                <a:spcPct val="100000"/>
              </a:lnSpc>
              <a:spcBef>
                <a:spcPts val="200"/>
              </a:spcBef>
              <a:spcAft>
                <a:spcPts val="0"/>
              </a:spcAft>
              <a:buClr>
                <a:srgbClr val="234F67"/>
              </a:buClr>
              <a:buSzPct val="80000"/>
              <a:buFont typeface="Lucida Grande"/>
              <a:buChar char="+"/>
              <a:tabLst/>
              <a:defRPr/>
            </a:pPr>
            <a:r>
              <a:rPr kumimoji="0" lang="es-CO" sz="1100" b="0" i="0" u="none" strike="noStrike" kern="1200" cap="none" spc="0" normalizeH="0" baseline="0" noProof="0" dirty="0">
                <a:ln>
                  <a:noFill/>
                </a:ln>
                <a:solidFill>
                  <a:srgbClr val="000000"/>
                </a:solidFill>
                <a:effectLst/>
                <a:uLnTx/>
                <a:uFillTx/>
                <a:latin typeface="Arial" panose="020B0604020202020204"/>
              </a:rPr>
              <a:t>Normatividad y/o referentes</a:t>
            </a:r>
          </a:p>
          <a:p>
            <a:pPr marL="263525" marR="0" lvl="0" indent="-263525" algn="ctr" defTabSz="914400" rtl="0" eaLnBrk="1" fontAlgn="base" latinLnBrk="0" hangingPunct="1">
              <a:lnSpc>
                <a:spcPct val="100000"/>
              </a:lnSpc>
              <a:spcBef>
                <a:spcPts val="200"/>
              </a:spcBef>
              <a:spcAft>
                <a:spcPts val="0"/>
              </a:spcAft>
              <a:buClr>
                <a:srgbClr val="234F67"/>
              </a:buClr>
              <a:buSzPct val="80000"/>
              <a:buFont typeface="Lucida Grande"/>
              <a:buChar char="+"/>
              <a:tabLst/>
              <a:defRPr/>
            </a:pPr>
            <a:r>
              <a:rPr kumimoji="0" lang="es-CO" sz="1100" b="0" i="0" u="none" strike="noStrike" kern="1200" cap="none" spc="0" normalizeH="0" baseline="0" noProof="0" dirty="0">
                <a:ln>
                  <a:noFill/>
                </a:ln>
                <a:solidFill>
                  <a:prstClr val="black"/>
                </a:solidFill>
                <a:effectLst/>
                <a:uLnTx/>
                <a:uFillTx/>
                <a:latin typeface="Arial" panose="020B0604020202020204"/>
              </a:rPr>
              <a:t>Manual de Macroproceso</a:t>
            </a:r>
          </a:p>
        </p:txBody>
      </p:sp>
      <p:sp>
        <p:nvSpPr>
          <p:cNvPr id="59" name="2 Marcador de contenido">
            <a:extLst>
              <a:ext uri="{FF2B5EF4-FFF2-40B4-BE49-F238E27FC236}">
                <a16:creationId xmlns:a16="http://schemas.microsoft.com/office/drawing/2014/main" id="{8FB11EB3-2921-4554-A0E5-048EF9AE7B51}"/>
              </a:ext>
            </a:extLst>
          </p:cNvPr>
          <p:cNvSpPr txBox="1">
            <a:spLocks/>
          </p:cNvSpPr>
          <p:nvPr/>
        </p:nvSpPr>
        <p:spPr>
          <a:xfrm>
            <a:off x="3719998" y="4059991"/>
            <a:ext cx="2108148" cy="1105208"/>
          </a:xfrm>
          <a:prstGeom prst="rect">
            <a:avLst/>
          </a:prstGeom>
        </p:spPr>
        <p:txBody>
          <a:bodyPr lIns="70566" rIns="70566">
            <a:noAutofit/>
          </a:bodyPr>
          <a:lstStyle>
            <a:lvl1pPr marL="263525" indent="-263525" algn="l" rtl="0" eaLnBrk="1" fontAlgn="base" hangingPunct="1">
              <a:lnSpc>
                <a:spcPct val="100000"/>
              </a:lnSpc>
              <a:spcBef>
                <a:spcPts val="200"/>
              </a:spcBef>
              <a:spcAft>
                <a:spcPts val="0"/>
              </a:spcAft>
              <a:buClr>
                <a:schemeClr val="tx2"/>
              </a:buClr>
              <a:buSzPct val="80000"/>
              <a:buFont typeface="Lucida Grande"/>
              <a:buChar char="+"/>
              <a:defRPr sz="1600" b="0" kern="1200">
                <a:solidFill>
                  <a:schemeClr val="tx1"/>
                </a:solidFill>
                <a:latin typeface="Calibri"/>
                <a:ea typeface="ヒラギノ角ゴ Pro W3" charset="0"/>
                <a:cs typeface="ヒラギノ角ゴ Pro W3" charset="0"/>
              </a:defRPr>
            </a:lvl1pPr>
            <a:lvl2pPr marL="444500" indent="-179388" algn="l" rtl="0" eaLnBrk="1" fontAlgn="base" hangingPunct="1">
              <a:spcBef>
                <a:spcPts val="200"/>
              </a:spcBef>
              <a:spcAft>
                <a:spcPts val="0"/>
              </a:spcAft>
              <a:buClr>
                <a:schemeClr val="tx2"/>
              </a:buClr>
              <a:buSzPct val="80000"/>
              <a:buFont typeface="Lucida Grande"/>
              <a:buChar char="−"/>
              <a:defRPr sz="1500" kern="1200" baseline="0">
                <a:solidFill>
                  <a:schemeClr val="tx1"/>
                </a:solidFill>
                <a:latin typeface="Calibri"/>
                <a:ea typeface="ヒラギノ角ゴ Pro W3" charset="0"/>
                <a:cs typeface="ヒラギノ角ゴ Pro W3" charset="0"/>
              </a:defRPr>
            </a:lvl2pPr>
            <a:lvl3pPr marL="648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3pPr>
            <a:lvl4pPr marL="864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4pPr>
            <a:lvl5pPr marL="1080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marL="263525" marR="0" lvl="0" indent="-263525" algn="l" defTabSz="914400" rtl="0" eaLnBrk="1" fontAlgn="base" latinLnBrk="0" hangingPunct="1">
              <a:lnSpc>
                <a:spcPct val="100000"/>
              </a:lnSpc>
              <a:spcBef>
                <a:spcPts val="200"/>
              </a:spcBef>
              <a:spcAft>
                <a:spcPts val="0"/>
              </a:spcAft>
              <a:buClr>
                <a:srgbClr val="234F67"/>
              </a:buClr>
              <a:buSzPct val="80000"/>
              <a:buFont typeface="Lucida Grande"/>
              <a:buChar char="+"/>
              <a:tabLst/>
              <a:defRPr/>
            </a:pPr>
            <a:r>
              <a:rPr kumimoji="0" lang="es-CO" sz="1100" b="0" i="0" u="none" strike="noStrike" kern="1200" cap="none" spc="0" normalizeH="0" baseline="0" noProof="0" dirty="0">
                <a:ln>
                  <a:noFill/>
                </a:ln>
                <a:solidFill>
                  <a:srgbClr val="000000"/>
                </a:solidFill>
                <a:effectLst/>
                <a:uLnTx/>
                <a:uFillTx/>
                <a:latin typeface="Arial" panose="020B0604020202020204"/>
              </a:rPr>
              <a:t>Riesgos y controles</a:t>
            </a:r>
          </a:p>
          <a:p>
            <a:pPr marL="263525" marR="0" lvl="0" indent="-263525" algn="l" defTabSz="914400" rtl="0" eaLnBrk="1" fontAlgn="base" latinLnBrk="0" hangingPunct="1">
              <a:lnSpc>
                <a:spcPct val="100000"/>
              </a:lnSpc>
              <a:spcBef>
                <a:spcPts val="200"/>
              </a:spcBef>
              <a:spcAft>
                <a:spcPts val="0"/>
              </a:spcAft>
              <a:buClr>
                <a:srgbClr val="234F67"/>
              </a:buClr>
              <a:buSzPct val="80000"/>
              <a:buFont typeface="Lucida Grande"/>
              <a:buChar char="+"/>
              <a:tabLst/>
              <a:defRPr/>
            </a:pPr>
            <a:r>
              <a:rPr kumimoji="0" lang="es-CO" sz="1100" b="0" i="0" u="none" strike="noStrike" kern="1200" cap="none" spc="0" normalizeH="0" baseline="0" noProof="0" dirty="0">
                <a:ln>
                  <a:noFill/>
                </a:ln>
                <a:solidFill>
                  <a:prstClr val="black"/>
                </a:solidFill>
                <a:effectLst/>
                <a:uLnTx/>
                <a:uFillTx/>
                <a:latin typeface="Arial" panose="020B0604020202020204"/>
              </a:rPr>
              <a:t>KPI´S</a:t>
            </a:r>
          </a:p>
          <a:p>
            <a:pPr marL="263525" marR="0" lvl="0" indent="-263525" algn="l" defTabSz="914400" rtl="0" eaLnBrk="1" fontAlgn="base" latinLnBrk="0" hangingPunct="1">
              <a:lnSpc>
                <a:spcPct val="100000"/>
              </a:lnSpc>
              <a:spcBef>
                <a:spcPts val="200"/>
              </a:spcBef>
              <a:spcAft>
                <a:spcPts val="0"/>
              </a:spcAft>
              <a:buClr>
                <a:srgbClr val="234F67"/>
              </a:buClr>
              <a:buSzPct val="80000"/>
              <a:buFont typeface="Lucida Grande"/>
              <a:buChar char="+"/>
              <a:tabLst/>
              <a:defRPr/>
            </a:pPr>
            <a:r>
              <a:rPr kumimoji="0" lang="es-CO" sz="1100" b="0" i="0" u="none" strike="noStrike" kern="1200" cap="none" spc="0" normalizeH="0" baseline="0" noProof="0" dirty="0">
                <a:ln>
                  <a:noFill/>
                </a:ln>
                <a:solidFill>
                  <a:srgbClr val="4472C4"/>
                </a:solidFill>
                <a:effectLst/>
                <a:uLnTx/>
                <a:uFillTx/>
                <a:latin typeface="Arial" panose="020B0604020202020204"/>
              </a:rPr>
              <a:t>Instancias clave de toma de decisiones (Comités)</a:t>
            </a:r>
          </a:p>
        </p:txBody>
      </p:sp>
      <p:sp>
        <p:nvSpPr>
          <p:cNvPr id="91" name="2 Marcador de contenido">
            <a:extLst>
              <a:ext uri="{FF2B5EF4-FFF2-40B4-BE49-F238E27FC236}">
                <a16:creationId xmlns:a16="http://schemas.microsoft.com/office/drawing/2014/main" id="{041C35E3-7C7A-423A-BE0C-2FE9E8D4ADEB}"/>
              </a:ext>
            </a:extLst>
          </p:cNvPr>
          <p:cNvSpPr txBox="1">
            <a:spLocks/>
          </p:cNvSpPr>
          <p:nvPr/>
        </p:nvSpPr>
        <p:spPr>
          <a:xfrm>
            <a:off x="6057036" y="3182100"/>
            <a:ext cx="1975343" cy="680815"/>
          </a:xfrm>
          <a:prstGeom prst="rect">
            <a:avLst/>
          </a:prstGeom>
        </p:spPr>
        <p:txBody>
          <a:bodyPr lIns="70566" tIns="35283" rIns="70566" bIns="35283">
            <a:noAutofit/>
          </a:bodyPr>
          <a:lstStyle>
            <a:lvl1pPr marL="263525" indent="-263525" algn="l" rtl="0" eaLnBrk="1" fontAlgn="base" hangingPunct="1">
              <a:lnSpc>
                <a:spcPct val="100000"/>
              </a:lnSpc>
              <a:spcBef>
                <a:spcPts val="200"/>
              </a:spcBef>
              <a:spcAft>
                <a:spcPts val="0"/>
              </a:spcAft>
              <a:buClr>
                <a:schemeClr val="tx2"/>
              </a:buClr>
              <a:buSzPct val="80000"/>
              <a:buFont typeface="Lucida Grande"/>
              <a:buChar char="+"/>
              <a:defRPr sz="1600" b="0" kern="1200">
                <a:solidFill>
                  <a:schemeClr val="tx1"/>
                </a:solidFill>
                <a:latin typeface="Calibri"/>
                <a:ea typeface="ヒラギノ角ゴ Pro W3" charset="0"/>
                <a:cs typeface="ヒラギノ角ゴ Pro W3" charset="0"/>
              </a:defRPr>
            </a:lvl1pPr>
            <a:lvl2pPr marL="444500" indent="-179388" algn="l" rtl="0" eaLnBrk="1" fontAlgn="base" hangingPunct="1">
              <a:spcBef>
                <a:spcPts val="200"/>
              </a:spcBef>
              <a:spcAft>
                <a:spcPts val="0"/>
              </a:spcAft>
              <a:buClr>
                <a:schemeClr val="tx2"/>
              </a:buClr>
              <a:buSzPct val="80000"/>
              <a:buFont typeface="Lucida Grande"/>
              <a:buChar char="−"/>
              <a:defRPr sz="1500" kern="1200" baseline="0">
                <a:solidFill>
                  <a:schemeClr val="tx1"/>
                </a:solidFill>
                <a:latin typeface="Calibri"/>
                <a:ea typeface="ヒラギノ角ゴ Pro W3" charset="0"/>
                <a:cs typeface="ヒラギノ角ゴ Pro W3" charset="0"/>
              </a:defRPr>
            </a:lvl2pPr>
            <a:lvl3pPr marL="648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3pPr>
            <a:lvl4pPr marL="864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4pPr>
            <a:lvl5pPr marL="1080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marL="263525" marR="0" lvl="0" indent="-263525" algn="l" defTabSz="914400" rtl="0" eaLnBrk="1" fontAlgn="base" latinLnBrk="0" hangingPunct="1">
              <a:lnSpc>
                <a:spcPct val="100000"/>
              </a:lnSpc>
              <a:spcBef>
                <a:spcPts val="200"/>
              </a:spcBef>
              <a:spcAft>
                <a:spcPts val="0"/>
              </a:spcAft>
              <a:buClr>
                <a:srgbClr val="234F67"/>
              </a:buClr>
              <a:buSzPct val="80000"/>
              <a:buFont typeface="Lucida Grande"/>
              <a:buChar char="+"/>
              <a:tabLst/>
              <a:defRPr/>
            </a:pPr>
            <a:r>
              <a:rPr kumimoji="0" lang="es-CO" sz="1100" b="0" i="0" u="none" strike="noStrike" kern="1200" cap="none" spc="0" normalizeH="0" baseline="0" noProof="0" dirty="0">
                <a:ln>
                  <a:noFill/>
                </a:ln>
                <a:solidFill>
                  <a:srgbClr val="000000"/>
                </a:solidFill>
                <a:effectLst/>
                <a:uLnTx/>
                <a:uFillTx/>
                <a:latin typeface="Arial" panose="020B0604020202020204"/>
              </a:rPr>
              <a:t>Diagrama de flujo (Bizagi)</a:t>
            </a:r>
          </a:p>
          <a:p>
            <a:pPr marL="263525" marR="0" lvl="0" indent="-263525" algn="l" defTabSz="914400" rtl="0" eaLnBrk="1" fontAlgn="base" latinLnBrk="0" hangingPunct="1">
              <a:lnSpc>
                <a:spcPct val="100000"/>
              </a:lnSpc>
              <a:spcBef>
                <a:spcPts val="200"/>
              </a:spcBef>
              <a:spcAft>
                <a:spcPts val="0"/>
              </a:spcAft>
              <a:buClr>
                <a:srgbClr val="234F67"/>
              </a:buClr>
              <a:buSzPct val="80000"/>
              <a:buFont typeface="Lucida Grande"/>
              <a:buChar char="+"/>
              <a:tabLst/>
              <a:defRPr/>
            </a:pPr>
            <a:r>
              <a:rPr kumimoji="0" lang="es-CO" sz="1100" b="0" i="0" u="none" strike="noStrike" kern="1200" cap="none" spc="0" normalizeH="0" baseline="0" noProof="0" dirty="0">
                <a:ln>
                  <a:noFill/>
                </a:ln>
                <a:solidFill>
                  <a:srgbClr val="000000"/>
                </a:solidFill>
                <a:effectLst/>
                <a:uLnTx/>
                <a:uFillTx/>
                <a:latin typeface="Arial" panose="020B0604020202020204"/>
              </a:rPr>
              <a:t>Manual subproceso</a:t>
            </a:r>
          </a:p>
          <a:p>
            <a:pPr marL="263525" marR="0" lvl="0" indent="-263525" algn="l" defTabSz="914400" rtl="0" eaLnBrk="1" fontAlgn="base" latinLnBrk="0" hangingPunct="1">
              <a:lnSpc>
                <a:spcPct val="100000"/>
              </a:lnSpc>
              <a:spcBef>
                <a:spcPts val="200"/>
              </a:spcBef>
              <a:spcAft>
                <a:spcPts val="0"/>
              </a:spcAft>
              <a:buClr>
                <a:srgbClr val="234F67"/>
              </a:buClr>
              <a:buSzPct val="80000"/>
              <a:buFont typeface="Lucida Grande"/>
              <a:buChar char="+"/>
              <a:tabLst/>
              <a:defRPr/>
            </a:pPr>
            <a:r>
              <a:rPr kumimoji="0" lang="es-CO" sz="1100" b="0" i="0" u="none" strike="noStrike" kern="1200" cap="none" spc="0" normalizeH="0" baseline="0" noProof="0" dirty="0">
                <a:ln>
                  <a:noFill/>
                </a:ln>
                <a:solidFill>
                  <a:srgbClr val="000000"/>
                </a:solidFill>
                <a:effectLst/>
                <a:uLnTx/>
                <a:uFillTx/>
                <a:latin typeface="Arial" panose="020B0604020202020204"/>
              </a:rPr>
              <a:t>Interrelaciones claves</a:t>
            </a:r>
          </a:p>
        </p:txBody>
      </p:sp>
      <p:sp>
        <p:nvSpPr>
          <p:cNvPr id="92" name="16 CuadroTexto">
            <a:extLst>
              <a:ext uri="{FF2B5EF4-FFF2-40B4-BE49-F238E27FC236}">
                <a16:creationId xmlns:a16="http://schemas.microsoft.com/office/drawing/2014/main" id="{A2C1409D-8312-464B-9A9B-97F6D5A5915B}"/>
              </a:ext>
            </a:extLst>
          </p:cNvPr>
          <p:cNvSpPr txBox="1"/>
          <p:nvPr/>
        </p:nvSpPr>
        <p:spPr>
          <a:xfrm>
            <a:off x="346473" y="6357492"/>
            <a:ext cx="148204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400" b="1" i="0" u="none" strike="noStrike" kern="1200" cap="none" spc="0" normalizeH="0" baseline="0" noProof="0" dirty="0">
                <a:ln>
                  <a:noFill/>
                </a:ln>
                <a:solidFill>
                  <a:prstClr val="black"/>
                </a:solidFill>
                <a:effectLst/>
                <a:uLnTx/>
                <a:uFillTx/>
                <a:latin typeface="Arial" panose="020B0604020202020204"/>
                <a:ea typeface="+mn-ea"/>
                <a:cs typeface="+mn-cs"/>
              </a:rPr>
              <a:t>Digital</a:t>
            </a:r>
          </a:p>
        </p:txBody>
      </p:sp>
      <p:sp>
        <p:nvSpPr>
          <p:cNvPr id="97" name="2 Marcador de contenido">
            <a:extLst>
              <a:ext uri="{FF2B5EF4-FFF2-40B4-BE49-F238E27FC236}">
                <a16:creationId xmlns:a16="http://schemas.microsoft.com/office/drawing/2014/main" id="{203C448F-A951-4268-AFB9-D29BE3603725}"/>
              </a:ext>
            </a:extLst>
          </p:cNvPr>
          <p:cNvSpPr txBox="1">
            <a:spLocks/>
          </p:cNvSpPr>
          <p:nvPr/>
        </p:nvSpPr>
        <p:spPr>
          <a:xfrm>
            <a:off x="1677270" y="5248193"/>
            <a:ext cx="1873080" cy="509464"/>
          </a:xfrm>
          <a:prstGeom prst="rect">
            <a:avLst/>
          </a:prstGeom>
        </p:spPr>
        <p:txBody>
          <a:bodyPr>
            <a:noAutofit/>
          </a:bodyPr>
          <a:lstStyle>
            <a:lvl1pPr marL="263525" indent="-263525" algn="l" rtl="0" eaLnBrk="1" fontAlgn="base" hangingPunct="1">
              <a:lnSpc>
                <a:spcPct val="100000"/>
              </a:lnSpc>
              <a:spcBef>
                <a:spcPts val="200"/>
              </a:spcBef>
              <a:spcAft>
                <a:spcPts val="0"/>
              </a:spcAft>
              <a:buClr>
                <a:schemeClr val="tx2"/>
              </a:buClr>
              <a:buSzPct val="80000"/>
              <a:buFont typeface="Lucida Grande"/>
              <a:buChar char="+"/>
              <a:defRPr sz="1600" b="0" kern="1200">
                <a:solidFill>
                  <a:schemeClr val="tx1"/>
                </a:solidFill>
                <a:latin typeface="Calibri"/>
                <a:ea typeface="ヒラギノ角ゴ Pro W3" charset="0"/>
                <a:cs typeface="ヒラギノ角ゴ Pro W3" charset="0"/>
              </a:defRPr>
            </a:lvl1pPr>
            <a:lvl2pPr marL="444500" indent="-179388" algn="l" rtl="0" eaLnBrk="1" fontAlgn="base" hangingPunct="1">
              <a:spcBef>
                <a:spcPts val="200"/>
              </a:spcBef>
              <a:spcAft>
                <a:spcPts val="0"/>
              </a:spcAft>
              <a:buClr>
                <a:schemeClr val="tx2"/>
              </a:buClr>
              <a:buSzPct val="80000"/>
              <a:buFont typeface="Lucida Grande"/>
              <a:buChar char="−"/>
              <a:defRPr sz="1500" kern="1200" baseline="0">
                <a:solidFill>
                  <a:schemeClr val="tx1"/>
                </a:solidFill>
                <a:latin typeface="Calibri"/>
                <a:ea typeface="ヒラギノ角ゴ Pro W3" charset="0"/>
                <a:cs typeface="ヒラギノ角ゴ Pro W3" charset="0"/>
              </a:defRPr>
            </a:lvl2pPr>
            <a:lvl3pPr marL="648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3pPr>
            <a:lvl4pPr marL="864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4pPr>
            <a:lvl5pPr marL="1080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marL="263525" marR="0" lvl="0" indent="-263525" algn="l" defTabSz="914400" rtl="0" eaLnBrk="1" fontAlgn="base" latinLnBrk="0" hangingPunct="1">
              <a:lnSpc>
                <a:spcPct val="100000"/>
              </a:lnSpc>
              <a:spcBef>
                <a:spcPts val="200"/>
              </a:spcBef>
              <a:spcAft>
                <a:spcPts val="0"/>
              </a:spcAft>
              <a:buClr>
                <a:srgbClr val="234F67"/>
              </a:buClr>
              <a:buSzPct val="80000"/>
              <a:buFont typeface="Lucida Grande"/>
              <a:buChar char="+"/>
              <a:tabLst/>
              <a:defRPr/>
            </a:pPr>
            <a:r>
              <a:rPr kumimoji="0" lang="es-CO" sz="1100" b="0" i="0" u="none" strike="noStrike" kern="1200" cap="none" spc="0" normalizeH="0" baseline="0" noProof="0" dirty="0">
                <a:ln>
                  <a:noFill/>
                </a:ln>
                <a:solidFill>
                  <a:srgbClr val="4472C4"/>
                </a:solidFill>
                <a:effectLst/>
                <a:uLnTx/>
                <a:uFillTx/>
                <a:latin typeface="Arial" panose="020B0604020202020204"/>
              </a:rPr>
              <a:t>Manual de Roles y responsabilidades de VP</a:t>
            </a:r>
          </a:p>
          <a:p>
            <a:pPr marL="263525" marR="0" lvl="0" indent="-263525" algn="l" defTabSz="914400" rtl="0" eaLnBrk="1" fontAlgn="base" latinLnBrk="0" hangingPunct="1">
              <a:lnSpc>
                <a:spcPct val="100000"/>
              </a:lnSpc>
              <a:spcBef>
                <a:spcPts val="200"/>
              </a:spcBef>
              <a:spcAft>
                <a:spcPts val="0"/>
              </a:spcAft>
              <a:buClr>
                <a:srgbClr val="234F67"/>
              </a:buClr>
              <a:buSzPct val="80000"/>
              <a:buFont typeface="Lucida Grande"/>
              <a:buChar char="+"/>
              <a:tabLst/>
              <a:defRPr/>
            </a:pPr>
            <a:r>
              <a:rPr kumimoji="0" lang="es-CO" sz="1100" b="0" i="0" u="none" strike="noStrike" kern="1200" cap="none" spc="0" normalizeH="0" baseline="0" noProof="0" dirty="0">
                <a:ln>
                  <a:noFill/>
                </a:ln>
                <a:solidFill>
                  <a:srgbClr val="000000"/>
                </a:solidFill>
                <a:effectLst/>
                <a:uLnTx/>
                <a:uFillTx/>
                <a:latin typeface="Arial" panose="020B0604020202020204"/>
              </a:rPr>
              <a:t>Mapa de Cargos</a:t>
            </a:r>
          </a:p>
        </p:txBody>
      </p:sp>
      <p:cxnSp>
        <p:nvCxnSpPr>
          <p:cNvPr id="98" name="18 Conector recto">
            <a:extLst>
              <a:ext uri="{FF2B5EF4-FFF2-40B4-BE49-F238E27FC236}">
                <a16:creationId xmlns:a16="http://schemas.microsoft.com/office/drawing/2014/main" id="{2381C50E-02BC-4F58-8D75-19140F9C9C66}"/>
              </a:ext>
            </a:extLst>
          </p:cNvPr>
          <p:cNvCxnSpPr>
            <a:cxnSpLocks/>
          </p:cNvCxnSpPr>
          <p:nvPr/>
        </p:nvCxnSpPr>
        <p:spPr>
          <a:xfrm>
            <a:off x="346473" y="6160270"/>
            <a:ext cx="11261013" cy="0"/>
          </a:xfrm>
          <a:prstGeom prst="line">
            <a:avLst/>
          </a:prstGeom>
          <a:ln w="19050" cmpd="sng">
            <a:solidFill>
              <a:schemeClr val="tx2"/>
            </a:solidFill>
            <a:prstDash val="dash"/>
          </a:ln>
        </p:spPr>
        <p:style>
          <a:lnRef idx="2">
            <a:schemeClr val="accent1"/>
          </a:lnRef>
          <a:fillRef idx="0">
            <a:schemeClr val="accent1"/>
          </a:fillRef>
          <a:effectRef idx="1">
            <a:schemeClr val="accent1"/>
          </a:effectRef>
          <a:fontRef idx="minor">
            <a:schemeClr val="tx1"/>
          </a:fontRef>
        </p:style>
      </p:cxnSp>
      <p:sp>
        <p:nvSpPr>
          <p:cNvPr id="99" name="2 Marcador de contenido">
            <a:extLst>
              <a:ext uri="{FF2B5EF4-FFF2-40B4-BE49-F238E27FC236}">
                <a16:creationId xmlns:a16="http://schemas.microsoft.com/office/drawing/2014/main" id="{4173B3D6-8300-44D3-A820-A6BF35CB1951}"/>
              </a:ext>
            </a:extLst>
          </p:cNvPr>
          <p:cNvSpPr txBox="1">
            <a:spLocks/>
          </p:cNvSpPr>
          <p:nvPr/>
        </p:nvSpPr>
        <p:spPr>
          <a:xfrm>
            <a:off x="6186316" y="6456273"/>
            <a:ext cx="2072783" cy="374255"/>
          </a:xfrm>
          <a:prstGeom prst="rect">
            <a:avLst/>
          </a:prstGeom>
        </p:spPr>
        <p:txBody>
          <a:bodyPr>
            <a:noAutofit/>
          </a:bodyPr>
          <a:lstStyle>
            <a:lvl1pPr marL="263525" indent="-263525" algn="l" rtl="0" eaLnBrk="1" fontAlgn="base" hangingPunct="1">
              <a:lnSpc>
                <a:spcPct val="100000"/>
              </a:lnSpc>
              <a:spcBef>
                <a:spcPts val="200"/>
              </a:spcBef>
              <a:spcAft>
                <a:spcPts val="0"/>
              </a:spcAft>
              <a:buClr>
                <a:schemeClr val="tx2"/>
              </a:buClr>
              <a:buSzPct val="80000"/>
              <a:buFont typeface="Lucida Grande"/>
              <a:buChar char="+"/>
              <a:defRPr sz="1600" b="0" kern="1200">
                <a:solidFill>
                  <a:schemeClr val="tx1"/>
                </a:solidFill>
                <a:latin typeface="Calibri"/>
                <a:ea typeface="ヒラギノ角ゴ Pro W3" charset="0"/>
                <a:cs typeface="ヒラギノ角ゴ Pro W3" charset="0"/>
              </a:defRPr>
            </a:lvl1pPr>
            <a:lvl2pPr marL="444500" indent="-179388" algn="l" rtl="0" eaLnBrk="1" fontAlgn="base" hangingPunct="1">
              <a:spcBef>
                <a:spcPts val="200"/>
              </a:spcBef>
              <a:spcAft>
                <a:spcPts val="0"/>
              </a:spcAft>
              <a:buClr>
                <a:schemeClr val="tx2"/>
              </a:buClr>
              <a:buSzPct val="80000"/>
              <a:buFont typeface="Lucida Grande"/>
              <a:buChar char="−"/>
              <a:defRPr sz="1500" kern="1200" baseline="0">
                <a:solidFill>
                  <a:schemeClr val="tx1"/>
                </a:solidFill>
                <a:latin typeface="Calibri"/>
                <a:ea typeface="ヒラギノ角ゴ Pro W3" charset="0"/>
                <a:cs typeface="ヒラギノ角ゴ Pro W3" charset="0"/>
              </a:defRPr>
            </a:lvl2pPr>
            <a:lvl3pPr marL="648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3pPr>
            <a:lvl4pPr marL="864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4pPr>
            <a:lvl5pPr marL="1080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marL="263525" marR="0" lvl="0" indent="-263525" algn="l" defTabSz="914400" rtl="0" eaLnBrk="1" fontAlgn="base" latinLnBrk="0" hangingPunct="1">
              <a:lnSpc>
                <a:spcPct val="100000"/>
              </a:lnSpc>
              <a:spcBef>
                <a:spcPts val="200"/>
              </a:spcBef>
              <a:spcAft>
                <a:spcPts val="0"/>
              </a:spcAft>
              <a:buClr>
                <a:srgbClr val="234F67"/>
              </a:buClr>
              <a:buSzPct val="80000"/>
              <a:buFont typeface="Lucida Grande"/>
              <a:buChar char="+"/>
              <a:tabLst/>
              <a:defRPr/>
            </a:pPr>
            <a:r>
              <a:rPr kumimoji="0" lang="es-CO" sz="1100" b="0" i="0" u="none" strike="noStrike" kern="1200" cap="none" spc="0" normalizeH="0" baseline="0" noProof="0" dirty="0">
                <a:ln>
                  <a:noFill/>
                </a:ln>
                <a:solidFill>
                  <a:srgbClr val="000000"/>
                </a:solidFill>
                <a:effectLst/>
                <a:uLnTx/>
                <a:uFillTx/>
                <a:latin typeface="Arial" panose="020B0604020202020204"/>
              </a:rPr>
              <a:t>Sistemas de información y herramientas utilizados</a:t>
            </a:r>
          </a:p>
        </p:txBody>
      </p:sp>
      <p:sp>
        <p:nvSpPr>
          <p:cNvPr id="100" name="14 CuadroTexto">
            <a:extLst>
              <a:ext uri="{FF2B5EF4-FFF2-40B4-BE49-F238E27FC236}">
                <a16:creationId xmlns:a16="http://schemas.microsoft.com/office/drawing/2014/main" id="{B006BFC4-89EF-4DE6-A011-1DA835B7D2F9}"/>
              </a:ext>
            </a:extLst>
          </p:cNvPr>
          <p:cNvSpPr txBox="1"/>
          <p:nvPr/>
        </p:nvSpPr>
        <p:spPr>
          <a:xfrm>
            <a:off x="251787" y="1582245"/>
            <a:ext cx="1482043" cy="3318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568" b="1" i="0" u="none" strike="noStrike" kern="1200" cap="none" spc="0" normalizeH="0" baseline="0" noProof="0" dirty="0">
                <a:ln>
                  <a:noFill/>
                </a:ln>
                <a:solidFill>
                  <a:srgbClr val="FF6600"/>
                </a:solidFill>
                <a:effectLst/>
                <a:uLnTx/>
                <a:uFillTx/>
                <a:latin typeface="Arial" panose="020B0604020202020204"/>
                <a:ea typeface="+mn-ea"/>
                <a:cs typeface="+mn-cs"/>
              </a:rPr>
              <a:t>Dimensión</a:t>
            </a:r>
          </a:p>
        </p:txBody>
      </p:sp>
      <p:sp>
        <p:nvSpPr>
          <p:cNvPr id="101" name="14 CuadroTexto">
            <a:extLst>
              <a:ext uri="{FF2B5EF4-FFF2-40B4-BE49-F238E27FC236}">
                <a16:creationId xmlns:a16="http://schemas.microsoft.com/office/drawing/2014/main" id="{805973EC-9B60-428B-8D15-0F53AE40DB4E}"/>
              </a:ext>
            </a:extLst>
          </p:cNvPr>
          <p:cNvSpPr txBox="1"/>
          <p:nvPr/>
        </p:nvSpPr>
        <p:spPr>
          <a:xfrm>
            <a:off x="959313" y="1118596"/>
            <a:ext cx="1522939" cy="57490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568" b="1" i="0" u="none" strike="noStrike" kern="1200" cap="none" spc="0" normalizeH="0" baseline="0" noProof="0" dirty="0">
                <a:ln>
                  <a:noFill/>
                </a:ln>
                <a:solidFill>
                  <a:srgbClr val="FF6600"/>
                </a:solidFill>
                <a:effectLst/>
                <a:uLnTx/>
                <a:uFillTx/>
                <a:latin typeface="Arial" panose="020B0604020202020204"/>
                <a:ea typeface="+mn-ea"/>
                <a:cs typeface="+mn-cs"/>
              </a:rPr>
              <a:t>Nivel de Proceso</a:t>
            </a:r>
          </a:p>
        </p:txBody>
      </p:sp>
      <p:cxnSp>
        <p:nvCxnSpPr>
          <p:cNvPr id="102" name="Conector recto 101">
            <a:extLst>
              <a:ext uri="{FF2B5EF4-FFF2-40B4-BE49-F238E27FC236}">
                <a16:creationId xmlns:a16="http://schemas.microsoft.com/office/drawing/2014/main" id="{5B36BA74-D718-4B84-8D5D-61AD5502EB66}"/>
              </a:ext>
            </a:extLst>
          </p:cNvPr>
          <p:cNvCxnSpPr>
            <a:cxnSpLocks/>
          </p:cNvCxnSpPr>
          <p:nvPr/>
        </p:nvCxnSpPr>
        <p:spPr>
          <a:xfrm>
            <a:off x="392064" y="1310291"/>
            <a:ext cx="1399645" cy="539431"/>
          </a:xfrm>
          <a:prstGeom prst="line">
            <a:avLst/>
          </a:prstGeom>
          <a:ln>
            <a:solidFill>
              <a:schemeClr val="accent6"/>
            </a:solidFill>
          </a:ln>
        </p:spPr>
        <p:style>
          <a:lnRef idx="2">
            <a:schemeClr val="accent5"/>
          </a:lnRef>
          <a:fillRef idx="0">
            <a:schemeClr val="accent5"/>
          </a:fillRef>
          <a:effectRef idx="1">
            <a:schemeClr val="accent5"/>
          </a:effectRef>
          <a:fontRef idx="minor">
            <a:schemeClr val="tx1"/>
          </a:fontRef>
        </p:style>
      </p:cxnSp>
      <p:cxnSp>
        <p:nvCxnSpPr>
          <p:cNvPr id="103" name="Conector recto 102">
            <a:extLst>
              <a:ext uri="{FF2B5EF4-FFF2-40B4-BE49-F238E27FC236}">
                <a16:creationId xmlns:a16="http://schemas.microsoft.com/office/drawing/2014/main" id="{E0237C54-5ED6-42B1-AE26-1F2CA52710C8}"/>
              </a:ext>
            </a:extLst>
          </p:cNvPr>
          <p:cNvCxnSpPr>
            <a:cxnSpLocks/>
          </p:cNvCxnSpPr>
          <p:nvPr/>
        </p:nvCxnSpPr>
        <p:spPr>
          <a:xfrm>
            <a:off x="1777388" y="1953559"/>
            <a:ext cx="0" cy="4824000"/>
          </a:xfrm>
          <a:prstGeom prst="line">
            <a:avLst/>
          </a:prstGeom>
          <a:ln>
            <a:solidFill>
              <a:schemeClr val="accent6"/>
            </a:solidFill>
          </a:ln>
        </p:spPr>
        <p:style>
          <a:lnRef idx="2">
            <a:schemeClr val="accent5"/>
          </a:lnRef>
          <a:fillRef idx="0">
            <a:schemeClr val="accent5"/>
          </a:fillRef>
          <a:effectRef idx="1">
            <a:schemeClr val="accent5"/>
          </a:effectRef>
          <a:fontRef idx="minor">
            <a:schemeClr val="tx1"/>
          </a:fontRef>
        </p:style>
      </p:cxnSp>
      <p:cxnSp>
        <p:nvCxnSpPr>
          <p:cNvPr id="104" name="Conector recto 103">
            <a:extLst>
              <a:ext uri="{FF2B5EF4-FFF2-40B4-BE49-F238E27FC236}">
                <a16:creationId xmlns:a16="http://schemas.microsoft.com/office/drawing/2014/main" id="{72602E84-B811-4783-A23E-4C69522530ED}"/>
              </a:ext>
            </a:extLst>
          </p:cNvPr>
          <p:cNvCxnSpPr>
            <a:cxnSpLocks/>
          </p:cNvCxnSpPr>
          <p:nvPr/>
        </p:nvCxnSpPr>
        <p:spPr>
          <a:xfrm>
            <a:off x="203400" y="1875939"/>
            <a:ext cx="1596409" cy="0"/>
          </a:xfrm>
          <a:prstGeom prst="line">
            <a:avLst/>
          </a:prstGeom>
          <a:ln>
            <a:solidFill>
              <a:schemeClr val="accent6"/>
            </a:solidFill>
          </a:ln>
        </p:spPr>
        <p:style>
          <a:lnRef idx="2">
            <a:schemeClr val="accent5"/>
          </a:lnRef>
          <a:fillRef idx="0">
            <a:schemeClr val="accent5"/>
          </a:fillRef>
          <a:effectRef idx="1">
            <a:schemeClr val="accent5"/>
          </a:effectRef>
          <a:fontRef idx="minor">
            <a:schemeClr val="tx1"/>
          </a:fontRef>
        </p:style>
      </p:cxnSp>
      <p:sp>
        <p:nvSpPr>
          <p:cNvPr id="105" name="2 Marcador de contenido">
            <a:extLst>
              <a:ext uri="{FF2B5EF4-FFF2-40B4-BE49-F238E27FC236}">
                <a16:creationId xmlns:a16="http://schemas.microsoft.com/office/drawing/2014/main" id="{09CACBDF-8E06-460A-BE52-23AA77AC9025}"/>
              </a:ext>
            </a:extLst>
          </p:cNvPr>
          <p:cNvSpPr txBox="1">
            <a:spLocks/>
          </p:cNvSpPr>
          <p:nvPr/>
        </p:nvSpPr>
        <p:spPr>
          <a:xfrm>
            <a:off x="6127794" y="4048417"/>
            <a:ext cx="2257288" cy="466645"/>
          </a:xfrm>
          <a:prstGeom prst="rect">
            <a:avLst/>
          </a:prstGeom>
        </p:spPr>
        <p:txBody>
          <a:bodyPr>
            <a:noAutofit/>
          </a:bodyPr>
          <a:lstStyle>
            <a:lvl1pPr marL="263525" indent="-263525" algn="l" rtl="0" eaLnBrk="1" fontAlgn="base" hangingPunct="1">
              <a:lnSpc>
                <a:spcPct val="100000"/>
              </a:lnSpc>
              <a:spcBef>
                <a:spcPts val="200"/>
              </a:spcBef>
              <a:spcAft>
                <a:spcPts val="0"/>
              </a:spcAft>
              <a:buClr>
                <a:schemeClr val="tx2"/>
              </a:buClr>
              <a:buSzPct val="80000"/>
              <a:buFont typeface="Lucida Grande"/>
              <a:buChar char="+"/>
              <a:defRPr sz="1600" b="0" kern="1200">
                <a:solidFill>
                  <a:schemeClr val="tx1"/>
                </a:solidFill>
                <a:latin typeface="Calibri"/>
                <a:ea typeface="ヒラギノ角ゴ Pro W3" charset="0"/>
                <a:cs typeface="ヒラギノ角ゴ Pro W3" charset="0"/>
              </a:defRPr>
            </a:lvl1pPr>
            <a:lvl2pPr marL="444500" indent="-179388" algn="l" rtl="0" eaLnBrk="1" fontAlgn="base" hangingPunct="1">
              <a:spcBef>
                <a:spcPts val="200"/>
              </a:spcBef>
              <a:spcAft>
                <a:spcPts val="0"/>
              </a:spcAft>
              <a:buClr>
                <a:schemeClr val="tx2"/>
              </a:buClr>
              <a:buSzPct val="80000"/>
              <a:buFont typeface="Lucida Grande"/>
              <a:buChar char="−"/>
              <a:defRPr sz="1500" kern="1200" baseline="0">
                <a:solidFill>
                  <a:schemeClr val="tx1"/>
                </a:solidFill>
                <a:latin typeface="Calibri"/>
                <a:ea typeface="ヒラギノ角ゴ Pro W3" charset="0"/>
                <a:cs typeface="ヒラギノ角ゴ Pro W3" charset="0"/>
              </a:defRPr>
            </a:lvl2pPr>
            <a:lvl3pPr marL="648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3pPr>
            <a:lvl4pPr marL="864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4pPr>
            <a:lvl5pPr marL="1080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marL="263525" marR="0" lvl="0" indent="-263525" algn="l" defTabSz="914400" rtl="0" eaLnBrk="1" fontAlgn="base" latinLnBrk="0" hangingPunct="1">
              <a:lnSpc>
                <a:spcPct val="100000"/>
              </a:lnSpc>
              <a:spcBef>
                <a:spcPts val="200"/>
              </a:spcBef>
              <a:spcAft>
                <a:spcPts val="0"/>
              </a:spcAft>
              <a:buClr>
                <a:srgbClr val="234F67"/>
              </a:buClr>
              <a:buSzPct val="80000"/>
              <a:buFont typeface="Lucida Grande"/>
              <a:buChar char="+"/>
              <a:tabLst/>
              <a:defRPr/>
            </a:pPr>
            <a:r>
              <a:rPr kumimoji="0" lang="es-CO" sz="1200" b="0" i="0" u="none" strike="noStrike" kern="1200" cap="none" spc="0" normalizeH="0" baseline="0" noProof="0" dirty="0">
                <a:ln>
                  <a:noFill/>
                </a:ln>
                <a:solidFill>
                  <a:srgbClr val="000000"/>
                </a:solidFill>
                <a:effectLst/>
                <a:uLnTx/>
                <a:uFillTx/>
                <a:latin typeface="Arial" panose="020B0604020202020204"/>
              </a:rPr>
              <a:t>RACI</a:t>
            </a:r>
          </a:p>
          <a:p>
            <a:pPr marL="263525" marR="0" lvl="0" indent="-263525" algn="l" defTabSz="914400" rtl="0" eaLnBrk="1" fontAlgn="base" latinLnBrk="0" hangingPunct="1">
              <a:lnSpc>
                <a:spcPct val="100000"/>
              </a:lnSpc>
              <a:spcBef>
                <a:spcPts val="200"/>
              </a:spcBef>
              <a:spcAft>
                <a:spcPts val="0"/>
              </a:spcAft>
              <a:buClr>
                <a:srgbClr val="234F67"/>
              </a:buClr>
              <a:buSzPct val="80000"/>
              <a:buFont typeface="Lucida Grande"/>
              <a:buChar char="+"/>
              <a:tabLst/>
              <a:defRPr/>
            </a:pPr>
            <a:r>
              <a:rPr kumimoji="0" lang="es-ES" sz="1200" b="0" i="0" u="none" strike="noStrike" kern="1200" cap="none" spc="0" normalizeH="0" baseline="0" noProof="0" dirty="0">
                <a:ln>
                  <a:noFill/>
                </a:ln>
                <a:solidFill>
                  <a:srgbClr val="000000"/>
                </a:solidFill>
                <a:effectLst/>
                <a:uLnTx/>
                <a:uFillTx/>
                <a:latin typeface="Arial" panose="020B0604020202020204"/>
              </a:rPr>
              <a:t>Identificación de decisiones críticas (modelo de gobierno) mapeadas en los subprocesos</a:t>
            </a:r>
            <a:endParaRPr kumimoji="0" lang="es-CO" sz="1200" b="0" i="0" u="none" strike="noStrike" kern="1200" cap="none" spc="0" normalizeH="0" baseline="0" noProof="0" dirty="0">
              <a:ln>
                <a:noFill/>
              </a:ln>
              <a:solidFill>
                <a:srgbClr val="000000"/>
              </a:solidFill>
              <a:effectLst/>
              <a:uLnTx/>
              <a:uFillTx/>
              <a:latin typeface="Arial" panose="020B0604020202020204"/>
            </a:endParaRPr>
          </a:p>
        </p:txBody>
      </p:sp>
      <p:sp>
        <p:nvSpPr>
          <p:cNvPr id="106" name="12 Cheurón">
            <a:extLst>
              <a:ext uri="{FF2B5EF4-FFF2-40B4-BE49-F238E27FC236}">
                <a16:creationId xmlns:a16="http://schemas.microsoft.com/office/drawing/2014/main" id="{9D6AE471-2961-44FB-BD6E-B423637AE0DC}"/>
              </a:ext>
            </a:extLst>
          </p:cNvPr>
          <p:cNvSpPr/>
          <p:nvPr/>
        </p:nvSpPr>
        <p:spPr>
          <a:xfrm>
            <a:off x="8227447" y="1288684"/>
            <a:ext cx="1751719" cy="572102"/>
          </a:xfrm>
          <a:prstGeom prst="chevron">
            <a:avLst/>
          </a:prstGeom>
          <a:solidFill>
            <a:schemeClr val="tx2"/>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18" tIns="44809" rIns="89618" bIns="4480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0" i="0" u="none" strike="noStrike" kern="1200" cap="none" spc="0" normalizeH="0" baseline="0" noProof="0" dirty="0">
                <a:ln>
                  <a:noFill/>
                </a:ln>
                <a:solidFill>
                  <a:srgbClr val="FFFFFF"/>
                </a:solidFill>
                <a:effectLst/>
                <a:uLnTx/>
                <a:uFillTx/>
                <a:latin typeface="Arial" panose="020B0604020202020204"/>
                <a:ea typeface="+mn-ea"/>
                <a:cs typeface="+mn-cs"/>
              </a:rPr>
              <a:t>Nivel 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0" i="0" u="none" strike="noStrike" kern="1200" cap="none" spc="0" normalizeH="0" baseline="0" noProof="0" dirty="0">
                <a:ln>
                  <a:noFill/>
                </a:ln>
                <a:solidFill>
                  <a:srgbClr val="FFFFFF"/>
                </a:solidFill>
                <a:effectLst/>
                <a:uLnTx/>
                <a:uFillTx/>
                <a:latin typeface="Arial" panose="020B0604020202020204"/>
                <a:ea typeface="+mn-ea"/>
                <a:cs typeface="+mn-cs"/>
              </a:rPr>
              <a:t>(Actividad)</a:t>
            </a:r>
          </a:p>
        </p:txBody>
      </p:sp>
      <p:sp>
        <p:nvSpPr>
          <p:cNvPr id="107" name="12 Cheurón">
            <a:extLst>
              <a:ext uri="{FF2B5EF4-FFF2-40B4-BE49-F238E27FC236}">
                <a16:creationId xmlns:a16="http://schemas.microsoft.com/office/drawing/2014/main" id="{CFC07269-C21A-4081-A320-A855BB007BE8}"/>
              </a:ext>
            </a:extLst>
          </p:cNvPr>
          <p:cNvSpPr/>
          <p:nvPr/>
        </p:nvSpPr>
        <p:spPr>
          <a:xfrm>
            <a:off x="9797232" y="1288684"/>
            <a:ext cx="1751719" cy="572102"/>
          </a:xfrm>
          <a:prstGeom prst="chevron">
            <a:avLst/>
          </a:prstGeom>
          <a:solidFill>
            <a:schemeClr val="tx2"/>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18" tIns="44809" rIns="89618" bIns="44809"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0" i="0" u="none" strike="noStrike" kern="1200" cap="none" spc="0" normalizeH="0" baseline="0" noProof="0" dirty="0">
                <a:ln>
                  <a:noFill/>
                </a:ln>
                <a:solidFill>
                  <a:srgbClr val="FFFFFF"/>
                </a:solidFill>
                <a:effectLst/>
                <a:uLnTx/>
                <a:uFillTx/>
                <a:latin typeface="Arial" panose="020B0604020202020204"/>
                <a:ea typeface="+mn-ea"/>
                <a:cs typeface="+mn-cs"/>
              </a:rPr>
              <a:t>Nivel 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0" i="0" u="none" strike="noStrike" kern="1200" cap="none" spc="0" normalizeH="0" baseline="0" noProof="0" dirty="0">
                <a:ln>
                  <a:noFill/>
                </a:ln>
                <a:solidFill>
                  <a:srgbClr val="FFFFFF"/>
                </a:solidFill>
                <a:effectLst/>
                <a:uLnTx/>
                <a:uFillTx/>
                <a:latin typeface="Arial" panose="020B0604020202020204"/>
                <a:ea typeface="+mn-ea"/>
                <a:cs typeface="+mn-cs"/>
              </a:rPr>
              <a:t>(Tarea)</a:t>
            </a:r>
          </a:p>
        </p:txBody>
      </p:sp>
      <p:cxnSp>
        <p:nvCxnSpPr>
          <p:cNvPr id="108" name="22 Conector recto">
            <a:extLst>
              <a:ext uri="{FF2B5EF4-FFF2-40B4-BE49-F238E27FC236}">
                <a16:creationId xmlns:a16="http://schemas.microsoft.com/office/drawing/2014/main" id="{DDF7CB1D-D19E-4D80-B853-91A7676959AD}"/>
              </a:ext>
            </a:extLst>
          </p:cNvPr>
          <p:cNvCxnSpPr>
            <a:cxnSpLocks/>
          </p:cNvCxnSpPr>
          <p:nvPr/>
        </p:nvCxnSpPr>
        <p:spPr>
          <a:xfrm>
            <a:off x="8271096" y="2977678"/>
            <a:ext cx="0" cy="3182592"/>
          </a:xfrm>
          <a:prstGeom prst="line">
            <a:avLst/>
          </a:prstGeom>
          <a:ln w="19050" cmpd="sng">
            <a:solidFill>
              <a:schemeClr val="tx2"/>
            </a:solidFill>
            <a:prstDash val="dash"/>
          </a:ln>
        </p:spPr>
        <p:style>
          <a:lnRef idx="2">
            <a:schemeClr val="accent1"/>
          </a:lnRef>
          <a:fillRef idx="0">
            <a:schemeClr val="accent1"/>
          </a:fillRef>
          <a:effectRef idx="1">
            <a:schemeClr val="accent1"/>
          </a:effectRef>
          <a:fontRef idx="minor">
            <a:schemeClr val="tx1"/>
          </a:fontRef>
        </p:style>
      </p:cxnSp>
      <p:sp>
        <p:nvSpPr>
          <p:cNvPr id="109" name="2 Marcador de contenido">
            <a:extLst>
              <a:ext uri="{FF2B5EF4-FFF2-40B4-BE49-F238E27FC236}">
                <a16:creationId xmlns:a16="http://schemas.microsoft.com/office/drawing/2014/main" id="{84A7833D-47CD-4C98-9A53-E13C1D6CFA70}"/>
              </a:ext>
            </a:extLst>
          </p:cNvPr>
          <p:cNvSpPr txBox="1">
            <a:spLocks/>
          </p:cNvSpPr>
          <p:nvPr/>
        </p:nvSpPr>
        <p:spPr>
          <a:xfrm>
            <a:off x="8167116" y="3271845"/>
            <a:ext cx="3110484" cy="728209"/>
          </a:xfrm>
          <a:prstGeom prst="rect">
            <a:avLst/>
          </a:prstGeom>
        </p:spPr>
        <p:txBody>
          <a:bodyPr lIns="70566" tIns="35283" rIns="70566" bIns="35283">
            <a:noAutofit/>
          </a:bodyPr>
          <a:lstStyle>
            <a:lvl1pPr marL="263525" indent="-263525" algn="l" rtl="0" eaLnBrk="1" fontAlgn="base" hangingPunct="1">
              <a:lnSpc>
                <a:spcPct val="100000"/>
              </a:lnSpc>
              <a:spcBef>
                <a:spcPts val="200"/>
              </a:spcBef>
              <a:spcAft>
                <a:spcPts val="0"/>
              </a:spcAft>
              <a:buClr>
                <a:schemeClr val="tx2"/>
              </a:buClr>
              <a:buSzPct val="80000"/>
              <a:buFont typeface="Lucida Grande"/>
              <a:buChar char="+"/>
              <a:defRPr sz="1600" b="0" kern="1200">
                <a:solidFill>
                  <a:schemeClr val="tx1"/>
                </a:solidFill>
                <a:latin typeface="Calibri"/>
                <a:ea typeface="ヒラギノ角ゴ Pro W3" charset="0"/>
                <a:cs typeface="ヒラギノ角ゴ Pro W3" charset="0"/>
              </a:defRPr>
            </a:lvl1pPr>
            <a:lvl2pPr marL="444500" indent="-179388" algn="l" rtl="0" eaLnBrk="1" fontAlgn="base" hangingPunct="1">
              <a:spcBef>
                <a:spcPts val="200"/>
              </a:spcBef>
              <a:spcAft>
                <a:spcPts val="0"/>
              </a:spcAft>
              <a:buClr>
                <a:schemeClr val="tx2"/>
              </a:buClr>
              <a:buSzPct val="80000"/>
              <a:buFont typeface="Lucida Grande"/>
              <a:buChar char="−"/>
              <a:defRPr sz="1500" kern="1200" baseline="0">
                <a:solidFill>
                  <a:schemeClr val="tx1"/>
                </a:solidFill>
                <a:latin typeface="Calibri"/>
                <a:ea typeface="ヒラギノ角ゴ Pro W3" charset="0"/>
                <a:cs typeface="ヒラギノ角ゴ Pro W3" charset="0"/>
              </a:defRPr>
            </a:lvl2pPr>
            <a:lvl3pPr marL="648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3pPr>
            <a:lvl4pPr marL="864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4pPr>
            <a:lvl5pPr marL="1080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marL="263525" marR="0" lvl="0" indent="-263525" algn="l" defTabSz="914400" rtl="0" eaLnBrk="1" fontAlgn="base" latinLnBrk="0" hangingPunct="1">
              <a:lnSpc>
                <a:spcPct val="100000"/>
              </a:lnSpc>
              <a:spcBef>
                <a:spcPts val="200"/>
              </a:spcBef>
              <a:spcAft>
                <a:spcPts val="0"/>
              </a:spcAft>
              <a:buClr>
                <a:srgbClr val="234F67"/>
              </a:buClr>
              <a:buSzPct val="80000"/>
              <a:buFont typeface="Lucida Grande"/>
              <a:buChar char="+"/>
              <a:tabLst/>
              <a:defRPr/>
            </a:pPr>
            <a:r>
              <a:rPr kumimoji="0" lang="es-CO" sz="1100" b="0" i="0" u="none" strike="noStrike" kern="1200" cap="none" spc="0" normalizeH="0" baseline="0" noProof="0" dirty="0">
                <a:ln>
                  <a:noFill/>
                </a:ln>
                <a:solidFill>
                  <a:prstClr val="black"/>
                </a:solidFill>
                <a:effectLst/>
                <a:uLnTx/>
                <a:uFillTx/>
                <a:latin typeface="Arial" panose="020B0604020202020204"/>
              </a:rPr>
              <a:t>Identificación de Activos de conocimiento: Estándares, Procedimientos, Instructivos, formatos (Insumo para la Hoja de Ruta de activos de conocimiento)</a:t>
            </a:r>
          </a:p>
        </p:txBody>
      </p:sp>
      <p:sp>
        <p:nvSpPr>
          <p:cNvPr id="110" name="2 Marcador de contenido">
            <a:extLst>
              <a:ext uri="{FF2B5EF4-FFF2-40B4-BE49-F238E27FC236}">
                <a16:creationId xmlns:a16="http://schemas.microsoft.com/office/drawing/2014/main" id="{856AE0BC-9BA0-4461-894A-FA6A9E1C0F27}"/>
              </a:ext>
            </a:extLst>
          </p:cNvPr>
          <p:cNvSpPr txBox="1">
            <a:spLocks/>
          </p:cNvSpPr>
          <p:nvPr/>
        </p:nvSpPr>
        <p:spPr>
          <a:xfrm>
            <a:off x="6057036" y="5343753"/>
            <a:ext cx="1978283" cy="752187"/>
          </a:xfrm>
          <a:prstGeom prst="rect">
            <a:avLst/>
          </a:prstGeom>
        </p:spPr>
        <p:txBody>
          <a:bodyPr>
            <a:noAutofit/>
          </a:bodyPr>
          <a:lstStyle>
            <a:lvl1pPr marL="263525" indent="-263525" algn="l" rtl="0" eaLnBrk="1" fontAlgn="base" hangingPunct="1">
              <a:lnSpc>
                <a:spcPct val="100000"/>
              </a:lnSpc>
              <a:spcBef>
                <a:spcPts val="200"/>
              </a:spcBef>
              <a:spcAft>
                <a:spcPts val="0"/>
              </a:spcAft>
              <a:buClr>
                <a:schemeClr val="tx2"/>
              </a:buClr>
              <a:buSzPct val="80000"/>
              <a:buFont typeface="Lucida Grande"/>
              <a:buChar char="+"/>
              <a:defRPr sz="1600" b="0" kern="1200">
                <a:solidFill>
                  <a:schemeClr val="tx1"/>
                </a:solidFill>
                <a:latin typeface="Calibri"/>
                <a:ea typeface="ヒラギノ角ゴ Pro W3" charset="0"/>
                <a:cs typeface="ヒラギノ角ゴ Pro W3" charset="0"/>
              </a:defRPr>
            </a:lvl1pPr>
            <a:lvl2pPr marL="444500" indent="-179388" algn="l" rtl="0" eaLnBrk="1" fontAlgn="base" hangingPunct="1">
              <a:spcBef>
                <a:spcPts val="200"/>
              </a:spcBef>
              <a:spcAft>
                <a:spcPts val="0"/>
              </a:spcAft>
              <a:buClr>
                <a:schemeClr val="tx2"/>
              </a:buClr>
              <a:buSzPct val="80000"/>
              <a:buFont typeface="Lucida Grande"/>
              <a:buChar char="−"/>
              <a:defRPr sz="1500" kern="1200" baseline="0">
                <a:solidFill>
                  <a:schemeClr val="tx1"/>
                </a:solidFill>
                <a:latin typeface="Calibri"/>
                <a:ea typeface="ヒラギノ角ゴ Pro W3" charset="0"/>
                <a:cs typeface="ヒラギノ角ゴ Pro W3" charset="0"/>
              </a:defRPr>
            </a:lvl2pPr>
            <a:lvl3pPr marL="648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3pPr>
            <a:lvl4pPr marL="864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4pPr>
            <a:lvl5pPr marL="1080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marL="263525" marR="0" lvl="0" indent="-263525" algn="l" defTabSz="914400" rtl="0" eaLnBrk="1" fontAlgn="base" latinLnBrk="0" hangingPunct="1">
              <a:lnSpc>
                <a:spcPct val="100000"/>
              </a:lnSpc>
              <a:spcBef>
                <a:spcPts val="200"/>
              </a:spcBef>
              <a:spcAft>
                <a:spcPts val="0"/>
              </a:spcAft>
              <a:buClr>
                <a:srgbClr val="234F67"/>
              </a:buClr>
              <a:buSzPct val="80000"/>
              <a:buFont typeface="Lucida Grande"/>
              <a:buChar char="+"/>
              <a:tabLst/>
              <a:defRPr/>
            </a:pPr>
            <a:r>
              <a:rPr kumimoji="0" lang="es-CO" sz="1100" b="0" i="0" u="none" strike="noStrike" kern="1200" cap="none" spc="0" normalizeH="0" baseline="0" noProof="0" dirty="0">
                <a:ln>
                  <a:noFill/>
                </a:ln>
                <a:solidFill>
                  <a:srgbClr val="000000"/>
                </a:solidFill>
                <a:effectLst/>
                <a:uLnTx/>
                <a:uFillTx/>
                <a:latin typeface="Arial" panose="020B0604020202020204"/>
              </a:rPr>
              <a:t>Alineación cargos Mapa de Cargos</a:t>
            </a:r>
          </a:p>
        </p:txBody>
      </p:sp>
      <p:cxnSp>
        <p:nvCxnSpPr>
          <p:cNvPr id="111" name="18 Conector recto">
            <a:extLst>
              <a:ext uri="{FF2B5EF4-FFF2-40B4-BE49-F238E27FC236}">
                <a16:creationId xmlns:a16="http://schemas.microsoft.com/office/drawing/2014/main" id="{04B3FA45-A2ED-4255-9D51-35B6821AC2A7}"/>
              </a:ext>
            </a:extLst>
          </p:cNvPr>
          <p:cNvCxnSpPr>
            <a:cxnSpLocks/>
          </p:cNvCxnSpPr>
          <p:nvPr/>
        </p:nvCxnSpPr>
        <p:spPr>
          <a:xfrm>
            <a:off x="362427" y="3161978"/>
            <a:ext cx="11186524" cy="0"/>
          </a:xfrm>
          <a:prstGeom prst="line">
            <a:avLst/>
          </a:prstGeom>
          <a:ln w="19050" cmpd="sng">
            <a:solidFill>
              <a:schemeClr val="tx2"/>
            </a:solidFill>
            <a:prstDash val="dash"/>
          </a:ln>
        </p:spPr>
        <p:style>
          <a:lnRef idx="2">
            <a:schemeClr val="accent1"/>
          </a:lnRef>
          <a:fillRef idx="0">
            <a:schemeClr val="accent1"/>
          </a:fillRef>
          <a:effectRef idx="1">
            <a:schemeClr val="accent1"/>
          </a:effectRef>
          <a:fontRef idx="minor">
            <a:schemeClr val="tx1"/>
          </a:fontRef>
        </p:style>
      </p:cxnSp>
      <p:sp>
        <p:nvSpPr>
          <p:cNvPr id="112" name="14 CuadroTexto">
            <a:extLst>
              <a:ext uri="{FF2B5EF4-FFF2-40B4-BE49-F238E27FC236}">
                <a16:creationId xmlns:a16="http://schemas.microsoft.com/office/drawing/2014/main" id="{2EF10060-250A-41CC-B2BB-0CB7F11425FA}"/>
              </a:ext>
            </a:extLst>
          </p:cNvPr>
          <p:cNvSpPr txBox="1"/>
          <p:nvPr/>
        </p:nvSpPr>
        <p:spPr>
          <a:xfrm>
            <a:off x="397625" y="2268790"/>
            <a:ext cx="148204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100" b="1" i="0" u="none" strike="noStrike" kern="1200" cap="none" spc="0" normalizeH="0" baseline="0" noProof="0" dirty="0">
                <a:ln>
                  <a:noFill/>
                </a:ln>
                <a:solidFill>
                  <a:srgbClr val="000000"/>
                </a:solidFill>
                <a:effectLst/>
                <a:uLnTx/>
                <a:uFillTx/>
                <a:latin typeface="Arial" panose="020B0604020202020204"/>
                <a:ea typeface="+mn-ea"/>
                <a:cs typeface="+mn-cs"/>
              </a:rPr>
              <a:t>Descripción</a:t>
            </a:r>
          </a:p>
        </p:txBody>
      </p:sp>
      <p:cxnSp>
        <p:nvCxnSpPr>
          <p:cNvPr id="113" name="21 Conector recto">
            <a:extLst>
              <a:ext uri="{FF2B5EF4-FFF2-40B4-BE49-F238E27FC236}">
                <a16:creationId xmlns:a16="http://schemas.microsoft.com/office/drawing/2014/main" id="{C9B6C461-FF61-4942-8246-0263EFD83D8B}"/>
              </a:ext>
            </a:extLst>
          </p:cNvPr>
          <p:cNvCxnSpPr>
            <a:cxnSpLocks/>
          </p:cNvCxnSpPr>
          <p:nvPr/>
        </p:nvCxnSpPr>
        <p:spPr>
          <a:xfrm>
            <a:off x="3903065" y="1875939"/>
            <a:ext cx="0" cy="1116000"/>
          </a:xfrm>
          <a:prstGeom prst="line">
            <a:avLst/>
          </a:prstGeom>
          <a:ln w="19050" cmpd="sng">
            <a:solidFill>
              <a:schemeClr val="tx2"/>
            </a:solidFill>
            <a:prstDash val="dash"/>
          </a:ln>
        </p:spPr>
        <p:style>
          <a:lnRef idx="2">
            <a:schemeClr val="accent1"/>
          </a:lnRef>
          <a:fillRef idx="0">
            <a:schemeClr val="accent1"/>
          </a:fillRef>
          <a:effectRef idx="1">
            <a:schemeClr val="accent1"/>
          </a:effectRef>
          <a:fontRef idx="minor">
            <a:schemeClr val="tx1"/>
          </a:fontRef>
        </p:style>
      </p:cxnSp>
      <p:cxnSp>
        <p:nvCxnSpPr>
          <p:cNvPr id="114" name="21 Conector recto">
            <a:extLst>
              <a:ext uri="{FF2B5EF4-FFF2-40B4-BE49-F238E27FC236}">
                <a16:creationId xmlns:a16="http://schemas.microsoft.com/office/drawing/2014/main" id="{934AEC2F-4BDF-4DAE-A0AB-6B3AFBC403B0}"/>
              </a:ext>
            </a:extLst>
          </p:cNvPr>
          <p:cNvCxnSpPr>
            <a:cxnSpLocks/>
          </p:cNvCxnSpPr>
          <p:nvPr/>
        </p:nvCxnSpPr>
        <p:spPr>
          <a:xfrm>
            <a:off x="6162558" y="1829557"/>
            <a:ext cx="0" cy="1116000"/>
          </a:xfrm>
          <a:prstGeom prst="line">
            <a:avLst/>
          </a:prstGeom>
          <a:ln w="19050" cmpd="sng">
            <a:solidFill>
              <a:schemeClr val="tx2"/>
            </a:solidFill>
            <a:prstDash val="dash"/>
          </a:ln>
        </p:spPr>
        <p:style>
          <a:lnRef idx="2">
            <a:schemeClr val="accent1"/>
          </a:lnRef>
          <a:fillRef idx="0">
            <a:schemeClr val="accent1"/>
          </a:fillRef>
          <a:effectRef idx="1">
            <a:schemeClr val="accent1"/>
          </a:effectRef>
          <a:fontRef idx="minor">
            <a:schemeClr val="tx1"/>
          </a:fontRef>
        </p:style>
      </p:cxnSp>
      <p:cxnSp>
        <p:nvCxnSpPr>
          <p:cNvPr id="115" name="21 Conector recto">
            <a:extLst>
              <a:ext uri="{FF2B5EF4-FFF2-40B4-BE49-F238E27FC236}">
                <a16:creationId xmlns:a16="http://schemas.microsoft.com/office/drawing/2014/main" id="{B2F9D849-23C5-491E-974F-D4E717C88678}"/>
              </a:ext>
            </a:extLst>
          </p:cNvPr>
          <p:cNvCxnSpPr>
            <a:cxnSpLocks/>
          </p:cNvCxnSpPr>
          <p:nvPr/>
        </p:nvCxnSpPr>
        <p:spPr>
          <a:xfrm>
            <a:off x="8269658" y="1869312"/>
            <a:ext cx="0" cy="1116000"/>
          </a:xfrm>
          <a:prstGeom prst="line">
            <a:avLst/>
          </a:prstGeom>
          <a:ln w="19050" cmpd="sng">
            <a:solidFill>
              <a:schemeClr val="tx2"/>
            </a:solidFill>
            <a:prstDash val="dash"/>
          </a:ln>
        </p:spPr>
        <p:style>
          <a:lnRef idx="2">
            <a:schemeClr val="accent1"/>
          </a:lnRef>
          <a:fillRef idx="0">
            <a:schemeClr val="accent1"/>
          </a:fillRef>
          <a:effectRef idx="1">
            <a:schemeClr val="accent1"/>
          </a:effectRef>
          <a:fontRef idx="minor">
            <a:schemeClr val="tx1"/>
          </a:fontRef>
        </p:style>
      </p:cxnSp>
      <p:sp>
        <p:nvSpPr>
          <p:cNvPr id="116" name="CuadroTexto 115">
            <a:extLst>
              <a:ext uri="{FF2B5EF4-FFF2-40B4-BE49-F238E27FC236}">
                <a16:creationId xmlns:a16="http://schemas.microsoft.com/office/drawing/2014/main" id="{65A0D094-CAE5-43B5-A9AF-FB1127558AF1}"/>
              </a:ext>
            </a:extLst>
          </p:cNvPr>
          <p:cNvSpPr txBox="1"/>
          <p:nvPr/>
        </p:nvSpPr>
        <p:spPr>
          <a:xfrm>
            <a:off x="1761292" y="1881208"/>
            <a:ext cx="2075794" cy="957561"/>
          </a:xfrm>
          <a:prstGeom prst="rect">
            <a:avLst/>
          </a:prstGeom>
          <a:noFill/>
        </p:spPr>
        <p:txBody>
          <a:bodyPr wrap="square" lIns="36000" tIns="36000" rIns="36000" bIns="36000"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150" b="0" i="0" u="none" strike="noStrike" kern="1200" cap="none" spc="0" normalizeH="0" baseline="0" noProof="0" dirty="0">
                <a:ln>
                  <a:noFill/>
                </a:ln>
                <a:solidFill>
                  <a:srgbClr val="000000"/>
                </a:solidFill>
                <a:effectLst/>
                <a:uLnTx/>
                <a:uFillTx/>
                <a:latin typeface="Arial" panose="020B0604020202020204"/>
                <a:ea typeface="+mn-ea"/>
                <a:cs typeface="+mn-cs"/>
              </a:rPr>
              <a:t>Es el máximo nivel de agregación de procesos y su interrelación permite desarrollar la misión de la compañía.</a:t>
            </a:r>
          </a:p>
        </p:txBody>
      </p:sp>
      <p:sp>
        <p:nvSpPr>
          <p:cNvPr id="117" name="CuadroTexto 116">
            <a:extLst>
              <a:ext uri="{FF2B5EF4-FFF2-40B4-BE49-F238E27FC236}">
                <a16:creationId xmlns:a16="http://schemas.microsoft.com/office/drawing/2014/main" id="{09F38C68-53E4-49B8-9C3A-6DCF2FF680E6}"/>
              </a:ext>
            </a:extLst>
          </p:cNvPr>
          <p:cNvSpPr txBox="1"/>
          <p:nvPr/>
        </p:nvSpPr>
        <p:spPr>
          <a:xfrm>
            <a:off x="4065093" y="1886339"/>
            <a:ext cx="2046183" cy="1134532"/>
          </a:xfrm>
          <a:prstGeom prst="rect">
            <a:avLst/>
          </a:prstGeom>
          <a:noFill/>
        </p:spPr>
        <p:txBody>
          <a:bodyPr wrap="square" lIns="36000" tIns="36000" rIns="36000" bIns="36000"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150" b="0" i="0" u="none" strike="noStrike" kern="1200" cap="none" spc="0" normalizeH="0" baseline="0" noProof="0" dirty="0">
                <a:ln>
                  <a:noFill/>
                </a:ln>
                <a:solidFill>
                  <a:srgbClr val="000000"/>
                </a:solidFill>
                <a:effectLst/>
                <a:uLnTx/>
                <a:uFillTx/>
                <a:latin typeface="Arial" panose="020B0604020202020204"/>
                <a:ea typeface="+mn-ea"/>
                <a:cs typeface="+mn-cs"/>
              </a:rPr>
              <a:t>Segundo nivel de agregación de la gestión organizacional, esta conformado por la agrupación lógica de varios subprocesos para alcanzar un objetivo</a:t>
            </a:r>
          </a:p>
        </p:txBody>
      </p:sp>
      <p:sp>
        <p:nvSpPr>
          <p:cNvPr id="118" name="CuadroTexto 117">
            <a:extLst>
              <a:ext uri="{FF2B5EF4-FFF2-40B4-BE49-F238E27FC236}">
                <a16:creationId xmlns:a16="http://schemas.microsoft.com/office/drawing/2014/main" id="{E0C28EA0-A184-4FC8-9D9F-873DE9149E3E}"/>
              </a:ext>
            </a:extLst>
          </p:cNvPr>
          <p:cNvSpPr txBox="1"/>
          <p:nvPr/>
        </p:nvSpPr>
        <p:spPr>
          <a:xfrm>
            <a:off x="6193990" y="1893814"/>
            <a:ext cx="1975343" cy="1311504"/>
          </a:xfrm>
          <a:prstGeom prst="rect">
            <a:avLst/>
          </a:prstGeom>
          <a:noFill/>
        </p:spPr>
        <p:txBody>
          <a:bodyPr wrap="square" lIns="36000" tIns="36000" rIns="36000" bIns="36000"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150" b="0" i="0" u="none" strike="noStrike" kern="1200" cap="none" spc="0" normalizeH="0" baseline="0" noProof="0" dirty="0">
                <a:ln>
                  <a:noFill/>
                </a:ln>
                <a:solidFill>
                  <a:srgbClr val="000000"/>
                </a:solidFill>
                <a:effectLst/>
                <a:uLnTx/>
                <a:uFillTx/>
                <a:latin typeface="Arial" panose="020B0604020202020204"/>
                <a:ea typeface="+mn-ea"/>
                <a:cs typeface="+mn-cs"/>
              </a:rPr>
              <a:t>Es un conjunto de actividades que se interrelacionan entre si a través de una secuencia lógica para cumplir un propósito y agregar valor al cliente</a:t>
            </a:r>
          </a:p>
        </p:txBody>
      </p:sp>
      <p:sp>
        <p:nvSpPr>
          <p:cNvPr id="119" name="CuadroTexto 118">
            <a:extLst>
              <a:ext uri="{FF2B5EF4-FFF2-40B4-BE49-F238E27FC236}">
                <a16:creationId xmlns:a16="http://schemas.microsoft.com/office/drawing/2014/main" id="{BA1BBDC9-EB56-4E6F-9AF3-7C2EA49370D4}"/>
              </a:ext>
            </a:extLst>
          </p:cNvPr>
          <p:cNvSpPr txBox="1"/>
          <p:nvPr/>
        </p:nvSpPr>
        <p:spPr>
          <a:xfrm>
            <a:off x="8385082" y="1914054"/>
            <a:ext cx="3222404" cy="1257643"/>
          </a:xfrm>
          <a:prstGeom prst="rect">
            <a:avLst/>
          </a:prstGeom>
          <a:noFill/>
        </p:spPr>
        <p:txBody>
          <a:bodyPr wrap="square" lIns="36000" tIns="36000" rIns="36000" bIns="36000"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Arial" panose="020B0604020202020204"/>
                <a:ea typeface="+mn-ea"/>
                <a:cs typeface="+mn-cs"/>
              </a:rPr>
              <a:t>Dependiendo la complejidad de gestión, una actividad, que a su vez hace parte de un subproceso y puede describirse en un documento aparte como por ejemplo un procedimiento.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a:ln>
                  <a:noFill/>
                </a:ln>
                <a:solidFill>
                  <a:srgbClr val="000000"/>
                </a:solidFill>
                <a:effectLst/>
                <a:uLnTx/>
                <a:uFillTx/>
                <a:latin typeface="Arial" panose="020B0604020202020204"/>
                <a:ea typeface="+mn-ea"/>
                <a:cs typeface="+mn-cs"/>
              </a:rPr>
              <a:t>Para el Nivel 4 su </a:t>
            </a:r>
            <a:r>
              <a:rPr kumimoji="0" lang="es-ES" sz="1100" b="0" i="0" u="none" strike="noStrike" kern="1200" cap="none" spc="0" normalizeH="0" baseline="0" noProof="0" dirty="0" err="1">
                <a:ln>
                  <a:noFill/>
                </a:ln>
                <a:solidFill>
                  <a:srgbClr val="000000"/>
                </a:solidFill>
                <a:effectLst/>
                <a:uLnTx/>
                <a:uFillTx/>
                <a:latin typeface="Arial" panose="020B0604020202020204"/>
                <a:ea typeface="+mn-ea"/>
                <a:cs typeface="+mn-cs"/>
              </a:rPr>
              <a:t>detallamiento</a:t>
            </a:r>
            <a:r>
              <a:rPr kumimoji="0" lang="es-ES" sz="1100" b="0" i="0" u="none" strike="noStrike" kern="1200" cap="none" spc="0" normalizeH="0" baseline="0" noProof="0" dirty="0">
                <a:ln>
                  <a:noFill/>
                </a:ln>
                <a:solidFill>
                  <a:srgbClr val="000000"/>
                </a:solidFill>
                <a:effectLst/>
                <a:uLnTx/>
                <a:uFillTx/>
                <a:latin typeface="Arial" panose="020B0604020202020204"/>
                <a:ea typeface="+mn-ea"/>
                <a:cs typeface="+mn-cs"/>
              </a:rPr>
              <a:t> o descripción se puede recurrir a documentos como por ejemplo los instructivos</a:t>
            </a:r>
          </a:p>
        </p:txBody>
      </p:sp>
      <p:sp>
        <p:nvSpPr>
          <p:cNvPr id="120" name="2 Marcador de contenido">
            <a:extLst>
              <a:ext uri="{FF2B5EF4-FFF2-40B4-BE49-F238E27FC236}">
                <a16:creationId xmlns:a16="http://schemas.microsoft.com/office/drawing/2014/main" id="{7BEAFEB6-1151-4FB1-B1FB-AE5B6F09930A}"/>
              </a:ext>
            </a:extLst>
          </p:cNvPr>
          <p:cNvSpPr txBox="1">
            <a:spLocks/>
          </p:cNvSpPr>
          <p:nvPr/>
        </p:nvSpPr>
        <p:spPr>
          <a:xfrm>
            <a:off x="1902984" y="4159844"/>
            <a:ext cx="1520449" cy="466645"/>
          </a:xfrm>
          <a:prstGeom prst="rect">
            <a:avLst/>
          </a:prstGeom>
        </p:spPr>
        <p:txBody>
          <a:bodyPr>
            <a:noAutofit/>
          </a:bodyPr>
          <a:lstStyle>
            <a:lvl1pPr marL="263525" indent="-263525" algn="l" rtl="0" eaLnBrk="1" fontAlgn="base" hangingPunct="1">
              <a:lnSpc>
                <a:spcPct val="100000"/>
              </a:lnSpc>
              <a:spcBef>
                <a:spcPts val="200"/>
              </a:spcBef>
              <a:spcAft>
                <a:spcPts val="0"/>
              </a:spcAft>
              <a:buClr>
                <a:schemeClr val="tx2"/>
              </a:buClr>
              <a:buSzPct val="80000"/>
              <a:buFont typeface="Lucida Grande"/>
              <a:buChar char="+"/>
              <a:defRPr sz="1600" b="0" kern="1200">
                <a:solidFill>
                  <a:schemeClr val="tx1"/>
                </a:solidFill>
                <a:latin typeface="Calibri"/>
                <a:ea typeface="ヒラギノ角ゴ Pro W3" charset="0"/>
                <a:cs typeface="ヒラギノ角ゴ Pro W3" charset="0"/>
              </a:defRPr>
            </a:lvl1pPr>
            <a:lvl2pPr marL="444500" indent="-179388" algn="l" rtl="0" eaLnBrk="1" fontAlgn="base" hangingPunct="1">
              <a:spcBef>
                <a:spcPts val="200"/>
              </a:spcBef>
              <a:spcAft>
                <a:spcPts val="0"/>
              </a:spcAft>
              <a:buClr>
                <a:schemeClr val="tx2"/>
              </a:buClr>
              <a:buSzPct val="80000"/>
              <a:buFont typeface="Lucida Grande"/>
              <a:buChar char="−"/>
              <a:defRPr sz="1500" kern="1200" baseline="0">
                <a:solidFill>
                  <a:schemeClr val="tx1"/>
                </a:solidFill>
                <a:latin typeface="Calibri"/>
                <a:ea typeface="ヒラギノ角ゴ Pro W3" charset="0"/>
                <a:cs typeface="ヒラギノ角ゴ Pro W3" charset="0"/>
              </a:defRPr>
            </a:lvl2pPr>
            <a:lvl3pPr marL="648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3pPr>
            <a:lvl4pPr marL="864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4pPr>
            <a:lvl5pPr marL="1080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marL="263525" marR="0" lvl="0" indent="-263525" algn="l" defTabSz="914400" rtl="0" eaLnBrk="1" fontAlgn="base" latinLnBrk="0" hangingPunct="1">
              <a:lnSpc>
                <a:spcPct val="100000"/>
              </a:lnSpc>
              <a:spcBef>
                <a:spcPts val="200"/>
              </a:spcBef>
              <a:spcAft>
                <a:spcPts val="0"/>
              </a:spcAft>
              <a:buClr>
                <a:srgbClr val="234F67"/>
              </a:buClr>
              <a:buSzPct val="80000"/>
              <a:buFont typeface="Lucida Grande"/>
              <a:buChar char="+"/>
              <a:tabLst/>
              <a:defRPr/>
            </a:pPr>
            <a:r>
              <a:rPr kumimoji="0" lang="es-CO" sz="1200" b="0" i="0" u="none" strike="noStrike" kern="1200" cap="none" spc="0" normalizeH="0" baseline="0" noProof="0" dirty="0">
                <a:ln>
                  <a:noFill/>
                </a:ln>
                <a:solidFill>
                  <a:srgbClr val="000000"/>
                </a:solidFill>
                <a:effectLst/>
                <a:uLnTx/>
                <a:uFillTx/>
                <a:latin typeface="Arial" panose="020B0604020202020204"/>
              </a:rPr>
              <a:t>Rol - Líder de Macroproceso</a:t>
            </a:r>
          </a:p>
          <a:p>
            <a:pPr marL="263525" marR="0" lvl="0" indent="-263525" algn="l" defTabSz="914400" rtl="0" eaLnBrk="1" fontAlgn="base" latinLnBrk="0" hangingPunct="1">
              <a:lnSpc>
                <a:spcPct val="100000"/>
              </a:lnSpc>
              <a:spcBef>
                <a:spcPts val="200"/>
              </a:spcBef>
              <a:spcAft>
                <a:spcPts val="0"/>
              </a:spcAft>
              <a:buClr>
                <a:srgbClr val="234F67"/>
              </a:buClr>
              <a:buSzPct val="80000"/>
              <a:buFont typeface="Lucida Grande"/>
              <a:buChar char="+"/>
              <a:tabLst/>
              <a:defRPr/>
            </a:pPr>
            <a:r>
              <a:rPr kumimoji="0" lang="es-CO" sz="1200" b="0" i="0" u="none" strike="noStrike" kern="1200" cap="none" spc="0" normalizeH="0" baseline="0" noProof="0" dirty="0">
                <a:ln>
                  <a:noFill/>
                </a:ln>
                <a:solidFill>
                  <a:srgbClr val="4472C4"/>
                </a:solidFill>
                <a:effectLst/>
                <a:uLnTx/>
                <a:uFillTx/>
                <a:latin typeface="Arial" panose="020B0604020202020204"/>
              </a:rPr>
              <a:t>MAD y Modelo de relacionamiento</a:t>
            </a:r>
          </a:p>
        </p:txBody>
      </p:sp>
      <p:sp>
        <p:nvSpPr>
          <p:cNvPr id="60" name="2 Marcador de contenido">
            <a:extLst>
              <a:ext uri="{FF2B5EF4-FFF2-40B4-BE49-F238E27FC236}">
                <a16:creationId xmlns:a16="http://schemas.microsoft.com/office/drawing/2014/main" id="{2553038F-F472-4936-9152-0C6001D6F36B}"/>
              </a:ext>
            </a:extLst>
          </p:cNvPr>
          <p:cNvSpPr txBox="1">
            <a:spLocks/>
          </p:cNvSpPr>
          <p:nvPr/>
        </p:nvSpPr>
        <p:spPr>
          <a:xfrm>
            <a:off x="3883565" y="5237598"/>
            <a:ext cx="1873080" cy="509464"/>
          </a:xfrm>
          <a:prstGeom prst="rect">
            <a:avLst/>
          </a:prstGeom>
        </p:spPr>
        <p:txBody>
          <a:bodyPr>
            <a:noAutofit/>
          </a:bodyPr>
          <a:lstStyle>
            <a:lvl1pPr marL="263525" indent="-263525" algn="l" rtl="0" eaLnBrk="1" fontAlgn="base" hangingPunct="1">
              <a:lnSpc>
                <a:spcPct val="100000"/>
              </a:lnSpc>
              <a:spcBef>
                <a:spcPts val="200"/>
              </a:spcBef>
              <a:spcAft>
                <a:spcPts val="0"/>
              </a:spcAft>
              <a:buClr>
                <a:schemeClr val="tx2"/>
              </a:buClr>
              <a:buSzPct val="80000"/>
              <a:buFont typeface="Lucida Grande"/>
              <a:buChar char="+"/>
              <a:defRPr sz="1600" b="0" kern="1200">
                <a:solidFill>
                  <a:schemeClr val="tx1"/>
                </a:solidFill>
                <a:latin typeface="Calibri"/>
                <a:ea typeface="ヒラギノ角ゴ Pro W3" charset="0"/>
                <a:cs typeface="ヒラギノ角ゴ Pro W3" charset="0"/>
              </a:defRPr>
            </a:lvl1pPr>
            <a:lvl2pPr marL="444500" indent="-179388" algn="l" rtl="0" eaLnBrk="1" fontAlgn="base" hangingPunct="1">
              <a:spcBef>
                <a:spcPts val="200"/>
              </a:spcBef>
              <a:spcAft>
                <a:spcPts val="0"/>
              </a:spcAft>
              <a:buClr>
                <a:schemeClr val="tx2"/>
              </a:buClr>
              <a:buSzPct val="80000"/>
              <a:buFont typeface="Lucida Grande"/>
              <a:buChar char="−"/>
              <a:defRPr sz="1500" kern="1200" baseline="0">
                <a:solidFill>
                  <a:schemeClr val="tx1"/>
                </a:solidFill>
                <a:latin typeface="Calibri"/>
                <a:ea typeface="ヒラギノ角ゴ Pro W3" charset="0"/>
                <a:cs typeface="ヒラギノ角ゴ Pro W3" charset="0"/>
              </a:defRPr>
            </a:lvl2pPr>
            <a:lvl3pPr marL="648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3pPr>
            <a:lvl4pPr marL="864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4pPr>
            <a:lvl5pPr marL="1080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marL="263525" marR="0" lvl="0" indent="-263525" algn="l" defTabSz="914400" rtl="0" eaLnBrk="1" fontAlgn="base" latinLnBrk="0" hangingPunct="1">
              <a:lnSpc>
                <a:spcPct val="100000"/>
              </a:lnSpc>
              <a:spcBef>
                <a:spcPts val="200"/>
              </a:spcBef>
              <a:spcAft>
                <a:spcPts val="0"/>
              </a:spcAft>
              <a:buClr>
                <a:srgbClr val="234F67"/>
              </a:buClr>
              <a:buSzPct val="80000"/>
              <a:buFont typeface="Lucida Grande"/>
              <a:buChar char="+"/>
              <a:tabLst/>
              <a:defRPr/>
            </a:pPr>
            <a:r>
              <a:rPr kumimoji="0" lang="es-CO" sz="1100" b="0" i="0" u="none" strike="noStrike" kern="1200" cap="none" spc="0" normalizeH="0" baseline="0" noProof="0" dirty="0">
                <a:ln>
                  <a:noFill/>
                </a:ln>
                <a:solidFill>
                  <a:srgbClr val="4472C4"/>
                </a:solidFill>
                <a:effectLst/>
                <a:uLnTx/>
                <a:uFillTx/>
                <a:latin typeface="Arial" panose="020B0604020202020204"/>
              </a:rPr>
              <a:t>Manual de Roles y responsabilidades Gerencias / Jefaturas</a:t>
            </a:r>
          </a:p>
        </p:txBody>
      </p:sp>
      <p:cxnSp>
        <p:nvCxnSpPr>
          <p:cNvPr id="61" name="22 Conector recto">
            <a:extLst>
              <a:ext uri="{FF2B5EF4-FFF2-40B4-BE49-F238E27FC236}">
                <a16:creationId xmlns:a16="http://schemas.microsoft.com/office/drawing/2014/main" id="{7514CC13-059B-40AB-B890-CEA9CAAE97E0}"/>
              </a:ext>
            </a:extLst>
          </p:cNvPr>
          <p:cNvCxnSpPr>
            <a:cxnSpLocks/>
          </p:cNvCxnSpPr>
          <p:nvPr/>
        </p:nvCxnSpPr>
        <p:spPr>
          <a:xfrm>
            <a:off x="9856615" y="4059991"/>
            <a:ext cx="0" cy="2798009"/>
          </a:xfrm>
          <a:prstGeom prst="line">
            <a:avLst/>
          </a:prstGeom>
          <a:ln w="19050" cmpd="sng">
            <a:solidFill>
              <a:schemeClr val="tx2"/>
            </a:solidFill>
            <a:prstDash val="dash"/>
          </a:ln>
        </p:spPr>
        <p:style>
          <a:lnRef idx="2">
            <a:schemeClr val="accent1"/>
          </a:lnRef>
          <a:fillRef idx="0">
            <a:schemeClr val="accent1"/>
          </a:fillRef>
          <a:effectRef idx="1">
            <a:schemeClr val="accent1"/>
          </a:effectRef>
          <a:fontRef idx="minor">
            <a:schemeClr val="tx1"/>
          </a:fontRef>
        </p:style>
      </p:cxnSp>
      <p:sp>
        <p:nvSpPr>
          <p:cNvPr id="62" name="2 Marcador de contenido">
            <a:extLst>
              <a:ext uri="{FF2B5EF4-FFF2-40B4-BE49-F238E27FC236}">
                <a16:creationId xmlns:a16="http://schemas.microsoft.com/office/drawing/2014/main" id="{7C945924-4333-4F1B-A0AC-849277F5F0CA}"/>
              </a:ext>
            </a:extLst>
          </p:cNvPr>
          <p:cNvSpPr txBox="1">
            <a:spLocks/>
          </p:cNvSpPr>
          <p:nvPr/>
        </p:nvSpPr>
        <p:spPr>
          <a:xfrm>
            <a:off x="3909841" y="6342621"/>
            <a:ext cx="2072783" cy="377781"/>
          </a:xfrm>
          <a:prstGeom prst="rect">
            <a:avLst/>
          </a:prstGeom>
        </p:spPr>
        <p:txBody>
          <a:bodyPr>
            <a:noAutofit/>
          </a:bodyPr>
          <a:lstStyle>
            <a:lvl1pPr marL="263525" indent="-263525" algn="l" rtl="0" eaLnBrk="1" fontAlgn="base" hangingPunct="1">
              <a:lnSpc>
                <a:spcPct val="100000"/>
              </a:lnSpc>
              <a:spcBef>
                <a:spcPts val="200"/>
              </a:spcBef>
              <a:spcAft>
                <a:spcPts val="0"/>
              </a:spcAft>
              <a:buClr>
                <a:schemeClr val="tx2"/>
              </a:buClr>
              <a:buSzPct val="80000"/>
              <a:buFont typeface="Lucida Grande"/>
              <a:buChar char="+"/>
              <a:defRPr sz="1600" b="0" kern="1200">
                <a:solidFill>
                  <a:schemeClr val="tx1"/>
                </a:solidFill>
                <a:latin typeface="Calibri"/>
                <a:ea typeface="ヒラギノ角ゴ Pro W3" charset="0"/>
                <a:cs typeface="ヒラギノ角ゴ Pro W3" charset="0"/>
              </a:defRPr>
            </a:lvl1pPr>
            <a:lvl2pPr marL="444500" indent="-179388" algn="l" rtl="0" eaLnBrk="1" fontAlgn="base" hangingPunct="1">
              <a:spcBef>
                <a:spcPts val="200"/>
              </a:spcBef>
              <a:spcAft>
                <a:spcPts val="0"/>
              </a:spcAft>
              <a:buClr>
                <a:schemeClr val="tx2"/>
              </a:buClr>
              <a:buSzPct val="80000"/>
              <a:buFont typeface="Lucida Grande"/>
              <a:buChar char="−"/>
              <a:defRPr sz="1500" kern="1200" baseline="0">
                <a:solidFill>
                  <a:schemeClr val="tx1"/>
                </a:solidFill>
                <a:latin typeface="Calibri"/>
                <a:ea typeface="ヒラギノ角ゴ Pro W3" charset="0"/>
                <a:cs typeface="ヒラギノ角ゴ Pro W3" charset="0"/>
              </a:defRPr>
            </a:lvl2pPr>
            <a:lvl3pPr marL="648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3pPr>
            <a:lvl4pPr marL="864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4pPr>
            <a:lvl5pPr marL="1080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marL="263525" marR="0" lvl="0" indent="-263525" algn="l" defTabSz="914400" rtl="0" eaLnBrk="1" fontAlgn="base" latinLnBrk="0" hangingPunct="1">
              <a:lnSpc>
                <a:spcPct val="100000"/>
              </a:lnSpc>
              <a:spcBef>
                <a:spcPts val="200"/>
              </a:spcBef>
              <a:spcAft>
                <a:spcPts val="0"/>
              </a:spcAft>
              <a:buClr>
                <a:srgbClr val="234F67"/>
              </a:buClr>
              <a:buSzPct val="80000"/>
              <a:buFont typeface="Lucida Grande"/>
              <a:buChar char="+"/>
              <a:tabLst/>
              <a:defRPr/>
            </a:pPr>
            <a:r>
              <a:rPr kumimoji="0" lang="es-CO" sz="1100" b="0" i="0" u="none" strike="noStrike" kern="1200" cap="none" spc="0" normalizeH="0" baseline="0" noProof="0" dirty="0">
                <a:ln>
                  <a:noFill/>
                </a:ln>
                <a:solidFill>
                  <a:prstClr val="black"/>
                </a:solidFill>
                <a:effectLst/>
                <a:uLnTx/>
                <a:uFillTx/>
                <a:latin typeface="Arial" panose="020B0604020202020204"/>
              </a:rPr>
              <a:t>Hoja de Ruta de Activos de conocimiento</a:t>
            </a:r>
          </a:p>
        </p:txBody>
      </p:sp>
      <p:cxnSp>
        <p:nvCxnSpPr>
          <p:cNvPr id="63" name="18 Conector recto">
            <a:extLst>
              <a:ext uri="{FF2B5EF4-FFF2-40B4-BE49-F238E27FC236}">
                <a16:creationId xmlns:a16="http://schemas.microsoft.com/office/drawing/2014/main" id="{26BC84EC-D07B-49EF-9E00-B4237C0D138F}"/>
              </a:ext>
            </a:extLst>
          </p:cNvPr>
          <p:cNvCxnSpPr>
            <a:cxnSpLocks/>
          </p:cNvCxnSpPr>
          <p:nvPr/>
        </p:nvCxnSpPr>
        <p:spPr>
          <a:xfrm>
            <a:off x="6193990" y="6462056"/>
            <a:ext cx="2075668" cy="0"/>
          </a:xfrm>
          <a:prstGeom prst="line">
            <a:avLst/>
          </a:prstGeom>
          <a:ln w="19050" cmpd="sng">
            <a:solidFill>
              <a:schemeClr val="tx2"/>
            </a:solidFill>
            <a:prstDash val="dash"/>
          </a:ln>
        </p:spPr>
        <p:style>
          <a:lnRef idx="2">
            <a:schemeClr val="accent1"/>
          </a:lnRef>
          <a:fillRef idx="0">
            <a:schemeClr val="accent1"/>
          </a:fillRef>
          <a:effectRef idx="1">
            <a:schemeClr val="accent1"/>
          </a:effectRef>
          <a:fontRef idx="minor">
            <a:schemeClr val="tx1"/>
          </a:fontRef>
        </p:style>
      </p:cxnSp>
      <p:sp>
        <p:nvSpPr>
          <p:cNvPr id="64" name="2 Marcador de contenido">
            <a:extLst>
              <a:ext uri="{FF2B5EF4-FFF2-40B4-BE49-F238E27FC236}">
                <a16:creationId xmlns:a16="http://schemas.microsoft.com/office/drawing/2014/main" id="{51EF21D9-C989-4930-BEA0-7EEA997A5C79}"/>
              </a:ext>
            </a:extLst>
          </p:cNvPr>
          <p:cNvSpPr txBox="1">
            <a:spLocks/>
          </p:cNvSpPr>
          <p:nvPr/>
        </p:nvSpPr>
        <p:spPr>
          <a:xfrm>
            <a:off x="7069353" y="6198652"/>
            <a:ext cx="2072783" cy="262727"/>
          </a:xfrm>
          <a:prstGeom prst="rect">
            <a:avLst/>
          </a:prstGeom>
        </p:spPr>
        <p:txBody>
          <a:bodyPr>
            <a:noAutofit/>
          </a:bodyPr>
          <a:lstStyle>
            <a:lvl1pPr marL="263525" indent="-263525" algn="l" rtl="0" eaLnBrk="1" fontAlgn="base" hangingPunct="1">
              <a:lnSpc>
                <a:spcPct val="100000"/>
              </a:lnSpc>
              <a:spcBef>
                <a:spcPts val="200"/>
              </a:spcBef>
              <a:spcAft>
                <a:spcPts val="0"/>
              </a:spcAft>
              <a:buClr>
                <a:schemeClr val="tx2"/>
              </a:buClr>
              <a:buSzPct val="80000"/>
              <a:buFont typeface="Lucida Grande"/>
              <a:buChar char="+"/>
              <a:defRPr sz="1600" b="0" kern="1200">
                <a:solidFill>
                  <a:schemeClr val="tx1"/>
                </a:solidFill>
                <a:latin typeface="Calibri"/>
                <a:ea typeface="ヒラギノ角ゴ Pro W3" charset="0"/>
                <a:cs typeface="ヒラギノ角ゴ Pro W3" charset="0"/>
              </a:defRPr>
            </a:lvl1pPr>
            <a:lvl2pPr marL="444500" indent="-179388" algn="l" rtl="0" eaLnBrk="1" fontAlgn="base" hangingPunct="1">
              <a:spcBef>
                <a:spcPts val="200"/>
              </a:spcBef>
              <a:spcAft>
                <a:spcPts val="0"/>
              </a:spcAft>
              <a:buClr>
                <a:schemeClr val="tx2"/>
              </a:buClr>
              <a:buSzPct val="80000"/>
              <a:buFont typeface="Lucida Grande"/>
              <a:buChar char="−"/>
              <a:defRPr sz="1500" kern="1200" baseline="0">
                <a:solidFill>
                  <a:schemeClr val="tx1"/>
                </a:solidFill>
                <a:latin typeface="Calibri"/>
                <a:ea typeface="ヒラギノ角ゴ Pro W3" charset="0"/>
                <a:cs typeface="ヒラギノ角ゴ Pro W3" charset="0"/>
              </a:defRPr>
            </a:lvl2pPr>
            <a:lvl3pPr marL="648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3pPr>
            <a:lvl4pPr marL="864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4pPr>
            <a:lvl5pPr marL="1080000" indent="-180000" algn="l" rtl="0" eaLnBrk="1" fontAlgn="base" hangingPunct="1">
              <a:spcBef>
                <a:spcPts val="200"/>
              </a:spcBef>
              <a:spcAft>
                <a:spcPts val="0"/>
              </a:spcAft>
              <a:buClr>
                <a:schemeClr val="tx2"/>
              </a:buClr>
              <a:buSzPct val="80000"/>
              <a:buFont typeface="Arial"/>
              <a:buChar char="•"/>
              <a:defRPr sz="1500" kern="1200" baseline="0">
                <a:solidFill>
                  <a:schemeClr val="tx1"/>
                </a:solidFill>
                <a:latin typeface="Calibri"/>
                <a:ea typeface="ヒラギノ角ゴ Pro W3" charset="0"/>
                <a:cs typeface="ヒラギノ角ゴ Pro W3" charset="0"/>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marL="263525" marR="0" lvl="0" indent="-263525" algn="ctr" defTabSz="914400" rtl="0" eaLnBrk="1" fontAlgn="base" latinLnBrk="0" hangingPunct="1">
              <a:lnSpc>
                <a:spcPct val="100000"/>
              </a:lnSpc>
              <a:spcBef>
                <a:spcPts val="200"/>
              </a:spcBef>
              <a:spcAft>
                <a:spcPts val="0"/>
              </a:spcAft>
              <a:buClr>
                <a:srgbClr val="234F67"/>
              </a:buClr>
              <a:buSzPct val="80000"/>
              <a:buFont typeface="Lucida Grande"/>
              <a:buChar char="+"/>
              <a:tabLst/>
              <a:defRPr/>
            </a:pPr>
            <a:r>
              <a:rPr kumimoji="0" lang="es-CO" sz="1100" b="0" i="0" u="none" strike="noStrike" kern="1200" cap="none" spc="0" normalizeH="0" baseline="0" noProof="0" dirty="0">
                <a:ln>
                  <a:noFill/>
                </a:ln>
                <a:solidFill>
                  <a:prstClr val="black"/>
                </a:solidFill>
                <a:effectLst/>
                <a:uLnTx/>
                <a:uFillTx/>
                <a:latin typeface="Arial" panose="020B0604020202020204"/>
              </a:rPr>
              <a:t>MAITE</a:t>
            </a:r>
          </a:p>
        </p:txBody>
      </p:sp>
      <p:cxnSp>
        <p:nvCxnSpPr>
          <p:cNvPr id="65" name="22 Conector recto">
            <a:extLst>
              <a:ext uri="{FF2B5EF4-FFF2-40B4-BE49-F238E27FC236}">
                <a16:creationId xmlns:a16="http://schemas.microsoft.com/office/drawing/2014/main" id="{79BC3C1B-B9AB-44E9-9630-C9929152ECD4}"/>
              </a:ext>
            </a:extLst>
          </p:cNvPr>
          <p:cNvCxnSpPr>
            <a:cxnSpLocks/>
          </p:cNvCxnSpPr>
          <p:nvPr/>
        </p:nvCxnSpPr>
        <p:spPr>
          <a:xfrm>
            <a:off x="8252861" y="6504001"/>
            <a:ext cx="0" cy="390362"/>
          </a:xfrm>
          <a:prstGeom prst="line">
            <a:avLst/>
          </a:prstGeom>
          <a:ln w="19050" cmpd="sng">
            <a:solidFill>
              <a:schemeClr val="tx2"/>
            </a:solidFill>
            <a:prstDash val="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74556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abla 7">
            <a:extLst>
              <a:ext uri="{FF2B5EF4-FFF2-40B4-BE49-F238E27FC236}">
                <a16:creationId xmlns:a16="http://schemas.microsoft.com/office/drawing/2014/main" id="{DCA44B8C-50B5-485F-809C-4361E59B3802}"/>
              </a:ext>
            </a:extLst>
          </p:cNvPr>
          <p:cNvGraphicFramePr>
            <a:graphicFrameLocks noGrp="1"/>
          </p:cNvGraphicFramePr>
          <p:nvPr/>
        </p:nvGraphicFramePr>
        <p:xfrm>
          <a:off x="192853" y="1660186"/>
          <a:ext cx="11779440" cy="838426"/>
        </p:xfrm>
        <a:graphic>
          <a:graphicData uri="http://schemas.openxmlformats.org/drawingml/2006/table">
            <a:tbl>
              <a:tblPr firstRow="1" bandRow="1">
                <a:tableStyleId>{5C22544A-7EE6-4342-B048-85BDC9FD1C3A}</a:tableStyleId>
              </a:tblPr>
              <a:tblGrid>
                <a:gridCol w="994409">
                  <a:extLst>
                    <a:ext uri="{9D8B030D-6E8A-4147-A177-3AD203B41FA5}">
                      <a16:colId xmlns:a16="http://schemas.microsoft.com/office/drawing/2014/main" val="2999560587"/>
                    </a:ext>
                  </a:extLst>
                </a:gridCol>
                <a:gridCol w="10785031">
                  <a:extLst>
                    <a:ext uri="{9D8B030D-6E8A-4147-A177-3AD203B41FA5}">
                      <a16:colId xmlns:a16="http://schemas.microsoft.com/office/drawing/2014/main" val="4052277780"/>
                    </a:ext>
                  </a:extLst>
                </a:gridCol>
              </a:tblGrid>
              <a:tr h="838426">
                <a:tc>
                  <a:txBody>
                    <a:bodyPr/>
                    <a:lstStyle/>
                    <a:p>
                      <a:r>
                        <a:rPr lang="es-CO" sz="1300" dirty="0">
                          <a:solidFill>
                            <a:schemeClr val="tx1"/>
                          </a:solidFill>
                        </a:rPr>
                        <a:t>Procesos </a:t>
                      </a:r>
                    </a:p>
                    <a:p>
                      <a:r>
                        <a:rPr lang="es-CO" sz="1300" dirty="0">
                          <a:solidFill>
                            <a:schemeClr val="tx1"/>
                          </a:solidFill>
                        </a:rPr>
                        <a:t>Nivel 1</a:t>
                      </a:r>
                    </a:p>
                  </a:txBody>
                  <a:tcPr marL="93401" marR="93401" marT="46703" marB="46703" anchor="ctr">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solidFill>
                      <a:schemeClr val="accent2"/>
                    </a:solidFill>
                  </a:tcPr>
                </a:tc>
                <a:tc>
                  <a:txBody>
                    <a:bodyPr/>
                    <a:lstStyle/>
                    <a:p>
                      <a:endParaRPr lang="es-CO" sz="1300" b="0" dirty="0">
                        <a:solidFill>
                          <a:schemeClr val="tx1"/>
                        </a:solidFill>
                      </a:endParaRPr>
                    </a:p>
                  </a:txBody>
                  <a:tcPr marL="93401" marR="93401" marT="46703" marB="46703">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extLst>
                  <a:ext uri="{0D108BD9-81ED-4DB2-BD59-A6C34878D82A}">
                    <a16:rowId xmlns:a16="http://schemas.microsoft.com/office/drawing/2014/main" val="2678991484"/>
                  </a:ext>
                </a:extLst>
              </a:tr>
            </a:tbl>
          </a:graphicData>
        </a:graphic>
      </p:graphicFrame>
      <p:graphicFrame>
        <p:nvGraphicFramePr>
          <p:cNvPr id="4" name="Objeto 3" hidden="1">
            <a:extLst>
              <a:ext uri="{FF2B5EF4-FFF2-40B4-BE49-F238E27FC236}">
                <a16:creationId xmlns:a16="http://schemas.microsoft.com/office/drawing/2014/main" id="{11A13A7E-FFDC-4688-8DB8-B00F2B91CAAA}"/>
              </a:ext>
            </a:extLst>
          </p:cNvPr>
          <p:cNvGraphicFramePr>
            <a:graphicFrameLocks noChangeAspect="1"/>
          </p:cNvGraphicFramePr>
          <p:nvPr>
            <p:custDataLst>
              <p:tags r:id="rId1"/>
            </p:custDataLst>
          </p:nvPr>
        </p:nvGraphicFramePr>
        <p:xfrm>
          <a:off x="1891" y="1723"/>
          <a:ext cx="1620" cy="1620"/>
        </p:xfrm>
        <a:graphic>
          <a:graphicData uri="http://schemas.openxmlformats.org/presentationml/2006/ole">
            <mc:AlternateContent xmlns:mc="http://schemas.openxmlformats.org/markup-compatibility/2006">
              <mc:Choice xmlns:v="urn:schemas-microsoft-com:vml" Requires="v">
                <p:oleObj name="Diapositiva de think-cell" r:id="rId4" imgW="421" imgH="423" progId="TCLayout.ActiveDocument.1">
                  <p:embed/>
                </p:oleObj>
              </mc:Choice>
              <mc:Fallback>
                <p:oleObj name="Diapositiva de think-cell" r:id="rId4" imgW="421" imgH="423" progId="TCLayout.ActiveDocument.1">
                  <p:embed/>
                  <p:pic>
                    <p:nvPicPr>
                      <p:cNvPr id="4" name="Objeto 3" hidden="1">
                        <a:extLst>
                          <a:ext uri="{FF2B5EF4-FFF2-40B4-BE49-F238E27FC236}">
                            <a16:creationId xmlns:a16="http://schemas.microsoft.com/office/drawing/2014/main" id="{11A13A7E-FFDC-4688-8DB8-B00F2B91CAAA}"/>
                          </a:ext>
                        </a:extLst>
                      </p:cNvPr>
                      <p:cNvPicPr/>
                      <p:nvPr/>
                    </p:nvPicPr>
                    <p:blipFill>
                      <a:blip r:embed="rId5"/>
                      <a:stretch>
                        <a:fillRect/>
                      </a:stretch>
                    </p:blipFill>
                    <p:spPr>
                      <a:xfrm>
                        <a:off x="1891" y="1723"/>
                        <a:ext cx="1620" cy="1620"/>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id="{7438A85D-0D1B-4278-B1AF-FFB971E0ED93}"/>
              </a:ext>
            </a:extLst>
          </p:cNvPr>
          <p:cNvSpPr/>
          <p:nvPr>
            <p:custDataLst>
              <p:tags r:id="rId2"/>
            </p:custDataLst>
          </p:nvPr>
        </p:nvSpPr>
        <p:spPr>
          <a:xfrm>
            <a:off x="272" y="104"/>
            <a:ext cx="161968" cy="161968"/>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32954" fontAlgn="base">
              <a:spcBef>
                <a:spcPct val="0"/>
              </a:spcBef>
              <a:spcAft>
                <a:spcPct val="0"/>
              </a:spcAft>
              <a:defRPr/>
            </a:pPr>
            <a:endParaRPr kumimoji="0" lang="es-CO" sz="2041" b="1" u="none" strike="noStrike" kern="1200" cap="none" spc="0" normalizeH="0" noProof="0" dirty="0" err="1">
              <a:ln>
                <a:noFill/>
              </a:ln>
              <a:solidFill>
                <a:srgbClr val="000000"/>
              </a:solidFill>
              <a:effectLst/>
              <a:uLnTx/>
              <a:uFillTx/>
              <a:latin typeface="Arial" panose="020B0604020202020204" pitchFamily="34" charset="0"/>
              <a:ea typeface="+mj-ea"/>
              <a:cs typeface="+mj-cs"/>
              <a:sym typeface="Arial" panose="020B0604020202020204" pitchFamily="34" charset="0"/>
            </a:endParaRPr>
          </a:p>
        </p:txBody>
      </p:sp>
      <p:sp>
        <p:nvSpPr>
          <p:cNvPr id="14" name="Title 1">
            <a:extLst>
              <a:ext uri="{FF2B5EF4-FFF2-40B4-BE49-F238E27FC236}">
                <a16:creationId xmlns:a16="http://schemas.microsoft.com/office/drawing/2014/main" id="{F8D15426-29DE-4884-815F-5CC281E0DDFC}"/>
              </a:ext>
            </a:extLst>
          </p:cNvPr>
          <p:cNvSpPr>
            <a:spLocks noGrp="1"/>
          </p:cNvSpPr>
          <p:nvPr>
            <p:ph type="title"/>
          </p:nvPr>
        </p:nvSpPr>
        <p:spPr bwMode="gray">
          <a:xfrm>
            <a:off x="244462" y="180370"/>
            <a:ext cx="11575364" cy="314023"/>
          </a:xfrm>
          <a:noFill/>
          <a:ln w="3175">
            <a:noFill/>
            <a:prstDash val="sysDot"/>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tabLst/>
            </a:pPr>
            <a:r>
              <a:rPr lang="es-ES" b="1" dirty="0">
                <a:solidFill>
                  <a:schemeClr val="accent4"/>
                </a:solidFill>
              </a:rPr>
              <a:t>M</a:t>
            </a:r>
            <a:r>
              <a:rPr lang="es-CO" b="1" dirty="0">
                <a:solidFill>
                  <a:schemeClr val="accent4"/>
                </a:solidFill>
              </a:rPr>
              <a:t>ACROPROCESO: PLANEACIÓN ESTRATÉGICA, NUEVOS NEGOCIOS Y REGULACIÓN</a:t>
            </a:r>
          </a:p>
        </p:txBody>
      </p:sp>
      <p:graphicFrame>
        <p:nvGraphicFramePr>
          <p:cNvPr id="7" name="Tabla 7">
            <a:extLst>
              <a:ext uri="{FF2B5EF4-FFF2-40B4-BE49-F238E27FC236}">
                <a16:creationId xmlns:a16="http://schemas.microsoft.com/office/drawing/2014/main" id="{C6F21275-9EE6-4A4B-A157-C50FC5B75F82}"/>
              </a:ext>
            </a:extLst>
          </p:cNvPr>
          <p:cNvGraphicFramePr>
            <a:graphicFrameLocks noGrp="1"/>
          </p:cNvGraphicFramePr>
          <p:nvPr/>
        </p:nvGraphicFramePr>
        <p:xfrm>
          <a:off x="192853" y="1016645"/>
          <a:ext cx="11779440" cy="596518"/>
        </p:xfrm>
        <a:graphic>
          <a:graphicData uri="http://schemas.openxmlformats.org/drawingml/2006/table">
            <a:tbl>
              <a:tblPr firstRow="1" bandRow="1">
                <a:tableStyleId>{5C22544A-7EE6-4342-B048-85BDC9FD1C3A}</a:tableStyleId>
              </a:tblPr>
              <a:tblGrid>
                <a:gridCol w="994139">
                  <a:extLst>
                    <a:ext uri="{9D8B030D-6E8A-4147-A177-3AD203B41FA5}">
                      <a16:colId xmlns:a16="http://schemas.microsoft.com/office/drawing/2014/main" val="2999560587"/>
                    </a:ext>
                  </a:extLst>
                </a:gridCol>
                <a:gridCol w="10785301">
                  <a:extLst>
                    <a:ext uri="{9D8B030D-6E8A-4147-A177-3AD203B41FA5}">
                      <a16:colId xmlns:a16="http://schemas.microsoft.com/office/drawing/2014/main" val="4052277780"/>
                    </a:ext>
                  </a:extLst>
                </a:gridCol>
              </a:tblGrid>
              <a:tr h="497886">
                <a:tc>
                  <a:txBody>
                    <a:bodyPr/>
                    <a:lstStyle/>
                    <a:p>
                      <a:r>
                        <a:rPr lang="es-CO" sz="1300" b="1" dirty="0">
                          <a:solidFill>
                            <a:schemeClr val="tx1"/>
                          </a:solidFill>
                        </a:rPr>
                        <a:t>Objetivo</a:t>
                      </a:r>
                    </a:p>
                    <a:p>
                      <a:r>
                        <a:rPr lang="es-CO" sz="1300" b="1" dirty="0">
                          <a:solidFill>
                            <a:schemeClr val="tx1"/>
                          </a:solidFill>
                        </a:rPr>
                        <a:t>Nivel 0</a:t>
                      </a:r>
                    </a:p>
                  </a:txBody>
                  <a:tcPr marL="93593" marR="93593" marT="46799" marB="46799" anchor="ctr">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solidFill>
                      <a:schemeClr val="accent2"/>
                    </a:solidFill>
                  </a:tcPr>
                </a:tc>
                <a:tc>
                  <a:txBody>
                    <a:bodyPr/>
                    <a:lstStyle/>
                    <a:p>
                      <a:r>
                        <a:rPr lang="es-ES" sz="1100" b="0" kern="1200" dirty="0">
                          <a:solidFill>
                            <a:schemeClr val="tx1">
                              <a:lumMod val="85000"/>
                              <a:lumOff val="15000"/>
                            </a:schemeClr>
                          </a:solidFill>
                          <a:effectLst/>
                          <a:latin typeface="+mn-lt"/>
                          <a:cs typeface="Calibri" panose="020F0502020204030204" pitchFamily="34" charset="0"/>
                        </a:rPr>
                        <a:t>Definir la estrategia del negocio y asegurar la alineación a nivel Corporativo para trazar objetivos orientados al crecimiento, la viabilidad y sostenibilidad del negocio en el largo plazo, a través de una gestión integral del portafolio, el desarrollo de nuevos negocios, la gestión del marco regulatorio, la planeación financiera y la evaluación del desempeño.</a:t>
                      </a:r>
                    </a:p>
                  </a:txBody>
                  <a:tcPr marL="93593" marR="93593" marT="46799" marB="46799" anchor="ctr">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extLst>
                  <a:ext uri="{0D108BD9-81ED-4DB2-BD59-A6C34878D82A}">
                    <a16:rowId xmlns:a16="http://schemas.microsoft.com/office/drawing/2014/main" val="2678991484"/>
                  </a:ext>
                </a:extLst>
              </a:tr>
            </a:tbl>
          </a:graphicData>
        </a:graphic>
      </p:graphicFrame>
      <p:graphicFrame>
        <p:nvGraphicFramePr>
          <p:cNvPr id="19" name="Tabla 7">
            <a:extLst>
              <a:ext uri="{FF2B5EF4-FFF2-40B4-BE49-F238E27FC236}">
                <a16:creationId xmlns:a16="http://schemas.microsoft.com/office/drawing/2014/main" id="{CEA21B80-4DCD-4314-8EF4-BD3D1CAFE2A2}"/>
              </a:ext>
            </a:extLst>
          </p:cNvPr>
          <p:cNvGraphicFramePr>
            <a:graphicFrameLocks noGrp="1"/>
          </p:cNvGraphicFramePr>
          <p:nvPr/>
        </p:nvGraphicFramePr>
        <p:xfrm>
          <a:off x="192853" y="571713"/>
          <a:ext cx="11779441" cy="404006"/>
        </p:xfrm>
        <a:graphic>
          <a:graphicData uri="http://schemas.openxmlformats.org/drawingml/2006/table">
            <a:tbl>
              <a:tblPr firstRow="1" bandRow="1">
                <a:tableStyleId>{5C22544A-7EE6-4342-B048-85BDC9FD1C3A}</a:tableStyleId>
              </a:tblPr>
              <a:tblGrid>
                <a:gridCol w="994330">
                  <a:extLst>
                    <a:ext uri="{9D8B030D-6E8A-4147-A177-3AD203B41FA5}">
                      <a16:colId xmlns:a16="http://schemas.microsoft.com/office/drawing/2014/main" val="2999560587"/>
                    </a:ext>
                  </a:extLst>
                </a:gridCol>
                <a:gridCol w="10785111">
                  <a:extLst>
                    <a:ext uri="{9D8B030D-6E8A-4147-A177-3AD203B41FA5}">
                      <a16:colId xmlns:a16="http://schemas.microsoft.com/office/drawing/2014/main" val="4052277780"/>
                    </a:ext>
                  </a:extLst>
                </a:gridCol>
              </a:tblGrid>
              <a:tr h="404006">
                <a:tc>
                  <a:txBody>
                    <a:bodyPr/>
                    <a:lstStyle/>
                    <a:p>
                      <a:r>
                        <a:rPr lang="es-CO" sz="1400" dirty="0">
                          <a:solidFill>
                            <a:schemeClr val="tx1"/>
                          </a:solidFill>
                        </a:rPr>
                        <a:t>Nivel 0</a:t>
                      </a:r>
                      <a:endParaRPr lang="es-CO" sz="1400" dirty="0">
                        <a:solidFill>
                          <a:schemeClr val="tx1"/>
                        </a:solidFill>
                        <a:latin typeface="+mn-lt"/>
                      </a:endParaRPr>
                    </a:p>
                  </a:txBody>
                  <a:tcPr marL="99616" marR="99616" marT="49811" marB="49811" anchor="ctr">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solidFill>
                      <a:schemeClr val="accent2"/>
                    </a:solidFill>
                  </a:tcPr>
                </a:tc>
                <a:tc>
                  <a:txBody>
                    <a:bodyPr/>
                    <a:lstStyle/>
                    <a:p>
                      <a:r>
                        <a:rPr lang="es-ES" sz="1400" dirty="0">
                          <a:solidFill>
                            <a:schemeClr val="tx1">
                              <a:lumMod val="85000"/>
                              <a:lumOff val="15000"/>
                            </a:schemeClr>
                          </a:solidFill>
                        </a:rPr>
                        <a:t>Planeación Estratégica, Nuevos Negocios y Regulación</a:t>
                      </a:r>
                    </a:p>
                  </a:txBody>
                  <a:tcPr marL="99616" marR="99616" marT="49811" marB="49811" anchor="ctr">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extLst>
                  <a:ext uri="{0D108BD9-81ED-4DB2-BD59-A6C34878D82A}">
                    <a16:rowId xmlns:a16="http://schemas.microsoft.com/office/drawing/2014/main" val="2678991484"/>
                  </a:ext>
                </a:extLst>
              </a:tr>
            </a:tbl>
          </a:graphicData>
        </a:graphic>
      </p:graphicFrame>
      <p:sp>
        <p:nvSpPr>
          <p:cNvPr id="30" name="Freeform 153">
            <a:extLst>
              <a:ext uri="{FF2B5EF4-FFF2-40B4-BE49-F238E27FC236}">
                <a16:creationId xmlns:a16="http://schemas.microsoft.com/office/drawing/2014/main" id="{F463DD21-BEDC-4535-A01C-5D48EBE9BFC8}"/>
              </a:ext>
            </a:extLst>
          </p:cNvPr>
          <p:cNvSpPr/>
          <p:nvPr/>
        </p:nvSpPr>
        <p:spPr bwMode="auto">
          <a:xfrm>
            <a:off x="1172449" y="1704765"/>
            <a:ext cx="1980766" cy="73195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614796 w 1828800"/>
              <a:gd name="connsiteY3" fmla="*/ 914402 h 914402"/>
              <a:gd name="connsiteX4" fmla="*/ 0 w 1828800"/>
              <a:gd name="connsiteY4" fmla="*/ 914400 h 914402"/>
              <a:gd name="connsiteX5" fmla="*/ 214004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14796" y="0"/>
                </a:lnTo>
                <a:lnTo>
                  <a:pt x="1828800" y="457200"/>
                </a:lnTo>
                <a:lnTo>
                  <a:pt x="1614796" y="914402"/>
                </a:lnTo>
                <a:lnTo>
                  <a:pt x="0" y="914400"/>
                </a:lnTo>
                <a:lnTo>
                  <a:pt x="214004" y="457202"/>
                </a:lnTo>
                <a:close/>
              </a:path>
            </a:pathLst>
          </a:custGeom>
          <a:ln>
            <a:headEnd/>
            <a:tailEnd/>
          </a:ln>
        </p:spPr>
        <p:style>
          <a:lnRef idx="1">
            <a:schemeClr val="accent4"/>
          </a:lnRef>
          <a:fillRef idx="3">
            <a:schemeClr val="accent4"/>
          </a:fillRef>
          <a:effectRef idx="2">
            <a:schemeClr val="accent4"/>
          </a:effectRef>
          <a:fontRef idx="minor">
            <a:schemeClr val="lt1"/>
          </a:fontRef>
        </p:style>
        <p:txBody>
          <a:bodyPr vert="horz" wrap="square" lIns="323990" tIns="46649" rIns="93293" bIns="46649"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1269265"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1" normalizeH="0" baseline="0" noProof="0" dirty="0">
                <a:ln>
                  <a:noFill/>
                </a:ln>
                <a:solidFill>
                  <a:srgbClr val="FFFFFF"/>
                </a:solidFill>
                <a:effectLst/>
                <a:uLnTx/>
                <a:uFill>
                  <a:solidFill>
                    <a:srgbClr val="FFFFFF"/>
                  </a:solidFill>
                </a:uFill>
                <a:latin typeface="Arial"/>
                <a:ea typeface="+mn-ea"/>
                <a:cs typeface="+mn-cs"/>
              </a:rPr>
              <a:t>Planeación e Implementación de la Estrategia </a:t>
            </a:r>
          </a:p>
        </p:txBody>
      </p:sp>
      <p:graphicFrame>
        <p:nvGraphicFramePr>
          <p:cNvPr id="33" name="Tabla 7">
            <a:extLst>
              <a:ext uri="{FF2B5EF4-FFF2-40B4-BE49-F238E27FC236}">
                <a16:creationId xmlns:a16="http://schemas.microsoft.com/office/drawing/2014/main" id="{9A365877-2D7F-454C-AB52-29BB309627C8}"/>
              </a:ext>
            </a:extLst>
          </p:cNvPr>
          <p:cNvGraphicFramePr>
            <a:graphicFrameLocks noGrp="1"/>
          </p:cNvGraphicFramePr>
          <p:nvPr/>
        </p:nvGraphicFramePr>
        <p:xfrm>
          <a:off x="192853" y="2534290"/>
          <a:ext cx="11779438" cy="1465088"/>
        </p:xfrm>
        <a:graphic>
          <a:graphicData uri="http://schemas.openxmlformats.org/drawingml/2006/table">
            <a:tbl>
              <a:tblPr firstRow="1" bandRow="1">
                <a:tableStyleId>{5C22544A-7EE6-4342-B048-85BDC9FD1C3A}</a:tableStyleId>
              </a:tblPr>
              <a:tblGrid>
                <a:gridCol w="1008682">
                  <a:extLst>
                    <a:ext uri="{9D8B030D-6E8A-4147-A177-3AD203B41FA5}">
                      <a16:colId xmlns:a16="http://schemas.microsoft.com/office/drawing/2014/main" val="2999560587"/>
                    </a:ext>
                  </a:extLst>
                </a:gridCol>
                <a:gridCol w="1795126">
                  <a:extLst>
                    <a:ext uri="{9D8B030D-6E8A-4147-A177-3AD203B41FA5}">
                      <a16:colId xmlns:a16="http://schemas.microsoft.com/office/drawing/2014/main" val="4052277780"/>
                    </a:ext>
                  </a:extLst>
                </a:gridCol>
                <a:gridCol w="1795126">
                  <a:extLst>
                    <a:ext uri="{9D8B030D-6E8A-4147-A177-3AD203B41FA5}">
                      <a16:colId xmlns:a16="http://schemas.microsoft.com/office/drawing/2014/main" val="3757876569"/>
                    </a:ext>
                  </a:extLst>
                </a:gridCol>
                <a:gridCol w="1795126">
                  <a:extLst>
                    <a:ext uri="{9D8B030D-6E8A-4147-A177-3AD203B41FA5}">
                      <a16:colId xmlns:a16="http://schemas.microsoft.com/office/drawing/2014/main" val="529226714"/>
                    </a:ext>
                  </a:extLst>
                </a:gridCol>
                <a:gridCol w="1795126">
                  <a:extLst>
                    <a:ext uri="{9D8B030D-6E8A-4147-A177-3AD203B41FA5}">
                      <a16:colId xmlns:a16="http://schemas.microsoft.com/office/drawing/2014/main" val="159404353"/>
                    </a:ext>
                  </a:extLst>
                </a:gridCol>
                <a:gridCol w="1795126">
                  <a:extLst>
                    <a:ext uri="{9D8B030D-6E8A-4147-A177-3AD203B41FA5}">
                      <a16:colId xmlns:a16="http://schemas.microsoft.com/office/drawing/2014/main" val="4204823739"/>
                    </a:ext>
                  </a:extLst>
                </a:gridCol>
                <a:gridCol w="1795126">
                  <a:extLst>
                    <a:ext uri="{9D8B030D-6E8A-4147-A177-3AD203B41FA5}">
                      <a16:colId xmlns:a16="http://schemas.microsoft.com/office/drawing/2014/main" val="2575360536"/>
                    </a:ext>
                  </a:extLst>
                </a:gridCol>
              </a:tblGrid>
              <a:tr h="1213055">
                <a:tc>
                  <a:txBody>
                    <a:bodyPr/>
                    <a:lstStyle/>
                    <a:p>
                      <a:pPr marL="0" algn="l" defTabSz="1219261" rtl="0" eaLnBrk="1" latinLnBrk="0" hangingPunct="1"/>
                      <a:r>
                        <a:rPr lang="es-CO" sz="1300" b="1" kern="1200" dirty="0">
                          <a:solidFill>
                            <a:schemeClr val="tx1"/>
                          </a:solidFill>
                          <a:latin typeface="+mn-lt"/>
                          <a:ea typeface="+mn-ea"/>
                          <a:cs typeface="+mn-cs"/>
                        </a:rPr>
                        <a:t>Objetivos procesos </a:t>
                      </a:r>
                    </a:p>
                    <a:p>
                      <a:pPr marL="0" algn="l" defTabSz="1219261" rtl="0" eaLnBrk="1" latinLnBrk="0" hangingPunct="1"/>
                      <a:r>
                        <a:rPr lang="es-CO" sz="1300" b="1" kern="1200" dirty="0">
                          <a:solidFill>
                            <a:schemeClr val="tx1"/>
                          </a:solidFill>
                          <a:latin typeface="+mn-lt"/>
                          <a:ea typeface="+mn-ea"/>
                          <a:cs typeface="+mn-cs"/>
                        </a:rPr>
                        <a:t>Nivel 1</a:t>
                      </a:r>
                    </a:p>
                  </a:txBody>
                  <a:tcPr marL="93482" marR="93482" marT="46744" marB="46744" anchor="ctr">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solidFill>
                      <a:schemeClr val="accent2"/>
                    </a:solidFill>
                  </a:tcPr>
                </a:tc>
                <a:tc>
                  <a:txBody>
                    <a:bodyPr/>
                    <a:lstStyle/>
                    <a:p>
                      <a:pPr marL="0" marR="0" lvl="0" indent="0" algn="just" defTabSz="1244012" rtl="0" eaLnBrk="1" fontAlgn="auto" latinLnBrk="0" hangingPunct="1">
                        <a:lnSpc>
                          <a:spcPct val="100000"/>
                        </a:lnSpc>
                        <a:spcBef>
                          <a:spcPts val="0"/>
                        </a:spcBef>
                        <a:spcAft>
                          <a:spcPts val="0"/>
                        </a:spcAft>
                        <a:buClrTx/>
                        <a:buSzTx/>
                        <a:buFontTx/>
                        <a:buNone/>
                        <a:tabLst/>
                        <a:defRPr/>
                      </a:pPr>
                      <a:r>
                        <a:rPr lang="es-ES" sz="900" b="0" dirty="0">
                          <a:solidFill>
                            <a:schemeClr val="tx1">
                              <a:lumMod val="85000"/>
                              <a:lumOff val="15000"/>
                            </a:schemeClr>
                          </a:solidFill>
                          <a:latin typeface="+mn-lt"/>
                          <a:cs typeface="Calibri" panose="020F0502020204030204" pitchFamily="34" charset="0"/>
                        </a:rPr>
                        <a:t>Desplegar el marco estratégico  a nivel corporativo y de filiales y formular y definir los objetivos estratégicos a desarrollar de corto, mediano y largo plazo a fin de generar valor, crecimiento y sostenibilidad del segmento y cumplir las expectativas de los grupos de interés.</a:t>
                      </a:r>
                    </a:p>
                  </a:txBody>
                  <a:tcPr marL="93482" marR="93482" marT="46744" marB="46744">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tc>
                  <a:txBody>
                    <a:bodyPr/>
                    <a:lstStyle/>
                    <a:p>
                      <a:pPr algn="just"/>
                      <a:r>
                        <a:rPr lang="es-ES" sz="900" b="0" i="0" kern="1200" dirty="0">
                          <a:solidFill>
                            <a:schemeClr val="tx1">
                              <a:lumMod val="85000"/>
                              <a:lumOff val="15000"/>
                            </a:schemeClr>
                          </a:solidFill>
                          <a:effectLst/>
                          <a:latin typeface="+mn-lt"/>
                          <a:ea typeface="+mn-ea"/>
                          <a:cs typeface="Calibri" panose="020F0502020204030204" pitchFamily="34" charset="0"/>
                        </a:rPr>
                        <a:t>Generar oportunidades de crecimiento y rotación del portafolio de Cenit y sus Filiales, que impliquen inversión o desinversión para el logro de los objetivos estratégicos.</a:t>
                      </a:r>
                    </a:p>
                  </a:txBody>
                  <a:tcPr marL="93482" marR="93482" marT="46744" marB="46744">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tc>
                  <a:txBody>
                    <a:bodyPr/>
                    <a:lstStyle/>
                    <a:p>
                      <a:pPr algn="just"/>
                      <a:r>
                        <a:rPr lang="es-ES" sz="900" b="0" dirty="0">
                          <a:solidFill>
                            <a:schemeClr val="tx1">
                              <a:lumMod val="85000"/>
                              <a:lumOff val="15000"/>
                            </a:schemeClr>
                          </a:solidFill>
                          <a:latin typeface="+mn-lt"/>
                          <a:cs typeface="Calibri" panose="020F0502020204030204" pitchFamily="34" charset="0"/>
                        </a:rPr>
                        <a:t>Asegurar el aprovechamiento del marco regulatorio y el cumplimiento del marco tarifario de los servicios actuales y de los que se esperan constituir como nuevos negocios.</a:t>
                      </a:r>
                    </a:p>
                  </a:txBody>
                  <a:tcPr marL="93482" marR="93482" marT="46744" marB="46744">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tc>
                  <a:txBody>
                    <a:bodyPr/>
                    <a:lstStyle/>
                    <a:p>
                      <a:pPr marL="0" marR="0" lvl="0" indent="0" algn="just" defTabSz="1244012" rtl="0" eaLnBrk="1" fontAlgn="auto" latinLnBrk="0" hangingPunct="1">
                        <a:lnSpc>
                          <a:spcPct val="100000"/>
                        </a:lnSpc>
                        <a:spcBef>
                          <a:spcPts val="0"/>
                        </a:spcBef>
                        <a:spcAft>
                          <a:spcPts val="0"/>
                        </a:spcAft>
                        <a:buClrTx/>
                        <a:buSzTx/>
                        <a:buFontTx/>
                        <a:buNone/>
                        <a:tabLst/>
                        <a:defRPr/>
                      </a:pPr>
                      <a:r>
                        <a:rPr lang="es-ES" sz="900" b="0" dirty="0">
                          <a:solidFill>
                            <a:schemeClr val="tx1">
                              <a:lumMod val="85000"/>
                              <a:lumOff val="15000"/>
                            </a:schemeClr>
                          </a:solidFill>
                          <a:latin typeface="+mn-lt"/>
                          <a:cs typeface="Calibri" panose="020F0502020204030204" pitchFamily="34" charset="0"/>
                        </a:rPr>
                        <a:t>Estructurar un portafolio rentable que apalanque el cumplimiento de los objetivos estratégicos y la maximización de valor del Segmento </a:t>
                      </a:r>
                      <a:r>
                        <a:rPr lang="es-ES" sz="900" b="0" dirty="0" err="1">
                          <a:solidFill>
                            <a:schemeClr val="tx1">
                              <a:lumMod val="85000"/>
                              <a:lumOff val="15000"/>
                            </a:schemeClr>
                          </a:solidFill>
                          <a:latin typeface="+mn-lt"/>
                          <a:cs typeface="Calibri" panose="020F0502020204030204" pitchFamily="34" charset="0"/>
                        </a:rPr>
                        <a:t>Midstream</a:t>
                      </a:r>
                      <a:r>
                        <a:rPr lang="es-ES" sz="900" b="0" dirty="0">
                          <a:solidFill>
                            <a:schemeClr val="tx1">
                              <a:lumMod val="85000"/>
                              <a:lumOff val="15000"/>
                            </a:schemeClr>
                          </a:solidFill>
                          <a:latin typeface="+mn-lt"/>
                          <a:cs typeface="Calibri" panose="020F0502020204030204" pitchFamily="34" charset="0"/>
                        </a:rPr>
                        <a:t>.</a:t>
                      </a:r>
                    </a:p>
                    <a:p>
                      <a:pPr marL="0" marR="0" lvl="0" indent="0" algn="l" defTabSz="1244012" rtl="0" eaLnBrk="1" fontAlgn="auto" latinLnBrk="0" hangingPunct="1">
                        <a:lnSpc>
                          <a:spcPct val="100000"/>
                        </a:lnSpc>
                        <a:spcBef>
                          <a:spcPts val="0"/>
                        </a:spcBef>
                        <a:spcAft>
                          <a:spcPts val="0"/>
                        </a:spcAft>
                        <a:buClrTx/>
                        <a:buSzTx/>
                        <a:buFontTx/>
                        <a:buNone/>
                        <a:tabLst/>
                        <a:defRPr/>
                      </a:pPr>
                      <a:endParaRPr lang="es-CO" sz="900" b="0" kern="1200" dirty="0">
                        <a:solidFill>
                          <a:schemeClr val="tx1">
                            <a:lumMod val="85000"/>
                            <a:lumOff val="15000"/>
                          </a:schemeClr>
                        </a:solidFill>
                        <a:latin typeface="+mn-lt"/>
                        <a:ea typeface="+mn-ea"/>
                        <a:cs typeface="Calibri" panose="020F0502020204030204" pitchFamily="34" charset="0"/>
                      </a:endParaRPr>
                    </a:p>
                  </a:txBody>
                  <a:tcPr marL="93482" marR="93482" marT="46744" marB="46744">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tc>
                  <a:txBody>
                    <a:bodyPr/>
                    <a:lstStyle/>
                    <a:p>
                      <a:pPr marL="0" marR="0" lvl="0" indent="0" algn="just" defTabSz="1244012" rtl="0" eaLnBrk="1" fontAlgn="auto" latinLnBrk="0" hangingPunct="1">
                        <a:lnSpc>
                          <a:spcPct val="100000"/>
                        </a:lnSpc>
                        <a:spcBef>
                          <a:spcPts val="0"/>
                        </a:spcBef>
                        <a:spcAft>
                          <a:spcPts val="0"/>
                        </a:spcAft>
                        <a:buClrTx/>
                        <a:buSzTx/>
                        <a:buFontTx/>
                        <a:buNone/>
                        <a:tabLst/>
                        <a:defRPr/>
                      </a:pPr>
                      <a:r>
                        <a:rPr lang="es-ES" sz="900" b="0" dirty="0">
                          <a:solidFill>
                            <a:schemeClr val="tx1">
                              <a:lumMod val="85000"/>
                              <a:lumOff val="15000"/>
                            </a:schemeClr>
                          </a:solidFill>
                          <a:latin typeface="+mn-lt"/>
                          <a:cs typeface="Calibri" panose="020F0502020204030204" pitchFamily="34" charset="0"/>
                        </a:rPr>
                        <a:t>Garantizar la eficiente proyección de recursos financieros y adecuada planeación de actividades en áreas y unidades de negocio para lograr cumplimiento de la estrategia.</a:t>
                      </a:r>
                    </a:p>
                    <a:p>
                      <a:pPr marL="0" marR="0" lvl="0" indent="0" algn="l" defTabSz="1244012" rtl="0" eaLnBrk="1" fontAlgn="auto" latinLnBrk="0" hangingPunct="1">
                        <a:lnSpc>
                          <a:spcPct val="100000"/>
                        </a:lnSpc>
                        <a:spcBef>
                          <a:spcPts val="0"/>
                        </a:spcBef>
                        <a:spcAft>
                          <a:spcPts val="0"/>
                        </a:spcAft>
                        <a:buClrTx/>
                        <a:buSzTx/>
                        <a:buFontTx/>
                        <a:buNone/>
                        <a:tabLst/>
                        <a:defRPr/>
                      </a:pPr>
                      <a:endParaRPr lang="es-CO" sz="900" b="0" kern="1200" dirty="0">
                        <a:solidFill>
                          <a:schemeClr val="tx1">
                            <a:lumMod val="85000"/>
                            <a:lumOff val="15000"/>
                          </a:schemeClr>
                        </a:solidFill>
                        <a:latin typeface="+mn-lt"/>
                        <a:ea typeface="+mn-ea"/>
                        <a:cs typeface="Calibri" panose="020F0502020204030204" pitchFamily="34" charset="0"/>
                      </a:endParaRPr>
                    </a:p>
                  </a:txBody>
                  <a:tcPr marL="93482" marR="93482" marT="46744" marB="46744">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tc>
                  <a:txBody>
                    <a:bodyPr/>
                    <a:lstStyle/>
                    <a:p>
                      <a:pPr marL="0" marR="0" lvl="0" indent="0" algn="just" defTabSz="1244012" rtl="0" eaLnBrk="1" fontAlgn="auto" latinLnBrk="0" hangingPunct="1">
                        <a:lnSpc>
                          <a:spcPct val="100000"/>
                        </a:lnSpc>
                        <a:spcBef>
                          <a:spcPts val="0"/>
                        </a:spcBef>
                        <a:spcAft>
                          <a:spcPts val="0"/>
                        </a:spcAft>
                        <a:buClrTx/>
                        <a:buSzTx/>
                        <a:buFontTx/>
                        <a:buNone/>
                        <a:tabLst/>
                        <a:defRPr/>
                      </a:pPr>
                      <a:r>
                        <a:rPr lang="es-ES" sz="900" b="0" dirty="0">
                          <a:solidFill>
                            <a:schemeClr val="tx1">
                              <a:lumMod val="85000"/>
                              <a:lumOff val="15000"/>
                            </a:schemeClr>
                          </a:solidFill>
                          <a:latin typeface="+mn-lt"/>
                          <a:cs typeface="Calibri" panose="020F0502020204030204" pitchFamily="34" charset="0"/>
                        </a:rPr>
                        <a:t>Formular, implementar y hacer seguimiento a los objetivos estratégicos de corto plazo, a fin de evidenciar su contribución y alineación al cumplimiento de la estrategia de Cenit.</a:t>
                      </a:r>
                    </a:p>
                  </a:txBody>
                  <a:tcPr marL="93482" marR="93482" marT="46744" marB="46744">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extLst>
                  <a:ext uri="{0D108BD9-81ED-4DB2-BD59-A6C34878D82A}">
                    <a16:rowId xmlns:a16="http://schemas.microsoft.com/office/drawing/2014/main" val="2678991484"/>
                  </a:ext>
                </a:extLst>
              </a:tr>
            </a:tbl>
          </a:graphicData>
        </a:graphic>
      </p:graphicFrame>
      <p:graphicFrame>
        <p:nvGraphicFramePr>
          <p:cNvPr id="34" name="Tabla 7">
            <a:extLst>
              <a:ext uri="{FF2B5EF4-FFF2-40B4-BE49-F238E27FC236}">
                <a16:creationId xmlns:a16="http://schemas.microsoft.com/office/drawing/2014/main" id="{55D728B3-5037-47B4-AC7A-DBD73CB87333}"/>
              </a:ext>
            </a:extLst>
          </p:cNvPr>
          <p:cNvGraphicFramePr>
            <a:graphicFrameLocks noGrp="1"/>
          </p:cNvGraphicFramePr>
          <p:nvPr/>
        </p:nvGraphicFramePr>
        <p:xfrm>
          <a:off x="192853" y="4026064"/>
          <a:ext cx="11776302" cy="2651566"/>
        </p:xfrm>
        <a:graphic>
          <a:graphicData uri="http://schemas.openxmlformats.org/drawingml/2006/table">
            <a:tbl>
              <a:tblPr firstRow="1" bandRow="1">
                <a:tableStyleId>{5C22544A-7EE6-4342-B048-85BDC9FD1C3A}</a:tableStyleId>
              </a:tblPr>
              <a:tblGrid>
                <a:gridCol w="1012926">
                  <a:extLst>
                    <a:ext uri="{9D8B030D-6E8A-4147-A177-3AD203B41FA5}">
                      <a16:colId xmlns:a16="http://schemas.microsoft.com/office/drawing/2014/main" val="2999560587"/>
                    </a:ext>
                  </a:extLst>
                </a:gridCol>
                <a:gridCol w="1793896">
                  <a:extLst>
                    <a:ext uri="{9D8B030D-6E8A-4147-A177-3AD203B41FA5}">
                      <a16:colId xmlns:a16="http://schemas.microsoft.com/office/drawing/2014/main" val="4052277780"/>
                    </a:ext>
                  </a:extLst>
                </a:gridCol>
                <a:gridCol w="1793896">
                  <a:extLst>
                    <a:ext uri="{9D8B030D-6E8A-4147-A177-3AD203B41FA5}">
                      <a16:colId xmlns:a16="http://schemas.microsoft.com/office/drawing/2014/main" val="3757876569"/>
                    </a:ext>
                  </a:extLst>
                </a:gridCol>
                <a:gridCol w="1793896">
                  <a:extLst>
                    <a:ext uri="{9D8B030D-6E8A-4147-A177-3AD203B41FA5}">
                      <a16:colId xmlns:a16="http://schemas.microsoft.com/office/drawing/2014/main" val="529226714"/>
                    </a:ext>
                  </a:extLst>
                </a:gridCol>
                <a:gridCol w="1793896">
                  <a:extLst>
                    <a:ext uri="{9D8B030D-6E8A-4147-A177-3AD203B41FA5}">
                      <a16:colId xmlns:a16="http://schemas.microsoft.com/office/drawing/2014/main" val="159404353"/>
                    </a:ext>
                  </a:extLst>
                </a:gridCol>
                <a:gridCol w="1793896">
                  <a:extLst>
                    <a:ext uri="{9D8B030D-6E8A-4147-A177-3AD203B41FA5}">
                      <a16:colId xmlns:a16="http://schemas.microsoft.com/office/drawing/2014/main" val="3432756851"/>
                    </a:ext>
                  </a:extLst>
                </a:gridCol>
                <a:gridCol w="1793896">
                  <a:extLst>
                    <a:ext uri="{9D8B030D-6E8A-4147-A177-3AD203B41FA5}">
                      <a16:colId xmlns:a16="http://schemas.microsoft.com/office/drawing/2014/main" val="895399995"/>
                    </a:ext>
                  </a:extLst>
                </a:gridCol>
              </a:tblGrid>
              <a:tr h="2651566">
                <a:tc>
                  <a:txBody>
                    <a:bodyPr/>
                    <a:lstStyle/>
                    <a:p>
                      <a:r>
                        <a:rPr lang="es-CO" sz="1300" dirty="0">
                          <a:solidFill>
                            <a:schemeClr val="tx1"/>
                          </a:solidFill>
                        </a:rPr>
                        <a:t>Procesos </a:t>
                      </a:r>
                    </a:p>
                    <a:p>
                      <a:r>
                        <a:rPr lang="es-CO" sz="1300" dirty="0">
                          <a:solidFill>
                            <a:schemeClr val="tx1"/>
                          </a:solidFill>
                        </a:rPr>
                        <a:t>Nivel 2</a:t>
                      </a:r>
                    </a:p>
                  </a:txBody>
                  <a:tcPr marL="93335" marR="93335" marT="46670" marB="46670" anchor="ctr">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solidFill>
                      <a:schemeClr val="accent2"/>
                    </a:solidFill>
                  </a:tcPr>
                </a:tc>
                <a:tc>
                  <a:txBody>
                    <a:bodyPr/>
                    <a:lstStyle/>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r>
                        <a:rPr lang="es-ES" sz="950" b="0" kern="1200" dirty="0">
                          <a:solidFill>
                            <a:schemeClr val="tx1"/>
                          </a:solidFill>
                          <a:latin typeface="+mn-lt"/>
                          <a:ea typeface="+mn-ea"/>
                          <a:cs typeface="Calibri" panose="020F0502020204030204" pitchFamily="34" charset="0"/>
                        </a:rPr>
                        <a:t>Planificación, actualización y alineación de la estrategia</a:t>
                      </a: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endParaRPr lang="es-ES" sz="950" b="0" kern="1200" dirty="0">
                        <a:solidFill>
                          <a:schemeClr val="tx1"/>
                        </a:solidFill>
                        <a:latin typeface="+mn-lt"/>
                        <a:ea typeface="+mn-ea"/>
                        <a:cs typeface="Calibri" panose="020F0502020204030204" pitchFamily="34" charset="0"/>
                      </a:endParaRP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r>
                        <a:rPr lang="es-ES" sz="950" b="0" kern="1200" dirty="0">
                          <a:solidFill>
                            <a:schemeClr val="tx1"/>
                          </a:solidFill>
                          <a:latin typeface="+mn-lt"/>
                          <a:ea typeface="+mn-ea"/>
                          <a:cs typeface="Calibri" panose="020F0502020204030204" pitchFamily="34" charset="0"/>
                        </a:rPr>
                        <a:t>Desarrollo del plan de negocio de Largo Plazo</a:t>
                      </a: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endParaRPr lang="es-ES" sz="950" b="0" kern="1200" dirty="0">
                        <a:solidFill>
                          <a:schemeClr val="tx1"/>
                        </a:solidFill>
                        <a:latin typeface="+mn-lt"/>
                        <a:ea typeface="+mn-ea"/>
                        <a:cs typeface="Calibri" panose="020F0502020204030204" pitchFamily="34" charset="0"/>
                      </a:endParaRP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r>
                        <a:rPr lang="es-ES" sz="950" b="0" kern="1200" dirty="0">
                          <a:solidFill>
                            <a:schemeClr val="tx1"/>
                          </a:solidFill>
                          <a:latin typeface="+mn-lt"/>
                          <a:ea typeface="+mn-ea"/>
                          <a:cs typeface="Calibri" panose="020F0502020204030204" pitchFamily="34" charset="0"/>
                        </a:rPr>
                        <a:t>Despliegue e implementación de la estrategia</a:t>
                      </a: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endParaRPr lang="es-ES" sz="950" b="0" kern="1200" dirty="0">
                        <a:solidFill>
                          <a:schemeClr val="tx1"/>
                        </a:solidFill>
                        <a:latin typeface="+mn-lt"/>
                        <a:ea typeface="+mn-ea"/>
                        <a:cs typeface="Calibri" panose="020F0502020204030204" pitchFamily="34" charset="0"/>
                      </a:endParaRP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r>
                        <a:rPr lang="es-ES" sz="950" b="0" kern="1200" dirty="0">
                          <a:solidFill>
                            <a:schemeClr val="tx1"/>
                          </a:solidFill>
                          <a:latin typeface="+mn-lt"/>
                          <a:ea typeface="+mn-ea"/>
                          <a:cs typeface="Calibri" panose="020F0502020204030204" pitchFamily="34" charset="0"/>
                        </a:rPr>
                        <a:t>Análisis de resultados, evaluación y retroalimentación de la estrategia.</a:t>
                      </a:r>
                    </a:p>
                  </a:txBody>
                  <a:tcPr marL="93335" marR="93335" marT="46670" marB="46670">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tc>
                  <a:txBody>
                    <a:bodyPr/>
                    <a:lstStyle/>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r>
                        <a:rPr lang="es-ES" sz="950" b="0" kern="1200" dirty="0">
                          <a:solidFill>
                            <a:schemeClr val="tx1"/>
                          </a:solidFill>
                          <a:latin typeface="+mn-lt"/>
                          <a:ea typeface="+mn-ea"/>
                          <a:cs typeface="Calibri" panose="020F0502020204030204" pitchFamily="34" charset="0"/>
                        </a:rPr>
                        <a:t>Búsqueda y filtro de las oportunidades de nuevos negocios </a:t>
                      </a: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endParaRPr lang="es-ES" sz="950" b="0" kern="1200" dirty="0">
                        <a:solidFill>
                          <a:schemeClr val="tx1"/>
                        </a:solidFill>
                        <a:latin typeface="+mn-lt"/>
                        <a:ea typeface="+mn-ea"/>
                        <a:cs typeface="Calibri" panose="020F0502020204030204" pitchFamily="34" charset="0"/>
                      </a:endParaRP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r>
                        <a:rPr lang="es-ES" sz="950" b="0" kern="1200" dirty="0">
                          <a:solidFill>
                            <a:schemeClr val="tx1"/>
                          </a:solidFill>
                          <a:latin typeface="+mn-lt"/>
                          <a:ea typeface="+mn-ea"/>
                          <a:cs typeface="Calibri" panose="020F0502020204030204" pitchFamily="34" charset="0"/>
                        </a:rPr>
                        <a:t>Análisis y estructuración de oportunidades e iniciativas</a:t>
                      </a: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endParaRPr lang="es-ES" sz="950" b="0" kern="1200" dirty="0">
                        <a:solidFill>
                          <a:schemeClr val="tx1"/>
                        </a:solidFill>
                        <a:latin typeface="+mn-lt"/>
                        <a:ea typeface="+mn-ea"/>
                        <a:cs typeface="Calibri" panose="020F0502020204030204" pitchFamily="34" charset="0"/>
                      </a:endParaRP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r>
                        <a:rPr lang="es-ES" sz="950" b="0" kern="1200" dirty="0">
                          <a:solidFill>
                            <a:schemeClr val="tx1"/>
                          </a:solidFill>
                          <a:latin typeface="+mn-lt"/>
                          <a:ea typeface="+mn-ea"/>
                          <a:cs typeface="Calibri" panose="020F0502020204030204" pitchFamily="34" charset="0"/>
                        </a:rPr>
                        <a:t>Negociación y cierre del nuevo negocio</a:t>
                      </a: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endParaRPr lang="es-ES" sz="950" b="0" kern="1200" dirty="0">
                        <a:solidFill>
                          <a:schemeClr val="tx1"/>
                        </a:solidFill>
                        <a:latin typeface="+mn-lt"/>
                        <a:ea typeface="+mn-ea"/>
                        <a:cs typeface="Calibri" panose="020F0502020204030204" pitchFamily="34" charset="0"/>
                      </a:endParaRP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r>
                        <a:rPr lang="es-ES" sz="950" b="0" kern="1200" dirty="0">
                          <a:solidFill>
                            <a:schemeClr val="tx1"/>
                          </a:solidFill>
                          <a:latin typeface="+mn-lt"/>
                          <a:ea typeface="+mn-ea"/>
                          <a:cs typeface="Calibri" panose="020F0502020204030204" pitchFamily="34" charset="0"/>
                        </a:rPr>
                        <a:t>Transferencia del negocio al área receptora</a:t>
                      </a: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endParaRPr lang="es-ES" sz="950" b="0" kern="1200" dirty="0">
                        <a:solidFill>
                          <a:schemeClr val="tx1"/>
                        </a:solidFill>
                        <a:latin typeface="+mn-lt"/>
                        <a:ea typeface="+mn-ea"/>
                        <a:cs typeface="Calibri" panose="020F0502020204030204" pitchFamily="34" charset="0"/>
                      </a:endParaRP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r>
                        <a:rPr lang="es-ES" sz="950" b="0" kern="1200" dirty="0">
                          <a:solidFill>
                            <a:schemeClr val="tx1"/>
                          </a:solidFill>
                          <a:latin typeface="+mn-lt"/>
                          <a:ea typeface="+mn-ea"/>
                          <a:cs typeface="Calibri" panose="020F0502020204030204" pitchFamily="34" charset="0"/>
                        </a:rPr>
                        <a:t>Análisis </a:t>
                      </a:r>
                      <a:r>
                        <a:rPr lang="es-ES" sz="950" b="0" kern="1200" dirty="0" err="1">
                          <a:solidFill>
                            <a:schemeClr val="tx1"/>
                          </a:solidFill>
                          <a:latin typeface="+mn-lt"/>
                          <a:ea typeface="+mn-ea"/>
                          <a:cs typeface="Calibri" panose="020F0502020204030204" pitchFamily="34" charset="0"/>
                        </a:rPr>
                        <a:t>Ex-post</a:t>
                      </a:r>
                      <a:r>
                        <a:rPr lang="es-ES" sz="950" b="0" kern="1200" dirty="0">
                          <a:solidFill>
                            <a:schemeClr val="tx1"/>
                          </a:solidFill>
                          <a:latin typeface="+mn-lt"/>
                          <a:ea typeface="+mn-ea"/>
                          <a:cs typeface="Calibri" panose="020F0502020204030204" pitchFamily="34" charset="0"/>
                        </a:rPr>
                        <a:t> del negocio.</a:t>
                      </a:r>
                    </a:p>
                  </a:txBody>
                  <a:tcPr marL="93335" marR="93335" marT="46670" marB="46670">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tc>
                  <a:txBody>
                    <a:bodyPr/>
                    <a:lstStyle/>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r>
                        <a:rPr lang="es-ES" sz="950" b="0" kern="1200" dirty="0">
                          <a:solidFill>
                            <a:schemeClr val="tx1"/>
                          </a:solidFill>
                          <a:latin typeface="+mn-lt"/>
                          <a:ea typeface="+mn-ea"/>
                          <a:cs typeface="Calibri" panose="020F0502020204030204" pitchFamily="34" charset="0"/>
                        </a:rPr>
                        <a:t>Monitoreo y gestión del marco regulatorio para sostenibilidad del negocio Cenit y alineación filiales</a:t>
                      </a: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endParaRPr lang="es-ES" sz="950" b="0" kern="1200" dirty="0">
                        <a:solidFill>
                          <a:schemeClr val="tx1"/>
                        </a:solidFill>
                        <a:latin typeface="+mn-lt"/>
                        <a:ea typeface="+mn-ea"/>
                        <a:cs typeface="Calibri" panose="020F0502020204030204" pitchFamily="34" charset="0"/>
                      </a:endParaRP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r>
                        <a:rPr lang="es-ES" sz="950" b="0" kern="1200" dirty="0">
                          <a:solidFill>
                            <a:schemeClr val="tx1"/>
                          </a:solidFill>
                          <a:latin typeface="+mn-lt"/>
                          <a:ea typeface="+mn-ea"/>
                          <a:cs typeface="Calibri" panose="020F0502020204030204" pitchFamily="34" charset="0"/>
                        </a:rPr>
                        <a:t>Presentación de solicitudes tarifarias a entes reguladores</a:t>
                      </a: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endParaRPr lang="es-ES" sz="950" b="0" kern="1200" dirty="0">
                        <a:solidFill>
                          <a:schemeClr val="tx1"/>
                        </a:solidFill>
                        <a:latin typeface="+mn-lt"/>
                        <a:ea typeface="+mn-ea"/>
                        <a:cs typeface="Calibri" panose="020F0502020204030204" pitchFamily="34" charset="0"/>
                      </a:endParaRP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r>
                        <a:rPr lang="es-ES" sz="950" b="0" kern="1200" dirty="0">
                          <a:solidFill>
                            <a:schemeClr val="tx1"/>
                          </a:solidFill>
                          <a:latin typeface="+mn-lt"/>
                          <a:ea typeface="+mn-ea"/>
                          <a:cs typeface="Calibri" panose="020F0502020204030204" pitchFamily="34" charset="0"/>
                        </a:rPr>
                        <a:t>Estructuración y definición de tarifas para servicios no regulados Cenit</a:t>
                      </a: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endParaRPr lang="es-ES" sz="950" b="0" kern="1200" dirty="0">
                        <a:solidFill>
                          <a:schemeClr val="tx1"/>
                        </a:solidFill>
                        <a:latin typeface="+mn-lt"/>
                        <a:ea typeface="+mn-ea"/>
                        <a:cs typeface="Calibri" panose="020F0502020204030204" pitchFamily="34" charset="0"/>
                      </a:endParaRP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r>
                        <a:rPr lang="es-ES" sz="950" b="0" kern="1200" dirty="0">
                          <a:solidFill>
                            <a:schemeClr val="tx1"/>
                          </a:solidFill>
                          <a:latin typeface="+mn-lt"/>
                          <a:ea typeface="+mn-ea"/>
                          <a:cs typeface="Calibri" panose="020F0502020204030204" pitchFamily="34" charset="0"/>
                        </a:rPr>
                        <a:t>Actualización tarifaria de servicios regulados y no regulados Cenit.</a:t>
                      </a:r>
                    </a:p>
                  </a:txBody>
                  <a:tcPr marL="93335" marR="93335" marT="46670" marB="46670">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noFill/>
                  </a:tcPr>
                </a:tc>
                <a:tc>
                  <a:txBody>
                    <a:bodyPr/>
                    <a:lstStyle/>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r>
                        <a:rPr lang="es-ES" sz="950" b="0" kern="1200" dirty="0">
                          <a:solidFill>
                            <a:schemeClr val="tx1"/>
                          </a:solidFill>
                          <a:latin typeface="+mn-lt"/>
                          <a:ea typeface="+mn-ea"/>
                          <a:cs typeface="Calibri" panose="020F0502020204030204" pitchFamily="34" charset="0"/>
                        </a:rPr>
                        <a:t>Estructuración del Plan de Inversiones</a:t>
                      </a:r>
                    </a:p>
                    <a:p>
                      <a:pPr marL="0" marR="0" lvl="0" indent="0" algn="just" defTabSz="1244012" rtl="0" eaLnBrk="1" fontAlgn="auto" latinLnBrk="0" hangingPunct="1">
                        <a:lnSpc>
                          <a:spcPct val="100000"/>
                        </a:lnSpc>
                        <a:spcBef>
                          <a:spcPts val="0"/>
                        </a:spcBef>
                        <a:spcAft>
                          <a:spcPts val="0"/>
                        </a:spcAft>
                        <a:buClrTx/>
                        <a:buSzTx/>
                        <a:buFont typeface="+mj-lt"/>
                        <a:buNone/>
                        <a:tabLst/>
                        <a:defRPr/>
                      </a:pPr>
                      <a:endParaRPr lang="es-ES" sz="950" b="0" kern="1200" dirty="0">
                        <a:solidFill>
                          <a:schemeClr val="tx1"/>
                        </a:solidFill>
                        <a:latin typeface="+mn-lt"/>
                        <a:ea typeface="+mn-ea"/>
                        <a:cs typeface="Calibri" panose="020F0502020204030204" pitchFamily="34" charset="0"/>
                      </a:endParaRPr>
                    </a:p>
                    <a:p>
                      <a:pPr marL="228600" marR="0" lvl="0" indent="-228600" algn="just" defTabSz="1244012" rtl="0" eaLnBrk="1" fontAlgn="auto" latinLnBrk="0" hangingPunct="1">
                        <a:lnSpc>
                          <a:spcPct val="100000"/>
                        </a:lnSpc>
                        <a:spcBef>
                          <a:spcPts val="0"/>
                        </a:spcBef>
                        <a:spcAft>
                          <a:spcPts val="0"/>
                        </a:spcAft>
                        <a:buClrTx/>
                        <a:buSzTx/>
                        <a:buFont typeface="+mj-lt"/>
                        <a:buAutoNum type="arabicPeriod" startAt="2"/>
                        <a:tabLst/>
                        <a:defRPr/>
                      </a:pPr>
                      <a:r>
                        <a:rPr lang="es-ES" sz="950" b="0" kern="1200" dirty="0">
                          <a:solidFill>
                            <a:schemeClr val="tx1"/>
                          </a:solidFill>
                          <a:latin typeface="+mn-lt"/>
                          <a:ea typeface="+mn-ea"/>
                          <a:cs typeface="Calibri" panose="020F0502020204030204" pitchFamily="34" charset="0"/>
                        </a:rPr>
                        <a:t>Gestión y control de portafolio </a:t>
                      </a:r>
                    </a:p>
                    <a:p>
                      <a:pPr marL="228600" marR="0" lvl="0" indent="-228600" algn="just" defTabSz="1244012" rtl="0" eaLnBrk="1" fontAlgn="auto" latinLnBrk="0" hangingPunct="1">
                        <a:lnSpc>
                          <a:spcPct val="100000"/>
                        </a:lnSpc>
                        <a:spcBef>
                          <a:spcPts val="0"/>
                        </a:spcBef>
                        <a:spcAft>
                          <a:spcPts val="0"/>
                        </a:spcAft>
                        <a:buClrTx/>
                        <a:buSzTx/>
                        <a:buFont typeface="+mj-lt"/>
                        <a:buAutoNum type="arabicPeriod" startAt="2"/>
                        <a:tabLst/>
                        <a:defRPr/>
                      </a:pPr>
                      <a:endParaRPr lang="es-ES" sz="950" b="0" kern="1200" dirty="0">
                        <a:solidFill>
                          <a:schemeClr val="tx1"/>
                        </a:solidFill>
                        <a:latin typeface="+mn-lt"/>
                        <a:ea typeface="+mn-ea"/>
                        <a:cs typeface="Calibri" panose="020F0502020204030204" pitchFamily="34" charset="0"/>
                      </a:endParaRPr>
                    </a:p>
                    <a:p>
                      <a:pPr marL="228600" marR="0" lvl="0" indent="-228600" algn="just" defTabSz="1244012" rtl="0" eaLnBrk="1" fontAlgn="auto" latinLnBrk="0" hangingPunct="1">
                        <a:lnSpc>
                          <a:spcPct val="100000"/>
                        </a:lnSpc>
                        <a:spcBef>
                          <a:spcPts val="0"/>
                        </a:spcBef>
                        <a:spcAft>
                          <a:spcPts val="0"/>
                        </a:spcAft>
                        <a:buClrTx/>
                        <a:buSzTx/>
                        <a:buFont typeface="+mj-lt"/>
                        <a:buAutoNum type="arabicPeriod" startAt="2"/>
                        <a:tabLst/>
                        <a:defRPr/>
                      </a:pPr>
                      <a:r>
                        <a:rPr lang="es-ES" sz="950" b="0" kern="1200" dirty="0">
                          <a:solidFill>
                            <a:schemeClr val="tx1"/>
                          </a:solidFill>
                          <a:latin typeface="+mn-lt"/>
                          <a:ea typeface="+mn-ea"/>
                          <a:cs typeface="Calibri" panose="020F0502020204030204" pitchFamily="34" charset="0"/>
                        </a:rPr>
                        <a:t>Aseguramiento del Plan de Inversiones del segmento </a:t>
                      </a:r>
                    </a:p>
                    <a:p>
                      <a:pPr marL="0" marR="0" lvl="0" indent="0" algn="just" defTabSz="1244012" rtl="0" eaLnBrk="1" fontAlgn="auto" latinLnBrk="0" hangingPunct="1">
                        <a:lnSpc>
                          <a:spcPct val="100000"/>
                        </a:lnSpc>
                        <a:spcBef>
                          <a:spcPts val="0"/>
                        </a:spcBef>
                        <a:spcAft>
                          <a:spcPts val="0"/>
                        </a:spcAft>
                        <a:buClrTx/>
                        <a:buSzTx/>
                        <a:buFont typeface="+mj-lt"/>
                        <a:buNone/>
                        <a:tabLst/>
                        <a:defRPr/>
                      </a:pPr>
                      <a:endParaRPr lang="es-ES" sz="950" b="0" kern="1200" dirty="0">
                        <a:solidFill>
                          <a:schemeClr val="tx1"/>
                        </a:solidFill>
                        <a:latin typeface="+mn-lt"/>
                        <a:ea typeface="+mn-ea"/>
                        <a:cs typeface="Calibri" panose="020F0502020204030204" pitchFamily="34" charset="0"/>
                      </a:endParaRPr>
                    </a:p>
                    <a:p>
                      <a:pPr marL="228600" marR="0" lvl="0" indent="-228600" algn="just" defTabSz="1244012" rtl="0" eaLnBrk="1" fontAlgn="auto" latinLnBrk="0" hangingPunct="1">
                        <a:lnSpc>
                          <a:spcPct val="100000"/>
                        </a:lnSpc>
                        <a:spcBef>
                          <a:spcPts val="0"/>
                        </a:spcBef>
                        <a:spcAft>
                          <a:spcPts val="0"/>
                        </a:spcAft>
                        <a:buClrTx/>
                        <a:buSzTx/>
                        <a:buFont typeface="+mj-lt"/>
                        <a:buAutoNum type="arabicPeriod" startAt="4"/>
                        <a:tabLst/>
                        <a:defRPr/>
                      </a:pPr>
                      <a:r>
                        <a:rPr lang="es-ES" sz="950" b="0" kern="1200" dirty="0">
                          <a:solidFill>
                            <a:schemeClr val="tx1"/>
                          </a:solidFill>
                          <a:latin typeface="+mn-lt"/>
                          <a:ea typeface="+mn-ea"/>
                          <a:cs typeface="Calibri" panose="020F0502020204030204" pitchFamily="34" charset="0"/>
                        </a:rPr>
                        <a:t>Seguimiento del Plan de Inversiones del Segmento.  </a:t>
                      </a:r>
                    </a:p>
                    <a:p>
                      <a:pPr marL="0" marR="0" lvl="0" indent="0" algn="just" defTabSz="1244012" rtl="0" eaLnBrk="1" fontAlgn="auto" latinLnBrk="0" hangingPunct="1">
                        <a:lnSpc>
                          <a:spcPct val="100000"/>
                        </a:lnSpc>
                        <a:spcBef>
                          <a:spcPts val="0"/>
                        </a:spcBef>
                        <a:spcAft>
                          <a:spcPts val="0"/>
                        </a:spcAft>
                        <a:buClrTx/>
                        <a:buSzTx/>
                        <a:buFont typeface="+mj-lt"/>
                        <a:buNone/>
                        <a:tabLst/>
                        <a:defRPr/>
                      </a:pPr>
                      <a:endParaRPr lang="es-ES" sz="950" b="0" kern="1200" dirty="0">
                        <a:solidFill>
                          <a:schemeClr val="tx1"/>
                        </a:solidFill>
                        <a:latin typeface="+mn-lt"/>
                        <a:ea typeface="+mn-ea"/>
                        <a:cs typeface="Calibri" panose="020F0502020204030204" pitchFamily="34" charset="0"/>
                      </a:endParaRPr>
                    </a:p>
                  </a:txBody>
                  <a:tcPr marL="93335" marR="93335" marT="46670" marB="46670">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solidFill>
                      <a:schemeClr val="bg1"/>
                    </a:solidFill>
                  </a:tcPr>
                </a:tc>
                <a:tc>
                  <a:txBody>
                    <a:bodyPr/>
                    <a:lstStyle/>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r>
                        <a:rPr lang="es-ES" sz="950" b="0" kern="1200" dirty="0">
                          <a:solidFill>
                            <a:schemeClr val="tx1"/>
                          </a:solidFill>
                          <a:latin typeface="+mn-lt"/>
                          <a:ea typeface="+mn-ea"/>
                          <a:cs typeface="Calibri" panose="020F0502020204030204" pitchFamily="34" charset="0"/>
                        </a:rPr>
                        <a:t>Construcción del plan financiero</a:t>
                      </a: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endParaRPr lang="es-ES" sz="950" b="0" kern="1200" dirty="0">
                        <a:solidFill>
                          <a:schemeClr val="tx1"/>
                        </a:solidFill>
                        <a:latin typeface="+mn-lt"/>
                        <a:ea typeface="+mn-ea"/>
                        <a:cs typeface="Calibri" panose="020F0502020204030204" pitchFamily="34" charset="0"/>
                      </a:endParaRP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r>
                        <a:rPr lang="es-ES" sz="950" b="0" kern="1200" dirty="0">
                          <a:solidFill>
                            <a:schemeClr val="tx1"/>
                          </a:solidFill>
                          <a:latin typeface="+mn-lt"/>
                          <a:ea typeface="+mn-ea"/>
                          <a:cs typeface="Calibri" panose="020F0502020204030204" pitchFamily="34" charset="0"/>
                        </a:rPr>
                        <a:t>Generación de informes financieros y reporte del plan financiero</a:t>
                      </a: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endParaRPr lang="es-ES" sz="950" b="0" kern="1200" dirty="0">
                        <a:solidFill>
                          <a:schemeClr val="tx1"/>
                        </a:solidFill>
                        <a:latin typeface="+mn-lt"/>
                        <a:ea typeface="+mn-ea"/>
                        <a:cs typeface="Calibri" panose="020F0502020204030204" pitchFamily="34" charset="0"/>
                      </a:endParaRP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r>
                        <a:rPr lang="es-ES" sz="950" b="0" kern="1200" dirty="0">
                          <a:solidFill>
                            <a:schemeClr val="tx1"/>
                          </a:solidFill>
                          <a:latin typeface="+mn-lt"/>
                          <a:ea typeface="+mn-ea"/>
                          <a:cs typeface="Calibri" panose="020F0502020204030204" pitchFamily="34" charset="0"/>
                        </a:rPr>
                        <a:t>Análisis financiero y gestión presupuestal.</a:t>
                      </a: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endParaRPr lang="es-ES" sz="950" b="0" kern="1200" dirty="0">
                        <a:solidFill>
                          <a:schemeClr val="tx1"/>
                        </a:solidFill>
                        <a:latin typeface="+mn-lt"/>
                        <a:ea typeface="+mn-ea"/>
                        <a:cs typeface="Calibri" panose="020F0502020204030204" pitchFamily="34" charset="0"/>
                      </a:endParaRPr>
                    </a:p>
                  </a:txBody>
                  <a:tcPr marL="93335" marR="93335" marT="46670" marB="46670">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solidFill>
                      <a:schemeClr val="bg1"/>
                    </a:solidFill>
                  </a:tcPr>
                </a:tc>
                <a:tc>
                  <a:txBody>
                    <a:bodyPr/>
                    <a:lstStyle/>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r>
                        <a:rPr lang="es-ES" sz="950" b="0" kern="1200" dirty="0">
                          <a:solidFill>
                            <a:schemeClr val="tx1"/>
                          </a:solidFill>
                          <a:latin typeface="+mn-lt"/>
                          <a:ea typeface="+mn-ea"/>
                          <a:cs typeface="Calibri" panose="020F0502020204030204" pitchFamily="34" charset="0"/>
                        </a:rPr>
                        <a:t>Definición, consolidación y aprobación del panel de gestión y Tablero Balanceado de Gestión (TBG);</a:t>
                      </a: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endParaRPr lang="es-ES" sz="950" b="0" kern="1200" dirty="0">
                        <a:solidFill>
                          <a:schemeClr val="tx1"/>
                        </a:solidFill>
                        <a:latin typeface="+mn-lt"/>
                        <a:ea typeface="+mn-ea"/>
                        <a:cs typeface="Calibri" panose="020F0502020204030204" pitchFamily="34" charset="0"/>
                      </a:endParaRP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r>
                        <a:rPr lang="es-ES" sz="950" b="0" kern="1200" dirty="0">
                          <a:solidFill>
                            <a:schemeClr val="tx1"/>
                          </a:solidFill>
                          <a:latin typeface="+mn-lt"/>
                          <a:ea typeface="+mn-ea"/>
                          <a:cs typeface="Calibri" panose="020F0502020204030204" pitchFamily="34" charset="0"/>
                        </a:rPr>
                        <a:t>Análisis, monitoreo y retroalimentación del panel de gestión y Tablero Balanceado de Gestión (TBG).</a:t>
                      </a:r>
                    </a:p>
                    <a:p>
                      <a:pPr marL="177800" marR="0" lvl="0" indent="-177800" algn="just" defTabSz="1244012" rtl="0" eaLnBrk="1" fontAlgn="auto" latinLnBrk="0" hangingPunct="1">
                        <a:lnSpc>
                          <a:spcPct val="100000"/>
                        </a:lnSpc>
                        <a:spcBef>
                          <a:spcPts val="0"/>
                        </a:spcBef>
                        <a:spcAft>
                          <a:spcPts val="0"/>
                        </a:spcAft>
                        <a:buClrTx/>
                        <a:buSzTx/>
                        <a:buFont typeface="+mj-lt"/>
                        <a:buAutoNum type="arabicPeriod"/>
                        <a:tabLst/>
                        <a:defRPr/>
                      </a:pPr>
                      <a:endParaRPr lang="es-CO" sz="950" b="0" kern="1200" dirty="0">
                        <a:solidFill>
                          <a:schemeClr val="tx1"/>
                        </a:solidFill>
                        <a:latin typeface="+mn-lt"/>
                        <a:ea typeface="+mn-ea"/>
                        <a:cs typeface="Calibri" panose="020F0502020204030204" pitchFamily="34" charset="0"/>
                      </a:endParaRPr>
                    </a:p>
                  </a:txBody>
                  <a:tcPr marL="93335" marR="93335" marT="46670" marB="46670">
                    <a:lnL w="12700" cap="flat" cmpd="sng" algn="ctr">
                      <a:solidFill>
                        <a:schemeClr val="tx1">
                          <a:lumMod val="75000"/>
                          <a:lumOff val="25000"/>
                        </a:schemeClr>
                      </a:solidFill>
                      <a:prstDash val="sysDot"/>
                      <a:round/>
                      <a:headEnd type="none" w="med" len="med"/>
                      <a:tailEnd type="none" w="med" len="med"/>
                    </a:lnL>
                    <a:lnR w="12700" cap="flat" cmpd="sng" algn="ctr">
                      <a:solidFill>
                        <a:schemeClr val="tx1">
                          <a:lumMod val="75000"/>
                          <a:lumOff val="25000"/>
                        </a:schemeClr>
                      </a:solidFill>
                      <a:prstDash val="sysDot"/>
                      <a:round/>
                      <a:headEnd type="none" w="med" len="med"/>
                      <a:tailEnd type="none" w="med" len="med"/>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678991484"/>
                  </a:ext>
                </a:extLst>
              </a:tr>
            </a:tbl>
          </a:graphicData>
        </a:graphic>
      </p:graphicFrame>
      <p:sp>
        <p:nvSpPr>
          <p:cNvPr id="46" name="Freeform 153">
            <a:extLst>
              <a:ext uri="{FF2B5EF4-FFF2-40B4-BE49-F238E27FC236}">
                <a16:creationId xmlns:a16="http://schemas.microsoft.com/office/drawing/2014/main" id="{FD727DAF-E119-46A8-9047-855EBB3190F4}"/>
              </a:ext>
            </a:extLst>
          </p:cNvPr>
          <p:cNvSpPr/>
          <p:nvPr/>
        </p:nvSpPr>
        <p:spPr bwMode="auto">
          <a:xfrm>
            <a:off x="2956969" y="1705278"/>
            <a:ext cx="1980766" cy="73195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614796 w 1828800"/>
              <a:gd name="connsiteY3" fmla="*/ 914402 h 914402"/>
              <a:gd name="connsiteX4" fmla="*/ 0 w 1828800"/>
              <a:gd name="connsiteY4" fmla="*/ 914400 h 914402"/>
              <a:gd name="connsiteX5" fmla="*/ 214004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14796" y="0"/>
                </a:lnTo>
                <a:lnTo>
                  <a:pt x="1828800" y="457200"/>
                </a:lnTo>
                <a:lnTo>
                  <a:pt x="1614796" y="914402"/>
                </a:lnTo>
                <a:lnTo>
                  <a:pt x="0" y="914400"/>
                </a:lnTo>
                <a:lnTo>
                  <a:pt x="214004" y="457202"/>
                </a:lnTo>
                <a:close/>
              </a:path>
            </a:pathLst>
          </a:custGeom>
          <a:ln>
            <a:headEnd/>
            <a:tailEnd/>
          </a:ln>
        </p:spPr>
        <p:style>
          <a:lnRef idx="1">
            <a:schemeClr val="accent4"/>
          </a:lnRef>
          <a:fillRef idx="3">
            <a:schemeClr val="accent4"/>
          </a:fillRef>
          <a:effectRef idx="2">
            <a:schemeClr val="accent4"/>
          </a:effectRef>
          <a:fontRef idx="minor">
            <a:schemeClr val="lt1"/>
          </a:fontRef>
        </p:style>
        <p:txBody>
          <a:bodyPr vert="horz" wrap="square" lIns="323990" tIns="46649" rIns="93293" bIns="46649"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32958" rtl="0" eaLnBrk="1" fontAlgn="base" latinLnBrk="0" hangingPunct="1">
              <a:lnSpc>
                <a:spcPct val="100000"/>
              </a:lnSpc>
              <a:spcBef>
                <a:spcPct val="0"/>
              </a:spcBef>
              <a:spcAft>
                <a:spcPct val="0"/>
              </a:spcAft>
              <a:buClrTx/>
              <a:buSzTx/>
              <a:buFontTx/>
              <a:buNone/>
              <a:tabLst/>
              <a:defRPr/>
            </a:pPr>
            <a:r>
              <a:rPr kumimoji="0" lang="es-ES" sz="900" b="1" i="0" u="none" strike="noStrike" kern="1200" cap="none" spc="-1" normalizeH="0" baseline="0" noProof="0" dirty="0">
                <a:ln>
                  <a:noFill/>
                </a:ln>
                <a:solidFill>
                  <a:srgbClr val="FFFFFF"/>
                </a:solidFill>
                <a:effectLst/>
                <a:uLnTx/>
                <a:uFill>
                  <a:solidFill>
                    <a:srgbClr val="FFFFFF"/>
                  </a:solidFill>
                </a:uFill>
                <a:latin typeface="Arial"/>
                <a:ea typeface="+mn-ea"/>
                <a:cs typeface="+mn-cs"/>
              </a:rPr>
              <a:t>Nuevos Negocios, Adquisiciones y Fusiones</a:t>
            </a:r>
          </a:p>
        </p:txBody>
      </p:sp>
      <p:sp>
        <p:nvSpPr>
          <p:cNvPr id="48" name="Freeform 153">
            <a:extLst>
              <a:ext uri="{FF2B5EF4-FFF2-40B4-BE49-F238E27FC236}">
                <a16:creationId xmlns:a16="http://schemas.microsoft.com/office/drawing/2014/main" id="{3BACDA33-7D1B-4CD3-8E0C-72EEF4764094}"/>
              </a:ext>
            </a:extLst>
          </p:cNvPr>
          <p:cNvSpPr/>
          <p:nvPr/>
        </p:nvSpPr>
        <p:spPr bwMode="auto">
          <a:xfrm>
            <a:off x="6620238" y="1704763"/>
            <a:ext cx="1919436" cy="73195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614796 w 1828800"/>
              <a:gd name="connsiteY3" fmla="*/ 914402 h 914402"/>
              <a:gd name="connsiteX4" fmla="*/ 0 w 1828800"/>
              <a:gd name="connsiteY4" fmla="*/ 914400 h 914402"/>
              <a:gd name="connsiteX5" fmla="*/ 214004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14796" y="0"/>
                </a:lnTo>
                <a:lnTo>
                  <a:pt x="1828800" y="457200"/>
                </a:lnTo>
                <a:lnTo>
                  <a:pt x="1614796" y="914402"/>
                </a:lnTo>
                <a:lnTo>
                  <a:pt x="0" y="914400"/>
                </a:lnTo>
                <a:lnTo>
                  <a:pt x="214004" y="457202"/>
                </a:lnTo>
                <a:close/>
              </a:path>
            </a:pathLst>
          </a:custGeom>
          <a:ln>
            <a:headEnd/>
            <a:tailEnd/>
          </a:ln>
        </p:spPr>
        <p:style>
          <a:lnRef idx="1">
            <a:schemeClr val="accent4"/>
          </a:lnRef>
          <a:fillRef idx="3">
            <a:schemeClr val="accent4"/>
          </a:fillRef>
          <a:effectRef idx="2">
            <a:schemeClr val="accent4"/>
          </a:effectRef>
          <a:fontRef idx="minor">
            <a:schemeClr val="lt1"/>
          </a:fontRef>
        </p:style>
        <p:txBody>
          <a:bodyPr vert="horz" wrap="square" lIns="323990" tIns="46649" rIns="93293" bIns="46649"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32958" rtl="0" eaLnBrk="1" fontAlgn="base" latinLnBrk="0" hangingPunct="1">
              <a:lnSpc>
                <a:spcPct val="100000"/>
              </a:lnSpc>
              <a:spcBef>
                <a:spcPct val="0"/>
              </a:spcBef>
              <a:spcAft>
                <a:spcPct val="0"/>
              </a:spcAft>
              <a:buClrTx/>
              <a:buSzTx/>
              <a:buFontTx/>
              <a:buNone/>
              <a:tabLst/>
              <a:defRPr/>
            </a:pPr>
            <a:r>
              <a:rPr kumimoji="0" lang="es-ES" sz="900" b="1" i="0" u="none" strike="noStrike" kern="1200" cap="none" spc="-1" normalizeH="0" baseline="0" noProof="0" dirty="0">
                <a:ln>
                  <a:noFill/>
                </a:ln>
                <a:solidFill>
                  <a:srgbClr val="FFFFFF"/>
                </a:solidFill>
                <a:effectLst/>
                <a:uLnTx/>
                <a:uFill>
                  <a:solidFill>
                    <a:srgbClr val="FFFFFF"/>
                  </a:solidFill>
                </a:uFill>
                <a:latin typeface="Arial"/>
                <a:ea typeface="+mn-ea"/>
                <a:cs typeface="+mn-cs"/>
              </a:rPr>
              <a:t>Gestión Integral de Portafolio</a:t>
            </a:r>
          </a:p>
        </p:txBody>
      </p:sp>
      <p:sp>
        <p:nvSpPr>
          <p:cNvPr id="49" name="Freeform 153">
            <a:extLst>
              <a:ext uri="{FF2B5EF4-FFF2-40B4-BE49-F238E27FC236}">
                <a16:creationId xmlns:a16="http://schemas.microsoft.com/office/drawing/2014/main" id="{C7A018C4-EAF0-4DD6-93E4-B345CA621969}"/>
              </a:ext>
            </a:extLst>
          </p:cNvPr>
          <p:cNvSpPr/>
          <p:nvPr/>
        </p:nvSpPr>
        <p:spPr bwMode="auto">
          <a:xfrm>
            <a:off x="8333343" y="1704762"/>
            <a:ext cx="1980765" cy="73195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614796 w 1828800"/>
              <a:gd name="connsiteY3" fmla="*/ 914402 h 914402"/>
              <a:gd name="connsiteX4" fmla="*/ 0 w 1828800"/>
              <a:gd name="connsiteY4" fmla="*/ 914400 h 914402"/>
              <a:gd name="connsiteX5" fmla="*/ 214004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14796" y="0"/>
                </a:lnTo>
                <a:lnTo>
                  <a:pt x="1828800" y="457200"/>
                </a:lnTo>
                <a:lnTo>
                  <a:pt x="1614796" y="914402"/>
                </a:lnTo>
                <a:lnTo>
                  <a:pt x="0" y="914400"/>
                </a:lnTo>
                <a:lnTo>
                  <a:pt x="214004" y="457202"/>
                </a:lnTo>
                <a:close/>
              </a:path>
            </a:pathLst>
          </a:custGeom>
          <a:ln>
            <a:headEnd/>
            <a:tailEnd/>
          </a:ln>
        </p:spPr>
        <p:style>
          <a:lnRef idx="1">
            <a:schemeClr val="accent4"/>
          </a:lnRef>
          <a:fillRef idx="3">
            <a:schemeClr val="accent4"/>
          </a:fillRef>
          <a:effectRef idx="2">
            <a:schemeClr val="accent4"/>
          </a:effectRef>
          <a:fontRef idx="minor">
            <a:schemeClr val="lt1"/>
          </a:fontRef>
        </p:style>
        <p:txBody>
          <a:bodyPr vert="horz" wrap="square" lIns="323990" tIns="46649" rIns="93293" bIns="46649"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32954" rtl="0" eaLnBrk="1" fontAlgn="base" latinLnBrk="0" hangingPunct="1">
              <a:lnSpc>
                <a:spcPct val="100000"/>
              </a:lnSpc>
              <a:spcBef>
                <a:spcPct val="0"/>
              </a:spcBef>
              <a:spcAft>
                <a:spcPct val="0"/>
              </a:spcAft>
              <a:buClrTx/>
              <a:buSzTx/>
              <a:buFontTx/>
              <a:buNone/>
              <a:tabLst/>
              <a:defRPr/>
            </a:pPr>
            <a:r>
              <a:rPr kumimoji="0" lang="es-ES" sz="900" b="1" i="0" u="none" strike="noStrike" kern="1200" cap="none" spc="-1" normalizeH="0" baseline="0" noProof="0" dirty="0">
                <a:ln>
                  <a:noFill/>
                </a:ln>
                <a:solidFill>
                  <a:srgbClr val="FFFFFF"/>
                </a:solidFill>
                <a:effectLst/>
                <a:uLnTx/>
                <a:uFill>
                  <a:solidFill>
                    <a:srgbClr val="FFFFFF"/>
                  </a:solidFill>
                </a:uFill>
                <a:latin typeface="Arial"/>
                <a:ea typeface="+mn-ea"/>
                <a:cs typeface="+mn-cs"/>
              </a:rPr>
              <a:t>Planeación Financiera y Presupuesto</a:t>
            </a:r>
          </a:p>
        </p:txBody>
      </p:sp>
      <p:sp>
        <p:nvSpPr>
          <p:cNvPr id="52" name="Freeform 153">
            <a:extLst>
              <a:ext uri="{FF2B5EF4-FFF2-40B4-BE49-F238E27FC236}">
                <a16:creationId xmlns:a16="http://schemas.microsoft.com/office/drawing/2014/main" id="{0D61439D-F4F7-439F-874D-6BC9F75CDB48}"/>
              </a:ext>
            </a:extLst>
          </p:cNvPr>
          <p:cNvSpPr/>
          <p:nvPr/>
        </p:nvSpPr>
        <p:spPr bwMode="auto">
          <a:xfrm>
            <a:off x="4734383" y="1704764"/>
            <a:ext cx="2058615" cy="73195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614796 w 1828800"/>
              <a:gd name="connsiteY3" fmla="*/ 914402 h 914402"/>
              <a:gd name="connsiteX4" fmla="*/ 0 w 1828800"/>
              <a:gd name="connsiteY4" fmla="*/ 914400 h 914402"/>
              <a:gd name="connsiteX5" fmla="*/ 214004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14796" y="0"/>
                </a:lnTo>
                <a:lnTo>
                  <a:pt x="1828800" y="457200"/>
                </a:lnTo>
                <a:lnTo>
                  <a:pt x="1614796" y="914402"/>
                </a:lnTo>
                <a:lnTo>
                  <a:pt x="0" y="914400"/>
                </a:lnTo>
                <a:lnTo>
                  <a:pt x="214004" y="457202"/>
                </a:lnTo>
                <a:close/>
              </a:path>
            </a:pathLst>
          </a:custGeom>
          <a:ln>
            <a:headEnd/>
            <a:tailEnd/>
          </a:ln>
        </p:spPr>
        <p:style>
          <a:lnRef idx="1">
            <a:schemeClr val="accent4"/>
          </a:lnRef>
          <a:fillRef idx="3">
            <a:schemeClr val="accent4"/>
          </a:fillRef>
          <a:effectRef idx="2">
            <a:schemeClr val="accent4"/>
          </a:effectRef>
          <a:fontRef idx="minor">
            <a:schemeClr val="lt1"/>
          </a:fontRef>
        </p:style>
        <p:txBody>
          <a:bodyPr vert="horz" wrap="square" lIns="323990" tIns="46649" rIns="93293" bIns="46649"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32958" rtl="0" eaLnBrk="1" fontAlgn="base" latinLnBrk="0" hangingPunct="1">
              <a:lnSpc>
                <a:spcPct val="100000"/>
              </a:lnSpc>
              <a:spcBef>
                <a:spcPct val="0"/>
              </a:spcBef>
              <a:spcAft>
                <a:spcPct val="0"/>
              </a:spcAft>
              <a:buClrTx/>
              <a:buSzTx/>
              <a:buFontTx/>
              <a:buNone/>
              <a:tabLst/>
              <a:defRPr/>
            </a:pPr>
            <a:r>
              <a:rPr kumimoji="0" lang="es-ES" sz="900" b="1" i="0" u="none" strike="noStrike" kern="1200" cap="none" spc="-1" normalizeH="0" baseline="0" noProof="0" dirty="0">
                <a:ln>
                  <a:noFill/>
                </a:ln>
                <a:solidFill>
                  <a:srgbClr val="FFFFFF"/>
                </a:solidFill>
                <a:effectLst/>
                <a:uLnTx/>
                <a:uFill>
                  <a:solidFill>
                    <a:srgbClr val="FFFFFF"/>
                  </a:solidFill>
                </a:uFill>
                <a:latin typeface="Arial"/>
                <a:ea typeface="+mn-ea"/>
                <a:cs typeface="+mn-cs"/>
              </a:rPr>
              <a:t>Gestión Regulatoria y Aseguramiento de Tarifas </a:t>
            </a:r>
          </a:p>
        </p:txBody>
      </p:sp>
      <p:sp>
        <p:nvSpPr>
          <p:cNvPr id="16" name="Freeform 153">
            <a:extLst>
              <a:ext uri="{FF2B5EF4-FFF2-40B4-BE49-F238E27FC236}">
                <a16:creationId xmlns:a16="http://schemas.microsoft.com/office/drawing/2014/main" id="{0E7296DF-2278-45D1-A5BC-4CCB6A124224}"/>
              </a:ext>
            </a:extLst>
          </p:cNvPr>
          <p:cNvSpPr/>
          <p:nvPr/>
        </p:nvSpPr>
        <p:spPr bwMode="auto">
          <a:xfrm>
            <a:off x="10117864" y="1702179"/>
            <a:ext cx="1841587" cy="731952"/>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185721 w 1828800"/>
              <a:gd name="connsiteY5" fmla="*/ 457202 h 914402"/>
              <a:gd name="connsiteX0" fmla="*/ 0 w 1828800"/>
              <a:gd name="connsiteY0" fmla="*/ 0 h 914402"/>
              <a:gd name="connsiteX1" fmla="*/ 1643078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307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86188 w 1828800"/>
              <a:gd name="connsiteY5" fmla="*/ 457202 h 914402"/>
              <a:gd name="connsiteX0" fmla="*/ 0 w 1828800"/>
              <a:gd name="connsiteY0" fmla="*/ 0 h 914402"/>
              <a:gd name="connsiteX1" fmla="*/ 1642612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642612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126026 w 1828800"/>
              <a:gd name="connsiteY5" fmla="*/ 457202 h 914402"/>
              <a:gd name="connsiteX0" fmla="*/ 0 w 1828800"/>
              <a:gd name="connsiteY0" fmla="*/ 0 h 914402"/>
              <a:gd name="connsiteX1" fmla="*/ 1702774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702774 w 1828800"/>
              <a:gd name="connsiteY3" fmla="*/ 914402 h 914402"/>
              <a:gd name="connsiteX4" fmla="*/ 0 w 1828800"/>
              <a:gd name="connsiteY4" fmla="*/ 914400 h 914402"/>
              <a:gd name="connsiteX5" fmla="*/ 214004 w 1828800"/>
              <a:gd name="connsiteY5" fmla="*/ 457202 h 914402"/>
              <a:gd name="connsiteX0" fmla="*/ 0 w 1828800"/>
              <a:gd name="connsiteY0" fmla="*/ 0 h 914402"/>
              <a:gd name="connsiteX1" fmla="*/ 1614796 w 1828800"/>
              <a:gd name="connsiteY1" fmla="*/ 0 h 914402"/>
              <a:gd name="connsiteX2" fmla="*/ 1828800 w 1828800"/>
              <a:gd name="connsiteY2" fmla="*/ 457200 h 914402"/>
              <a:gd name="connsiteX3" fmla="*/ 1614796 w 1828800"/>
              <a:gd name="connsiteY3" fmla="*/ 914402 h 914402"/>
              <a:gd name="connsiteX4" fmla="*/ 0 w 1828800"/>
              <a:gd name="connsiteY4" fmla="*/ 914400 h 914402"/>
              <a:gd name="connsiteX5" fmla="*/ 214004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14796" y="0"/>
                </a:lnTo>
                <a:lnTo>
                  <a:pt x="1828800" y="457200"/>
                </a:lnTo>
                <a:lnTo>
                  <a:pt x="1614796" y="914402"/>
                </a:lnTo>
                <a:lnTo>
                  <a:pt x="0" y="914400"/>
                </a:lnTo>
                <a:lnTo>
                  <a:pt x="214004" y="457202"/>
                </a:lnTo>
                <a:close/>
              </a:path>
            </a:pathLst>
          </a:custGeom>
          <a:ln>
            <a:headEnd/>
            <a:tailEnd/>
          </a:ln>
        </p:spPr>
        <p:style>
          <a:lnRef idx="1">
            <a:schemeClr val="accent4"/>
          </a:lnRef>
          <a:fillRef idx="3">
            <a:schemeClr val="accent4"/>
          </a:fillRef>
          <a:effectRef idx="2">
            <a:schemeClr val="accent4"/>
          </a:effectRef>
          <a:fontRef idx="minor">
            <a:schemeClr val="lt1"/>
          </a:fontRef>
        </p:style>
        <p:txBody>
          <a:bodyPr vert="horz" wrap="square" lIns="323990" tIns="46649" rIns="93293" bIns="46649"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32958" rtl="0" eaLnBrk="1" fontAlgn="base" latinLnBrk="0" hangingPunct="1">
              <a:lnSpc>
                <a:spcPct val="100000"/>
              </a:lnSpc>
              <a:spcBef>
                <a:spcPct val="0"/>
              </a:spcBef>
              <a:spcAft>
                <a:spcPct val="0"/>
              </a:spcAft>
              <a:buClrTx/>
              <a:buSzTx/>
              <a:buFontTx/>
              <a:buNone/>
              <a:tabLst/>
              <a:defRPr/>
            </a:pPr>
            <a:r>
              <a:rPr kumimoji="0" lang="es-ES" sz="900" b="1" i="0" u="none" strike="noStrike" kern="1200" cap="none" spc="-1" normalizeH="0" baseline="0" noProof="0" dirty="0">
                <a:ln>
                  <a:noFill/>
                </a:ln>
                <a:solidFill>
                  <a:srgbClr val="FFFFFF"/>
                </a:solidFill>
                <a:effectLst/>
                <a:uLnTx/>
                <a:uFill>
                  <a:solidFill>
                    <a:srgbClr val="FFFFFF"/>
                  </a:solidFill>
                </a:uFill>
                <a:latin typeface="Arial"/>
                <a:ea typeface="+mn-ea"/>
                <a:cs typeface="+mn-cs"/>
              </a:rPr>
              <a:t>Desempeño Empresarial </a:t>
            </a:r>
          </a:p>
        </p:txBody>
      </p:sp>
    </p:spTree>
    <p:extLst>
      <p:ext uri="{BB962C8B-B14F-4D97-AF65-F5344CB8AC3E}">
        <p14:creationId xmlns:p14="http://schemas.microsoft.com/office/powerpoint/2010/main" val="28327242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1.00000000000000000000E+00&quot;&gt;&lt;m_msothmcolidx val=&quot;0&quot;/&gt;&lt;m_rgb r=&quot;41&quot; g=&quot;AA&quot; b=&quot;3C&quot;/&gt;&lt;m_nBrightness endver=&quot;26206&quot; val=&quot;0&quot;/&gt;&lt;/elem&gt;&lt;elem m_fUsage=&quot;9.00000000000000022204E-01&quot;&gt;&lt;m_msothmcolidx val=&quot;0&quot;/&gt;&lt;m_rgb r=&quot;92&quot; g=&quot;D0&quot; b=&quot;50&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0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XJY1qqlDagXYkM0VEjZi5A"/>
</p:tagLst>
</file>

<file path=ppt/tags/tag103.xml><?xml version="1.0" encoding="utf-8"?>
<p:tagLst xmlns:a="http://schemas.openxmlformats.org/drawingml/2006/main" xmlns:r="http://schemas.openxmlformats.org/officeDocument/2006/relationships" xmlns:p="http://schemas.openxmlformats.org/presentationml/2006/main">
  <p:tag name="NAME" val="Logo"/>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XTCjT97t1KqFJ2OrYq2TBw"/>
</p:tagLst>
</file>

<file path=ppt/tags/tag106.xml><?xml version="1.0" encoding="utf-8"?>
<p:tagLst xmlns:a="http://schemas.openxmlformats.org/drawingml/2006/main" xmlns:r="http://schemas.openxmlformats.org/officeDocument/2006/relationships" xmlns:p="http://schemas.openxmlformats.org/presentationml/2006/main">
  <p:tag name="NAME" val="Logo"/>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09.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NAME" val="Moon"/>
</p:tagLst>
</file>

<file path=ppt/tags/tag111.xml><?xml version="1.0" encoding="utf-8"?>
<p:tagLst xmlns:a="http://schemas.openxmlformats.org/drawingml/2006/main" xmlns:r="http://schemas.openxmlformats.org/officeDocument/2006/relationships" xmlns:p="http://schemas.openxmlformats.org/presentationml/2006/main">
  <p:tag name="NAME" val="Moon"/>
</p:tagLst>
</file>

<file path=ppt/tags/tag112.xml><?xml version="1.0" encoding="utf-8"?>
<p:tagLst xmlns:a="http://schemas.openxmlformats.org/drawingml/2006/main" xmlns:r="http://schemas.openxmlformats.org/officeDocument/2006/relationships" xmlns:p="http://schemas.openxmlformats.org/presentationml/2006/main">
  <p:tag name="NAME" val="Moon"/>
</p:tagLst>
</file>

<file path=ppt/tags/tag113.xml><?xml version="1.0" encoding="utf-8"?>
<p:tagLst xmlns:a="http://schemas.openxmlformats.org/drawingml/2006/main" xmlns:r="http://schemas.openxmlformats.org/officeDocument/2006/relationships" xmlns:p="http://schemas.openxmlformats.org/presentationml/2006/main">
  <p:tag name="NAME" val="Moon"/>
</p:tagLst>
</file>

<file path=ppt/tags/tag11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XJY1qqlDagXYkM0VEjZi5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9frDM3kpbyV0FSWVc7CmXg"/>
</p:tagLst>
</file>

<file path=ppt/tags/tag128.xml><?xml version="1.0" encoding="utf-8"?>
<p:tagLst xmlns:a="http://schemas.openxmlformats.org/drawingml/2006/main" xmlns:r="http://schemas.openxmlformats.org/officeDocument/2006/relationships" xmlns:p="http://schemas.openxmlformats.org/presentationml/2006/main">
  <p:tag name="NAME" val="Logo"/>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TCjT97t1KqFJ2OrYq2TBw"/>
</p:tagLst>
</file>

<file path=ppt/tags/tag131.xml><?xml version="1.0" encoding="utf-8"?>
<p:tagLst xmlns:a="http://schemas.openxmlformats.org/drawingml/2006/main" xmlns:r="http://schemas.openxmlformats.org/officeDocument/2006/relationships" xmlns:p="http://schemas.openxmlformats.org/presentationml/2006/main">
  <p:tag name="NAME" val="Logo"/>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qlTssANllvtcqiOI54St8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qlTssANllvtcqiOI54St8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lCahq5rgP9gkyHr5oF7W7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lCahq5rgP9gkyHr5oF7W7A"/>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qRuRfLmBI1wG_Qd_hZ4M9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qRuRfLmBI1wG_Qd_hZ4M9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qRuRfLmBI1wG_Qd_hZ4M9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qRuRfLmBI1wG_Qd_hZ4M9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qRuRfLmBI1wG_Qd_hZ4M9Q"/>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qRuRfLmBI1wG_Qd_hZ4M9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qRuRfLmBI1wG_Qd_hZ4M9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qRuRfLmBI1wG_Qd_hZ4M9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qRuRfLmBI1wG_Qd_hZ4M9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qRuRfLmBI1wG_Qd_hZ4M9Q"/>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qRuRfLmBI1wG_Qd_hZ4M9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qRuRfLmBI1wG_Qd_hZ4M9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qRuRfLmBI1wG_Qd_hZ4M9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qRuRfLmBI1wG_Qd_hZ4M9Q"/>
</p:tagLst>
</file>

<file path=ppt/tags/tag168.xml><?xml version="1.0" encoding="utf-8"?>
<p:tagLst xmlns:a="http://schemas.openxmlformats.org/drawingml/2006/main" xmlns:r="http://schemas.openxmlformats.org/officeDocument/2006/relationships" xmlns:p="http://schemas.openxmlformats.org/presentationml/2006/main">
  <p:tag name="1LEVEL" val="0"/>
  <p:tag name="2LEVEL" val="0.3"/>
  <p:tag name="3LEVEL" val="0"/>
  <p:tag name="4LEVEL" val="0"/>
  <p:tag name="5LEVEL" val="0"/>
</p:tagLst>
</file>

<file path=ppt/tags/tag169.xml><?xml version="1.0" encoding="utf-8"?>
<p:tagLst xmlns:a="http://schemas.openxmlformats.org/drawingml/2006/main" xmlns:r="http://schemas.openxmlformats.org/officeDocument/2006/relationships" xmlns:p="http://schemas.openxmlformats.org/presentationml/2006/main">
  <p:tag name="1LEVEL" val="0"/>
  <p:tag name="2LEVEL" val="0.3"/>
  <p:tag name="3LEVEL" val="0"/>
  <p:tag name="4LEVEL" val="0"/>
  <p:tag name="5LEVEL" val="0"/>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0.xml><?xml version="1.0" encoding="utf-8"?>
<p:tagLst xmlns:a="http://schemas.openxmlformats.org/drawingml/2006/main" xmlns:r="http://schemas.openxmlformats.org/officeDocument/2006/relationships" xmlns:p="http://schemas.openxmlformats.org/presentationml/2006/main">
  <p:tag name="NAME" val="CustomIcon"/>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XJY1qqlDagXYkM0VEjZi5A"/>
</p:tagLst>
</file>

<file path=ppt/tags/tag28.xml><?xml version="1.0" encoding="utf-8"?>
<p:tagLst xmlns:a="http://schemas.openxmlformats.org/drawingml/2006/main" xmlns:r="http://schemas.openxmlformats.org/officeDocument/2006/relationships" xmlns:p="http://schemas.openxmlformats.org/presentationml/2006/main">
  <p:tag name="NAME" val="Logo"/>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TCjT97t1KqFJ2OrYq2TBw"/>
</p:tagLst>
</file>

<file path=ppt/tags/tag31.xml><?xml version="1.0" encoding="utf-8"?>
<p:tagLst xmlns:a="http://schemas.openxmlformats.org/drawingml/2006/main" xmlns:r="http://schemas.openxmlformats.org/officeDocument/2006/relationships" xmlns:p="http://schemas.openxmlformats.org/presentationml/2006/main">
  <p:tag name="NAME" val="Logo"/>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Logo"/>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JY1qqlDagXYkM0VEjZi5A"/>
</p:tagLst>
</file>

<file path=ppt/tags/tag51.xml><?xml version="1.0" encoding="utf-8"?>
<p:tagLst xmlns:a="http://schemas.openxmlformats.org/drawingml/2006/main" xmlns:r="http://schemas.openxmlformats.org/officeDocument/2006/relationships" xmlns:p="http://schemas.openxmlformats.org/presentationml/2006/main">
  <p:tag name="NAME" val="Logo"/>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TCjT97t1KqFJ2OrYq2TBw"/>
</p:tagLst>
</file>

<file path=ppt/tags/tag54.xml><?xml version="1.0" encoding="utf-8"?>
<p:tagLst xmlns:a="http://schemas.openxmlformats.org/drawingml/2006/main" xmlns:r="http://schemas.openxmlformats.org/officeDocument/2006/relationships" xmlns:p="http://schemas.openxmlformats.org/presentationml/2006/main">
  <p:tag name="NAME" val="Logo"/>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Logo"/>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xml><?xml version="1.0" encoding="utf-8"?>
<p:tagLst xmlns:a="http://schemas.openxmlformats.org/drawingml/2006/main" xmlns:r="http://schemas.openxmlformats.org/officeDocument/2006/relationships" xmlns:p="http://schemas.openxmlformats.org/presentationml/2006/main">
  <p:tag name="NAME" val="Logo"/>
</p:tagLst>
</file>

<file path=ppt/tags/tag7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JY1qqlDagXYkM0VEjZi5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9frDM3kpbyV0FSWVc7CmXg"/>
</p:tagLst>
</file>

<file path=ppt/tags/tag76.xml><?xml version="1.0" encoding="utf-8"?>
<p:tagLst xmlns:a="http://schemas.openxmlformats.org/drawingml/2006/main" xmlns:r="http://schemas.openxmlformats.org/officeDocument/2006/relationships" xmlns:p="http://schemas.openxmlformats.org/presentationml/2006/main">
  <p:tag name="NAME" val="Logo"/>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XTCjT97t1KqFJ2OrYq2TBw"/>
</p:tagLst>
</file>

<file path=ppt/tags/tag79.xml><?xml version="1.0" encoding="utf-8"?>
<p:tagLst xmlns:a="http://schemas.openxmlformats.org/drawingml/2006/main" xmlns:r="http://schemas.openxmlformats.org/officeDocument/2006/relationships" xmlns:p="http://schemas.openxmlformats.org/presentationml/2006/main">
  <p:tag name="NAME" val="Logo"/>
</p:tagLst>
</file>

<file path=ppt/tags/tag8.xml><?xml version="1.0" encoding="utf-8"?>
<p:tagLst xmlns:a="http://schemas.openxmlformats.org/drawingml/2006/main" xmlns:r="http://schemas.openxmlformats.org/officeDocument/2006/relationships" xmlns:p="http://schemas.openxmlformats.org/presentationml/2006/main">
  <p:tag name="NAME" val="Logo"/>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qlTssANllvtcqiOI54St8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lTssANllvtcqiOI54St8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86.xml><?xml version="1.0" encoding="utf-8"?>
<p:tagLst xmlns:a="http://schemas.openxmlformats.org/drawingml/2006/main" xmlns:r="http://schemas.openxmlformats.org/officeDocument/2006/relationships" xmlns:p="http://schemas.openxmlformats.org/presentationml/2006/main">
  <p:tag name="NAME" val="Moon"/>
</p:tagLst>
</file>

<file path=ppt/tags/tag87.xml><?xml version="1.0" encoding="utf-8"?>
<p:tagLst xmlns:a="http://schemas.openxmlformats.org/drawingml/2006/main" xmlns:r="http://schemas.openxmlformats.org/officeDocument/2006/relationships" xmlns:p="http://schemas.openxmlformats.org/presentationml/2006/main">
  <p:tag name="NAME" val="Moon"/>
</p:tagLst>
</file>

<file path=ppt/tags/tag88.xml><?xml version="1.0" encoding="utf-8"?>
<p:tagLst xmlns:a="http://schemas.openxmlformats.org/drawingml/2006/main" xmlns:r="http://schemas.openxmlformats.org/officeDocument/2006/relationships" xmlns:p="http://schemas.openxmlformats.org/presentationml/2006/main">
  <p:tag name="NAME" val="Moon"/>
</p:tagLst>
</file>

<file path=ppt/tags/tag89.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NAME" val="Moon"/>
</p:tagLst>
</file>

<file path=ppt/tags/tag9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heme/theme1.xml><?xml version="1.0" encoding="utf-8"?>
<a:theme xmlns:a="http://schemas.openxmlformats.org/drawingml/2006/main" name="Firm Format - Spanish">
  <a:themeElements>
    <a:clrScheme name="Custom 26">
      <a:dk1>
        <a:srgbClr val="000000"/>
      </a:dk1>
      <a:lt1>
        <a:srgbClr val="FFFFFF"/>
      </a:lt1>
      <a:dk2>
        <a:srgbClr val="234F67"/>
      </a:dk2>
      <a:lt2>
        <a:srgbClr val="FFFFFF"/>
      </a:lt2>
      <a:accent1>
        <a:srgbClr val="DCEBF4"/>
      </a:accent1>
      <a:accent2>
        <a:srgbClr val="A2CAE2"/>
      </a:accent2>
      <a:accent3>
        <a:srgbClr val="50A2A0"/>
      </a:accent3>
      <a:accent4>
        <a:srgbClr val="234F67"/>
      </a:accent4>
      <a:accent5>
        <a:srgbClr val="FF6600"/>
      </a:accent5>
      <a:accent6>
        <a:srgbClr val="808080"/>
      </a:accent6>
      <a:hlink>
        <a:srgbClr val="50A2A0"/>
      </a:hlink>
      <a:folHlink>
        <a:srgbClr val="234F6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Spanish" id="{8F8C8658-0900-4511-92F4-4F9D7035C792}" vid="{72D81AE0-FDC7-462D-BB9E-9C93A584C623}"/>
    </a:ext>
  </a:extLst>
</a:theme>
</file>

<file path=ppt/theme/theme2.xml><?xml version="1.0" encoding="utf-8"?>
<a:theme xmlns:a="http://schemas.openxmlformats.org/drawingml/2006/main" name="1_Tema de Office">
  <a:themeElements>
    <a:clrScheme name="Verde azulado">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Firm Format - template_Blue">
  <a:themeElements>
    <a:clrScheme name="Transporte">
      <a:dk1>
        <a:srgbClr val="000000"/>
      </a:dk1>
      <a:lt1>
        <a:srgbClr val="FFFFFF"/>
      </a:lt1>
      <a:dk2>
        <a:srgbClr val="0E4866"/>
      </a:dk2>
      <a:lt2>
        <a:srgbClr val="FFFFFF"/>
      </a:lt2>
      <a:accent1>
        <a:srgbClr val="DEE9EA"/>
      </a:accent1>
      <a:accent2>
        <a:srgbClr val="9DB5C3"/>
      </a:accent2>
      <a:accent3>
        <a:srgbClr val="D4D740"/>
      </a:accent3>
      <a:accent4>
        <a:srgbClr val="0E4866"/>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G1235-Template.potx" id="{CE667DE3-EC48-41AD-85A0-E005700933D7}" vid="{F6BDD7A9-061D-4C1D-A8DB-6C2FF2D8AA4C}"/>
    </a:ext>
  </a:extLst>
</a:theme>
</file>

<file path=ppt/theme/theme4.xml><?xml version="1.0" encoding="utf-8"?>
<a:theme xmlns:a="http://schemas.openxmlformats.org/drawingml/2006/main" name="Firm Format - template_Blue">
  <a:themeElements>
    <a:clrScheme name="Transporte">
      <a:dk1>
        <a:srgbClr val="000000"/>
      </a:dk1>
      <a:lt1>
        <a:srgbClr val="FFFFFF"/>
      </a:lt1>
      <a:dk2>
        <a:srgbClr val="0E4866"/>
      </a:dk2>
      <a:lt2>
        <a:srgbClr val="FFFFFF"/>
      </a:lt2>
      <a:accent1>
        <a:srgbClr val="DEE9EA"/>
      </a:accent1>
      <a:accent2>
        <a:srgbClr val="9DB5C3"/>
      </a:accent2>
      <a:accent3>
        <a:srgbClr val="D4D740"/>
      </a:accent3>
      <a:accent4>
        <a:srgbClr val="0E4866"/>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G1235-Template.potx" id="{CE667DE3-EC48-41AD-85A0-E005700933D7}" vid="{F6BDD7A9-061D-4C1D-A8DB-6C2FF2D8AA4C}"/>
    </a:ext>
  </a:extLst>
</a:theme>
</file>

<file path=ppt/theme/theme5.xml><?xml version="1.0" encoding="utf-8"?>
<a:theme xmlns:a="http://schemas.openxmlformats.org/drawingml/2006/main" name="4_Firm Format - template_Blue">
  <a:themeElements>
    <a:clrScheme name="Transporte">
      <a:dk1>
        <a:srgbClr val="000000"/>
      </a:dk1>
      <a:lt1>
        <a:srgbClr val="FFFFFF"/>
      </a:lt1>
      <a:dk2>
        <a:srgbClr val="0E4866"/>
      </a:dk2>
      <a:lt2>
        <a:srgbClr val="FFFFFF"/>
      </a:lt2>
      <a:accent1>
        <a:srgbClr val="DEE9EA"/>
      </a:accent1>
      <a:accent2>
        <a:srgbClr val="9DB5C3"/>
      </a:accent2>
      <a:accent3>
        <a:srgbClr val="D4D740"/>
      </a:accent3>
      <a:accent4>
        <a:srgbClr val="0E4866"/>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G1235-Template.potx" id="{CE667DE3-EC48-41AD-85A0-E005700933D7}" vid="{F6BDD7A9-061D-4C1D-A8DB-6C2FF2D8AA4C}"/>
    </a:ext>
  </a:extLst>
</a:theme>
</file>

<file path=ppt/theme/theme6.xml><?xml version="1.0" encoding="utf-8"?>
<a:theme xmlns:a="http://schemas.openxmlformats.org/drawingml/2006/main" name="1_Firm Format - template_Blue">
  <a:themeElements>
    <a:clrScheme name="Transporte">
      <a:dk1>
        <a:srgbClr val="000000"/>
      </a:dk1>
      <a:lt1>
        <a:srgbClr val="FFFFFF"/>
      </a:lt1>
      <a:dk2>
        <a:srgbClr val="0E4866"/>
      </a:dk2>
      <a:lt2>
        <a:srgbClr val="FFFFFF"/>
      </a:lt2>
      <a:accent1>
        <a:srgbClr val="DEE9EA"/>
      </a:accent1>
      <a:accent2>
        <a:srgbClr val="9DB5C3"/>
      </a:accent2>
      <a:accent3>
        <a:srgbClr val="D4D740"/>
      </a:accent3>
      <a:accent4>
        <a:srgbClr val="0E4866"/>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G1235-Template.potx" id="{CE667DE3-EC48-41AD-85A0-E005700933D7}" vid="{F6BDD7A9-061D-4C1D-A8DB-6C2FF2D8AA4C}"/>
    </a:ext>
  </a:extLst>
</a:theme>
</file>

<file path=ppt/theme/theme7.xml><?xml version="1.0" encoding="utf-8"?>
<a:theme xmlns:a="http://schemas.openxmlformats.org/drawingml/2006/main" name="5_Firm Format - template_Blue">
  <a:themeElements>
    <a:clrScheme name="Transporte">
      <a:dk1>
        <a:srgbClr val="000000"/>
      </a:dk1>
      <a:lt1>
        <a:srgbClr val="FFFFFF"/>
      </a:lt1>
      <a:dk2>
        <a:srgbClr val="0E4866"/>
      </a:dk2>
      <a:lt2>
        <a:srgbClr val="FFFFFF"/>
      </a:lt2>
      <a:accent1>
        <a:srgbClr val="DEE9EA"/>
      </a:accent1>
      <a:accent2>
        <a:srgbClr val="9DB5C3"/>
      </a:accent2>
      <a:accent3>
        <a:srgbClr val="D4D740"/>
      </a:accent3>
      <a:accent4>
        <a:srgbClr val="0E4866"/>
      </a:accent4>
      <a:accent5>
        <a:srgbClr val="F27F00"/>
      </a:accent5>
      <a:accent6>
        <a:srgbClr val="808080"/>
      </a:accent6>
      <a:hlink>
        <a:srgbClr val="006983"/>
      </a:hlink>
      <a:folHlink>
        <a:srgbClr val="33333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BG1235-Template.potx" id="{CE667DE3-EC48-41AD-85A0-E005700933D7}" vid="{F6BDD7A9-061D-4C1D-A8DB-6C2FF2D8AA4C}"/>
    </a:ext>
  </a:extLst>
</a:theme>
</file>

<file path=ppt/theme/theme8.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6">
    <a:dk1>
      <a:srgbClr val="000000"/>
    </a:dk1>
    <a:lt1>
      <a:srgbClr val="FFFFFF"/>
    </a:lt1>
    <a:dk2>
      <a:srgbClr val="234F67"/>
    </a:dk2>
    <a:lt2>
      <a:srgbClr val="FFFFFF"/>
    </a:lt2>
    <a:accent1>
      <a:srgbClr val="DCEBF4"/>
    </a:accent1>
    <a:accent2>
      <a:srgbClr val="A2CAE2"/>
    </a:accent2>
    <a:accent3>
      <a:srgbClr val="50A2A0"/>
    </a:accent3>
    <a:accent4>
      <a:srgbClr val="234F67"/>
    </a:accent4>
    <a:accent5>
      <a:srgbClr val="FF6600"/>
    </a:accent5>
    <a:accent6>
      <a:srgbClr val="808080"/>
    </a:accent6>
    <a:hlink>
      <a:srgbClr val="50A2A0"/>
    </a:hlink>
    <a:folHlink>
      <a:srgbClr val="234F6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B2B6789A2787D140939184C96CE00B77" ma:contentTypeVersion="11" ma:contentTypeDescription="Crear nuevo documento." ma:contentTypeScope="" ma:versionID="d9aa639b939171488a8f17d6a271a3a0">
  <xsd:schema xmlns:xsd="http://www.w3.org/2001/XMLSchema" xmlns:xs="http://www.w3.org/2001/XMLSchema" xmlns:p="http://schemas.microsoft.com/office/2006/metadata/properties" xmlns:ns3="e3de68e4-5fb2-404c-a003-7e5864203514" xmlns:ns4="7078a5be-a5f9-4c83-8f70-8ace8f65d61c" targetNamespace="http://schemas.microsoft.com/office/2006/metadata/properties" ma:root="true" ma:fieldsID="f3cedf95750fe4fb47e6c2d497042bff" ns3:_="" ns4:_="">
    <xsd:import namespace="e3de68e4-5fb2-404c-a003-7e5864203514"/>
    <xsd:import namespace="7078a5be-a5f9-4c83-8f70-8ace8f65d61c"/>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de68e4-5fb2-404c-a003-7e5864203514" elementFormDefault="qualified">
    <xsd:import namespace="http://schemas.microsoft.com/office/2006/documentManagement/types"/>
    <xsd:import namespace="http://schemas.microsoft.com/office/infopath/2007/PartnerControls"/>
    <xsd:element name="SharedWithUsers" ma:index="8"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talles de uso compartido" ma:internalName="SharedWithDetails" ma:readOnly="true">
      <xsd:simpleType>
        <xsd:restriction base="dms:Note">
          <xsd:maxLength value="255"/>
        </xsd:restriction>
      </xsd:simpleType>
    </xsd:element>
    <xsd:element name="SharingHintHash" ma:index="10" nillable="true" ma:displayName="Hash de la sugerencia para compartir"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078a5be-a5f9-4c83-8f70-8ace8f65d61c"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6C3B5F4-7DAF-4A08-894E-CF678FA50C0B}">
  <ds:schemaRefs>
    <ds:schemaRef ds:uri="http://schemas.microsoft.com/sharepoint/v3/contenttype/forms"/>
  </ds:schemaRefs>
</ds:datastoreItem>
</file>

<file path=customXml/itemProps2.xml><?xml version="1.0" encoding="utf-8"?>
<ds:datastoreItem xmlns:ds="http://schemas.openxmlformats.org/officeDocument/2006/customXml" ds:itemID="{E9BF1901-5EEB-4D0F-B3DE-BB9FA83D3EAB}">
  <ds:schemaRefs>
    <ds:schemaRef ds:uri="7078a5be-a5f9-4c83-8f70-8ace8f65d61c"/>
    <ds:schemaRef ds:uri="e3de68e4-5fb2-404c-a003-7e586420351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E9D0DB4-20BF-4E36-9CE2-15F3FEE93ED5}">
  <ds:schemaRefs>
    <ds:schemaRef ds:uri="e3de68e4-5fb2-404c-a003-7e5864203514"/>
    <ds:schemaRef ds:uri="http://purl.org/dc/terms/"/>
    <ds:schemaRef ds:uri="http://schemas.microsoft.com/office/2006/documentManagement/types"/>
    <ds:schemaRef ds:uri="http://purl.org/dc/dcmitype/"/>
    <ds:schemaRef ds:uri="7078a5be-a5f9-4c83-8f70-8ace8f65d61c"/>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289</TotalTime>
  <Words>7180</Words>
  <Application>Microsoft Office PowerPoint</Application>
  <PresentationFormat>Panorámica</PresentationFormat>
  <Paragraphs>1089</Paragraphs>
  <Slides>43</Slides>
  <Notes>16</Notes>
  <HiddenSlides>1</HiddenSlides>
  <MMClips>2</MMClips>
  <ScaleCrop>false</ScaleCrop>
  <HeadingPairs>
    <vt:vector size="8" baseType="variant">
      <vt:variant>
        <vt:lpstr>Fuentes usadas</vt:lpstr>
      </vt:variant>
      <vt:variant>
        <vt:i4>8</vt:i4>
      </vt:variant>
      <vt:variant>
        <vt:lpstr>Tema</vt:lpstr>
      </vt:variant>
      <vt:variant>
        <vt:i4>7</vt:i4>
      </vt:variant>
      <vt:variant>
        <vt:lpstr>Servidores OLE incrustados</vt:lpstr>
      </vt:variant>
      <vt:variant>
        <vt:i4>2</vt:i4>
      </vt:variant>
      <vt:variant>
        <vt:lpstr>Títulos de diapositiva</vt:lpstr>
      </vt:variant>
      <vt:variant>
        <vt:i4>43</vt:i4>
      </vt:variant>
    </vt:vector>
  </HeadingPairs>
  <TitlesOfParts>
    <vt:vector size="60" baseType="lpstr">
      <vt:lpstr>Arial</vt:lpstr>
      <vt:lpstr>Calibri</vt:lpstr>
      <vt:lpstr>Calibri Light</vt:lpstr>
      <vt:lpstr>Calibri light titulos</vt:lpstr>
      <vt:lpstr>Californian FB</vt:lpstr>
      <vt:lpstr>Century Gothic</vt:lpstr>
      <vt:lpstr>Courier New</vt:lpstr>
      <vt:lpstr>Lucida Grande</vt:lpstr>
      <vt:lpstr>Firm Format - Spanish</vt:lpstr>
      <vt:lpstr>1_Tema de Office</vt:lpstr>
      <vt:lpstr>3_Firm Format - template_Blue</vt:lpstr>
      <vt:lpstr>Firm Format - template_Blue</vt:lpstr>
      <vt:lpstr>4_Firm Format - template_Blue</vt:lpstr>
      <vt:lpstr>1_Firm Format - template_Blue</vt:lpstr>
      <vt:lpstr>5_Firm Format - template_Blue</vt:lpstr>
      <vt:lpstr>Diapositiva de think-cell</vt:lpstr>
      <vt:lpstr>think-cell Slid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MACROPROCESO: PLANEACIÓN ESTRATÉGICA, NUEVOS NEGOCIOS Y REGULACIÓN</vt:lpstr>
      <vt:lpstr>Macroproceso Finanza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Carolina Rojas Moreno (CENIT)</dc:creator>
  <cp:lastModifiedBy>Carlos Enrique</cp:lastModifiedBy>
  <cp:revision>1</cp:revision>
  <cp:lastPrinted>2019-11-27T12:49:41Z</cp:lastPrinted>
  <dcterms:created xsi:type="dcterms:W3CDTF">2019-11-22T13:40:53Z</dcterms:created>
  <dcterms:modified xsi:type="dcterms:W3CDTF">2021-02-07T16:14: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B6789A2787D140939184C96CE00B77</vt:lpwstr>
  </property>
</Properties>
</file>